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vsdx" ContentType="application/vnd.ms-visio.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media/image4.bin" ContentType="image/x-emf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37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31" r:id="rId6"/>
    <p:sldMasterId id="2147483845" r:id="rId7"/>
  </p:sldMasterIdLst>
  <p:notesMasterIdLst>
    <p:notesMasterId r:id="rId85"/>
  </p:notesMasterIdLst>
  <p:handoutMasterIdLst>
    <p:handoutMasterId r:id="rId86"/>
  </p:handoutMasterIdLst>
  <p:sldIdLst>
    <p:sldId id="668" r:id="rId8"/>
    <p:sldId id="593" r:id="rId9"/>
    <p:sldId id="1688" r:id="rId10"/>
    <p:sldId id="1689" r:id="rId11"/>
    <p:sldId id="1690" r:id="rId12"/>
    <p:sldId id="1691" r:id="rId13"/>
    <p:sldId id="1692" r:id="rId14"/>
    <p:sldId id="1693" r:id="rId15"/>
    <p:sldId id="1694" r:id="rId16"/>
    <p:sldId id="1695" r:id="rId17"/>
    <p:sldId id="1696" r:id="rId18"/>
    <p:sldId id="291" r:id="rId19"/>
    <p:sldId id="283" r:id="rId20"/>
    <p:sldId id="292" r:id="rId21"/>
    <p:sldId id="1697" r:id="rId22"/>
    <p:sldId id="1698" r:id="rId23"/>
    <p:sldId id="1699" r:id="rId24"/>
    <p:sldId id="1700" r:id="rId25"/>
    <p:sldId id="1701" r:id="rId26"/>
    <p:sldId id="1702" r:id="rId27"/>
    <p:sldId id="1703" r:id="rId28"/>
    <p:sldId id="1704" r:id="rId29"/>
    <p:sldId id="1705" r:id="rId30"/>
    <p:sldId id="1706" r:id="rId31"/>
    <p:sldId id="1657" r:id="rId32"/>
    <p:sldId id="1658" r:id="rId33"/>
    <p:sldId id="1721" r:id="rId34"/>
    <p:sldId id="1659" r:id="rId35"/>
    <p:sldId id="1660" r:id="rId36"/>
    <p:sldId id="1661" r:id="rId37"/>
    <p:sldId id="1662" r:id="rId38"/>
    <p:sldId id="1663" r:id="rId39"/>
    <p:sldId id="1664" r:id="rId40"/>
    <p:sldId id="1708" r:id="rId41"/>
    <p:sldId id="1666" r:id="rId42"/>
    <p:sldId id="1667" r:id="rId43"/>
    <p:sldId id="1668" r:id="rId44"/>
    <p:sldId id="1709" r:id="rId45"/>
    <p:sldId id="1670" r:id="rId46"/>
    <p:sldId id="1671" r:id="rId47"/>
    <p:sldId id="1672" r:id="rId48"/>
    <p:sldId id="1673" r:id="rId49"/>
    <p:sldId id="1674" r:id="rId50"/>
    <p:sldId id="1675" r:id="rId51"/>
    <p:sldId id="1676" r:id="rId52"/>
    <p:sldId id="1677" r:id="rId53"/>
    <p:sldId id="1678" r:id="rId54"/>
    <p:sldId id="1679" r:id="rId55"/>
    <p:sldId id="1680" r:id="rId56"/>
    <p:sldId id="1681" r:id="rId57"/>
    <p:sldId id="1682" r:id="rId58"/>
    <p:sldId id="1722" r:id="rId59"/>
    <p:sldId id="1724" r:id="rId60"/>
    <p:sldId id="1725" r:id="rId61"/>
    <p:sldId id="1726" r:id="rId62"/>
    <p:sldId id="1683" r:id="rId63"/>
    <p:sldId id="1684" r:id="rId64"/>
    <p:sldId id="1685" r:id="rId65"/>
    <p:sldId id="1686" r:id="rId66"/>
    <p:sldId id="1727" r:id="rId67"/>
    <p:sldId id="1687" r:id="rId68"/>
    <p:sldId id="1728" r:id="rId69"/>
    <p:sldId id="1710" r:id="rId70"/>
    <p:sldId id="1712" r:id="rId71"/>
    <p:sldId id="1720" r:id="rId72"/>
    <p:sldId id="1729" r:id="rId73"/>
    <p:sldId id="1719" r:id="rId74"/>
    <p:sldId id="1717" r:id="rId75"/>
    <p:sldId id="1718" r:id="rId76"/>
    <p:sldId id="1713" r:id="rId77"/>
    <p:sldId id="1714" r:id="rId78"/>
    <p:sldId id="1730" r:id="rId79"/>
    <p:sldId id="1716" r:id="rId80"/>
    <p:sldId id="1715" r:id="rId81"/>
    <p:sldId id="1584" r:id="rId82"/>
    <p:sldId id="1656" r:id="rId83"/>
    <p:sldId id="352" r:id="rId84"/>
  </p:sldIdLst>
  <p:sldSz cx="12198350" cy="6858000"/>
  <p:notesSz cx="7099300" cy="10234613"/>
  <p:custDataLst>
    <p:custData r:id="rId5"/>
    <p:tags r:id="rId87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Untitled Section" id="{932D53CB-BBDD-4D86-A795-A6B06778458E}">
          <p14:sldIdLst>
            <p14:sldId id="668"/>
            <p14:sldId id="593"/>
            <p14:sldId id="1688"/>
            <p14:sldId id="1689"/>
            <p14:sldId id="1690"/>
            <p14:sldId id="1691"/>
            <p14:sldId id="1692"/>
            <p14:sldId id="1693"/>
            <p14:sldId id="1694"/>
            <p14:sldId id="1695"/>
            <p14:sldId id="1696"/>
            <p14:sldId id="291"/>
            <p14:sldId id="283"/>
            <p14:sldId id="292"/>
            <p14:sldId id="1697"/>
            <p14:sldId id="1698"/>
            <p14:sldId id="1699"/>
            <p14:sldId id="1700"/>
            <p14:sldId id="1701"/>
            <p14:sldId id="1702"/>
            <p14:sldId id="1703"/>
            <p14:sldId id="1704"/>
            <p14:sldId id="1705"/>
            <p14:sldId id="1706"/>
            <p14:sldId id="1657"/>
            <p14:sldId id="1658"/>
            <p14:sldId id="1721"/>
            <p14:sldId id="1659"/>
            <p14:sldId id="1660"/>
            <p14:sldId id="1661"/>
            <p14:sldId id="1662"/>
            <p14:sldId id="1663"/>
            <p14:sldId id="1664"/>
            <p14:sldId id="1708"/>
            <p14:sldId id="1666"/>
            <p14:sldId id="1667"/>
            <p14:sldId id="1668"/>
            <p14:sldId id="1709"/>
            <p14:sldId id="1670"/>
            <p14:sldId id="1671"/>
            <p14:sldId id="1672"/>
            <p14:sldId id="1673"/>
            <p14:sldId id="1674"/>
            <p14:sldId id="1675"/>
            <p14:sldId id="1676"/>
            <p14:sldId id="1677"/>
            <p14:sldId id="1678"/>
            <p14:sldId id="1679"/>
            <p14:sldId id="1680"/>
            <p14:sldId id="1681"/>
            <p14:sldId id="1682"/>
            <p14:sldId id="1722"/>
            <p14:sldId id="1724"/>
            <p14:sldId id="1725"/>
            <p14:sldId id="1726"/>
            <p14:sldId id="1683"/>
            <p14:sldId id="1684"/>
            <p14:sldId id="1685"/>
            <p14:sldId id="1686"/>
            <p14:sldId id="1727"/>
            <p14:sldId id="1687"/>
            <p14:sldId id="1728"/>
            <p14:sldId id="1710"/>
            <p14:sldId id="1712"/>
            <p14:sldId id="1720"/>
            <p14:sldId id="1729"/>
            <p14:sldId id="1719"/>
            <p14:sldId id="1717"/>
            <p14:sldId id="1718"/>
            <p14:sldId id="1713"/>
            <p14:sldId id="1714"/>
            <p14:sldId id="1730"/>
            <p14:sldId id="1716"/>
            <p14:sldId id="1715"/>
            <p14:sldId id="1584"/>
            <p14:sldId id="1656"/>
            <p14:sldId id="35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3903">
          <p15:clr>
            <a:srgbClr val="A4A3A4"/>
          </p15:clr>
        </p15:guide>
        <p15:guide id="13" orient="horz" pos="654">
          <p15:clr>
            <a:srgbClr val="A4A3A4"/>
          </p15:clr>
        </p15:guide>
        <p15:guide id="14" orient="horz" pos="2452">
          <p15:clr>
            <a:srgbClr val="A4A3A4"/>
          </p15:clr>
        </p15:guide>
        <p15:guide id="15" orient="horz" pos="2360">
          <p15:clr>
            <a:srgbClr val="A4A3A4"/>
          </p15:clr>
        </p15:guide>
        <p15:guide id="16" orient="horz" pos="90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12272"/>
    <a:srgbClr val="0404BC"/>
    <a:srgbClr val="0000FF"/>
    <a:srgbClr val="1E1E5C"/>
    <a:srgbClr val="ED1BD4"/>
    <a:srgbClr val="00FF00"/>
    <a:srgbClr val="6B6BCF"/>
    <a:srgbClr val="2F2F91"/>
    <a:srgbClr val="00FFFF"/>
    <a:srgbClr val="E7E7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23DD462-F718-4472-B323-3AFC2E4DEFC2}" v="2" dt="2022-10-03T06:28:23.88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726" autoAdjust="0"/>
    <p:restoredTop sz="93842" autoAdjust="0"/>
  </p:normalViewPr>
  <p:slideViewPr>
    <p:cSldViewPr snapToObjects="1" showGuides="1">
      <p:cViewPr varScale="1">
        <p:scale>
          <a:sx n="114" d="100"/>
          <a:sy n="114" d="100"/>
        </p:scale>
        <p:origin x="426" y="84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pos="395"/>
        <p:guide pos="3842"/>
        <p:guide pos="3933"/>
        <p:guide pos="7380"/>
        <p:guide pos="5566"/>
        <p:guide orient="horz" pos="3903"/>
        <p:guide orient="horz" pos="654"/>
        <p:guide orient="horz" pos="2452"/>
        <p:guide orient="horz" pos="2360"/>
        <p:guide orient="horz" pos="909"/>
      </p:guideLst>
    </p:cSldViewPr>
  </p:slideViewPr>
  <p:outlineViewPr>
    <p:cViewPr>
      <p:scale>
        <a:sx n="33" d="100"/>
        <a:sy n="33" d="100"/>
      </p:scale>
      <p:origin x="0" y="127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89" d="100"/>
          <a:sy n="89" d="100"/>
        </p:scale>
        <p:origin x="3732" y="90"/>
      </p:cViewPr>
      <p:guideLst>
        <p:guide orient="horz" pos="3224"/>
        <p:guide pos="223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9.xml"/><Relationship Id="rId21" Type="http://schemas.openxmlformats.org/officeDocument/2006/relationships/slide" Target="slides/slide14.xml"/><Relationship Id="rId42" Type="http://schemas.openxmlformats.org/officeDocument/2006/relationships/slide" Target="slides/slide35.xml"/><Relationship Id="rId47" Type="http://schemas.openxmlformats.org/officeDocument/2006/relationships/slide" Target="slides/slide40.xml"/><Relationship Id="rId63" Type="http://schemas.openxmlformats.org/officeDocument/2006/relationships/slide" Target="slides/slide56.xml"/><Relationship Id="rId68" Type="http://schemas.openxmlformats.org/officeDocument/2006/relationships/slide" Target="slides/slide61.xml"/><Relationship Id="rId84" Type="http://schemas.openxmlformats.org/officeDocument/2006/relationships/slide" Target="slides/slide77.xml"/><Relationship Id="rId89" Type="http://schemas.openxmlformats.org/officeDocument/2006/relationships/viewProps" Target="viewProps.xml"/><Relationship Id="rId16" Type="http://schemas.openxmlformats.org/officeDocument/2006/relationships/slide" Target="slides/slide9.xml"/><Relationship Id="rId11" Type="http://schemas.openxmlformats.org/officeDocument/2006/relationships/slide" Target="slides/slide4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53" Type="http://schemas.openxmlformats.org/officeDocument/2006/relationships/slide" Target="slides/slide46.xml"/><Relationship Id="rId58" Type="http://schemas.openxmlformats.org/officeDocument/2006/relationships/slide" Target="slides/slide51.xml"/><Relationship Id="rId74" Type="http://schemas.openxmlformats.org/officeDocument/2006/relationships/slide" Target="slides/slide67.xml"/><Relationship Id="rId79" Type="http://schemas.openxmlformats.org/officeDocument/2006/relationships/slide" Target="slides/slide72.xml"/><Relationship Id="rId5" Type="http://schemas.openxmlformats.org/officeDocument/2006/relationships/customXml" Target="../customXml/item5.xml"/><Relationship Id="rId90" Type="http://schemas.openxmlformats.org/officeDocument/2006/relationships/theme" Target="theme/theme1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43" Type="http://schemas.openxmlformats.org/officeDocument/2006/relationships/slide" Target="slides/slide36.xml"/><Relationship Id="rId48" Type="http://schemas.openxmlformats.org/officeDocument/2006/relationships/slide" Target="slides/slide41.xml"/><Relationship Id="rId64" Type="http://schemas.openxmlformats.org/officeDocument/2006/relationships/slide" Target="slides/slide57.xml"/><Relationship Id="rId69" Type="http://schemas.openxmlformats.org/officeDocument/2006/relationships/slide" Target="slides/slide62.xml"/><Relationship Id="rId8" Type="http://schemas.openxmlformats.org/officeDocument/2006/relationships/slide" Target="slides/slide1.xml"/><Relationship Id="rId51" Type="http://schemas.openxmlformats.org/officeDocument/2006/relationships/slide" Target="slides/slide44.xml"/><Relationship Id="rId72" Type="http://schemas.openxmlformats.org/officeDocument/2006/relationships/slide" Target="slides/slide65.xml"/><Relationship Id="rId80" Type="http://schemas.openxmlformats.org/officeDocument/2006/relationships/slide" Target="slides/slide73.xml"/><Relationship Id="rId85" Type="http://schemas.openxmlformats.org/officeDocument/2006/relationships/notesMaster" Target="notesMasters/notesMaster1.xml"/><Relationship Id="rId93" Type="http://schemas.microsoft.com/office/2015/10/relationships/revisionInfo" Target="revisionInfo.xml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slide" Target="slides/slide39.xml"/><Relationship Id="rId59" Type="http://schemas.openxmlformats.org/officeDocument/2006/relationships/slide" Target="slides/slide52.xml"/><Relationship Id="rId67" Type="http://schemas.openxmlformats.org/officeDocument/2006/relationships/slide" Target="slides/slide60.xml"/><Relationship Id="rId20" Type="http://schemas.openxmlformats.org/officeDocument/2006/relationships/slide" Target="slides/slide13.xml"/><Relationship Id="rId41" Type="http://schemas.openxmlformats.org/officeDocument/2006/relationships/slide" Target="slides/slide34.xml"/><Relationship Id="rId54" Type="http://schemas.openxmlformats.org/officeDocument/2006/relationships/slide" Target="slides/slide47.xml"/><Relationship Id="rId62" Type="http://schemas.openxmlformats.org/officeDocument/2006/relationships/slide" Target="slides/slide55.xml"/><Relationship Id="rId70" Type="http://schemas.openxmlformats.org/officeDocument/2006/relationships/slide" Target="slides/slide63.xml"/><Relationship Id="rId75" Type="http://schemas.openxmlformats.org/officeDocument/2006/relationships/slide" Target="slides/slide68.xml"/><Relationship Id="rId83" Type="http://schemas.openxmlformats.org/officeDocument/2006/relationships/slide" Target="slides/slide76.xml"/><Relationship Id="rId88" Type="http://schemas.openxmlformats.org/officeDocument/2006/relationships/presProps" Target="presProps.xml"/><Relationship Id="rId9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slide" Target="slides/slide42.xml"/><Relationship Id="rId57" Type="http://schemas.openxmlformats.org/officeDocument/2006/relationships/slide" Target="slides/slide50.xml"/><Relationship Id="rId10" Type="http://schemas.openxmlformats.org/officeDocument/2006/relationships/slide" Target="slides/slide3.xml"/><Relationship Id="rId31" Type="http://schemas.openxmlformats.org/officeDocument/2006/relationships/slide" Target="slides/slide24.xml"/><Relationship Id="rId44" Type="http://schemas.openxmlformats.org/officeDocument/2006/relationships/slide" Target="slides/slide37.xml"/><Relationship Id="rId52" Type="http://schemas.openxmlformats.org/officeDocument/2006/relationships/slide" Target="slides/slide45.xml"/><Relationship Id="rId60" Type="http://schemas.openxmlformats.org/officeDocument/2006/relationships/slide" Target="slides/slide53.xml"/><Relationship Id="rId65" Type="http://schemas.openxmlformats.org/officeDocument/2006/relationships/slide" Target="slides/slide58.xml"/><Relationship Id="rId73" Type="http://schemas.openxmlformats.org/officeDocument/2006/relationships/slide" Target="slides/slide66.xml"/><Relationship Id="rId78" Type="http://schemas.openxmlformats.org/officeDocument/2006/relationships/slide" Target="slides/slide71.xml"/><Relationship Id="rId81" Type="http://schemas.openxmlformats.org/officeDocument/2006/relationships/slide" Target="slides/slide74.xml"/><Relationship Id="rId86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39" Type="http://schemas.openxmlformats.org/officeDocument/2006/relationships/slide" Target="slides/slide32.xml"/><Relationship Id="rId34" Type="http://schemas.openxmlformats.org/officeDocument/2006/relationships/slide" Target="slides/slide27.xml"/><Relationship Id="rId50" Type="http://schemas.openxmlformats.org/officeDocument/2006/relationships/slide" Target="slides/slide43.xml"/><Relationship Id="rId55" Type="http://schemas.openxmlformats.org/officeDocument/2006/relationships/slide" Target="slides/slide48.xml"/><Relationship Id="rId76" Type="http://schemas.openxmlformats.org/officeDocument/2006/relationships/slide" Target="slides/slide69.xml"/><Relationship Id="rId7" Type="http://schemas.openxmlformats.org/officeDocument/2006/relationships/slideMaster" Target="slideMasters/slideMaster2.xml"/><Relationship Id="rId71" Type="http://schemas.openxmlformats.org/officeDocument/2006/relationships/slide" Target="slides/slide64.xml"/><Relationship Id="rId92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29" Type="http://schemas.openxmlformats.org/officeDocument/2006/relationships/slide" Target="slides/slide22.xml"/><Relationship Id="rId24" Type="http://schemas.openxmlformats.org/officeDocument/2006/relationships/slide" Target="slides/slide17.xml"/><Relationship Id="rId40" Type="http://schemas.openxmlformats.org/officeDocument/2006/relationships/slide" Target="slides/slide33.xml"/><Relationship Id="rId45" Type="http://schemas.openxmlformats.org/officeDocument/2006/relationships/slide" Target="slides/slide38.xml"/><Relationship Id="rId66" Type="http://schemas.openxmlformats.org/officeDocument/2006/relationships/slide" Target="slides/slide59.xml"/><Relationship Id="rId87" Type="http://schemas.openxmlformats.org/officeDocument/2006/relationships/tags" Target="tags/tag1.xml"/><Relationship Id="rId61" Type="http://schemas.openxmlformats.org/officeDocument/2006/relationships/slide" Target="slides/slide54.xml"/><Relationship Id="rId82" Type="http://schemas.openxmlformats.org/officeDocument/2006/relationships/slide" Target="slides/slide75.xml"/><Relationship Id="rId19" Type="http://schemas.openxmlformats.org/officeDocument/2006/relationships/slide" Target="slides/slide12.xml"/><Relationship Id="rId14" Type="http://schemas.openxmlformats.org/officeDocument/2006/relationships/slide" Target="slides/slide7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56" Type="http://schemas.openxmlformats.org/officeDocument/2006/relationships/slide" Target="slides/slide49.xml"/><Relationship Id="rId77" Type="http://schemas.openxmlformats.org/officeDocument/2006/relationships/slide" Target="slides/slide70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guyen Duc Cu" userId="S::cu.nguyen@biendongco.vn::b9e3942c-861d-4140-9079-4fa03eb61057" providerId="AD" clId="Web-{C23DD462-F718-4472-B323-3AFC2E4DEFC2}"/>
    <pc:docChg chg="modSld">
      <pc:chgData name="Nguyen Duc Cu" userId="S::cu.nguyen@biendongco.vn::b9e3942c-861d-4140-9079-4fa03eb61057" providerId="AD" clId="Web-{C23DD462-F718-4472-B323-3AFC2E4DEFC2}" dt="2022-10-03T06:28:23.882" v="1" actId="1076"/>
      <pc:docMkLst>
        <pc:docMk/>
      </pc:docMkLst>
      <pc:sldChg chg="modSp">
        <pc:chgData name="Nguyen Duc Cu" userId="S::cu.nguyen@biendongco.vn::b9e3942c-861d-4140-9079-4fa03eb61057" providerId="AD" clId="Web-{C23DD462-F718-4472-B323-3AFC2E4DEFC2}" dt="2022-10-03T06:23:34.139" v="0" actId="1076"/>
        <pc:sldMkLst>
          <pc:docMk/>
          <pc:sldMk cId="3483689587" sldId="283"/>
        </pc:sldMkLst>
        <pc:spChg chg="mod">
          <ac:chgData name="Nguyen Duc Cu" userId="S::cu.nguyen@biendongco.vn::b9e3942c-861d-4140-9079-4fa03eb61057" providerId="AD" clId="Web-{C23DD462-F718-4472-B323-3AFC2E4DEFC2}" dt="2022-10-03T06:23:34.139" v="0" actId="1076"/>
          <ac:spMkLst>
            <pc:docMk/>
            <pc:sldMk cId="3483689587" sldId="283"/>
            <ac:spMk id="26" creationId="{B3D1A60B-3678-406A-C641-FAAB08A753E4}"/>
          </ac:spMkLst>
        </pc:spChg>
      </pc:sldChg>
      <pc:sldChg chg="modSp">
        <pc:chgData name="Nguyen Duc Cu" userId="S::cu.nguyen@biendongco.vn::b9e3942c-861d-4140-9079-4fa03eb61057" providerId="AD" clId="Web-{C23DD462-F718-4472-B323-3AFC2E4DEFC2}" dt="2022-10-03T06:28:23.882" v="1" actId="1076"/>
        <pc:sldMkLst>
          <pc:docMk/>
          <pc:sldMk cId="1157359645" sldId="1687"/>
        </pc:sldMkLst>
        <pc:picChg chg="mod">
          <ac:chgData name="Nguyen Duc Cu" userId="S::cu.nguyen@biendongco.vn::b9e3942c-861d-4140-9079-4fa03eb61057" providerId="AD" clId="Web-{C23DD462-F718-4472-B323-3AFC2E4DEFC2}" dt="2022-10-03T06:28:23.882" v="1" actId="1076"/>
          <ac:picMkLst>
            <pc:docMk/>
            <pc:sldMk cId="1157359645" sldId="1687"/>
            <ac:picMk id="10" creationId="{90774665-5079-4FA0-BBD8-8339731CA3AC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0" y="0"/>
            <a:ext cx="7099300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682163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682163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324802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8113" y="768350"/>
            <a:ext cx="6824662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125" y="4822825"/>
            <a:ext cx="6623050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682163"/>
            <a:ext cx="3249613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682163"/>
            <a:ext cx="3248025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BA7472-9756-44A8-AD21-DB744F3BD23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479537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5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733404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6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194147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7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687872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8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074790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9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394878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20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802895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21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582484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22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239877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24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023066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>
                <a:solidFill>
                  <a:srgbClr val="212272"/>
                </a:solidFill>
              </a:rPr>
              <a:t>setClientVariable</a:t>
            </a:r>
            <a:r>
              <a:rPr lang="en-US" dirty="0">
                <a:solidFill>
                  <a:srgbClr val="212272"/>
                </a:solidFill>
              </a:rPr>
              <a:t>("</a:t>
            </a:r>
            <a:r>
              <a:rPr lang="en-US" dirty="0" err="1">
                <a:solidFill>
                  <a:srgbClr val="212272"/>
                </a:solidFill>
              </a:rPr>
              <a:t>Tab",“Table</a:t>
            </a:r>
            <a:r>
              <a:rPr lang="en-US" dirty="0">
                <a:solidFill>
                  <a:srgbClr val="212272"/>
                </a:solidFill>
              </a:rPr>
              <a:t>"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>
                <a:solidFill>
                  <a:srgbClr val="212272"/>
                </a:solidFill>
              </a:rPr>
              <a:t>subscribetoClientVariable</a:t>
            </a:r>
            <a:r>
              <a:rPr lang="en-US" dirty="0">
                <a:solidFill>
                  <a:srgbClr val="212272"/>
                </a:solidFill>
              </a:rPr>
              <a:t>("Tab") == “Table"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>
                <a:solidFill>
                  <a:srgbClr val="212272"/>
                </a:solidFill>
              </a:rPr>
              <a:t>setviewvariablevalue</a:t>
            </a:r>
            <a:r>
              <a:rPr lang="en-US" dirty="0">
                <a:solidFill>
                  <a:srgbClr val="212272"/>
                </a:solidFill>
              </a:rPr>
              <a:t>(</a:t>
            </a:r>
            <a:r>
              <a:rPr lang="en-US" dirty="0" err="1">
                <a:solidFill>
                  <a:srgbClr val="212272"/>
                </a:solidFill>
              </a:rPr>
              <a:t>combobox</a:t>
            </a:r>
            <a:r>
              <a:rPr lang="en-US" dirty="0">
                <a:solidFill>
                  <a:srgbClr val="212272"/>
                </a:solidFill>
              </a:rPr>
              <a:t>,”%”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rgbClr val="212272"/>
              </a:solidFill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70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61203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4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58547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>
                <a:solidFill>
                  <a:srgbClr val="212272"/>
                </a:solidFill>
              </a:rPr>
              <a:t>setClientVariable</a:t>
            </a:r>
            <a:r>
              <a:rPr lang="en-US" dirty="0">
                <a:solidFill>
                  <a:srgbClr val="212272"/>
                </a:solidFill>
              </a:rPr>
              <a:t>("</a:t>
            </a:r>
            <a:r>
              <a:rPr lang="en-US" dirty="0" err="1">
                <a:solidFill>
                  <a:srgbClr val="212272"/>
                </a:solidFill>
              </a:rPr>
              <a:t>Tab",“Table</a:t>
            </a:r>
            <a:r>
              <a:rPr lang="en-US" dirty="0">
                <a:solidFill>
                  <a:srgbClr val="212272"/>
                </a:solidFill>
              </a:rPr>
              <a:t>"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>
                <a:solidFill>
                  <a:srgbClr val="212272"/>
                </a:solidFill>
              </a:rPr>
              <a:t>subscribetoClientVariable</a:t>
            </a:r>
            <a:r>
              <a:rPr lang="en-US" dirty="0">
                <a:solidFill>
                  <a:srgbClr val="212272"/>
                </a:solidFill>
              </a:rPr>
              <a:t>("Tab") == “Table"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>
                <a:solidFill>
                  <a:srgbClr val="212272"/>
                </a:solidFill>
              </a:rPr>
              <a:t>setviewvariablevalue</a:t>
            </a:r>
            <a:r>
              <a:rPr lang="en-US" dirty="0">
                <a:solidFill>
                  <a:srgbClr val="212272"/>
                </a:solidFill>
              </a:rPr>
              <a:t>(</a:t>
            </a:r>
            <a:r>
              <a:rPr lang="en-US" dirty="0" err="1">
                <a:solidFill>
                  <a:srgbClr val="212272"/>
                </a:solidFill>
              </a:rPr>
              <a:t>combobox</a:t>
            </a:r>
            <a:r>
              <a:rPr lang="en-US" dirty="0">
                <a:solidFill>
                  <a:srgbClr val="212272"/>
                </a:solidFill>
              </a:rPr>
              <a:t>,”%”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rgbClr val="212272"/>
              </a:solidFill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71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959180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>
                <a:solidFill>
                  <a:srgbClr val="212272"/>
                </a:solidFill>
              </a:rPr>
              <a:t>setClientVariable</a:t>
            </a:r>
            <a:r>
              <a:rPr lang="en-US" dirty="0">
                <a:solidFill>
                  <a:srgbClr val="212272"/>
                </a:solidFill>
              </a:rPr>
              <a:t>("</a:t>
            </a:r>
            <a:r>
              <a:rPr lang="en-US" dirty="0" err="1">
                <a:solidFill>
                  <a:srgbClr val="212272"/>
                </a:solidFill>
              </a:rPr>
              <a:t>Tab",“Table</a:t>
            </a:r>
            <a:r>
              <a:rPr lang="en-US" dirty="0">
                <a:solidFill>
                  <a:srgbClr val="212272"/>
                </a:solidFill>
              </a:rPr>
              <a:t>"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>
                <a:solidFill>
                  <a:srgbClr val="212272"/>
                </a:solidFill>
              </a:rPr>
              <a:t>subscribetoClientVariable</a:t>
            </a:r>
            <a:r>
              <a:rPr lang="en-US" dirty="0">
                <a:solidFill>
                  <a:srgbClr val="212272"/>
                </a:solidFill>
              </a:rPr>
              <a:t>("Tab") == “Table"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>
                <a:solidFill>
                  <a:srgbClr val="212272"/>
                </a:solidFill>
              </a:rPr>
              <a:t>setviewvariablevalue</a:t>
            </a:r>
            <a:r>
              <a:rPr lang="en-US" dirty="0">
                <a:solidFill>
                  <a:srgbClr val="212272"/>
                </a:solidFill>
              </a:rPr>
              <a:t>(</a:t>
            </a:r>
            <a:r>
              <a:rPr lang="en-US" dirty="0" err="1">
                <a:solidFill>
                  <a:srgbClr val="212272"/>
                </a:solidFill>
              </a:rPr>
              <a:t>combobox</a:t>
            </a:r>
            <a:r>
              <a:rPr lang="en-US" dirty="0">
                <a:solidFill>
                  <a:srgbClr val="212272"/>
                </a:solidFill>
              </a:rPr>
              <a:t>,”%”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rgbClr val="212272"/>
              </a:solidFill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72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508331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>
                <a:solidFill>
                  <a:srgbClr val="212272"/>
                </a:solidFill>
              </a:rPr>
              <a:t>setClientVariable</a:t>
            </a:r>
            <a:r>
              <a:rPr lang="en-US" dirty="0">
                <a:solidFill>
                  <a:srgbClr val="212272"/>
                </a:solidFill>
              </a:rPr>
              <a:t>("</a:t>
            </a:r>
            <a:r>
              <a:rPr lang="en-US" dirty="0" err="1">
                <a:solidFill>
                  <a:srgbClr val="212272"/>
                </a:solidFill>
              </a:rPr>
              <a:t>Tab",“Table</a:t>
            </a:r>
            <a:r>
              <a:rPr lang="en-US" dirty="0">
                <a:solidFill>
                  <a:srgbClr val="212272"/>
                </a:solidFill>
              </a:rPr>
              <a:t>"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>
                <a:solidFill>
                  <a:srgbClr val="212272"/>
                </a:solidFill>
              </a:rPr>
              <a:t>subscribetoClientVariable</a:t>
            </a:r>
            <a:r>
              <a:rPr lang="en-US" dirty="0">
                <a:solidFill>
                  <a:srgbClr val="212272"/>
                </a:solidFill>
              </a:rPr>
              <a:t>("Tab") == “Table"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>
                <a:solidFill>
                  <a:srgbClr val="212272"/>
                </a:solidFill>
              </a:rPr>
              <a:t>setviewvariablevalue</a:t>
            </a:r>
            <a:r>
              <a:rPr lang="en-US" dirty="0">
                <a:solidFill>
                  <a:srgbClr val="212272"/>
                </a:solidFill>
              </a:rPr>
              <a:t>(</a:t>
            </a:r>
            <a:r>
              <a:rPr lang="en-US" dirty="0" err="1">
                <a:solidFill>
                  <a:srgbClr val="212272"/>
                </a:solidFill>
              </a:rPr>
              <a:t>combobox</a:t>
            </a:r>
            <a:r>
              <a:rPr lang="en-US" dirty="0">
                <a:solidFill>
                  <a:srgbClr val="212272"/>
                </a:solidFill>
              </a:rPr>
              <a:t>,”%”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rgbClr val="212272"/>
              </a:solidFill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73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880135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>
                <a:solidFill>
                  <a:srgbClr val="212272"/>
                </a:solidFill>
              </a:rPr>
              <a:t>setClientVariable</a:t>
            </a:r>
            <a:r>
              <a:rPr lang="en-US" dirty="0">
                <a:solidFill>
                  <a:srgbClr val="212272"/>
                </a:solidFill>
              </a:rPr>
              <a:t>("</a:t>
            </a:r>
            <a:r>
              <a:rPr lang="en-US" dirty="0" err="1">
                <a:solidFill>
                  <a:srgbClr val="212272"/>
                </a:solidFill>
              </a:rPr>
              <a:t>Tab",“Table</a:t>
            </a:r>
            <a:r>
              <a:rPr lang="en-US" dirty="0">
                <a:solidFill>
                  <a:srgbClr val="212272"/>
                </a:solidFill>
              </a:rPr>
              <a:t>"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>
                <a:solidFill>
                  <a:srgbClr val="212272"/>
                </a:solidFill>
              </a:rPr>
              <a:t>subscribetoClientVariable</a:t>
            </a:r>
            <a:r>
              <a:rPr lang="en-US" dirty="0">
                <a:solidFill>
                  <a:srgbClr val="212272"/>
                </a:solidFill>
              </a:rPr>
              <a:t>("Tab") == “Table"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>
                <a:solidFill>
                  <a:srgbClr val="212272"/>
                </a:solidFill>
              </a:rPr>
              <a:t>setviewvariablevalue</a:t>
            </a:r>
            <a:r>
              <a:rPr lang="en-US" dirty="0">
                <a:solidFill>
                  <a:srgbClr val="212272"/>
                </a:solidFill>
              </a:rPr>
              <a:t>(</a:t>
            </a:r>
            <a:r>
              <a:rPr lang="en-US" dirty="0" err="1">
                <a:solidFill>
                  <a:srgbClr val="212272"/>
                </a:solidFill>
              </a:rPr>
              <a:t>combobox</a:t>
            </a:r>
            <a:r>
              <a:rPr lang="en-US" dirty="0">
                <a:solidFill>
                  <a:srgbClr val="212272"/>
                </a:solidFill>
              </a:rPr>
              <a:t>,”%”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rgbClr val="212272"/>
              </a:solidFill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74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2611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5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02339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6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36920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7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14785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8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77435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9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69953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1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25096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Data develope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Data engineeri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Data analys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Data science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E7B93C-D72C-4FEB-8831-13681B5D6B50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52185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8.xml"/><Relationship Id="rId7" Type="http://schemas.openxmlformats.org/officeDocument/2006/relationships/image" Target="../media/image2.emf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4.bin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4.bin"/><Relationship Id="rId2" Type="http://schemas.openxmlformats.org/officeDocument/2006/relationships/tags" Target="../tags/tag16.xml"/><Relationship Id="rId1" Type="http://schemas.openxmlformats.org/officeDocument/2006/relationships/customXml" Target="../../customXml/item4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26.xml"/><Relationship Id="rId7" Type="http://schemas.openxmlformats.org/officeDocument/2006/relationships/image" Target="../media/image2.emf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tags" Target="../tags/tag28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4.bin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4.bin"/><Relationship Id="rId2" Type="http://schemas.openxmlformats.org/officeDocument/2006/relationships/tags" Target="../tags/tag34.xml"/><Relationship Id="rId1" Type="http://schemas.openxmlformats.org/officeDocument/2006/relationships/customXml" Target="../../customXml/item2.x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5588" y="1122363"/>
            <a:ext cx="9148762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5588" y="3602038"/>
            <a:ext cx="9148762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4788" cy="365125"/>
          </a:xfrm>
          <a:prstGeom prst="rect">
            <a:avLst/>
          </a:prstGeom>
        </p:spPr>
        <p:txBody>
          <a:bodyPr/>
          <a:lstStyle/>
          <a:p>
            <a:fld id="{831245AD-C692-4B48-AF67-F871369A9ABE}" type="datetimeFigureOut">
              <a:rPr lang="en-US" smtClean="0"/>
              <a:t>10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40188" y="6356350"/>
            <a:ext cx="411797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5363" y="6356350"/>
            <a:ext cx="2744787" cy="365125"/>
          </a:xfrm>
          <a:prstGeom prst="rect">
            <a:avLst/>
          </a:prstGeom>
        </p:spPr>
        <p:txBody>
          <a:bodyPr/>
          <a:lstStyle/>
          <a:p>
            <a:fld id="{DCD3FB27-A30A-45AB-A6C2-475F0182B4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02184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2195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2195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4788" cy="365125"/>
          </a:xfrm>
          <a:prstGeom prst="rect">
            <a:avLst/>
          </a:prstGeom>
        </p:spPr>
        <p:txBody>
          <a:bodyPr/>
          <a:lstStyle/>
          <a:p>
            <a:fld id="{831245AD-C692-4B48-AF67-F871369A9ABE}" type="datetimeFigureOut">
              <a:rPr lang="en-US" smtClean="0"/>
              <a:t>10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40188" y="6356350"/>
            <a:ext cx="411797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5363" y="6356350"/>
            <a:ext cx="2744787" cy="365125"/>
          </a:xfrm>
          <a:prstGeom prst="rect">
            <a:avLst/>
          </a:prstGeom>
        </p:spPr>
        <p:txBody>
          <a:bodyPr/>
          <a:lstStyle/>
          <a:p>
            <a:fld id="{DCD3FB27-A30A-45AB-A6C2-475F0182B4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06495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9663" y="365125"/>
            <a:ext cx="2630487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9063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4788" cy="365125"/>
          </a:xfrm>
          <a:prstGeom prst="rect">
            <a:avLst/>
          </a:prstGeom>
        </p:spPr>
        <p:txBody>
          <a:bodyPr/>
          <a:lstStyle/>
          <a:p>
            <a:fld id="{831245AD-C692-4B48-AF67-F871369A9ABE}" type="datetimeFigureOut">
              <a:rPr lang="en-US" smtClean="0"/>
              <a:t>10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40188" y="6356350"/>
            <a:ext cx="411797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5363" y="6356350"/>
            <a:ext cx="2744787" cy="365125"/>
          </a:xfrm>
          <a:prstGeom prst="rect">
            <a:avLst/>
          </a:prstGeom>
        </p:spPr>
        <p:txBody>
          <a:bodyPr/>
          <a:lstStyle/>
          <a:p>
            <a:fld id="{DCD3FB27-A30A-45AB-A6C2-475F0182B4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60579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4723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ltGray">
          <a:xfrm>
            <a:off x="627063" y="3462181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398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1" rIns="0" bIns="0">
            <a:noAutofit/>
          </a:bodyPr>
          <a:lstStyle/>
          <a:p>
            <a:pPr algn="ctr" eaLnBrk="1">
              <a:buClrTx/>
              <a:buFontTx/>
              <a:buNone/>
            </a:pPr>
            <a:endParaRPr lang="en-US" sz="1099" b="1" dirty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999" b="1"/>
            </a:lvl1pPr>
            <a:lvl2pPr marL="1587" indent="0">
              <a:buNone/>
              <a:defRPr/>
            </a:lvl2pPr>
          </a:lstStyle>
          <a:p>
            <a:pPr lvl="0"/>
            <a:r>
              <a:rPr lang="en-US" dirty="0"/>
              <a:t>Please insert URL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999" b="1"/>
            </a:lvl1pPr>
            <a:lvl2pPr marL="1587" indent="0">
              <a:buNone/>
              <a:defRPr/>
            </a:lvl2pPr>
          </a:lstStyle>
          <a:p>
            <a:pPr lvl="0"/>
            <a:r>
              <a:rPr lang="de-DE"/>
              <a:t>Please insert Frei verwendbarity note</a:t>
            </a:r>
            <a:endParaRPr lang="en-US" dirty="0"/>
          </a:p>
        </p:txBody>
      </p:sp>
      <p:grpSp>
        <p:nvGrpSpPr>
          <p:cNvPr id="32" name="Gruppieren 31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3" name="Gerade Verbindung 3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 rot="5400000">
              <a:off x="123228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94822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-1260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4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5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36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37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38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39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40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41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42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43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44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45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46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47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48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49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50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51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52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53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54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55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56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78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79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80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81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82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</p:grpSp>
      <p:pic>
        <p:nvPicPr>
          <p:cNvPr id="83" name="SIMATIC_PCS 7_V9_FS" descr="C:\Users\z003k6cf\Pictures\Bild4.jp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550" y="0"/>
            <a:ext cx="1219835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947629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ter title Dynamic Petr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1" rIns="0" bIns="0">
            <a:noAutofit/>
          </a:bodyPr>
          <a:lstStyle/>
          <a:p>
            <a:pPr algn="ctr" eaLnBrk="1">
              <a:buClrTx/>
              <a:buFontTx/>
              <a:buNone/>
            </a:pPr>
            <a:endParaRPr lang="en-US" sz="1099" b="1" dirty="0">
              <a:solidFill>
                <a:srgbClr val="990000"/>
              </a:solidFill>
            </a:endParaRPr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2" name="Gerade Verbindung 3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0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ltGray">
          <a:xfrm>
            <a:off x="627063" y="3891600"/>
            <a:ext cx="6480000" cy="2340314"/>
          </a:xfrm>
          <a:noFill/>
        </p:spPr>
        <p:txBody>
          <a:bodyPr wrap="square" lIns="216000" tIns="90000" rIns="216000" bIns="216000" anchor="b" anchorCtr="0">
            <a:spAutoFit/>
          </a:bodyPr>
          <a:lstStyle>
            <a:lvl1pPr>
              <a:defRPr sz="4398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grpSp>
        <p:nvGrpSpPr>
          <p:cNvPr id="28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3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34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35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36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37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38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39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40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41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42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43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44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45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46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47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48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49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50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51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52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53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54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55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77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78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79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80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</p:grpSp>
    </p:spTree>
    <p:extLst>
      <p:ext uri="{BB962C8B-B14F-4D97-AF65-F5344CB8AC3E}">
        <p14:creationId xmlns:p14="http://schemas.microsoft.com/office/powerpoint/2010/main" val="21499685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hteck 37"/>
          <p:cNvSpPr/>
          <p:nvPr userDrawn="1"/>
        </p:nvSpPr>
        <p:spPr bwMode="auto">
          <a:xfrm>
            <a:off x="122511" y="5877272"/>
            <a:ext cx="12025336" cy="82809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799" b="0" i="0" u="none" baseline="0" dirty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hteck 35" hidden="1"/>
          <p:cNvSpPr/>
          <p:nvPr userDrawn="1">
            <p:custDataLst>
              <p:tags r:id="rId2"/>
            </p:custDataLst>
          </p:nvPr>
        </p:nvSpPr>
        <p:spPr bwMode="gray">
          <a:xfrm>
            <a:off x="3175" y="-1"/>
            <a:ext cx="12196800" cy="6854825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99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7" name="Rechteck 56"/>
          <p:cNvSpPr/>
          <p:nvPr userDrawn="1"/>
        </p:nvSpPr>
        <p:spPr bwMode="gray">
          <a:xfrm>
            <a:off x="0" y="0"/>
            <a:ext cx="12198350" cy="685800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99" b="1" dirty="0" err="1">
              <a:solidFill>
                <a:schemeClr val="tx1"/>
              </a:solidFill>
            </a:endParaRPr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1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099" b="1" dirty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7063" y="5877272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999" b="1"/>
            </a:lvl1pPr>
            <a:lvl2pPr marL="1587" indent="0">
              <a:buNone/>
              <a:defRPr/>
            </a:lvl2pPr>
          </a:lstStyle>
          <a:p>
            <a:pPr lvl="0"/>
            <a:r>
              <a:rPr lang="en-US" dirty="0"/>
              <a:t>Please insert URL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7063" y="5877272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999" b="1"/>
            </a:lvl1pPr>
            <a:lvl2pPr marL="1587" indent="0">
              <a:buNone/>
              <a:defRPr/>
            </a:lvl2pPr>
          </a:lstStyle>
          <a:p>
            <a:pPr lvl="0"/>
            <a:r>
              <a:rPr lang="en-US"/>
              <a:t>Please insert Unrestrictedity note</a:t>
            </a:r>
            <a:endParaRPr lang="en-US" dirty="0"/>
          </a:p>
        </p:txBody>
      </p:sp>
      <p:grpSp>
        <p:nvGrpSpPr>
          <p:cNvPr id="58" name="Group 33"/>
          <p:cNvGrpSpPr>
            <a:grpSpLocks noChangeAspect="1"/>
          </p:cNvGrpSpPr>
          <p:nvPr userDrawn="1"/>
        </p:nvGrpSpPr>
        <p:grpSpPr bwMode="gray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67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/>
            </a:p>
          </p:txBody>
        </p:sp>
        <p:sp>
          <p:nvSpPr>
            <p:cNvPr id="68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/>
            </a:p>
          </p:txBody>
        </p:sp>
        <p:sp>
          <p:nvSpPr>
            <p:cNvPr id="69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/>
            </a:p>
          </p:txBody>
        </p:sp>
        <p:sp>
          <p:nvSpPr>
            <p:cNvPr id="70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/>
            </a:p>
          </p:txBody>
        </p:sp>
        <p:sp>
          <p:nvSpPr>
            <p:cNvPr id="71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/>
            </a:p>
          </p:txBody>
        </p:sp>
        <p:sp>
          <p:nvSpPr>
            <p:cNvPr id="72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/>
            </a:p>
          </p:txBody>
        </p:sp>
        <p:sp>
          <p:nvSpPr>
            <p:cNvPr id="73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/>
            </a:p>
          </p:txBody>
        </p:sp>
        <p:sp>
          <p:nvSpPr>
            <p:cNvPr id="74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/>
            </a:p>
          </p:txBody>
        </p:sp>
        <p:sp>
          <p:nvSpPr>
            <p:cNvPr id="75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/>
            </a:p>
          </p:txBody>
        </p:sp>
        <p:sp>
          <p:nvSpPr>
            <p:cNvPr id="76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/>
            </a:p>
          </p:txBody>
        </p:sp>
        <p:sp>
          <p:nvSpPr>
            <p:cNvPr id="77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/>
            </a:p>
          </p:txBody>
        </p:sp>
        <p:sp>
          <p:nvSpPr>
            <p:cNvPr id="78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/>
            </a:p>
          </p:txBody>
        </p:sp>
        <p:sp>
          <p:nvSpPr>
            <p:cNvPr id="79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/>
            </a:p>
          </p:txBody>
        </p:sp>
        <p:sp>
          <p:nvSpPr>
            <p:cNvPr id="80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/>
            </a:p>
          </p:txBody>
        </p:sp>
        <p:sp>
          <p:nvSpPr>
            <p:cNvPr id="81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/>
            </a:p>
          </p:txBody>
        </p:sp>
        <p:sp>
          <p:nvSpPr>
            <p:cNvPr id="82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/>
            </a:p>
          </p:txBody>
        </p:sp>
        <p:sp>
          <p:nvSpPr>
            <p:cNvPr id="83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/>
            </a:p>
          </p:txBody>
        </p:sp>
        <p:sp>
          <p:nvSpPr>
            <p:cNvPr id="84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/>
            </a:p>
          </p:txBody>
        </p:sp>
        <p:sp>
          <p:nvSpPr>
            <p:cNvPr id="85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/>
            </a:p>
          </p:txBody>
        </p:sp>
        <p:sp>
          <p:nvSpPr>
            <p:cNvPr id="86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/>
            </a:p>
          </p:txBody>
        </p:sp>
        <p:sp>
          <p:nvSpPr>
            <p:cNvPr id="87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/>
            </a:p>
          </p:txBody>
        </p:sp>
        <p:sp>
          <p:nvSpPr>
            <p:cNvPr id="88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/>
            </a:p>
          </p:txBody>
        </p:sp>
        <p:sp>
          <p:nvSpPr>
            <p:cNvPr id="89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/>
            </a:p>
          </p:txBody>
        </p:sp>
        <p:sp>
          <p:nvSpPr>
            <p:cNvPr id="90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/>
            </a:p>
          </p:txBody>
        </p:sp>
        <p:sp>
          <p:nvSpPr>
            <p:cNvPr id="91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/>
            </a:p>
          </p:txBody>
        </p:sp>
        <p:sp>
          <p:nvSpPr>
            <p:cNvPr id="92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/>
            </a:p>
          </p:txBody>
        </p:sp>
        <p:sp>
          <p:nvSpPr>
            <p:cNvPr id="93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/>
            </a:p>
          </p:txBody>
        </p:sp>
      </p:grpSp>
      <p:sp>
        <p:nvSpPr>
          <p:cNvPr id="37" name="Titel 2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 bwMode="gray">
          <a:xfrm>
            <a:off x="626791" y="4142061"/>
            <a:ext cx="6480496" cy="166320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vert="horz" wrap="square" lIns="216000" tIns="90000" rIns="216000" bIns="21600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de-DE" sz="4398" baseline="0">
                <a:solidFill>
                  <a:srgbClr val="FFFFFF"/>
                </a:solidFill>
                <a:latin typeface="+mn-lt"/>
              </a:defRPr>
            </a:lvl1pPr>
          </a:lstStyle>
          <a:p>
            <a:pPr marL="0" lvl="0" indent="0">
              <a:lnSpc>
                <a:spcPct val="100000"/>
              </a:lnSpc>
              <a:buClr>
                <a:schemeClr val="accent1"/>
              </a:buClr>
              <a:buFont typeface="Arial" pitchFamily="34" charset="0"/>
              <a:buNone/>
              <a:tabLst/>
            </a:pPr>
            <a:r>
              <a:rPr lang="en-US" dirty="0"/>
              <a:t>Click here</a:t>
            </a:r>
            <a:br>
              <a:rPr lang="en-US" dirty="0"/>
            </a:br>
            <a:r>
              <a:rPr lang="en-US" dirty="0"/>
              <a:t>to enter title</a:t>
            </a:r>
          </a:p>
        </p:txBody>
      </p:sp>
    </p:spTree>
    <p:extLst>
      <p:ext uri="{BB962C8B-B14F-4D97-AF65-F5344CB8AC3E}">
        <p14:creationId xmlns:p14="http://schemas.microsoft.com/office/powerpoint/2010/main" val="41219247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 userDrawn="1">
            <p:custDataLst>
              <p:tags r:id="rId3"/>
            </p:custDataLst>
          </p:nvPr>
        </p:nvSpPr>
        <p:spPr bwMode="gray">
          <a:xfrm>
            <a:off x="1" y="1414800"/>
            <a:ext cx="12196800" cy="4806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99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/>
              <a:t>January 2018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r"/>
            <a:r>
              <a:rPr lang="en-US"/>
              <a:t>TIA Portal - Highlights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/>
              <a:t>Page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hteck 6" hidden="1"/>
          <p:cNvSpPr/>
          <p:nvPr userDrawn="1">
            <p:custDataLst>
              <p:tags r:id="rId4"/>
            </p:custDataLst>
          </p:nvPr>
        </p:nvSpPr>
        <p:spPr bwMode="gray">
          <a:xfrm>
            <a:off x="8978900" y="-1"/>
            <a:ext cx="3219450" cy="141287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99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493697991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b_Standard - 1 row headline, sub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583176" y="932184"/>
            <a:ext cx="9930830" cy="467892"/>
          </a:xfrm>
          <a:prstGeom prst="rect">
            <a:avLst/>
          </a:prstGeom>
        </p:spPr>
        <p:txBody>
          <a:bodyPr lIns="108000" tIns="54000" rIns="108000" bIns="54000">
            <a:noAutofit/>
          </a:bodyPr>
          <a:lstStyle>
            <a:lvl1pPr>
              <a:lnSpc>
                <a:spcPts val="2899"/>
              </a:lnSpc>
              <a:spcBef>
                <a:spcPts val="600"/>
              </a:spcBef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subtitle 24 pt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582069" y="1799582"/>
            <a:ext cx="9932425" cy="4534950"/>
          </a:xfrm>
          <a:prstGeom prst="rect">
            <a:avLst/>
          </a:prstGeom>
        </p:spPr>
        <p:txBody>
          <a:bodyPr lIns="108000" rIns="108000"/>
          <a:lstStyle>
            <a:lvl1pPr>
              <a:defRPr/>
            </a:lvl1pPr>
            <a:lvl2pPr>
              <a:defRPr sz="1999"/>
            </a:lvl2pPr>
          </a:lstStyle>
          <a:p>
            <a:pPr lvl="0"/>
            <a:r>
              <a:rPr lang="en-US" dirty="0"/>
              <a:t>Click to edit text 24 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280425" y="6525289"/>
            <a:ext cx="2593350" cy="144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FFFFFF">
                    <a:lumMod val="50000"/>
                  </a:srgbClr>
                </a:solidFill>
              </a:rPr>
              <a:t>Initials/YYYY-MM-DD</a:t>
            </a:r>
            <a:endParaRPr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83866" y="6525289"/>
            <a:ext cx="359813" cy="144000"/>
          </a:xfrm>
          <a:prstGeom prst="rect">
            <a:avLst/>
          </a:prstGeom>
        </p:spPr>
        <p:txBody>
          <a:bodyPr/>
          <a:lstStyle/>
          <a:p>
            <a:r>
              <a:rPr dirty="0">
                <a:solidFill>
                  <a:srgbClr val="FFFFFF">
                    <a:lumMod val="50000"/>
                  </a:srgbClr>
                </a:solidFill>
              </a:rPr>
              <a:t>/ </a:t>
            </a:r>
            <a:fld id="{51D75496-C612-4091-9F61-05CA146263B0}" type="slidenum">
              <a:rPr>
                <a:solidFill>
                  <a:srgbClr val="FFFFFF">
                    <a:lumMod val="50000"/>
                  </a:srgbClr>
                </a:solidFill>
              </a:rPr>
              <a:pPr/>
              <a:t>‹#›</a:t>
            </a:fld>
            <a:endParaRPr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1581915" y="525477"/>
            <a:ext cx="9930830" cy="467892"/>
          </a:xfrm>
          <a:prstGeom prst="rect">
            <a:avLst/>
          </a:prstGeom>
        </p:spPr>
        <p:txBody>
          <a:bodyPr vert="horz" lIns="108000" tIns="54000" rIns="108000" bIns="54000" rtlCol="0" anchor="b" anchorCtr="0">
            <a:noAutofit/>
          </a:bodyPr>
          <a:lstStyle>
            <a:lvl1pPr>
              <a:lnSpc>
                <a:spcPct val="85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77484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c_Standard - 2 rows headlines, sub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581915" y="1331692"/>
            <a:ext cx="9930830" cy="467892"/>
          </a:xfrm>
          <a:prstGeom prst="rect">
            <a:avLst/>
          </a:prstGeom>
        </p:spPr>
        <p:txBody>
          <a:bodyPr lIns="108000" tIns="54000" rIns="108000" bIns="54000">
            <a:noAutofit/>
          </a:bodyPr>
          <a:lstStyle>
            <a:lvl1pPr>
              <a:lnSpc>
                <a:spcPts val="2899"/>
              </a:lnSpc>
              <a:spcBef>
                <a:spcPts val="600"/>
              </a:spcBef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subtitle 24 pt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582069" y="2249480"/>
            <a:ext cx="9932425" cy="4139042"/>
          </a:xfrm>
          <a:prstGeom prst="rect">
            <a:avLst/>
          </a:prstGeom>
        </p:spPr>
        <p:txBody>
          <a:bodyPr lIns="108000" rIns="108000"/>
          <a:lstStyle>
            <a:lvl1pPr>
              <a:defRPr/>
            </a:lvl1pPr>
          </a:lstStyle>
          <a:p>
            <a:pPr lvl="0"/>
            <a:r>
              <a:rPr lang="en-US" dirty="0"/>
              <a:t>Click to edit text 24 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280425" y="6525289"/>
            <a:ext cx="2593350" cy="144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FFFFFF">
                    <a:lumMod val="50000"/>
                  </a:srgbClr>
                </a:solidFill>
              </a:rPr>
              <a:t>Initials/YYYY-MM-DD</a:t>
            </a:r>
            <a:endParaRPr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83866" y="6525289"/>
            <a:ext cx="359813" cy="144000"/>
          </a:xfrm>
          <a:prstGeom prst="rect">
            <a:avLst/>
          </a:prstGeom>
        </p:spPr>
        <p:txBody>
          <a:bodyPr/>
          <a:lstStyle/>
          <a:p>
            <a:r>
              <a:rPr>
                <a:solidFill>
                  <a:srgbClr val="FFFFFF">
                    <a:lumMod val="50000"/>
                  </a:srgbClr>
                </a:solidFill>
              </a:rPr>
              <a:t>/ </a:t>
            </a:r>
            <a:fld id="{51D75496-C612-4091-9F61-05CA146263B0}" type="slidenum">
              <a:rPr>
                <a:solidFill>
                  <a:srgbClr val="FFFFFF">
                    <a:lumMod val="50000"/>
                  </a:srgbClr>
                </a:solidFill>
              </a:rPr>
              <a:pPr/>
              <a:t>‹#›</a:t>
            </a:fld>
            <a:endParaRPr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581915" y="485888"/>
            <a:ext cx="9930830" cy="719833"/>
          </a:xfrm>
          <a:prstGeom prst="rect">
            <a:avLst/>
          </a:prstGeom>
        </p:spPr>
        <p:txBody>
          <a:bodyPr vert="horz" lIns="108000" tIns="54000" rIns="108000" bIns="54000" rtlCol="0" anchor="t" anchorCtr="0">
            <a:noAutofit/>
          </a:bodyPr>
          <a:lstStyle>
            <a:lvl1pPr>
              <a:lnSpc>
                <a:spcPct val="94000"/>
              </a:lnSpc>
              <a:spcAft>
                <a:spcPts val="0"/>
              </a:spcAft>
              <a:defRPr baseline="0"/>
            </a:lvl1pPr>
          </a:lstStyle>
          <a:p>
            <a:r>
              <a:rPr lang="en-US" dirty="0"/>
              <a:t>Click to edit title 28 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869581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b_Standard - 1 row headline and sub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280425" y="6525289"/>
            <a:ext cx="2593350" cy="144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FFFFFF">
                    <a:lumMod val="50000"/>
                  </a:srgbClr>
                </a:solidFill>
              </a:rPr>
              <a:t>Initials/YYYY-MM-DD</a:t>
            </a:r>
            <a:endParaRPr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783866" y="6525289"/>
            <a:ext cx="359813" cy="144000"/>
          </a:xfrm>
          <a:prstGeom prst="rect">
            <a:avLst/>
          </a:prstGeom>
        </p:spPr>
        <p:txBody>
          <a:bodyPr/>
          <a:lstStyle/>
          <a:p>
            <a:r>
              <a:rPr>
                <a:solidFill>
                  <a:srgbClr val="FFFFFF">
                    <a:lumMod val="50000"/>
                  </a:srgbClr>
                </a:solidFill>
              </a:rPr>
              <a:t>/ </a:t>
            </a:r>
            <a:fld id="{51D75496-C612-4091-9F61-05CA146263B0}" type="slidenum">
              <a:rPr>
                <a:solidFill>
                  <a:srgbClr val="FFFFFF">
                    <a:lumMod val="50000"/>
                  </a:srgbClr>
                </a:solidFill>
              </a:rPr>
              <a:pPr/>
              <a:t>‹#›</a:t>
            </a:fld>
            <a:endParaRPr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583176" y="932185"/>
            <a:ext cx="9930830" cy="466725"/>
          </a:xfrm>
          <a:prstGeom prst="rect">
            <a:avLst/>
          </a:prstGeom>
        </p:spPr>
        <p:txBody>
          <a:bodyPr lIns="108000" tIns="54000" rIns="108000" bIns="54000">
            <a:noAutofit/>
          </a:bodyPr>
          <a:lstStyle>
            <a:lvl1pPr>
              <a:lnSpc>
                <a:spcPts val="2899"/>
              </a:lnSpc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subtitle 24 pt</a:t>
            </a:r>
            <a:endParaRPr lang="en-GB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1581915" y="524024"/>
            <a:ext cx="9930830" cy="467892"/>
          </a:xfrm>
          <a:prstGeom prst="rect">
            <a:avLst/>
          </a:prstGeom>
        </p:spPr>
        <p:txBody>
          <a:bodyPr vert="horz" lIns="108932" tIns="54466" rIns="108932" bIns="54466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48558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2195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219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4788" cy="365125"/>
          </a:xfrm>
          <a:prstGeom prst="rect">
            <a:avLst/>
          </a:prstGeom>
        </p:spPr>
        <p:txBody>
          <a:bodyPr/>
          <a:lstStyle/>
          <a:p>
            <a:fld id="{831245AD-C692-4B48-AF67-F871369A9ABE}" type="datetimeFigureOut">
              <a:rPr lang="en-US" smtClean="0"/>
              <a:t>10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40188" y="6356350"/>
            <a:ext cx="411797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5363" y="6356350"/>
            <a:ext cx="2744787" cy="365125"/>
          </a:xfrm>
          <a:prstGeom prst="rect">
            <a:avLst/>
          </a:prstGeom>
        </p:spPr>
        <p:txBody>
          <a:bodyPr/>
          <a:lstStyle/>
          <a:p>
            <a:fld id="{DCD3FB27-A30A-45AB-A6C2-475F0182B4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03083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c_Standard - 2 rows headlines and sub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280425" y="6525289"/>
            <a:ext cx="2593350" cy="144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FFFFFF">
                    <a:lumMod val="50000"/>
                  </a:srgbClr>
                </a:solidFill>
              </a:rPr>
              <a:t>Initials/YYYY-MM-DD</a:t>
            </a:r>
            <a:endParaRPr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783866" y="6525289"/>
            <a:ext cx="359813" cy="144000"/>
          </a:xfrm>
          <a:prstGeom prst="rect">
            <a:avLst/>
          </a:prstGeom>
        </p:spPr>
        <p:txBody>
          <a:bodyPr/>
          <a:lstStyle/>
          <a:p>
            <a:r>
              <a:rPr>
                <a:solidFill>
                  <a:srgbClr val="FFFFFF">
                    <a:lumMod val="50000"/>
                  </a:srgbClr>
                </a:solidFill>
              </a:rPr>
              <a:t>/ </a:t>
            </a:r>
            <a:fld id="{51D75496-C612-4091-9F61-05CA146263B0}" type="slidenum">
              <a:rPr>
                <a:solidFill>
                  <a:srgbClr val="FFFFFF">
                    <a:lumMod val="50000"/>
                  </a:srgbClr>
                </a:solidFill>
              </a:rPr>
              <a:pPr/>
              <a:t>‹#›</a:t>
            </a:fld>
            <a:endParaRPr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581915" y="485888"/>
            <a:ext cx="9930830" cy="719833"/>
          </a:xfrm>
          <a:prstGeom prst="rect">
            <a:avLst/>
          </a:prstGeom>
        </p:spPr>
        <p:txBody>
          <a:bodyPr vert="horz" lIns="108932" tIns="54466" rIns="108932" bIns="54466" rtlCol="0" anchor="t" anchorCtr="0">
            <a:noAutofit/>
          </a:bodyPr>
          <a:lstStyle>
            <a:lvl1pPr>
              <a:lnSpc>
                <a:spcPct val="94000"/>
              </a:lnSpc>
              <a:defRPr/>
            </a:lvl1pPr>
          </a:lstStyle>
          <a:p>
            <a:r>
              <a:rPr lang="en-US" dirty="0"/>
              <a:t>Click to edit title 28 pt</a:t>
            </a:r>
            <a:endParaRPr lang="en-GB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583664" y="1331692"/>
            <a:ext cx="9930830" cy="466725"/>
          </a:xfrm>
          <a:prstGeom prst="rect">
            <a:avLst/>
          </a:prstGeom>
        </p:spPr>
        <p:txBody>
          <a:bodyPr lIns="108000" tIns="54000" rIns="108000" bIns="54000">
            <a:noAutofit/>
          </a:bodyPr>
          <a:lstStyle>
            <a:lvl1pPr>
              <a:lnSpc>
                <a:spcPts val="2899"/>
              </a:lnSpc>
              <a:spcBef>
                <a:spcPts val="600"/>
              </a:spcBef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subtitle 24 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753090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b_Standard - 1 row headline, sub title and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581915" y="1799583"/>
            <a:ext cx="4677565" cy="4534950"/>
          </a:xfrm>
          <a:prstGeom prst="rect">
            <a:avLst/>
          </a:prstGeom>
        </p:spPr>
        <p:txBody>
          <a:bodyPr lIns="108000" rIns="108000">
            <a:noAutofit/>
          </a:bodyPr>
          <a:lstStyle>
            <a:lvl1pPr>
              <a:defRPr sz="2399"/>
            </a:lvl1pPr>
            <a:lvl2pPr>
              <a:defRPr sz="1999"/>
            </a:lvl2pPr>
            <a:lvl3pPr>
              <a:defRPr sz="1999"/>
            </a:lvl3pPr>
            <a:lvl4pPr>
              <a:defRPr sz="1999"/>
            </a:lvl4pPr>
            <a:lvl5pPr>
              <a:defRPr sz="1999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US" dirty="0"/>
              <a:t>Click to edit text 24 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836929" y="1799583"/>
            <a:ext cx="4677565" cy="4534950"/>
          </a:xfrm>
          <a:prstGeom prst="rect">
            <a:avLst/>
          </a:prstGeom>
        </p:spPr>
        <p:txBody>
          <a:bodyPr lIns="108000" rIns="108000">
            <a:noAutofit/>
          </a:bodyPr>
          <a:lstStyle>
            <a:lvl1pPr>
              <a:defRPr sz="2399"/>
            </a:lvl1pPr>
            <a:lvl2pPr>
              <a:defRPr sz="1999"/>
            </a:lvl2pPr>
            <a:lvl3pPr>
              <a:defRPr sz="1999"/>
            </a:lvl3pPr>
            <a:lvl4pPr>
              <a:defRPr sz="1999"/>
            </a:lvl4pPr>
            <a:lvl5pPr>
              <a:defRPr sz="1999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US" dirty="0"/>
              <a:t>Click to edit text 24 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280425" y="6525289"/>
            <a:ext cx="2593350" cy="144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FFFFFF">
                    <a:lumMod val="50000"/>
                  </a:srgbClr>
                </a:solidFill>
              </a:rPr>
              <a:t>Initials/YYYY-MM-DD</a:t>
            </a:r>
            <a:endParaRPr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783866" y="6525289"/>
            <a:ext cx="359813" cy="144000"/>
          </a:xfrm>
          <a:prstGeom prst="rect">
            <a:avLst/>
          </a:prstGeom>
        </p:spPr>
        <p:txBody>
          <a:bodyPr/>
          <a:lstStyle/>
          <a:p>
            <a:r>
              <a:rPr>
                <a:solidFill>
                  <a:srgbClr val="FFFFFF">
                    <a:lumMod val="50000"/>
                  </a:srgbClr>
                </a:solidFill>
              </a:rPr>
              <a:t>/ </a:t>
            </a:r>
            <a:fld id="{51D75496-C612-4091-9F61-05CA146263B0}" type="slidenum">
              <a:rPr>
                <a:solidFill>
                  <a:srgbClr val="FFFFFF">
                    <a:lumMod val="50000"/>
                  </a:srgbClr>
                </a:solidFill>
              </a:rPr>
              <a:pPr/>
              <a:t>‹#›</a:t>
            </a:fld>
            <a:endParaRPr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583176" y="934720"/>
            <a:ext cx="9930830" cy="466725"/>
          </a:xfrm>
          <a:prstGeom prst="rect">
            <a:avLst/>
          </a:prstGeom>
        </p:spPr>
        <p:txBody>
          <a:bodyPr lIns="108000" tIns="54000" rIns="108000" bIns="54000">
            <a:noAutofit/>
          </a:bodyPr>
          <a:lstStyle>
            <a:lvl1pPr>
              <a:lnSpc>
                <a:spcPts val="2899"/>
              </a:lnSpc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subtitle 24 pt</a:t>
            </a:r>
            <a:endParaRPr lang="en-GB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1581915" y="524027"/>
            <a:ext cx="9930830" cy="467892"/>
          </a:xfrm>
          <a:prstGeom prst="rect">
            <a:avLst/>
          </a:prstGeom>
        </p:spPr>
        <p:txBody>
          <a:bodyPr vert="horz" lIns="108932" tIns="54466" rIns="108932" bIns="54466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40908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c_Standard - 2 rows headlines, sub title and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581915" y="2159500"/>
            <a:ext cx="4677565" cy="4139042"/>
          </a:xfrm>
          <a:prstGeom prst="rect">
            <a:avLst/>
          </a:prstGeom>
        </p:spPr>
        <p:txBody>
          <a:bodyPr lIns="108000" tIns="54000" rIns="108000" bIns="54000">
            <a:noAutofit/>
          </a:bodyPr>
          <a:lstStyle>
            <a:lvl1pPr>
              <a:defRPr sz="2399"/>
            </a:lvl1pPr>
            <a:lvl2pPr>
              <a:defRPr sz="1999"/>
            </a:lvl2pPr>
            <a:lvl3pPr>
              <a:defRPr sz="1999"/>
            </a:lvl3pPr>
            <a:lvl4pPr>
              <a:defRPr sz="1999"/>
            </a:lvl4pPr>
            <a:lvl5pPr>
              <a:defRPr sz="1999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US" dirty="0"/>
              <a:t>Click to edit text 24 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836929" y="2159500"/>
            <a:ext cx="4677565" cy="4139042"/>
          </a:xfrm>
          <a:prstGeom prst="rect">
            <a:avLst/>
          </a:prstGeom>
        </p:spPr>
        <p:txBody>
          <a:bodyPr lIns="108000" tIns="54000" rIns="108000" bIns="54000">
            <a:noAutofit/>
          </a:bodyPr>
          <a:lstStyle>
            <a:lvl1pPr>
              <a:defRPr sz="2399"/>
            </a:lvl1pPr>
            <a:lvl2pPr>
              <a:defRPr sz="1999"/>
            </a:lvl2pPr>
            <a:lvl3pPr>
              <a:defRPr sz="1999"/>
            </a:lvl3pPr>
            <a:lvl4pPr>
              <a:defRPr sz="1999"/>
            </a:lvl4pPr>
            <a:lvl5pPr>
              <a:defRPr sz="1999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US" dirty="0"/>
              <a:t>Click to edit text 24 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280425" y="6525289"/>
            <a:ext cx="2593350" cy="144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FFFFFF">
                    <a:lumMod val="50000"/>
                  </a:srgbClr>
                </a:solidFill>
              </a:rPr>
              <a:t>Initials/YYYY-MM-DD</a:t>
            </a:r>
            <a:endParaRPr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783866" y="6525289"/>
            <a:ext cx="359813" cy="144000"/>
          </a:xfrm>
          <a:prstGeom prst="rect">
            <a:avLst/>
          </a:prstGeom>
        </p:spPr>
        <p:txBody>
          <a:bodyPr/>
          <a:lstStyle/>
          <a:p>
            <a:r>
              <a:rPr>
                <a:solidFill>
                  <a:srgbClr val="FFFFFF">
                    <a:lumMod val="50000"/>
                  </a:srgbClr>
                </a:solidFill>
              </a:rPr>
              <a:t>/ </a:t>
            </a:r>
            <a:fld id="{51D75496-C612-4091-9F61-05CA146263B0}" type="slidenum">
              <a:rPr>
                <a:solidFill>
                  <a:srgbClr val="FFFFFF">
                    <a:lumMod val="50000"/>
                  </a:srgbClr>
                </a:solidFill>
              </a:rPr>
              <a:pPr/>
              <a:t>‹#›</a:t>
            </a:fld>
            <a:endParaRPr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581915" y="485888"/>
            <a:ext cx="9930830" cy="719833"/>
          </a:xfrm>
          <a:prstGeom prst="rect">
            <a:avLst/>
          </a:prstGeom>
        </p:spPr>
        <p:txBody>
          <a:bodyPr vert="horz" lIns="108932" tIns="54466" rIns="108932" bIns="54466" rtlCol="0" anchor="t" anchorCtr="0">
            <a:noAutofit/>
          </a:bodyPr>
          <a:lstStyle>
            <a:lvl1pPr>
              <a:lnSpc>
                <a:spcPct val="94000"/>
              </a:lnSpc>
              <a:defRPr/>
            </a:lvl1pPr>
          </a:lstStyle>
          <a:p>
            <a:r>
              <a:rPr lang="en-US" dirty="0"/>
              <a:t>Click to edit title 28 pt</a:t>
            </a:r>
            <a:endParaRPr lang="en-GB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583664" y="1329962"/>
            <a:ext cx="9930830" cy="466725"/>
          </a:xfrm>
          <a:prstGeom prst="rect">
            <a:avLst/>
          </a:prstGeom>
        </p:spPr>
        <p:txBody>
          <a:bodyPr lIns="108000" tIns="54000" rIns="108000" bIns="54000">
            <a:noAutofit/>
          </a:bodyPr>
          <a:lstStyle>
            <a:lvl1pPr>
              <a:lnSpc>
                <a:spcPts val="2899"/>
              </a:lnSpc>
              <a:spcBef>
                <a:spcPts val="600"/>
              </a:spcBef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subtitle 24 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93865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2195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2747808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36179" y="0"/>
            <a:ext cx="9479134" cy="1257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447364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0"/>
            <a:ext cx="9346575" cy="1257300"/>
          </a:xfrm>
          <a:prstGeom prst="rect">
            <a:avLst/>
          </a:prstGeom>
        </p:spPr>
        <p:txBody>
          <a:bodyPr anchor="ctr"/>
          <a:lstStyle>
            <a:lvl1pPr algn="l">
              <a:defRPr sz="2100" b="1">
                <a:solidFill>
                  <a:srgbClr val="002060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A900F9-32E7-407E-9972-3F3949B88A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8" y="1524000"/>
            <a:ext cx="11026437" cy="4648414"/>
          </a:xfrm>
          <a:prstGeom prst="rect">
            <a:avLst/>
          </a:prstGeom>
        </p:spPr>
        <p:txBody>
          <a:bodyPr/>
          <a:lstStyle>
            <a:lvl1pPr marL="0" indent="0">
              <a:buFont typeface="Wingdings" panose="05000000000000000000" pitchFamily="2" charset="2"/>
              <a:buNone/>
              <a:defRPr sz="1800">
                <a:solidFill>
                  <a:srgbClr val="002060"/>
                </a:solidFill>
              </a:defRPr>
            </a:lvl1pPr>
            <a:lvl2pPr marL="557213" indent="-214313">
              <a:buFont typeface="Courier New" panose="02070309020205020404" pitchFamily="49" charset="0"/>
              <a:buChar char="o"/>
              <a:defRPr>
                <a:solidFill>
                  <a:srgbClr val="002060"/>
                </a:solidFill>
              </a:defRPr>
            </a:lvl2pPr>
            <a:lvl3pPr>
              <a:defRPr>
                <a:solidFill>
                  <a:srgbClr val="002060"/>
                </a:solidFill>
              </a:defRPr>
            </a:lvl3pPr>
            <a:lvl4pPr>
              <a:defRPr>
                <a:solidFill>
                  <a:srgbClr val="002060"/>
                </a:solidFill>
              </a:defRPr>
            </a:lvl4pPr>
            <a:lvl5pPr>
              <a:defRPr>
                <a:solidFill>
                  <a:srgbClr val="00206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557866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0"/>
            <a:ext cx="9346575" cy="1257300"/>
          </a:xfrm>
          <a:prstGeom prst="rect">
            <a:avLst/>
          </a:prstGeom>
        </p:spPr>
        <p:txBody>
          <a:bodyPr anchor="ctr"/>
          <a:lstStyle>
            <a:lvl1pPr algn="l">
              <a:defRPr sz="2100" b="1">
                <a:solidFill>
                  <a:srgbClr val="002060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A900F9-32E7-407E-9972-3F3949B88A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8" y="1524000"/>
            <a:ext cx="11026437" cy="4648414"/>
          </a:xfrm>
          <a:prstGeom prst="rect">
            <a:avLst/>
          </a:prstGeom>
        </p:spPr>
        <p:txBody>
          <a:bodyPr/>
          <a:lstStyle>
            <a:lvl1pPr marL="0" indent="0">
              <a:buFont typeface="Wingdings" panose="05000000000000000000" pitchFamily="2" charset="2"/>
              <a:buNone/>
              <a:defRPr sz="1800">
                <a:solidFill>
                  <a:srgbClr val="002060"/>
                </a:solidFill>
              </a:defRPr>
            </a:lvl1pPr>
            <a:lvl2pPr marL="557213" indent="-214313">
              <a:buFont typeface="Courier New" panose="02070309020205020404" pitchFamily="49" charset="0"/>
              <a:buChar char="o"/>
              <a:defRPr>
                <a:solidFill>
                  <a:srgbClr val="002060"/>
                </a:solidFill>
              </a:defRPr>
            </a:lvl2pPr>
            <a:lvl3pPr>
              <a:defRPr>
                <a:solidFill>
                  <a:srgbClr val="002060"/>
                </a:solidFill>
              </a:defRPr>
            </a:lvl3pPr>
            <a:lvl4pPr>
              <a:defRPr>
                <a:solidFill>
                  <a:srgbClr val="002060"/>
                </a:solidFill>
              </a:defRPr>
            </a:lvl4pPr>
            <a:lvl5pPr>
              <a:defRPr>
                <a:solidFill>
                  <a:srgbClr val="00206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46996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0"/>
            <a:ext cx="9346575" cy="1257300"/>
          </a:xfrm>
          <a:prstGeom prst="rect">
            <a:avLst/>
          </a:prstGeom>
        </p:spPr>
        <p:txBody>
          <a:bodyPr anchor="ctr"/>
          <a:lstStyle>
            <a:lvl1pPr algn="l">
              <a:defRPr sz="2100" b="1">
                <a:solidFill>
                  <a:srgbClr val="002060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A900F9-32E7-407E-9972-3F3949B88A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8" y="1524000"/>
            <a:ext cx="11026437" cy="4648414"/>
          </a:xfrm>
          <a:prstGeom prst="rect">
            <a:avLst/>
          </a:prstGeom>
        </p:spPr>
        <p:txBody>
          <a:bodyPr/>
          <a:lstStyle>
            <a:lvl1pPr marL="0" indent="0">
              <a:buFont typeface="Wingdings" panose="05000000000000000000" pitchFamily="2" charset="2"/>
              <a:buNone/>
              <a:defRPr sz="1800">
                <a:solidFill>
                  <a:srgbClr val="002060"/>
                </a:solidFill>
              </a:defRPr>
            </a:lvl1pPr>
            <a:lvl2pPr marL="557213" indent="-214313">
              <a:buFont typeface="Courier New" panose="02070309020205020404" pitchFamily="49" charset="0"/>
              <a:buChar char="o"/>
              <a:defRPr>
                <a:solidFill>
                  <a:srgbClr val="002060"/>
                </a:solidFill>
              </a:defRPr>
            </a:lvl2pPr>
            <a:lvl3pPr>
              <a:defRPr>
                <a:solidFill>
                  <a:srgbClr val="002060"/>
                </a:solidFill>
              </a:defRPr>
            </a:lvl3pPr>
            <a:lvl4pPr>
              <a:defRPr>
                <a:solidFill>
                  <a:srgbClr val="002060"/>
                </a:solidFill>
              </a:defRPr>
            </a:lvl4pPr>
            <a:lvl5pPr>
              <a:defRPr>
                <a:solidFill>
                  <a:srgbClr val="00206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478823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479134" cy="1257300"/>
          </a:xfrm>
          <a:prstGeom prst="rect">
            <a:avLst/>
          </a:prstGeom>
        </p:spPr>
        <p:txBody>
          <a:bodyPr anchor="ctr"/>
          <a:lstStyle>
            <a:lvl1pPr>
              <a:defRPr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0657409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637" y="365127"/>
            <a:ext cx="10521077" cy="90363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637" y="1825625"/>
            <a:ext cx="10521077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57403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2195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2195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4788" cy="365125"/>
          </a:xfrm>
          <a:prstGeom prst="rect">
            <a:avLst/>
          </a:prstGeom>
        </p:spPr>
        <p:txBody>
          <a:bodyPr/>
          <a:lstStyle/>
          <a:p>
            <a:fld id="{831245AD-C692-4B48-AF67-F871369A9ABE}" type="datetimeFigureOut">
              <a:rPr lang="en-US" smtClean="0"/>
              <a:t>10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40188" y="6356350"/>
            <a:ext cx="411797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5363" y="6356350"/>
            <a:ext cx="2744787" cy="365125"/>
          </a:xfrm>
          <a:prstGeom prst="rect">
            <a:avLst/>
          </a:prstGeom>
        </p:spPr>
        <p:txBody>
          <a:bodyPr/>
          <a:lstStyle/>
          <a:p>
            <a:fld id="{DCD3FB27-A30A-45AB-A6C2-475F0182B4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2674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2283" y="1709739"/>
            <a:ext cx="10521077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2283" y="4589464"/>
            <a:ext cx="10521077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2108147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637" y="365126"/>
            <a:ext cx="10521077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636" y="1825625"/>
            <a:ext cx="5184299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5415" y="1825625"/>
            <a:ext cx="5184299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636" y="6356351"/>
            <a:ext cx="2744629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DD66990-8CE6-4A6E-896E-C62E5DFE3597}" type="datetimeFigureOut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/2/2022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40704" y="6356351"/>
            <a:ext cx="4116943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5085" y="6356351"/>
            <a:ext cx="2744629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CCB13E7-A4AE-437F-B9D9-CBE3B9B636D7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174582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225" y="0"/>
            <a:ext cx="10521077" cy="1268761"/>
          </a:xfrm>
          <a:prstGeom prst="rect">
            <a:avLst/>
          </a:prstGeo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0226" y="1681163"/>
            <a:ext cx="5160473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0226" y="2505075"/>
            <a:ext cx="5160473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5414" y="1681163"/>
            <a:ext cx="51858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5414" y="2505075"/>
            <a:ext cx="51858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636" y="6356351"/>
            <a:ext cx="2744629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DD66990-8CE6-4A6E-896E-C62E5DFE3597}" type="datetimeFigureOut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/2/2022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40704" y="6356351"/>
            <a:ext cx="4116943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5085" y="6356351"/>
            <a:ext cx="2744629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CCB13E7-A4AE-437F-B9D9-CBE3B9B636D7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343903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0521077" cy="1268759"/>
          </a:xfrm>
          <a:prstGeom prst="rect">
            <a:avLst/>
          </a:prstGeo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636" y="6356351"/>
            <a:ext cx="2744629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DD66990-8CE6-4A6E-896E-C62E5DFE3597}" type="datetimeFigureOut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/2/2022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40704" y="6356351"/>
            <a:ext cx="4116943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5085" y="6356351"/>
            <a:ext cx="2744629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CCB13E7-A4AE-437F-B9D9-CBE3B9B636D7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134634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636" y="6356351"/>
            <a:ext cx="2744629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DD66990-8CE6-4A6E-896E-C62E5DFE3597}" type="datetimeFigureOut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/2/2022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40704" y="6356351"/>
            <a:ext cx="4116943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5085" y="6356351"/>
            <a:ext cx="2744629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CCB13E7-A4AE-437F-B9D9-CBE3B9B636D7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354517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226" y="457200"/>
            <a:ext cx="393428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5887" y="987426"/>
            <a:ext cx="6175415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226" y="2057400"/>
            <a:ext cx="393428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636" y="6356351"/>
            <a:ext cx="2744629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DD66990-8CE6-4A6E-896E-C62E5DFE3597}" type="datetimeFigureOut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/2/2022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40704" y="6356351"/>
            <a:ext cx="4116943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5085" y="6356351"/>
            <a:ext cx="2744629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CCB13E7-A4AE-437F-B9D9-CBE3B9B636D7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756937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226" y="457200"/>
            <a:ext cx="393428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5887" y="987426"/>
            <a:ext cx="6175415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226" y="2057400"/>
            <a:ext cx="393428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636" y="6356351"/>
            <a:ext cx="2744629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DD66990-8CE6-4A6E-896E-C62E5DFE3597}" type="datetimeFigureOut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/2/2022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40704" y="6356351"/>
            <a:ext cx="4116943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5085" y="6356351"/>
            <a:ext cx="2744629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CCB13E7-A4AE-437F-B9D9-CBE3B9B636D7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359656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637" y="365126"/>
            <a:ext cx="10521077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637" y="1825625"/>
            <a:ext cx="10521077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636" y="6356351"/>
            <a:ext cx="2744629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DD66990-8CE6-4A6E-896E-C62E5DFE3597}" type="datetimeFigureOut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/2/2022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40704" y="6356351"/>
            <a:ext cx="4116943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5085" y="6356351"/>
            <a:ext cx="2744629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CCB13E7-A4AE-437F-B9D9-CBE3B9B636D7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836910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9444" y="365125"/>
            <a:ext cx="2630269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637" y="365125"/>
            <a:ext cx="7738328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636" y="6356351"/>
            <a:ext cx="2744629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DD66990-8CE6-4A6E-896E-C62E5DFE3597}" type="datetimeFigureOut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/2/2022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40704" y="6356351"/>
            <a:ext cx="4116943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5085" y="6356351"/>
            <a:ext cx="2744629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CCB13E7-A4AE-437F-B9D9-CBE3B9B636D7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201718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ltGray">
          <a:xfrm>
            <a:off x="627063" y="3462181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398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1" rIns="0" bIns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99" b="1" i="0" u="none" strike="noStrike" kern="1200" cap="none" spc="0" normalizeH="0" baseline="0" noProof="0" dirty="0">
              <a:ln>
                <a:noFill/>
              </a:ln>
              <a:solidFill>
                <a:srgbClr val="99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999" b="1"/>
            </a:lvl1pPr>
            <a:lvl2pPr marL="1587" indent="0">
              <a:buNone/>
              <a:defRPr/>
            </a:lvl2pPr>
          </a:lstStyle>
          <a:p>
            <a:pPr lvl="0"/>
            <a:r>
              <a:rPr lang="en-US" dirty="0"/>
              <a:t>Please insert URL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999" b="1"/>
            </a:lvl1pPr>
            <a:lvl2pPr marL="1587" indent="0">
              <a:buNone/>
              <a:defRPr/>
            </a:lvl2pPr>
          </a:lstStyle>
          <a:p>
            <a:pPr lvl="0"/>
            <a:r>
              <a:rPr lang="de-DE"/>
              <a:t>Please insert Frei verwendbarity note</a:t>
            </a:r>
            <a:endParaRPr lang="en-US" dirty="0"/>
          </a:p>
        </p:txBody>
      </p:sp>
      <p:grpSp>
        <p:nvGrpSpPr>
          <p:cNvPr id="32" name="Gruppieren 31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3" name="Gerade Verbindung 3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 rot="5400000">
              <a:off x="123228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94822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-1260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4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5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36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37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38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39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40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41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42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43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44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45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46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47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48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49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50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51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52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53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54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55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56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78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79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80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81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82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</p:grpSp>
      <p:pic>
        <p:nvPicPr>
          <p:cNvPr id="83" name="SIMATIC_PCS 7_V9_FS" descr="C:\Users\z003k6cf\Pictures\Bild4.jp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550" y="0"/>
            <a:ext cx="1219835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066120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2195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4775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5375" y="1825625"/>
            <a:ext cx="5184775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4788" cy="365125"/>
          </a:xfrm>
          <a:prstGeom prst="rect">
            <a:avLst/>
          </a:prstGeom>
        </p:spPr>
        <p:txBody>
          <a:bodyPr/>
          <a:lstStyle/>
          <a:p>
            <a:fld id="{831245AD-C692-4B48-AF67-F871369A9ABE}" type="datetimeFigureOut">
              <a:rPr lang="en-US" smtClean="0"/>
              <a:t>10/2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40188" y="6356350"/>
            <a:ext cx="411797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5363" y="6356350"/>
            <a:ext cx="2744787" cy="365125"/>
          </a:xfrm>
          <a:prstGeom prst="rect">
            <a:avLst/>
          </a:prstGeom>
        </p:spPr>
        <p:txBody>
          <a:bodyPr/>
          <a:lstStyle/>
          <a:p>
            <a:fld id="{DCD3FB27-A30A-45AB-A6C2-475F0182B4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003588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ynamic Petr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1" rIns="0" bIns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99" b="1" i="0" u="none" strike="noStrike" kern="1200" cap="none" spc="0" normalizeH="0" baseline="0" noProof="0" dirty="0">
              <a:ln>
                <a:noFill/>
              </a:ln>
              <a:solidFill>
                <a:srgbClr val="99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2" name="Gerade Verbindung 3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0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ltGray">
          <a:xfrm>
            <a:off x="627063" y="3891600"/>
            <a:ext cx="6480000" cy="2340314"/>
          </a:xfrm>
          <a:noFill/>
        </p:spPr>
        <p:txBody>
          <a:bodyPr wrap="square" lIns="216000" tIns="90000" rIns="216000" bIns="216000" anchor="b" anchorCtr="0">
            <a:spAutoFit/>
          </a:bodyPr>
          <a:lstStyle>
            <a:lvl1pPr>
              <a:defRPr sz="4398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grpSp>
        <p:nvGrpSpPr>
          <p:cNvPr id="28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3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34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35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36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37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38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39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40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41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42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43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44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45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46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47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48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49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50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51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52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53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54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55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77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78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79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80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8494344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hteck 37"/>
          <p:cNvSpPr/>
          <p:nvPr userDrawn="1"/>
        </p:nvSpPr>
        <p:spPr bwMode="auto">
          <a:xfrm>
            <a:off x="122511" y="5877272"/>
            <a:ext cx="12025336" cy="82809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hteck 35" hidden="1"/>
          <p:cNvSpPr/>
          <p:nvPr userDrawn="1">
            <p:custDataLst>
              <p:tags r:id="rId2"/>
            </p:custDataLst>
          </p:nvPr>
        </p:nvSpPr>
        <p:spPr bwMode="gray">
          <a:xfrm>
            <a:off x="3175" y="-1"/>
            <a:ext cx="12196800" cy="6854825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7" name="Rechteck 56"/>
          <p:cNvSpPr/>
          <p:nvPr userDrawn="1"/>
        </p:nvSpPr>
        <p:spPr bwMode="gray">
          <a:xfrm>
            <a:off x="0" y="0"/>
            <a:ext cx="12198350" cy="685800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US" sz="1799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1" rIns="0" bIns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99" b="1" i="0" u="none" strike="noStrike" kern="1200" cap="none" spc="0" normalizeH="0" baseline="0" noProof="0" dirty="0">
              <a:ln>
                <a:noFill/>
              </a:ln>
              <a:solidFill>
                <a:srgbClr val="99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7063" y="5877272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999" b="1"/>
            </a:lvl1pPr>
            <a:lvl2pPr marL="1587" indent="0">
              <a:buNone/>
              <a:defRPr/>
            </a:lvl2pPr>
          </a:lstStyle>
          <a:p>
            <a:pPr lvl="0"/>
            <a:r>
              <a:rPr lang="en-US" dirty="0"/>
              <a:t>Please insert URL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7063" y="5877272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999" b="1"/>
            </a:lvl1pPr>
            <a:lvl2pPr marL="1587" indent="0">
              <a:buNone/>
              <a:defRPr/>
            </a:lvl2pPr>
          </a:lstStyle>
          <a:p>
            <a:pPr lvl="0"/>
            <a:r>
              <a:rPr lang="en-US"/>
              <a:t>Please insert Unrestrictedity note</a:t>
            </a:r>
            <a:endParaRPr lang="en-US" dirty="0"/>
          </a:p>
        </p:txBody>
      </p:sp>
      <p:grpSp>
        <p:nvGrpSpPr>
          <p:cNvPr id="58" name="Group 33"/>
          <p:cNvGrpSpPr>
            <a:grpSpLocks noChangeAspect="1"/>
          </p:cNvGrpSpPr>
          <p:nvPr userDrawn="1"/>
        </p:nvGrpSpPr>
        <p:grpSpPr bwMode="gray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67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68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69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70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71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72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73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74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75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76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77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78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79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80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81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82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83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84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85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86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87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88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89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90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91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92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93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</p:grpSp>
      <p:sp>
        <p:nvSpPr>
          <p:cNvPr id="37" name="Titel 2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 bwMode="gray">
          <a:xfrm>
            <a:off x="626791" y="4142061"/>
            <a:ext cx="6480496" cy="166320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vert="horz" wrap="square" lIns="216000" tIns="90000" rIns="216000" bIns="21600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de-DE" sz="4398" baseline="0">
                <a:solidFill>
                  <a:srgbClr val="FFFFFF"/>
                </a:solidFill>
                <a:latin typeface="+mn-lt"/>
              </a:defRPr>
            </a:lvl1pPr>
          </a:lstStyle>
          <a:p>
            <a:pPr marL="0" lvl="0" indent="0">
              <a:lnSpc>
                <a:spcPct val="100000"/>
              </a:lnSpc>
              <a:buClr>
                <a:schemeClr val="accent1"/>
              </a:buClr>
              <a:buFont typeface="Arial" pitchFamily="34" charset="0"/>
              <a:buNone/>
              <a:tabLst/>
            </a:pPr>
            <a:r>
              <a:rPr lang="en-US" dirty="0"/>
              <a:t>Click here</a:t>
            </a:r>
            <a:br>
              <a:rPr lang="en-US" dirty="0"/>
            </a:br>
            <a:r>
              <a:rPr lang="en-US" dirty="0"/>
              <a:t>to enter title</a:t>
            </a:r>
          </a:p>
        </p:txBody>
      </p:sp>
    </p:spTree>
    <p:extLst>
      <p:ext uri="{BB962C8B-B14F-4D97-AF65-F5344CB8AC3E}">
        <p14:creationId xmlns:p14="http://schemas.microsoft.com/office/powerpoint/2010/main" val="39681217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 userDrawn="1">
            <p:custDataLst>
              <p:tags r:id="rId3"/>
            </p:custDataLst>
          </p:nvPr>
        </p:nvSpPr>
        <p:spPr bwMode="gray">
          <a:xfrm>
            <a:off x="1" y="1414800"/>
            <a:ext cx="12196800" cy="4806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January 2018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TIA Portal - Highlight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Page </a:t>
            </a:r>
            <a:fld id="{99E26495-FA13-4534-B451-FB78AC0E3177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7" name="Rechteck 6" hidden="1"/>
          <p:cNvSpPr/>
          <p:nvPr userDrawn="1">
            <p:custDataLst>
              <p:tags r:id="rId4"/>
            </p:custDataLst>
          </p:nvPr>
        </p:nvSpPr>
        <p:spPr bwMode="gray">
          <a:xfrm>
            <a:off x="8978900" y="-1"/>
            <a:ext cx="3219450" cy="141287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741606697"/>
      </p:ext>
    </p:extLst>
  </p:cSld>
  <p:clrMapOvr>
    <a:masterClrMapping/>
  </p:clrMapOvr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79438" y="1530000"/>
            <a:ext cx="6838760" cy="1206000"/>
          </a:xfrm>
        </p:spPr>
        <p:txBody>
          <a:bodyPr anchor="b" anchorCtr="0">
            <a:noAutofit/>
          </a:bodyPr>
          <a:lstStyle>
            <a:lvl1pPr>
              <a:defRPr sz="3598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title 36 p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79438" y="2789354"/>
            <a:ext cx="6838760" cy="1206000"/>
          </a:xfrm>
        </p:spPr>
        <p:txBody>
          <a:bodyPr>
            <a:noAutofit/>
          </a:bodyPr>
          <a:lstStyle>
            <a:lvl1pPr marL="0" indent="0" algn="l">
              <a:buNone/>
              <a:defRPr sz="2799">
                <a:solidFill>
                  <a:schemeClr val="bg1"/>
                </a:solidFill>
              </a:defRPr>
            </a:lvl1pPr>
            <a:lvl2pPr marL="5443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subtitle 28 pt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476581" y="6525289"/>
            <a:ext cx="1695283" cy="144000"/>
          </a:xfrm>
        </p:spPr>
        <p:txBody>
          <a:bodyPr/>
          <a:lstStyle>
            <a:lvl1pPr>
              <a:defRPr sz="800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Initials/YYYY-MM-DD</a:t>
            </a:r>
          </a:p>
        </p:txBody>
      </p:sp>
    </p:spTree>
    <p:extLst>
      <p:ext uri="{BB962C8B-B14F-4D97-AF65-F5344CB8AC3E}">
        <p14:creationId xmlns:p14="http://schemas.microsoft.com/office/powerpoint/2010/main" val="402048320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b_Standard - 1 row headline, sub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583176" y="932184"/>
            <a:ext cx="9930830" cy="467892"/>
          </a:xfrm>
          <a:prstGeom prst="rect">
            <a:avLst/>
          </a:prstGeom>
        </p:spPr>
        <p:txBody>
          <a:bodyPr lIns="108000" tIns="54000" rIns="108000" bIns="54000">
            <a:noAutofit/>
          </a:bodyPr>
          <a:lstStyle>
            <a:lvl1pPr>
              <a:lnSpc>
                <a:spcPts val="2899"/>
              </a:lnSpc>
              <a:spcBef>
                <a:spcPts val="600"/>
              </a:spcBef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subtitle 24 pt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582069" y="1799582"/>
            <a:ext cx="9932425" cy="4534950"/>
          </a:xfrm>
          <a:prstGeom prst="rect">
            <a:avLst/>
          </a:prstGeom>
        </p:spPr>
        <p:txBody>
          <a:bodyPr lIns="108000" rIns="108000"/>
          <a:lstStyle>
            <a:lvl1pPr>
              <a:defRPr/>
            </a:lvl1pPr>
            <a:lvl2pPr>
              <a:defRPr sz="1999"/>
            </a:lvl2pPr>
          </a:lstStyle>
          <a:p>
            <a:pPr lvl="0"/>
            <a:r>
              <a:rPr lang="en-US" dirty="0"/>
              <a:t>Click to edit text 24 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280425" y="6525289"/>
            <a:ext cx="259335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Initials/YYYY-MM-DD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83866" y="6525289"/>
            <a:ext cx="359813" cy="144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/ </a:t>
            </a:r>
            <a:fld id="{51D75496-C612-4091-9F61-05CA146263B0}" type="slidenum"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1581915" y="525477"/>
            <a:ext cx="9930830" cy="467892"/>
          </a:xfrm>
          <a:prstGeom prst="rect">
            <a:avLst/>
          </a:prstGeom>
        </p:spPr>
        <p:txBody>
          <a:bodyPr vert="horz" lIns="108000" tIns="54000" rIns="108000" bIns="54000" rtlCol="0" anchor="b" anchorCtr="0">
            <a:noAutofit/>
          </a:bodyPr>
          <a:lstStyle>
            <a:lvl1pPr>
              <a:lnSpc>
                <a:spcPct val="85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281708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c_Standard - 2 rows headlines, sub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581915" y="1331692"/>
            <a:ext cx="9930830" cy="467892"/>
          </a:xfrm>
          <a:prstGeom prst="rect">
            <a:avLst/>
          </a:prstGeom>
        </p:spPr>
        <p:txBody>
          <a:bodyPr lIns="108000" tIns="54000" rIns="108000" bIns="54000">
            <a:noAutofit/>
          </a:bodyPr>
          <a:lstStyle>
            <a:lvl1pPr>
              <a:lnSpc>
                <a:spcPts val="2899"/>
              </a:lnSpc>
              <a:spcBef>
                <a:spcPts val="600"/>
              </a:spcBef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subtitle 24 pt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582069" y="2249480"/>
            <a:ext cx="9932425" cy="4139042"/>
          </a:xfrm>
          <a:prstGeom prst="rect">
            <a:avLst/>
          </a:prstGeom>
        </p:spPr>
        <p:txBody>
          <a:bodyPr lIns="108000" rIns="108000"/>
          <a:lstStyle>
            <a:lvl1pPr>
              <a:defRPr/>
            </a:lvl1pPr>
          </a:lstStyle>
          <a:p>
            <a:pPr lvl="0"/>
            <a:r>
              <a:rPr lang="en-US" dirty="0"/>
              <a:t>Click to edit text 24 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280425" y="6525289"/>
            <a:ext cx="259335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Initials/YYYY-MM-DD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83866" y="6525289"/>
            <a:ext cx="359813" cy="144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/ </a:t>
            </a:r>
            <a:fld id="{51D75496-C612-4091-9F61-05CA146263B0}" type="slidenum"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581915" y="485888"/>
            <a:ext cx="9930830" cy="719833"/>
          </a:xfrm>
          <a:prstGeom prst="rect">
            <a:avLst/>
          </a:prstGeom>
        </p:spPr>
        <p:txBody>
          <a:bodyPr vert="horz" lIns="108000" tIns="54000" rIns="108000" bIns="54000" rtlCol="0" anchor="t" anchorCtr="0">
            <a:noAutofit/>
          </a:bodyPr>
          <a:lstStyle>
            <a:lvl1pPr>
              <a:lnSpc>
                <a:spcPct val="94000"/>
              </a:lnSpc>
              <a:spcAft>
                <a:spcPts val="0"/>
              </a:spcAft>
              <a:defRPr baseline="0"/>
            </a:lvl1pPr>
          </a:lstStyle>
          <a:p>
            <a:r>
              <a:rPr lang="en-US" dirty="0"/>
              <a:t>Click to edit title 28 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7588335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b_Standard - 1 row headline and sub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280425" y="6525289"/>
            <a:ext cx="259335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Initials/YYYY-MM-DD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783866" y="6525289"/>
            <a:ext cx="359813" cy="144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/ </a:t>
            </a:r>
            <a:fld id="{51D75496-C612-4091-9F61-05CA146263B0}" type="slidenum"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583176" y="932185"/>
            <a:ext cx="9930830" cy="466725"/>
          </a:xfrm>
          <a:prstGeom prst="rect">
            <a:avLst/>
          </a:prstGeom>
        </p:spPr>
        <p:txBody>
          <a:bodyPr lIns="108000" tIns="54000" rIns="108000" bIns="54000">
            <a:noAutofit/>
          </a:bodyPr>
          <a:lstStyle>
            <a:lvl1pPr>
              <a:lnSpc>
                <a:spcPts val="2899"/>
              </a:lnSpc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subtitle 24 pt</a:t>
            </a:r>
            <a:endParaRPr lang="en-GB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1581915" y="524024"/>
            <a:ext cx="9930830" cy="467892"/>
          </a:xfrm>
          <a:prstGeom prst="rect">
            <a:avLst/>
          </a:prstGeom>
        </p:spPr>
        <p:txBody>
          <a:bodyPr vert="horz" lIns="108932" tIns="54466" rIns="108932" bIns="54466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569484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c_Standard - 2 rows headlines and sub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280425" y="6525289"/>
            <a:ext cx="259335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Initials/YYYY-MM-DD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783866" y="6525289"/>
            <a:ext cx="359813" cy="144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/ </a:t>
            </a:r>
            <a:fld id="{51D75496-C612-4091-9F61-05CA146263B0}" type="slidenum"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581915" y="485888"/>
            <a:ext cx="9930830" cy="719833"/>
          </a:xfrm>
          <a:prstGeom prst="rect">
            <a:avLst/>
          </a:prstGeom>
        </p:spPr>
        <p:txBody>
          <a:bodyPr vert="horz" lIns="108932" tIns="54466" rIns="108932" bIns="54466" rtlCol="0" anchor="t" anchorCtr="0">
            <a:noAutofit/>
          </a:bodyPr>
          <a:lstStyle>
            <a:lvl1pPr>
              <a:lnSpc>
                <a:spcPct val="94000"/>
              </a:lnSpc>
              <a:defRPr/>
            </a:lvl1pPr>
          </a:lstStyle>
          <a:p>
            <a:r>
              <a:rPr lang="en-US" dirty="0"/>
              <a:t>Click to edit title 28 pt</a:t>
            </a:r>
            <a:endParaRPr lang="en-GB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583664" y="1331692"/>
            <a:ext cx="9930830" cy="466725"/>
          </a:xfrm>
          <a:prstGeom prst="rect">
            <a:avLst/>
          </a:prstGeom>
        </p:spPr>
        <p:txBody>
          <a:bodyPr lIns="108000" tIns="54000" rIns="108000" bIns="54000">
            <a:noAutofit/>
          </a:bodyPr>
          <a:lstStyle>
            <a:lvl1pPr>
              <a:lnSpc>
                <a:spcPts val="2899"/>
              </a:lnSpc>
              <a:spcBef>
                <a:spcPts val="600"/>
              </a:spcBef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subtitle 24 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44445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b_Standard - 1 row headline, sub title and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581915" y="1799583"/>
            <a:ext cx="4677565" cy="4534950"/>
          </a:xfrm>
          <a:prstGeom prst="rect">
            <a:avLst/>
          </a:prstGeom>
        </p:spPr>
        <p:txBody>
          <a:bodyPr lIns="108000" rIns="108000">
            <a:noAutofit/>
          </a:bodyPr>
          <a:lstStyle>
            <a:lvl1pPr>
              <a:defRPr sz="2399"/>
            </a:lvl1pPr>
            <a:lvl2pPr>
              <a:defRPr sz="1999"/>
            </a:lvl2pPr>
            <a:lvl3pPr>
              <a:defRPr sz="1999"/>
            </a:lvl3pPr>
            <a:lvl4pPr>
              <a:defRPr sz="1999"/>
            </a:lvl4pPr>
            <a:lvl5pPr>
              <a:defRPr sz="1999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US" dirty="0"/>
              <a:t>Click to edit text 24 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836929" y="1799583"/>
            <a:ext cx="4677565" cy="4534950"/>
          </a:xfrm>
          <a:prstGeom prst="rect">
            <a:avLst/>
          </a:prstGeom>
        </p:spPr>
        <p:txBody>
          <a:bodyPr lIns="108000" rIns="108000">
            <a:noAutofit/>
          </a:bodyPr>
          <a:lstStyle>
            <a:lvl1pPr>
              <a:defRPr sz="2399"/>
            </a:lvl1pPr>
            <a:lvl2pPr>
              <a:defRPr sz="1999"/>
            </a:lvl2pPr>
            <a:lvl3pPr>
              <a:defRPr sz="1999"/>
            </a:lvl3pPr>
            <a:lvl4pPr>
              <a:defRPr sz="1999"/>
            </a:lvl4pPr>
            <a:lvl5pPr>
              <a:defRPr sz="1999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US" dirty="0"/>
              <a:t>Click to edit text 24 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280425" y="6525289"/>
            <a:ext cx="259335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Initials/YYYY-MM-DD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783866" y="6525289"/>
            <a:ext cx="359813" cy="144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/ </a:t>
            </a:r>
            <a:fld id="{51D75496-C612-4091-9F61-05CA146263B0}" type="slidenum"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583176" y="934720"/>
            <a:ext cx="9930830" cy="466725"/>
          </a:xfrm>
          <a:prstGeom prst="rect">
            <a:avLst/>
          </a:prstGeom>
        </p:spPr>
        <p:txBody>
          <a:bodyPr lIns="108000" tIns="54000" rIns="108000" bIns="54000">
            <a:noAutofit/>
          </a:bodyPr>
          <a:lstStyle>
            <a:lvl1pPr>
              <a:lnSpc>
                <a:spcPts val="2899"/>
              </a:lnSpc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subtitle 24 pt</a:t>
            </a:r>
            <a:endParaRPr lang="en-GB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1581915" y="524027"/>
            <a:ext cx="9930830" cy="467892"/>
          </a:xfrm>
          <a:prstGeom prst="rect">
            <a:avLst/>
          </a:prstGeom>
        </p:spPr>
        <p:txBody>
          <a:bodyPr vert="horz" lIns="108932" tIns="54466" rIns="108932" bIns="54466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04330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c_Standard - 2 rows headlines, sub title and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581915" y="2159500"/>
            <a:ext cx="4677565" cy="4139042"/>
          </a:xfrm>
          <a:prstGeom prst="rect">
            <a:avLst/>
          </a:prstGeom>
        </p:spPr>
        <p:txBody>
          <a:bodyPr lIns="108000" tIns="54000" rIns="108000" bIns="54000">
            <a:noAutofit/>
          </a:bodyPr>
          <a:lstStyle>
            <a:lvl1pPr>
              <a:defRPr sz="2399"/>
            </a:lvl1pPr>
            <a:lvl2pPr>
              <a:defRPr sz="1999"/>
            </a:lvl2pPr>
            <a:lvl3pPr>
              <a:defRPr sz="1999"/>
            </a:lvl3pPr>
            <a:lvl4pPr>
              <a:defRPr sz="1999"/>
            </a:lvl4pPr>
            <a:lvl5pPr>
              <a:defRPr sz="1999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US" dirty="0"/>
              <a:t>Click to edit text 24 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836929" y="2159500"/>
            <a:ext cx="4677565" cy="4139042"/>
          </a:xfrm>
          <a:prstGeom prst="rect">
            <a:avLst/>
          </a:prstGeom>
        </p:spPr>
        <p:txBody>
          <a:bodyPr lIns="108000" tIns="54000" rIns="108000" bIns="54000">
            <a:noAutofit/>
          </a:bodyPr>
          <a:lstStyle>
            <a:lvl1pPr>
              <a:defRPr sz="2399"/>
            </a:lvl1pPr>
            <a:lvl2pPr>
              <a:defRPr sz="1999"/>
            </a:lvl2pPr>
            <a:lvl3pPr>
              <a:defRPr sz="1999"/>
            </a:lvl3pPr>
            <a:lvl4pPr>
              <a:defRPr sz="1999"/>
            </a:lvl4pPr>
            <a:lvl5pPr>
              <a:defRPr sz="1999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US" dirty="0"/>
              <a:t>Click to edit text 24 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280425" y="6525289"/>
            <a:ext cx="259335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Initials/YYYY-MM-DD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783866" y="6525289"/>
            <a:ext cx="359813" cy="144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/ </a:t>
            </a:r>
            <a:fld id="{51D75496-C612-4091-9F61-05CA146263B0}" type="slidenum"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581915" y="485888"/>
            <a:ext cx="9930830" cy="719833"/>
          </a:xfrm>
          <a:prstGeom prst="rect">
            <a:avLst/>
          </a:prstGeom>
        </p:spPr>
        <p:txBody>
          <a:bodyPr vert="horz" lIns="108932" tIns="54466" rIns="108932" bIns="54466" rtlCol="0" anchor="t" anchorCtr="0">
            <a:noAutofit/>
          </a:bodyPr>
          <a:lstStyle>
            <a:lvl1pPr>
              <a:lnSpc>
                <a:spcPct val="94000"/>
              </a:lnSpc>
              <a:defRPr/>
            </a:lvl1pPr>
          </a:lstStyle>
          <a:p>
            <a:r>
              <a:rPr lang="en-US" dirty="0"/>
              <a:t>Click to edit title 28 pt</a:t>
            </a:r>
            <a:endParaRPr lang="en-GB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583664" y="1329962"/>
            <a:ext cx="9930830" cy="466725"/>
          </a:xfrm>
          <a:prstGeom prst="rect">
            <a:avLst/>
          </a:prstGeom>
        </p:spPr>
        <p:txBody>
          <a:bodyPr lIns="108000" tIns="54000" rIns="108000" bIns="54000">
            <a:noAutofit/>
          </a:bodyPr>
          <a:lstStyle>
            <a:lvl1pPr>
              <a:lnSpc>
                <a:spcPts val="2899"/>
              </a:lnSpc>
              <a:spcBef>
                <a:spcPts val="600"/>
              </a:spcBef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subtitle 24 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11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2195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60962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60962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5375" y="1681163"/>
            <a:ext cx="5186363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5375" y="2505075"/>
            <a:ext cx="5186363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4788" cy="365125"/>
          </a:xfrm>
          <a:prstGeom prst="rect">
            <a:avLst/>
          </a:prstGeom>
        </p:spPr>
        <p:txBody>
          <a:bodyPr/>
          <a:lstStyle/>
          <a:p>
            <a:fld id="{831245AD-C692-4B48-AF67-F871369A9ABE}" type="datetimeFigureOut">
              <a:rPr lang="en-US" smtClean="0"/>
              <a:t>10/2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40188" y="6356350"/>
            <a:ext cx="411797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5363" y="6356350"/>
            <a:ext cx="2744787" cy="365125"/>
          </a:xfrm>
          <a:prstGeom prst="rect">
            <a:avLst/>
          </a:prstGeom>
        </p:spPr>
        <p:txBody>
          <a:bodyPr/>
          <a:lstStyle/>
          <a:p>
            <a:fld id="{DCD3FB27-A30A-45AB-A6C2-475F0182B4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58032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2195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4788" cy="365125"/>
          </a:xfrm>
          <a:prstGeom prst="rect">
            <a:avLst/>
          </a:prstGeom>
        </p:spPr>
        <p:txBody>
          <a:bodyPr/>
          <a:lstStyle/>
          <a:p>
            <a:fld id="{831245AD-C692-4B48-AF67-F871369A9ABE}" type="datetimeFigureOut">
              <a:rPr lang="en-US" smtClean="0"/>
              <a:t>10/2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40188" y="6356350"/>
            <a:ext cx="411797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5363" y="6356350"/>
            <a:ext cx="2744787" cy="365125"/>
          </a:xfrm>
          <a:prstGeom prst="rect">
            <a:avLst/>
          </a:prstGeom>
        </p:spPr>
        <p:txBody>
          <a:bodyPr/>
          <a:lstStyle/>
          <a:p>
            <a:fld id="{DCD3FB27-A30A-45AB-A6C2-475F0182B4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05862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4788" cy="365125"/>
          </a:xfrm>
          <a:prstGeom prst="rect">
            <a:avLst/>
          </a:prstGeom>
        </p:spPr>
        <p:txBody>
          <a:bodyPr/>
          <a:lstStyle/>
          <a:p>
            <a:fld id="{831245AD-C692-4B48-AF67-F871369A9ABE}" type="datetimeFigureOut">
              <a:rPr lang="en-US" smtClean="0"/>
              <a:t>10/2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40188" y="6356350"/>
            <a:ext cx="411797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5363" y="6356350"/>
            <a:ext cx="2744787" cy="365125"/>
          </a:xfrm>
          <a:prstGeom prst="rect">
            <a:avLst/>
          </a:prstGeom>
        </p:spPr>
        <p:txBody>
          <a:bodyPr/>
          <a:lstStyle/>
          <a:p>
            <a:fld id="{DCD3FB27-A30A-45AB-A6C2-475F0182B4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67644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5412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6363" y="987425"/>
            <a:ext cx="6175375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5412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4788" cy="365125"/>
          </a:xfrm>
          <a:prstGeom prst="rect">
            <a:avLst/>
          </a:prstGeom>
        </p:spPr>
        <p:txBody>
          <a:bodyPr/>
          <a:lstStyle/>
          <a:p>
            <a:fld id="{831245AD-C692-4B48-AF67-F871369A9ABE}" type="datetimeFigureOut">
              <a:rPr lang="en-US" smtClean="0"/>
              <a:t>10/2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40188" y="6356350"/>
            <a:ext cx="411797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5363" y="6356350"/>
            <a:ext cx="2744787" cy="365125"/>
          </a:xfrm>
          <a:prstGeom prst="rect">
            <a:avLst/>
          </a:prstGeom>
        </p:spPr>
        <p:txBody>
          <a:bodyPr/>
          <a:lstStyle/>
          <a:p>
            <a:fld id="{DCD3FB27-A30A-45AB-A6C2-475F0182B4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24168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5412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6363" y="987425"/>
            <a:ext cx="6175375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5412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4788" cy="365125"/>
          </a:xfrm>
          <a:prstGeom prst="rect">
            <a:avLst/>
          </a:prstGeom>
        </p:spPr>
        <p:txBody>
          <a:bodyPr/>
          <a:lstStyle/>
          <a:p>
            <a:fld id="{831245AD-C692-4B48-AF67-F871369A9ABE}" type="datetimeFigureOut">
              <a:rPr lang="en-US" smtClean="0"/>
              <a:t>10/2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40188" y="6356350"/>
            <a:ext cx="411797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5363" y="6356350"/>
            <a:ext cx="2744787" cy="365125"/>
          </a:xfrm>
          <a:prstGeom prst="rect">
            <a:avLst/>
          </a:prstGeom>
        </p:spPr>
        <p:txBody>
          <a:bodyPr/>
          <a:lstStyle/>
          <a:p>
            <a:fld id="{DCD3FB27-A30A-45AB-A6C2-475F0182B4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52355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3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26" Type="http://schemas.openxmlformats.org/officeDocument/2006/relationships/tags" Target="../tags/tag21.xml"/><Relationship Id="rId3" Type="http://schemas.openxmlformats.org/officeDocument/2006/relationships/slideLayout" Target="../slideLayouts/slideLayout30.xml"/><Relationship Id="rId21" Type="http://schemas.openxmlformats.org/officeDocument/2006/relationships/slideLayout" Target="../slideLayouts/slideLayout48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tags" Target="../tags/tag20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slideLayout" Target="../slideLayouts/slideLayout47.xml"/><Relationship Id="rId29" Type="http://schemas.openxmlformats.org/officeDocument/2006/relationships/image" Target="../media/image5.png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tags" Target="../tags/tag19.xml"/><Relationship Id="rId32" Type="http://schemas.openxmlformats.org/officeDocument/2006/relationships/image" Target="../media/image8.png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theme" Target="../theme/theme2.xml"/><Relationship Id="rId28" Type="http://schemas.openxmlformats.org/officeDocument/2006/relationships/tags" Target="../tags/tag23.xml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31" Type="http://schemas.openxmlformats.org/officeDocument/2006/relationships/image" Target="../media/image7.jpeg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slideLayout" Target="../slideLayouts/slideLayout49.xml"/><Relationship Id="rId27" Type="http://schemas.openxmlformats.org/officeDocument/2006/relationships/tags" Target="../tags/tag22.xml"/><Relationship Id="rId30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dtRectangle 12 Id7"/>
          <p:cNvSpPr>
            <a:spLocks noChangeArrowheads="1"/>
          </p:cNvSpPr>
          <p:nvPr userDrawn="1">
            <p:custDataLst>
              <p:tags r:id="rId29"/>
            </p:custDataLst>
          </p:nvPr>
        </p:nvSpPr>
        <p:spPr bwMode="gray">
          <a:xfrm>
            <a:off x="158" y="1"/>
            <a:ext cx="12198350" cy="1088740"/>
          </a:xfrm>
          <a:prstGeom prst="rect">
            <a:avLst/>
          </a:prstGeom>
          <a:solidFill>
            <a:srgbClr val="E7E7F7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de-DE"/>
          </a:p>
        </p:txBody>
      </p:sp>
      <p:sp>
        <p:nvSpPr>
          <p:cNvPr id="11" name="TextBox 10"/>
          <p:cNvSpPr txBox="1"/>
          <p:nvPr userDrawn="1"/>
        </p:nvSpPr>
        <p:spPr>
          <a:xfrm>
            <a:off x="0" y="6519446"/>
            <a:ext cx="12198350" cy="338554"/>
          </a:xfrm>
          <a:prstGeom prst="rect">
            <a:avLst/>
          </a:prstGeom>
          <a:solidFill>
            <a:srgbClr val="27217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spc="0" dirty="0">
                <a:solidFill>
                  <a:schemeClr val="bg1"/>
                </a:solidFill>
              </a:rPr>
              <a:t>AUTOMATION</a:t>
            </a:r>
            <a:r>
              <a:rPr lang="en-US" sz="1600" b="1" spc="0" baseline="0" dirty="0">
                <a:solidFill>
                  <a:schemeClr val="bg1"/>
                </a:solidFill>
              </a:rPr>
              <a:t> &amp; DIGITALIZATION</a:t>
            </a:r>
            <a:endParaRPr lang="en-US" sz="1600" b="1" spc="0" dirty="0">
              <a:solidFill>
                <a:schemeClr val="bg1"/>
              </a:solidFill>
            </a:endParaRPr>
          </a:p>
        </p:txBody>
      </p:sp>
      <p:sp>
        <p:nvSpPr>
          <p:cNvPr id="12" name="cdtTextBox 12 Id13"/>
          <p:cNvSpPr txBox="1"/>
          <p:nvPr userDrawn="1">
            <p:custDataLst>
              <p:tags r:id="rId30"/>
            </p:custDataLst>
          </p:nvPr>
        </p:nvSpPr>
        <p:spPr>
          <a:xfrm>
            <a:off x="742489" y="6610657"/>
            <a:ext cx="676847" cy="1561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de-DE" sz="1000" noProof="0" dirty="0">
                <a:solidFill>
                  <a:schemeClr val="bg1"/>
                </a:solidFill>
              </a:rPr>
              <a:t>Aug 2022</a:t>
            </a:r>
          </a:p>
        </p:txBody>
      </p:sp>
      <p:sp>
        <p:nvSpPr>
          <p:cNvPr id="13" name="cdtTextBox 11 Id12"/>
          <p:cNvSpPr txBox="1"/>
          <p:nvPr userDrawn="1">
            <p:custDataLst>
              <p:tags r:id="rId31"/>
            </p:custDataLst>
          </p:nvPr>
        </p:nvSpPr>
        <p:spPr>
          <a:xfrm>
            <a:off x="32821" y="6610657"/>
            <a:ext cx="676847" cy="1561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noProof="0" dirty="0">
                <a:solidFill>
                  <a:schemeClr val="bg1"/>
                </a:solidFill>
              </a:rPr>
              <a:t>Page </a:t>
            </a:r>
            <a:fld id="{91E7552C-A157-4A4F-8E99-698C0325FC94}" type="slidenum">
              <a:rPr lang="de-DE" sz="1000" noProof="0" smtClean="0">
                <a:solidFill>
                  <a:schemeClr val="bg1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de-DE" sz="1000" noProof="0" dirty="0">
              <a:solidFill>
                <a:schemeClr val="bg1"/>
              </a:solidFill>
            </a:endParaRPr>
          </a:p>
        </p:txBody>
      </p:sp>
      <p:sp>
        <p:nvSpPr>
          <p:cNvPr id="14" name="cdtTextBox 13 Id14"/>
          <p:cNvSpPr txBox="1"/>
          <p:nvPr userDrawn="1">
            <p:custDataLst>
              <p:tags r:id="rId32"/>
            </p:custDataLst>
          </p:nvPr>
        </p:nvSpPr>
        <p:spPr>
          <a:xfrm>
            <a:off x="10243906" y="6611779"/>
            <a:ext cx="1693981" cy="15388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l" defTabSz="1376363">
              <a:spcBef>
                <a:spcPts val="0"/>
              </a:spcBef>
            </a:pPr>
            <a:r>
              <a:rPr lang="en-US" sz="1000" b="1" noProof="0" dirty="0">
                <a:solidFill>
                  <a:schemeClr val="bg1"/>
                </a:solidFill>
              </a:rPr>
              <a:t> Copyright @ ESTEC 2022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3"/>
          <a:stretch>
            <a:fillRect/>
          </a:stretch>
        </p:blipFill>
        <p:spPr>
          <a:xfrm>
            <a:off x="115144" y="228254"/>
            <a:ext cx="1699555" cy="632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89775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2" r:id="rId1"/>
    <p:sldLayoutId id="2147483833" r:id="rId2"/>
    <p:sldLayoutId id="2147483834" r:id="rId3"/>
    <p:sldLayoutId id="2147483835" r:id="rId4"/>
    <p:sldLayoutId id="2147483836" r:id="rId5"/>
    <p:sldLayoutId id="2147483837" r:id="rId6"/>
    <p:sldLayoutId id="2147483838" r:id="rId7"/>
    <p:sldLayoutId id="2147483839" r:id="rId8"/>
    <p:sldLayoutId id="2147483840" r:id="rId9"/>
    <p:sldLayoutId id="2147483841" r:id="rId10"/>
    <p:sldLayoutId id="2147483842" r:id="rId11"/>
    <p:sldLayoutId id="2147483843" r:id="rId12"/>
    <p:sldLayoutId id="2147483781" r:id="rId13"/>
    <p:sldLayoutId id="2147483782" r:id="rId14"/>
    <p:sldLayoutId id="2147483783" r:id="rId15"/>
    <p:sldLayoutId id="2147483784" r:id="rId16"/>
    <p:sldLayoutId id="2147483820" r:id="rId17"/>
    <p:sldLayoutId id="2147483821" r:id="rId18"/>
    <p:sldLayoutId id="2147483823" r:id="rId19"/>
    <p:sldLayoutId id="2147483824" r:id="rId20"/>
    <p:sldLayoutId id="2147483826" r:id="rId21"/>
    <p:sldLayoutId id="2147483827" r:id="rId22"/>
    <p:sldLayoutId id="2147483844" r:id="rId23"/>
    <p:sldLayoutId id="2147483868" r:id="rId24"/>
    <p:sldLayoutId id="2147483869" r:id="rId25"/>
    <p:sldLayoutId id="2147483870" r:id="rId26"/>
    <p:sldLayoutId id="2147483871" r:id="rId2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0" y="6519446"/>
            <a:ext cx="12198350" cy="338554"/>
          </a:xfrm>
          <a:prstGeom prst="rect">
            <a:avLst/>
          </a:prstGeom>
          <a:solidFill>
            <a:srgbClr val="27217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AUTOMATION &amp; DIGITALIZATION</a:t>
            </a:r>
          </a:p>
        </p:txBody>
      </p:sp>
      <p:sp>
        <p:nvSpPr>
          <p:cNvPr id="4" name="cdtRectangle 12 Id7"/>
          <p:cNvSpPr>
            <a:spLocks noChangeArrowheads="1"/>
          </p:cNvSpPr>
          <p:nvPr userDrawn="1">
            <p:custDataLst>
              <p:tags r:id="rId24"/>
            </p:custDataLst>
          </p:nvPr>
        </p:nvSpPr>
        <p:spPr bwMode="gray">
          <a:xfrm>
            <a:off x="158" y="0"/>
            <a:ext cx="12198350" cy="1268413"/>
          </a:xfrm>
          <a:prstGeom prst="rect">
            <a:avLst/>
          </a:prstGeom>
          <a:solidFill>
            <a:srgbClr val="CECEEF">
              <a:alpha val="49804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8" name="cdtTextBox 12 Id13"/>
          <p:cNvSpPr txBox="1"/>
          <p:nvPr userDrawn="1">
            <p:custDataLst>
              <p:tags r:id="rId25"/>
            </p:custDataLst>
          </p:nvPr>
        </p:nvSpPr>
        <p:spPr>
          <a:xfrm>
            <a:off x="12707" y="6319400"/>
            <a:ext cx="2550847" cy="200046"/>
          </a:xfrm>
          <a:prstGeom prst="rect">
            <a:avLst/>
          </a:prstGeom>
          <a:noFill/>
        </p:spPr>
        <p:txBody>
          <a:bodyPr wrap="square" lIns="1476000" tIns="0" rIns="0" bIns="11520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Aug 2018</a:t>
            </a:r>
          </a:p>
        </p:txBody>
      </p:sp>
      <p:sp>
        <p:nvSpPr>
          <p:cNvPr id="9" name="cdtText Box 133 Id9"/>
          <p:cNvSpPr txBox="1">
            <a:spLocks noChangeArrowheads="1"/>
          </p:cNvSpPr>
          <p:nvPr userDrawn="1">
            <p:custDataLst>
              <p:tags r:id="rId26"/>
            </p:custDataLst>
          </p:nvPr>
        </p:nvSpPr>
        <p:spPr bwMode="auto">
          <a:xfrm>
            <a:off x="12706" y="5810250"/>
            <a:ext cx="9148763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40000" tIns="144000" rIns="2124000" bIns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879BAA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10" name="cdtTextBox 11 Id12"/>
          <p:cNvSpPr txBox="1"/>
          <p:nvPr userDrawn="1">
            <p:custDataLst>
              <p:tags r:id="rId27"/>
            </p:custDataLst>
          </p:nvPr>
        </p:nvSpPr>
        <p:spPr>
          <a:xfrm>
            <a:off x="12705" y="6319400"/>
            <a:ext cx="1393926" cy="259200"/>
          </a:xfrm>
          <a:prstGeom prst="rect">
            <a:avLst/>
          </a:prstGeom>
          <a:noFill/>
        </p:spPr>
        <p:txBody>
          <a:bodyPr wrap="square" lIns="540000" tIns="0" rIns="0" bIns="115200" rtlCol="0" anchor="t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Page </a:t>
            </a:r>
            <a:fld id="{91E7552C-A157-4A4F-8E99-698C0325FC94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1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11" name="cdtTextBox 13 Id14"/>
          <p:cNvSpPr txBox="1"/>
          <p:nvPr userDrawn="1">
            <p:custDataLst>
              <p:tags r:id="rId28"/>
            </p:custDataLst>
          </p:nvPr>
        </p:nvSpPr>
        <p:spPr>
          <a:xfrm>
            <a:off x="5732263" y="6319400"/>
            <a:ext cx="6453379" cy="200046"/>
          </a:xfrm>
          <a:prstGeom prst="rect">
            <a:avLst/>
          </a:prstGeom>
          <a:noFill/>
        </p:spPr>
        <p:txBody>
          <a:bodyPr wrap="square" lIns="0" tIns="0" rIns="396000" bIns="115200" rtlCol="0">
            <a:no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879BAA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 Copyright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879BAA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@ ESTEC 2018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10158922" y="44624"/>
            <a:ext cx="1620180" cy="1154345"/>
            <a:chOff x="10158922" y="44624"/>
            <a:chExt cx="1620180" cy="1154345"/>
          </a:xfrm>
        </p:grpSpPr>
        <p:pic>
          <p:nvPicPr>
            <p:cNvPr id="14" name="Picture 13"/>
            <p:cNvPicPr preferRelativeResize="0">
              <a:picLocks/>
            </p:cNvPicPr>
            <p:nvPr/>
          </p:nvPicPr>
          <p:blipFill>
            <a:blip r:embed="rId2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158922" y="44624"/>
              <a:ext cx="1620180" cy="613328"/>
            </a:xfrm>
            <a:prstGeom prst="rect">
              <a:avLst/>
            </a:prstGeom>
          </p:spPr>
        </p:pic>
        <p:pic>
          <p:nvPicPr>
            <p:cNvPr id="13" name="Picture 12"/>
            <p:cNvPicPr preferRelativeResize="0">
              <a:picLocks/>
            </p:cNvPicPr>
            <p:nvPr/>
          </p:nvPicPr>
          <p:blipFill>
            <a:blip r:embed="rId3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158922" y="620688"/>
              <a:ext cx="1620180" cy="578281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340A0DD-424D-41D7-AF19-AC83F35BC2D6}"/>
              </a:ext>
            </a:extLst>
          </p:cNvPr>
          <p:cNvGrpSpPr/>
          <p:nvPr userDrawn="1"/>
        </p:nvGrpSpPr>
        <p:grpSpPr>
          <a:xfrm>
            <a:off x="10198735" y="5892759"/>
            <a:ext cx="1736790" cy="560577"/>
            <a:chOff x="7996221" y="5323686"/>
            <a:chExt cx="2833014" cy="914401"/>
          </a:xfrm>
        </p:grpSpPr>
        <p:pic>
          <p:nvPicPr>
            <p:cNvPr id="15" name="Picture 3">
              <a:extLst>
                <a:ext uri="{FF2B5EF4-FFF2-40B4-BE49-F238E27FC236}">
                  <a16:creationId xmlns:a16="http://schemas.microsoft.com/office/drawing/2014/main" id="{DB2E8061-923C-457F-BAB5-5D26CDE56F1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22334" y="5323687"/>
              <a:ext cx="706901" cy="9144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F1515B99-DC9B-488D-8B34-D553BFE1EC1C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96221" y="5323686"/>
              <a:ext cx="2126113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35406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6" r:id="rId1"/>
    <p:sldLayoutId id="2147483847" r:id="rId2"/>
    <p:sldLayoutId id="2147483848" r:id="rId3"/>
    <p:sldLayoutId id="2147483849" r:id="rId4"/>
    <p:sldLayoutId id="2147483850" r:id="rId5"/>
    <p:sldLayoutId id="2147483851" r:id="rId6"/>
    <p:sldLayoutId id="2147483852" r:id="rId7"/>
    <p:sldLayoutId id="2147483853" r:id="rId8"/>
    <p:sldLayoutId id="2147483854" r:id="rId9"/>
    <p:sldLayoutId id="2147483855" r:id="rId10"/>
    <p:sldLayoutId id="2147483856" r:id="rId11"/>
    <p:sldLayoutId id="2147483857" r:id="rId12"/>
    <p:sldLayoutId id="2147483858" r:id="rId13"/>
    <p:sldLayoutId id="2147483859" r:id="rId14"/>
    <p:sldLayoutId id="2147483860" r:id="rId15"/>
    <p:sldLayoutId id="2147483861" r:id="rId16"/>
    <p:sldLayoutId id="2147483862" r:id="rId17"/>
    <p:sldLayoutId id="2147483863" r:id="rId18"/>
    <p:sldLayoutId id="2147483864" r:id="rId19"/>
    <p:sldLayoutId id="2147483865" r:id="rId20"/>
    <p:sldLayoutId id="2147483866" r:id="rId21"/>
    <p:sldLayoutId id="2147483867" r:id="rId22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image" Target="../media/image9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jpeg"/><Relationship Id="rId5" Type="http://schemas.openxmlformats.org/officeDocument/2006/relationships/image" Target="../media/image10.png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svg"/><Relationship Id="rId13" Type="http://schemas.openxmlformats.org/officeDocument/2006/relationships/image" Target="../media/image84.png"/><Relationship Id="rId18" Type="http://schemas.openxmlformats.org/officeDocument/2006/relationships/image" Target="../media/image89.svg"/><Relationship Id="rId3" Type="http://schemas.openxmlformats.org/officeDocument/2006/relationships/image" Target="../media/image74.png"/><Relationship Id="rId7" Type="http://schemas.openxmlformats.org/officeDocument/2006/relationships/image" Target="../media/image78.png"/><Relationship Id="rId12" Type="http://schemas.openxmlformats.org/officeDocument/2006/relationships/image" Target="../media/image83.svg"/><Relationship Id="rId17" Type="http://schemas.openxmlformats.org/officeDocument/2006/relationships/image" Target="../media/image88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87.svg"/><Relationship Id="rId20" Type="http://schemas.openxmlformats.org/officeDocument/2006/relationships/image" Target="../media/image91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7.svg"/><Relationship Id="rId11" Type="http://schemas.openxmlformats.org/officeDocument/2006/relationships/image" Target="../media/image82.png"/><Relationship Id="rId5" Type="http://schemas.openxmlformats.org/officeDocument/2006/relationships/image" Target="../media/image76.png"/><Relationship Id="rId15" Type="http://schemas.openxmlformats.org/officeDocument/2006/relationships/image" Target="../media/image86.png"/><Relationship Id="rId10" Type="http://schemas.openxmlformats.org/officeDocument/2006/relationships/image" Target="../media/image81.svg"/><Relationship Id="rId19" Type="http://schemas.openxmlformats.org/officeDocument/2006/relationships/image" Target="../media/image90.png"/><Relationship Id="rId4" Type="http://schemas.openxmlformats.org/officeDocument/2006/relationships/image" Target="../media/image75.svg"/><Relationship Id="rId9" Type="http://schemas.openxmlformats.org/officeDocument/2006/relationships/image" Target="../media/image80.png"/><Relationship Id="rId14" Type="http://schemas.openxmlformats.org/officeDocument/2006/relationships/image" Target="../media/image85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3" Type="http://schemas.openxmlformats.org/officeDocument/2006/relationships/image" Target="../media/image81.svg"/><Relationship Id="rId7" Type="http://schemas.openxmlformats.org/officeDocument/2006/relationships/image" Target="../media/image89.sv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88.png"/><Relationship Id="rId5" Type="http://schemas.openxmlformats.org/officeDocument/2006/relationships/image" Target="../media/image83.svg"/><Relationship Id="rId4" Type="http://schemas.openxmlformats.org/officeDocument/2006/relationships/image" Target="../media/image82.png"/><Relationship Id="rId9" Type="http://schemas.openxmlformats.org/officeDocument/2006/relationships/image" Target="../media/image91.sv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svg"/><Relationship Id="rId3" Type="http://schemas.openxmlformats.org/officeDocument/2006/relationships/image" Target="../media/image80.png"/><Relationship Id="rId7" Type="http://schemas.openxmlformats.org/officeDocument/2006/relationships/image" Target="../media/image8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83.svg"/><Relationship Id="rId5" Type="http://schemas.openxmlformats.org/officeDocument/2006/relationships/image" Target="../media/image82.png"/><Relationship Id="rId10" Type="http://schemas.openxmlformats.org/officeDocument/2006/relationships/image" Target="../media/image91.svg"/><Relationship Id="rId4" Type="http://schemas.openxmlformats.org/officeDocument/2006/relationships/image" Target="../media/image81.svg"/><Relationship Id="rId9" Type="http://schemas.openxmlformats.org/officeDocument/2006/relationships/image" Target="../media/image90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3" Type="http://schemas.openxmlformats.org/officeDocument/2006/relationships/image" Target="../media/image81.svg"/><Relationship Id="rId7" Type="http://schemas.openxmlformats.org/officeDocument/2006/relationships/image" Target="../media/image89.sv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88.png"/><Relationship Id="rId5" Type="http://schemas.openxmlformats.org/officeDocument/2006/relationships/image" Target="../media/image83.svg"/><Relationship Id="rId4" Type="http://schemas.openxmlformats.org/officeDocument/2006/relationships/image" Target="../media/image82.png"/><Relationship Id="rId9" Type="http://schemas.openxmlformats.org/officeDocument/2006/relationships/image" Target="../media/image91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Relationship Id="rId5" Type="http://schemas.openxmlformats.org/officeDocument/2006/relationships/image" Target="../media/image93.png"/><Relationship Id="rId4" Type="http://schemas.openxmlformats.org/officeDocument/2006/relationships/image" Target="../media/image9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7" Type="http://schemas.openxmlformats.org/officeDocument/2006/relationships/image" Target="../media/image9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7.png"/><Relationship Id="rId5" Type="http://schemas.openxmlformats.org/officeDocument/2006/relationships/image" Target="../media/image96.png"/><Relationship Id="rId4" Type="http://schemas.openxmlformats.org/officeDocument/2006/relationships/image" Target="../media/image9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png"/><Relationship Id="rId3" Type="http://schemas.openxmlformats.org/officeDocument/2006/relationships/image" Target="../media/image99.png"/><Relationship Id="rId7" Type="http://schemas.openxmlformats.org/officeDocument/2006/relationships/image" Target="../media/image10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2.png"/><Relationship Id="rId5" Type="http://schemas.openxmlformats.org/officeDocument/2006/relationships/image" Target="../media/image101.png"/><Relationship Id="rId4" Type="http://schemas.openxmlformats.org/officeDocument/2006/relationships/image" Target="../media/image100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png"/><Relationship Id="rId3" Type="http://schemas.openxmlformats.org/officeDocument/2006/relationships/image" Target="../media/image99.png"/><Relationship Id="rId7" Type="http://schemas.openxmlformats.org/officeDocument/2006/relationships/image" Target="../media/image10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2.png"/><Relationship Id="rId5" Type="http://schemas.openxmlformats.org/officeDocument/2006/relationships/image" Target="../media/image101.png"/><Relationship Id="rId4" Type="http://schemas.openxmlformats.org/officeDocument/2006/relationships/image" Target="../media/image10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emf"/><Relationship Id="rId2" Type="http://schemas.openxmlformats.org/officeDocument/2006/relationships/package" Target="../embeddings/Microsoft_Visio_Drawing.vsdx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emf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10.png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image" Target="../media/image111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14.png"/><Relationship Id="rId4" Type="http://schemas.openxmlformats.org/officeDocument/2006/relationships/image" Target="../media/image113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1.png"/><Relationship Id="rId3" Type="http://schemas.openxmlformats.org/officeDocument/2006/relationships/image" Target="../media/image116.jpeg"/><Relationship Id="rId7" Type="http://schemas.openxmlformats.org/officeDocument/2006/relationships/image" Target="../media/image120.jpeg"/><Relationship Id="rId2" Type="http://schemas.openxmlformats.org/officeDocument/2006/relationships/image" Target="../media/image115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9.jpeg"/><Relationship Id="rId5" Type="http://schemas.openxmlformats.org/officeDocument/2006/relationships/image" Target="../media/image118.jpeg"/><Relationship Id="rId4" Type="http://schemas.openxmlformats.org/officeDocument/2006/relationships/image" Target="../media/image117.jpeg"/><Relationship Id="rId9" Type="http://schemas.openxmlformats.org/officeDocument/2006/relationships/image" Target="../media/image12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3.png"/><Relationship Id="rId1" Type="http://schemas.openxmlformats.org/officeDocument/2006/relationships/slideLayout" Target="../slideLayouts/slideLayout1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png"/><Relationship Id="rId2" Type="http://schemas.openxmlformats.org/officeDocument/2006/relationships/image" Target="../media/image123.png"/><Relationship Id="rId1" Type="http://schemas.openxmlformats.org/officeDocument/2006/relationships/slideLayout" Target="../slideLayouts/slideLayout1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5.png"/><Relationship Id="rId1" Type="http://schemas.openxmlformats.org/officeDocument/2006/relationships/slideLayout" Target="../slideLayouts/slideLayout1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6.png"/><Relationship Id="rId1" Type="http://schemas.openxmlformats.org/officeDocument/2006/relationships/slideLayout" Target="../slideLayouts/slideLayout1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7.png"/><Relationship Id="rId1" Type="http://schemas.openxmlformats.org/officeDocument/2006/relationships/slideLayout" Target="../slideLayouts/slideLayout1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8.png"/><Relationship Id="rId1" Type="http://schemas.openxmlformats.org/officeDocument/2006/relationships/slideLayout" Target="../slideLayouts/slideLayout1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9.png"/><Relationship Id="rId1" Type="http://schemas.openxmlformats.org/officeDocument/2006/relationships/slideLayout" Target="../slideLayouts/slideLayout1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png"/><Relationship Id="rId2" Type="http://schemas.openxmlformats.org/officeDocument/2006/relationships/image" Target="../media/image130.png"/><Relationship Id="rId1" Type="http://schemas.openxmlformats.org/officeDocument/2006/relationships/slideLayout" Target="../slideLayouts/slideLayout1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png"/><Relationship Id="rId2" Type="http://schemas.openxmlformats.org/officeDocument/2006/relationships/image" Target="../media/image130.png"/><Relationship Id="rId1" Type="http://schemas.openxmlformats.org/officeDocument/2006/relationships/slideLayout" Target="../slideLayouts/slideLayout1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3.png"/><Relationship Id="rId2" Type="http://schemas.openxmlformats.org/officeDocument/2006/relationships/image" Target="../media/image132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4.png"/><Relationship Id="rId1" Type="http://schemas.openxmlformats.org/officeDocument/2006/relationships/slideLayout" Target="../slideLayouts/slideLayout1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4.png"/><Relationship Id="rId1" Type="http://schemas.openxmlformats.org/officeDocument/2006/relationships/slideLayout" Target="../slideLayouts/slideLayout1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png"/><Relationship Id="rId2" Type="http://schemas.openxmlformats.org/officeDocument/2006/relationships/image" Target="../media/image135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37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9.png"/><Relationship Id="rId2" Type="http://schemas.openxmlformats.org/officeDocument/2006/relationships/image" Target="../media/image138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40.png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1.png"/><Relationship Id="rId1" Type="http://schemas.openxmlformats.org/officeDocument/2006/relationships/slideLayout" Target="../slideLayouts/slideLayout1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2.png"/><Relationship Id="rId1" Type="http://schemas.openxmlformats.org/officeDocument/2006/relationships/slideLayout" Target="../slideLayouts/slideLayout1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4.png"/><Relationship Id="rId2" Type="http://schemas.openxmlformats.org/officeDocument/2006/relationships/image" Target="../media/image143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45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3.png"/><Relationship Id="rId2" Type="http://schemas.openxmlformats.org/officeDocument/2006/relationships/image" Target="../media/image146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47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9.png"/><Relationship Id="rId2" Type="http://schemas.openxmlformats.org/officeDocument/2006/relationships/image" Target="../media/image148.png"/><Relationship Id="rId1" Type="http://schemas.openxmlformats.org/officeDocument/2006/relationships/slideLayout" Target="../slideLayouts/slideLayout1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0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3.jp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12" Type="http://schemas.openxmlformats.org/officeDocument/2006/relationships/image" Target="../media/image3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11" Type="http://schemas.openxmlformats.org/officeDocument/2006/relationships/image" Target="../media/image31.jpg"/><Relationship Id="rId5" Type="http://schemas.openxmlformats.org/officeDocument/2006/relationships/image" Target="../media/image25.jpg"/><Relationship Id="rId15" Type="http://schemas.openxmlformats.org/officeDocument/2006/relationships/image" Target="../media/image35.png"/><Relationship Id="rId10" Type="http://schemas.openxmlformats.org/officeDocument/2006/relationships/image" Target="../media/image30.jpg"/><Relationship Id="rId4" Type="http://schemas.openxmlformats.org/officeDocument/2006/relationships/image" Target="../media/image24.png"/><Relationship Id="rId9" Type="http://schemas.openxmlformats.org/officeDocument/2006/relationships/image" Target="../media/image29.png"/><Relationship Id="rId14" Type="http://schemas.openxmlformats.org/officeDocument/2006/relationships/image" Target="../media/image34.png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1.png"/><Relationship Id="rId1" Type="http://schemas.openxmlformats.org/officeDocument/2006/relationships/slideLayout" Target="../slideLayouts/slideLayout1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2.png"/><Relationship Id="rId1" Type="http://schemas.openxmlformats.org/officeDocument/2006/relationships/slideLayout" Target="../slideLayouts/slideLayout1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2.png"/><Relationship Id="rId1" Type="http://schemas.openxmlformats.org/officeDocument/2006/relationships/slideLayout" Target="../slideLayouts/slideLayout1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3.png"/><Relationship Id="rId1" Type="http://schemas.openxmlformats.org/officeDocument/2006/relationships/slideLayout" Target="../slideLayouts/slideLayout1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5.png"/><Relationship Id="rId2" Type="http://schemas.openxmlformats.org/officeDocument/2006/relationships/image" Target="../media/image154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56.png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7.png"/><Relationship Id="rId1" Type="http://schemas.openxmlformats.org/officeDocument/2006/relationships/slideLayout" Target="../slideLayouts/slideLayout1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8.png"/><Relationship Id="rId2" Type="http://schemas.openxmlformats.org/officeDocument/2006/relationships/image" Target="../media/image156.png"/><Relationship Id="rId1" Type="http://schemas.openxmlformats.org/officeDocument/2006/relationships/slideLayout" Target="../slideLayouts/slideLayout12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9.png"/><Relationship Id="rId2" Type="http://schemas.openxmlformats.org/officeDocument/2006/relationships/image" Target="../media/image156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58.png"/><Relationship Id="rId4" Type="http://schemas.openxmlformats.org/officeDocument/2006/relationships/image" Target="../media/image160.png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1.png"/><Relationship Id="rId1" Type="http://schemas.openxmlformats.org/officeDocument/2006/relationships/slideLayout" Target="../slideLayouts/slideLayout12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3.png"/><Relationship Id="rId2" Type="http://schemas.openxmlformats.org/officeDocument/2006/relationships/image" Target="../media/image162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5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65.png"/><Relationship Id="rId4" Type="http://schemas.openxmlformats.org/officeDocument/2006/relationships/image" Target="../media/image131.png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59.png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69.png"/><Relationship Id="rId4" Type="http://schemas.openxmlformats.org/officeDocument/2006/relationships/image" Target="../media/image168.png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5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70.png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1.png"/><Relationship Id="rId1" Type="http://schemas.openxmlformats.org/officeDocument/2006/relationships/slideLayout" Target="../slideLayouts/slideLayout12.xml"/></Relationships>
</file>

<file path=ppt/slides/_rels/slide7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2.png"/><Relationship Id="rId5" Type="http://schemas.openxmlformats.org/officeDocument/2006/relationships/image" Target="../media/image11.jpeg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13" Type="http://schemas.openxmlformats.org/officeDocument/2006/relationships/image" Target="../media/image47.png"/><Relationship Id="rId3" Type="http://schemas.openxmlformats.org/officeDocument/2006/relationships/image" Target="../media/image37.png"/><Relationship Id="rId7" Type="http://schemas.openxmlformats.org/officeDocument/2006/relationships/image" Target="../media/image41.png"/><Relationship Id="rId12" Type="http://schemas.openxmlformats.org/officeDocument/2006/relationships/image" Target="../media/image46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5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png"/><Relationship Id="rId11" Type="http://schemas.openxmlformats.org/officeDocument/2006/relationships/image" Target="../media/image45.png"/><Relationship Id="rId5" Type="http://schemas.openxmlformats.org/officeDocument/2006/relationships/image" Target="../media/image39.png"/><Relationship Id="rId15" Type="http://schemas.openxmlformats.org/officeDocument/2006/relationships/image" Target="../media/image49.jpeg"/><Relationship Id="rId10" Type="http://schemas.openxmlformats.org/officeDocument/2006/relationships/image" Target="../media/image44.png"/><Relationship Id="rId4" Type="http://schemas.openxmlformats.org/officeDocument/2006/relationships/image" Target="../media/image38.png"/><Relationship Id="rId9" Type="http://schemas.openxmlformats.org/officeDocument/2006/relationships/image" Target="../media/image43.png"/><Relationship Id="rId14" Type="http://schemas.openxmlformats.org/officeDocument/2006/relationships/image" Target="../media/image4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slide" Target="slide36.xml"/><Relationship Id="rId13" Type="http://schemas.openxmlformats.org/officeDocument/2006/relationships/image" Target="../media/image57.png"/><Relationship Id="rId18" Type="http://schemas.openxmlformats.org/officeDocument/2006/relationships/image" Target="../media/image62.png"/><Relationship Id="rId26" Type="http://schemas.openxmlformats.org/officeDocument/2006/relationships/image" Target="../media/image69.png"/><Relationship Id="rId3" Type="http://schemas.openxmlformats.org/officeDocument/2006/relationships/slide" Target="slide35.xml"/><Relationship Id="rId21" Type="http://schemas.openxmlformats.org/officeDocument/2006/relationships/slide" Target="slide38.xml"/><Relationship Id="rId7" Type="http://schemas.openxmlformats.org/officeDocument/2006/relationships/image" Target="../media/image54.png"/><Relationship Id="rId12" Type="http://schemas.openxmlformats.org/officeDocument/2006/relationships/slide" Target="slide40.xml"/><Relationship Id="rId17" Type="http://schemas.openxmlformats.org/officeDocument/2006/relationships/image" Target="../media/image61.png"/><Relationship Id="rId25" Type="http://schemas.openxmlformats.org/officeDocument/2006/relationships/image" Target="../media/image68.pn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60.png"/><Relationship Id="rId20" Type="http://schemas.openxmlformats.org/officeDocument/2006/relationships/image" Target="../media/image64.png"/><Relationship Id="rId29" Type="http://schemas.openxmlformats.org/officeDocument/2006/relationships/image" Target="../media/image7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3.png"/><Relationship Id="rId11" Type="http://schemas.openxmlformats.org/officeDocument/2006/relationships/image" Target="../media/image56.png"/><Relationship Id="rId24" Type="http://schemas.openxmlformats.org/officeDocument/2006/relationships/image" Target="../media/image67.png"/><Relationship Id="rId5" Type="http://schemas.openxmlformats.org/officeDocument/2006/relationships/image" Target="../media/image52.png"/><Relationship Id="rId15" Type="http://schemas.openxmlformats.org/officeDocument/2006/relationships/image" Target="../media/image59.png"/><Relationship Id="rId23" Type="http://schemas.openxmlformats.org/officeDocument/2006/relationships/image" Target="../media/image66.png"/><Relationship Id="rId28" Type="http://schemas.openxmlformats.org/officeDocument/2006/relationships/image" Target="../media/image71.png"/><Relationship Id="rId10" Type="http://schemas.openxmlformats.org/officeDocument/2006/relationships/slide" Target="slide24.xml"/><Relationship Id="rId19" Type="http://schemas.openxmlformats.org/officeDocument/2006/relationships/image" Target="../media/image63.png"/><Relationship Id="rId4" Type="http://schemas.openxmlformats.org/officeDocument/2006/relationships/image" Target="../media/image51.png"/><Relationship Id="rId9" Type="http://schemas.openxmlformats.org/officeDocument/2006/relationships/image" Target="../media/image55.png"/><Relationship Id="rId14" Type="http://schemas.openxmlformats.org/officeDocument/2006/relationships/image" Target="../media/image58.png"/><Relationship Id="rId22" Type="http://schemas.openxmlformats.org/officeDocument/2006/relationships/image" Target="../media/image65.png"/><Relationship Id="rId27" Type="http://schemas.openxmlformats.org/officeDocument/2006/relationships/image" Target="../media/image70.png"/><Relationship Id="rId30" Type="http://schemas.openxmlformats.org/officeDocument/2006/relationships/image" Target="../media/image7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DF1E439-187F-4BB3-81FB-FD08647A5D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3B962D3D-77D1-44DC-A72B-D4D1B6F45A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/>
          <a:p>
            <a:endParaRPr lang="en-US" dirty="0">
              <a:solidFill>
                <a:srgbClr val="002060"/>
              </a:solidFill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2E219B1-22D1-4A6D-91B8-26F02189EAD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1697" t="28068"/>
          <a:stretch/>
        </p:blipFill>
        <p:spPr>
          <a:xfrm>
            <a:off x="-6350" y="0"/>
            <a:ext cx="12192000" cy="6916994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1FD8C0A5-93F9-45AA-A43F-42AC04F315D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5697" y="-105909"/>
            <a:ext cx="4181927" cy="1886371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9E792035-1C47-4A58-8660-403F01AD5CAD}"/>
              </a:ext>
            </a:extLst>
          </p:cNvPr>
          <p:cNvGrpSpPr/>
          <p:nvPr/>
        </p:nvGrpSpPr>
        <p:grpSpPr>
          <a:xfrm>
            <a:off x="8772733" y="5315061"/>
            <a:ext cx="2833014" cy="914401"/>
            <a:chOff x="7996221" y="5323686"/>
            <a:chExt cx="2833014" cy="914401"/>
          </a:xfrm>
        </p:grpSpPr>
        <p:pic>
          <p:nvPicPr>
            <p:cNvPr id="22" name="Picture 3">
              <a:extLst>
                <a:ext uri="{FF2B5EF4-FFF2-40B4-BE49-F238E27FC236}">
                  <a16:creationId xmlns:a16="http://schemas.microsoft.com/office/drawing/2014/main" id="{BEFCD6AC-EC1D-4B7C-9048-568D1A978DA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22334" y="5323687"/>
              <a:ext cx="706901" cy="9144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91ECFF90-53D6-4455-B5B4-A9B1AD53343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96221" y="5323686"/>
              <a:ext cx="2126113" cy="914400"/>
            </a:xfrm>
            <a:prstGeom prst="rect">
              <a:avLst/>
            </a:prstGeom>
          </p:spPr>
        </p:pic>
      </p:grpSp>
      <p:pic>
        <p:nvPicPr>
          <p:cNvPr id="24" name="Picture 23">
            <a:extLst>
              <a:ext uri="{FF2B5EF4-FFF2-40B4-BE49-F238E27FC236}">
                <a16:creationId xmlns:a16="http://schemas.microsoft.com/office/drawing/2014/main" id="{6D7AAB0D-00DD-4CD6-B902-11462D2580DD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6803" y="5380655"/>
            <a:ext cx="1584000" cy="783214"/>
          </a:xfrm>
          <a:prstGeom prst="rect">
            <a:avLst/>
          </a:prstGeom>
        </p:spPr>
      </p:pic>
      <p:sp>
        <p:nvSpPr>
          <p:cNvPr id="16" name="Title 9">
            <a:extLst>
              <a:ext uri="{FF2B5EF4-FFF2-40B4-BE49-F238E27FC236}">
                <a16:creationId xmlns:a16="http://schemas.microsoft.com/office/drawing/2014/main" id="{D0CB7B61-F4B0-4895-8F92-3117CB52A8F4}"/>
              </a:ext>
            </a:extLst>
          </p:cNvPr>
          <p:cNvSpPr txBox="1">
            <a:spLocks/>
          </p:cNvSpPr>
          <p:nvPr/>
        </p:nvSpPr>
        <p:spPr>
          <a:xfrm>
            <a:off x="285604" y="2230711"/>
            <a:ext cx="11627141" cy="1873982"/>
          </a:xfrm>
          <a:prstGeom prst="rect">
            <a:avLst/>
          </a:prstGeom>
        </p:spPr>
        <p:txBody>
          <a:bodyPr anchor="ctr"/>
          <a:lstStyle>
            <a:lvl1pPr marL="228600" algn="l" rtl="0" eaLnBrk="0" fontAlgn="base" hangingPunct="0">
              <a:spcBef>
                <a:spcPct val="0"/>
              </a:spcBef>
              <a:spcAft>
                <a:spcPct val="0"/>
              </a:spcAft>
              <a:defRPr lang="en-US" sz="36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marL="0" algn="ctr" eaLnBrk="1" fontAlgn="auto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tabLst>
                <a:tab pos="171450" algn="l"/>
              </a:tabLst>
              <a:defRPr/>
            </a:pPr>
            <a:r>
              <a:rPr lang="fr-FR" sz="3200" b="1" kern="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rPr>
              <a:t>KHÓA ĐÀO TẠO CHUYỂN GIAO NỘI BỘ </a:t>
            </a:r>
          </a:p>
          <a:p>
            <a:pPr marL="0" algn="ctr" eaLnBrk="1" fontAlgn="auto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tabLst>
                <a:tab pos="171450" algn="l"/>
              </a:tabLst>
              <a:defRPr/>
            </a:pPr>
            <a:r>
              <a:rPr lang="en-US" sz="3200" b="1" kern="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rPr>
              <a:t>HƯỚNG DẪN LẬP TRÌNH XHQ</a:t>
            </a:r>
            <a:endParaRPr lang="en-US" sz="3000" b="1" kern="0" dirty="0">
              <a:solidFill>
                <a:schemeClr val="bg1"/>
              </a:solidFill>
              <a:latin typeface="+mj-lt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89722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E5C17B20-A01B-4CE9-9D04-0E2E584E3772}"/>
              </a:ext>
            </a:extLst>
          </p:cNvPr>
          <p:cNvSpPr txBox="1"/>
          <p:nvPr/>
        </p:nvSpPr>
        <p:spPr>
          <a:xfrm>
            <a:off x="1151121" y="3025094"/>
            <a:ext cx="10155763" cy="1685846"/>
          </a:xfrm>
          <a:prstGeom prst="rect">
            <a:avLst/>
          </a:prstGeom>
          <a:gradFill flip="none" rotWithShape="1">
            <a:gsLst>
              <a:gs pos="0">
                <a:srgbClr val="1E1E5C">
                  <a:lumMod val="67000"/>
                </a:srgbClr>
              </a:gs>
              <a:gs pos="48000">
                <a:srgbClr val="2F2F91">
                  <a:lumMod val="97000"/>
                  <a:lumOff val="3000"/>
                </a:srgbClr>
              </a:gs>
              <a:gs pos="100000">
                <a:srgbClr val="6B6BCF">
                  <a:lumMod val="60000"/>
                  <a:lumOff val="40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rtlCol="0" anchor="ctr">
            <a:spAutoFit/>
          </a:bodyPr>
          <a:lstStyle/>
          <a:p>
            <a:pPr marL="514350" indent="-514350" algn="ctr">
              <a:lnSpc>
                <a:spcPct val="150000"/>
              </a:lnSpc>
              <a:spcBef>
                <a:spcPts val="0"/>
              </a:spcBef>
              <a:buAutoNum type="arabicPeriod"/>
            </a:pPr>
            <a:endParaRPr lang="en-US" sz="2400" b="1" dirty="0">
              <a:solidFill>
                <a:schemeClr val="bg1"/>
              </a:solidFill>
            </a:endParaRPr>
          </a:p>
          <a:p>
            <a:pPr algn="ctr">
              <a:lnSpc>
                <a:spcPct val="150000"/>
              </a:lnSpc>
              <a:spcBef>
                <a:spcPts val="0"/>
              </a:spcBef>
            </a:pPr>
            <a:r>
              <a:rPr lang="en-US" sz="2400" b="1">
                <a:solidFill>
                  <a:schemeClr val="bg1"/>
                </a:solidFill>
                <a:cs typeface="Arial" panose="020B0604020202020204" pitchFamily="34" charset="0"/>
              </a:rPr>
              <a:t>2. KIẾN TRÚC HỆ THỐNG XHQ</a:t>
            </a:r>
            <a:endParaRPr lang="en-US" sz="2400" b="1" dirty="0">
              <a:solidFill>
                <a:schemeClr val="bg1"/>
              </a:solidFill>
              <a:cs typeface="Arial" panose="020B0604020202020204" pitchFamily="34" charset="0"/>
            </a:endParaRPr>
          </a:p>
          <a:p>
            <a:pPr marL="514350" indent="-514350" algn="ctr">
              <a:lnSpc>
                <a:spcPct val="150000"/>
              </a:lnSpc>
              <a:spcBef>
                <a:spcPts val="0"/>
              </a:spcBef>
              <a:buAutoNum type="arabicPeriod" startAt="2"/>
            </a:pPr>
            <a:endParaRPr lang="en-US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53958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7295" y="14010"/>
            <a:ext cx="7223760" cy="1088740"/>
          </a:xfrm>
        </p:spPr>
        <p:txBody>
          <a:bodyPr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ical Architecture</a:t>
            </a:r>
            <a:b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-Premise or in Private Cloud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90AA5C0-0D3C-4E80-99BF-CFFF59C2B980}"/>
              </a:ext>
            </a:extLst>
          </p:cNvPr>
          <p:cNvSpPr/>
          <p:nvPr/>
        </p:nvSpPr>
        <p:spPr bwMode="auto">
          <a:xfrm>
            <a:off x="3174" y="6416596"/>
            <a:ext cx="12195176" cy="670004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4" name="Down Arrow 4">
            <a:extLst>
              <a:ext uri="{FF2B5EF4-FFF2-40B4-BE49-F238E27FC236}">
                <a16:creationId xmlns:a16="http://schemas.microsoft.com/office/drawing/2014/main" id="{635E2E1D-2383-4262-B74B-FF4233A51956}"/>
              </a:ext>
            </a:extLst>
          </p:cNvPr>
          <p:cNvSpPr/>
          <p:nvPr/>
        </p:nvSpPr>
        <p:spPr bwMode="auto">
          <a:xfrm flipV="1">
            <a:off x="651497" y="5932811"/>
            <a:ext cx="10811193" cy="903693"/>
          </a:xfrm>
          <a:prstGeom prst="downArrow">
            <a:avLst>
              <a:gd name="adj1" fmla="val 50000"/>
              <a:gd name="adj2" fmla="val 100000"/>
            </a:avLst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endParaRPr lang="en-US" sz="1799" dirty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pSp>
        <p:nvGrpSpPr>
          <p:cNvPr id="5" name="Gruppieren 2">
            <a:extLst>
              <a:ext uri="{FF2B5EF4-FFF2-40B4-BE49-F238E27FC236}">
                <a16:creationId xmlns:a16="http://schemas.microsoft.com/office/drawing/2014/main" id="{2B87AE76-8539-46D7-8510-D112830BEDDE}"/>
              </a:ext>
            </a:extLst>
          </p:cNvPr>
          <p:cNvGrpSpPr/>
          <p:nvPr/>
        </p:nvGrpSpPr>
        <p:grpSpPr>
          <a:xfrm>
            <a:off x="900233" y="5528698"/>
            <a:ext cx="4335028" cy="1394352"/>
            <a:chOff x="667960" y="3350946"/>
            <a:chExt cx="11591926" cy="3728517"/>
          </a:xfrm>
        </p:grpSpPr>
        <p:sp>
          <p:nvSpPr>
            <p:cNvPr id="6" name="Line 8">
              <a:extLst>
                <a:ext uri="{FF2B5EF4-FFF2-40B4-BE49-F238E27FC236}">
                  <a16:creationId xmlns:a16="http://schemas.microsoft.com/office/drawing/2014/main" id="{290ED009-48FC-4851-9633-893861D643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45410" y="5893530"/>
              <a:ext cx="0" cy="0"/>
            </a:xfrm>
            <a:prstGeom prst="line">
              <a:avLst/>
            </a:pr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" name="Line 9">
              <a:extLst>
                <a:ext uri="{FF2B5EF4-FFF2-40B4-BE49-F238E27FC236}">
                  <a16:creationId xmlns:a16="http://schemas.microsoft.com/office/drawing/2014/main" id="{4E9E581B-C563-4FEF-B21D-96E4014E94A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45410" y="5893530"/>
              <a:ext cx="0" cy="0"/>
            </a:xfrm>
            <a:prstGeom prst="line">
              <a:avLst/>
            </a:pr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8" name="Freeform 23">
              <a:extLst>
                <a:ext uri="{FF2B5EF4-FFF2-40B4-BE49-F238E27FC236}">
                  <a16:creationId xmlns:a16="http://schemas.microsoft.com/office/drawing/2014/main" id="{183C942E-8297-4735-B4DD-1E0003329F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6082" y="6244022"/>
              <a:ext cx="75537" cy="113306"/>
            </a:xfrm>
            <a:custGeom>
              <a:avLst/>
              <a:gdLst>
                <a:gd name="T0" fmla="*/ 21 w 21"/>
                <a:gd name="T1" fmla="*/ 16 h 32"/>
                <a:gd name="T2" fmla="*/ 11 w 21"/>
                <a:gd name="T3" fmla="*/ 32 h 32"/>
                <a:gd name="T4" fmla="*/ 0 w 21"/>
                <a:gd name="T5" fmla="*/ 16 h 32"/>
                <a:gd name="T6" fmla="*/ 11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1 w 21"/>
                <a:gd name="T13" fmla="*/ 28 h 32"/>
                <a:gd name="T14" fmla="*/ 16 w 21"/>
                <a:gd name="T15" fmla="*/ 16 h 32"/>
                <a:gd name="T16" fmla="*/ 11 w 21"/>
                <a:gd name="T17" fmla="*/ 5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7"/>
                    <a:pt x="18" y="32"/>
                    <a:pt x="11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1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8"/>
                    <a:pt x="11" y="28"/>
                  </a:cubicBezTo>
                  <a:cubicBezTo>
                    <a:pt x="14" y="28"/>
                    <a:pt x="16" y="24"/>
                    <a:pt x="16" y="16"/>
                  </a:cubicBezTo>
                  <a:cubicBezTo>
                    <a:pt x="16" y="8"/>
                    <a:pt x="14" y="5"/>
                    <a:pt x="11" y="5"/>
                  </a:cubicBezTo>
                  <a:cubicBezTo>
                    <a:pt x="7" y="5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9" name="Freeform 24">
              <a:extLst>
                <a:ext uri="{FF2B5EF4-FFF2-40B4-BE49-F238E27FC236}">
                  <a16:creationId xmlns:a16="http://schemas.microsoft.com/office/drawing/2014/main" id="{B3319EC0-673C-427C-B477-6F94F77100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6082" y="6435886"/>
              <a:ext cx="75537" cy="111795"/>
            </a:xfrm>
            <a:custGeom>
              <a:avLst/>
              <a:gdLst>
                <a:gd name="T0" fmla="*/ 21 w 21"/>
                <a:gd name="T1" fmla="*/ 16 h 31"/>
                <a:gd name="T2" fmla="*/ 11 w 21"/>
                <a:gd name="T3" fmla="*/ 31 h 31"/>
                <a:gd name="T4" fmla="*/ 0 w 21"/>
                <a:gd name="T5" fmla="*/ 15 h 31"/>
                <a:gd name="T6" fmla="*/ 11 w 21"/>
                <a:gd name="T7" fmla="*/ 0 h 31"/>
                <a:gd name="T8" fmla="*/ 21 w 21"/>
                <a:gd name="T9" fmla="*/ 16 h 31"/>
                <a:gd name="T10" fmla="*/ 5 w 21"/>
                <a:gd name="T11" fmla="*/ 15 h 31"/>
                <a:gd name="T12" fmla="*/ 11 w 21"/>
                <a:gd name="T13" fmla="*/ 27 h 31"/>
                <a:gd name="T14" fmla="*/ 16 w 21"/>
                <a:gd name="T15" fmla="*/ 16 h 31"/>
                <a:gd name="T16" fmla="*/ 11 w 21"/>
                <a:gd name="T17" fmla="*/ 4 h 31"/>
                <a:gd name="T18" fmla="*/ 5 w 21"/>
                <a:gd name="T1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1">
                  <a:moveTo>
                    <a:pt x="21" y="16"/>
                  </a:moveTo>
                  <a:cubicBezTo>
                    <a:pt x="21" y="26"/>
                    <a:pt x="18" y="31"/>
                    <a:pt x="11" y="31"/>
                  </a:cubicBezTo>
                  <a:cubicBezTo>
                    <a:pt x="3" y="31"/>
                    <a:pt x="0" y="26"/>
                    <a:pt x="0" y="15"/>
                  </a:cubicBezTo>
                  <a:cubicBezTo>
                    <a:pt x="0" y="5"/>
                    <a:pt x="3" y="0"/>
                    <a:pt x="11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5"/>
                  </a:moveTo>
                  <a:cubicBezTo>
                    <a:pt x="5" y="23"/>
                    <a:pt x="7" y="27"/>
                    <a:pt x="11" y="27"/>
                  </a:cubicBezTo>
                  <a:cubicBezTo>
                    <a:pt x="14" y="27"/>
                    <a:pt x="16" y="23"/>
                    <a:pt x="16" y="16"/>
                  </a:cubicBezTo>
                  <a:cubicBezTo>
                    <a:pt x="16" y="8"/>
                    <a:pt x="14" y="4"/>
                    <a:pt x="11" y="4"/>
                  </a:cubicBezTo>
                  <a:cubicBezTo>
                    <a:pt x="7" y="4"/>
                    <a:pt x="5" y="8"/>
                    <a:pt x="5" y="15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0" name="Freeform 25">
              <a:extLst>
                <a:ext uri="{FF2B5EF4-FFF2-40B4-BE49-F238E27FC236}">
                  <a16:creationId xmlns:a16="http://schemas.microsoft.com/office/drawing/2014/main" id="{B0E3F4E6-DDCB-459A-8698-665BF8B8B036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103" y="6818104"/>
              <a:ext cx="64962" cy="110285"/>
            </a:xfrm>
            <a:custGeom>
              <a:avLst/>
              <a:gdLst>
                <a:gd name="T0" fmla="*/ 19 w 43"/>
                <a:gd name="T1" fmla="*/ 14 h 73"/>
                <a:gd name="T2" fmla="*/ 5 w 43"/>
                <a:gd name="T3" fmla="*/ 24 h 73"/>
                <a:gd name="T4" fmla="*/ 0 w 43"/>
                <a:gd name="T5" fmla="*/ 12 h 73"/>
                <a:gd name="T6" fmla="*/ 22 w 43"/>
                <a:gd name="T7" fmla="*/ 0 h 73"/>
                <a:gd name="T8" fmla="*/ 34 w 43"/>
                <a:gd name="T9" fmla="*/ 0 h 73"/>
                <a:gd name="T10" fmla="*/ 34 w 43"/>
                <a:gd name="T11" fmla="*/ 64 h 73"/>
                <a:gd name="T12" fmla="*/ 43 w 43"/>
                <a:gd name="T13" fmla="*/ 64 h 73"/>
                <a:gd name="T14" fmla="*/ 43 w 43"/>
                <a:gd name="T15" fmla="*/ 73 h 73"/>
                <a:gd name="T16" fmla="*/ 10 w 43"/>
                <a:gd name="T17" fmla="*/ 73 h 73"/>
                <a:gd name="T18" fmla="*/ 10 w 43"/>
                <a:gd name="T19" fmla="*/ 64 h 73"/>
                <a:gd name="T20" fmla="*/ 19 w 43"/>
                <a:gd name="T21" fmla="*/ 64 h 73"/>
                <a:gd name="T22" fmla="*/ 19 w 43"/>
                <a:gd name="T23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73">
                  <a:moveTo>
                    <a:pt x="19" y="14"/>
                  </a:moveTo>
                  <a:lnTo>
                    <a:pt x="5" y="24"/>
                  </a:lnTo>
                  <a:lnTo>
                    <a:pt x="0" y="12"/>
                  </a:lnTo>
                  <a:lnTo>
                    <a:pt x="22" y="0"/>
                  </a:lnTo>
                  <a:lnTo>
                    <a:pt x="34" y="0"/>
                  </a:lnTo>
                  <a:lnTo>
                    <a:pt x="34" y="64"/>
                  </a:lnTo>
                  <a:lnTo>
                    <a:pt x="43" y="64"/>
                  </a:lnTo>
                  <a:lnTo>
                    <a:pt x="43" y="73"/>
                  </a:lnTo>
                  <a:lnTo>
                    <a:pt x="10" y="73"/>
                  </a:lnTo>
                  <a:lnTo>
                    <a:pt x="10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1" name="Freeform 43">
              <a:extLst>
                <a:ext uri="{FF2B5EF4-FFF2-40B4-BE49-F238E27FC236}">
                  <a16:creationId xmlns:a16="http://schemas.microsoft.com/office/drawing/2014/main" id="{4259BADA-AF90-4220-84D3-69F098BE6D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7960" y="6443440"/>
              <a:ext cx="63451" cy="93666"/>
            </a:xfrm>
            <a:custGeom>
              <a:avLst/>
              <a:gdLst>
                <a:gd name="T0" fmla="*/ 18 w 18"/>
                <a:gd name="T1" fmla="*/ 13 h 26"/>
                <a:gd name="T2" fmla="*/ 9 w 18"/>
                <a:gd name="T3" fmla="*/ 26 h 26"/>
                <a:gd name="T4" fmla="*/ 0 w 18"/>
                <a:gd name="T5" fmla="*/ 13 h 26"/>
                <a:gd name="T6" fmla="*/ 9 w 18"/>
                <a:gd name="T7" fmla="*/ 0 h 26"/>
                <a:gd name="T8" fmla="*/ 18 w 18"/>
                <a:gd name="T9" fmla="*/ 13 h 26"/>
                <a:gd name="T10" fmla="*/ 5 w 18"/>
                <a:gd name="T11" fmla="*/ 13 h 26"/>
                <a:gd name="T12" fmla="*/ 9 w 18"/>
                <a:gd name="T13" fmla="*/ 22 h 26"/>
                <a:gd name="T14" fmla="*/ 13 w 18"/>
                <a:gd name="T15" fmla="*/ 13 h 26"/>
                <a:gd name="T16" fmla="*/ 9 w 18"/>
                <a:gd name="T17" fmla="*/ 4 h 26"/>
                <a:gd name="T18" fmla="*/ 5 w 18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6">
                  <a:moveTo>
                    <a:pt x="18" y="13"/>
                  </a:moveTo>
                  <a:cubicBezTo>
                    <a:pt x="18" y="22"/>
                    <a:pt x="15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5"/>
                    <a:pt x="3" y="0"/>
                    <a:pt x="9" y="0"/>
                  </a:cubicBezTo>
                  <a:cubicBezTo>
                    <a:pt x="15" y="0"/>
                    <a:pt x="18" y="5"/>
                    <a:pt x="18" y="13"/>
                  </a:cubicBezTo>
                  <a:close/>
                  <a:moveTo>
                    <a:pt x="5" y="13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7"/>
                    <a:pt x="12" y="4"/>
                    <a:pt x="9" y="4"/>
                  </a:cubicBezTo>
                  <a:cubicBezTo>
                    <a:pt x="6" y="4"/>
                    <a:pt x="5" y="7"/>
                    <a:pt x="5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2" name="Freeform 44">
              <a:extLst>
                <a:ext uri="{FF2B5EF4-FFF2-40B4-BE49-F238E27FC236}">
                  <a16:creationId xmlns:a16="http://schemas.microsoft.com/office/drawing/2014/main" id="{48328966-713E-489A-B4E1-6A9A781BD0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7960" y="6597536"/>
              <a:ext cx="63451" cy="92156"/>
            </a:xfrm>
            <a:custGeom>
              <a:avLst/>
              <a:gdLst>
                <a:gd name="T0" fmla="*/ 18 w 18"/>
                <a:gd name="T1" fmla="*/ 13 h 26"/>
                <a:gd name="T2" fmla="*/ 9 w 18"/>
                <a:gd name="T3" fmla="*/ 26 h 26"/>
                <a:gd name="T4" fmla="*/ 0 w 18"/>
                <a:gd name="T5" fmla="*/ 13 h 26"/>
                <a:gd name="T6" fmla="*/ 9 w 18"/>
                <a:gd name="T7" fmla="*/ 0 h 26"/>
                <a:gd name="T8" fmla="*/ 18 w 18"/>
                <a:gd name="T9" fmla="*/ 13 h 26"/>
                <a:gd name="T10" fmla="*/ 5 w 18"/>
                <a:gd name="T11" fmla="*/ 13 h 26"/>
                <a:gd name="T12" fmla="*/ 9 w 18"/>
                <a:gd name="T13" fmla="*/ 22 h 26"/>
                <a:gd name="T14" fmla="*/ 13 w 18"/>
                <a:gd name="T15" fmla="*/ 13 h 26"/>
                <a:gd name="T16" fmla="*/ 9 w 18"/>
                <a:gd name="T17" fmla="*/ 4 h 26"/>
                <a:gd name="T18" fmla="*/ 5 w 18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6">
                  <a:moveTo>
                    <a:pt x="18" y="13"/>
                  </a:moveTo>
                  <a:cubicBezTo>
                    <a:pt x="18" y="21"/>
                    <a:pt x="15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5" y="0"/>
                    <a:pt x="18" y="4"/>
                    <a:pt x="18" y="13"/>
                  </a:cubicBezTo>
                  <a:close/>
                  <a:moveTo>
                    <a:pt x="5" y="13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7"/>
                    <a:pt x="12" y="4"/>
                    <a:pt x="9" y="4"/>
                  </a:cubicBezTo>
                  <a:cubicBezTo>
                    <a:pt x="6" y="4"/>
                    <a:pt x="5" y="7"/>
                    <a:pt x="5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3" name="Freeform 45">
              <a:extLst>
                <a:ext uri="{FF2B5EF4-FFF2-40B4-BE49-F238E27FC236}">
                  <a16:creationId xmlns:a16="http://schemas.microsoft.com/office/drawing/2014/main" id="{F9695699-E5D5-4975-893F-94AA499522E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981" y="6904216"/>
              <a:ext cx="49855" cy="89134"/>
            </a:xfrm>
            <a:custGeom>
              <a:avLst/>
              <a:gdLst>
                <a:gd name="T0" fmla="*/ 17 w 33"/>
                <a:gd name="T1" fmla="*/ 12 h 59"/>
                <a:gd name="T2" fmla="*/ 5 w 33"/>
                <a:gd name="T3" fmla="*/ 19 h 59"/>
                <a:gd name="T4" fmla="*/ 0 w 33"/>
                <a:gd name="T5" fmla="*/ 9 h 59"/>
                <a:gd name="T6" fmla="*/ 19 w 33"/>
                <a:gd name="T7" fmla="*/ 0 h 59"/>
                <a:gd name="T8" fmla="*/ 26 w 33"/>
                <a:gd name="T9" fmla="*/ 0 h 59"/>
                <a:gd name="T10" fmla="*/ 26 w 33"/>
                <a:gd name="T11" fmla="*/ 49 h 59"/>
                <a:gd name="T12" fmla="*/ 33 w 33"/>
                <a:gd name="T13" fmla="*/ 49 h 59"/>
                <a:gd name="T14" fmla="*/ 33 w 33"/>
                <a:gd name="T15" fmla="*/ 59 h 59"/>
                <a:gd name="T16" fmla="*/ 10 w 33"/>
                <a:gd name="T17" fmla="*/ 59 h 59"/>
                <a:gd name="T18" fmla="*/ 10 w 33"/>
                <a:gd name="T19" fmla="*/ 49 h 59"/>
                <a:gd name="T20" fmla="*/ 17 w 33"/>
                <a:gd name="T21" fmla="*/ 49 h 59"/>
                <a:gd name="T22" fmla="*/ 17 w 33"/>
                <a:gd name="T23" fmla="*/ 1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9">
                  <a:moveTo>
                    <a:pt x="17" y="12"/>
                  </a:moveTo>
                  <a:lnTo>
                    <a:pt x="5" y="19"/>
                  </a:lnTo>
                  <a:lnTo>
                    <a:pt x="0" y="9"/>
                  </a:lnTo>
                  <a:lnTo>
                    <a:pt x="19" y="0"/>
                  </a:lnTo>
                  <a:lnTo>
                    <a:pt x="26" y="0"/>
                  </a:lnTo>
                  <a:lnTo>
                    <a:pt x="26" y="49"/>
                  </a:lnTo>
                  <a:lnTo>
                    <a:pt x="33" y="49"/>
                  </a:lnTo>
                  <a:lnTo>
                    <a:pt x="33" y="59"/>
                  </a:lnTo>
                  <a:lnTo>
                    <a:pt x="10" y="59"/>
                  </a:lnTo>
                  <a:lnTo>
                    <a:pt x="10" y="49"/>
                  </a:lnTo>
                  <a:lnTo>
                    <a:pt x="17" y="49"/>
                  </a:lnTo>
                  <a:lnTo>
                    <a:pt x="17" y="12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4" name="Freeform 63">
              <a:extLst>
                <a:ext uri="{FF2B5EF4-FFF2-40B4-BE49-F238E27FC236}">
                  <a16:creationId xmlns:a16="http://schemas.microsoft.com/office/drawing/2014/main" id="{BD4C20FD-F0DC-40CD-A8B5-4901D966E7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98397" y="6443440"/>
              <a:ext cx="60430" cy="93666"/>
            </a:xfrm>
            <a:custGeom>
              <a:avLst/>
              <a:gdLst>
                <a:gd name="T0" fmla="*/ 17 w 17"/>
                <a:gd name="T1" fmla="*/ 13 h 26"/>
                <a:gd name="T2" fmla="*/ 9 w 17"/>
                <a:gd name="T3" fmla="*/ 26 h 26"/>
                <a:gd name="T4" fmla="*/ 0 w 17"/>
                <a:gd name="T5" fmla="*/ 13 h 26"/>
                <a:gd name="T6" fmla="*/ 9 w 17"/>
                <a:gd name="T7" fmla="*/ 0 h 26"/>
                <a:gd name="T8" fmla="*/ 17 w 17"/>
                <a:gd name="T9" fmla="*/ 13 h 26"/>
                <a:gd name="T10" fmla="*/ 4 w 17"/>
                <a:gd name="T11" fmla="*/ 13 h 26"/>
                <a:gd name="T12" fmla="*/ 9 w 17"/>
                <a:gd name="T13" fmla="*/ 22 h 26"/>
                <a:gd name="T14" fmla="*/ 13 w 17"/>
                <a:gd name="T15" fmla="*/ 13 h 26"/>
                <a:gd name="T16" fmla="*/ 9 w 17"/>
                <a:gd name="T17" fmla="*/ 4 h 26"/>
                <a:gd name="T18" fmla="*/ 4 w 17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6">
                  <a:moveTo>
                    <a:pt x="17" y="13"/>
                  </a:moveTo>
                  <a:cubicBezTo>
                    <a:pt x="17" y="22"/>
                    <a:pt x="14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5"/>
                    <a:pt x="3" y="0"/>
                    <a:pt x="9" y="0"/>
                  </a:cubicBezTo>
                  <a:cubicBezTo>
                    <a:pt x="14" y="0"/>
                    <a:pt x="17" y="5"/>
                    <a:pt x="17" y="13"/>
                  </a:cubicBezTo>
                  <a:close/>
                  <a:moveTo>
                    <a:pt x="4" y="13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7"/>
                    <a:pt x="11" y="4"/>
                    <a:pt x="9" y="4"/>
                  </a:cubicBezTo>
                  <a:cubicBezTo>
                    <a:pt x="6" y="4"/>
                    <a:pt x="4" y="7"/>
                    <a:pt x="4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5" name="Freeform 64">
              <a:extLst>
                <a:ext uri="{FF2B5EF4-FFF2-40B4-BE49-F238E27FC236}">
                  <a16:creationId xmlns:a16="http://schemas.microsoft.com/office/drawing/2014/main" id="{2DD611B7-B735-4D00-81C5-3B3D4BA89B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98397" y="6597536"/>
              <a:ext cx="60430" cy="92156"/>
            </a:xfrm>
            <a:custGeom>
              <a:avLst/>
              <a:gdLst>
                <a:gd name="T0" fmla="*/ 17 w 17"/>
                <a:gd name="T1" fmla="*/ 13 h 26"/>
                <a:gd name="T2" fmla="*/ 9 w 17"/>
                <a:gd name="T3" fmla="*/ 26 h 26"/>
                <a:gd name="T4" fmla="*/ 0 w 17"/>
                <a:gd name="T5" fmla="*/ 13 h 26"/>
                <a:gd name="T6" fmla="*/ 9 w 17"/>
                <a:gd name="T7" fmla="*/ 0 h 26"/>
                <a:gd name="T8" fmla="*/ 17 w 17"/>
                <a:gd name="T9" fmla="*/ 13 h 26"/>
                <a:gd name="T10" fmla="*/ 4 w 17"/>
                <a:gd name="T11" fmla="*/ 13 h 26"/>
                <a:gd name="T12" fmla="*/ 9 w 17"/>
                <a:gd name="T13" fmla="*/ 22 h 26"/>
                <a:gd name="T14" fmla="*/ 13 w 17"/>
                <a:gd name="T15" fmla="*/ 13 h 26"/>
                <a:gd name="T16" fmla="*/ 9 w 17"/>
                <a:gd name="T17" fmla="*/ 4 h 26"/>
                <a:gd name="T18" fmla="*/ 4 w 17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6">
                  <a:moveTo>
                    <a:pt x="17" y="13"/>
                  </a:moveTo>
                  <a:cubicBezTo>
                    <a:pt x="17" y="21"/>
                    <a:pt x="14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4" y="0"/>
                    <a:pt x="17" y="4"/>
                    <a:pt x="17" y="13"/>
                  </a:cubicBezTo>
                  <a:close/>
                  <a:moveTo>
                    <a:pt x="4" y="13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7"/>
                    <a:pt x="11" y="4"/>
                    <a:pt x="9" y="4"/>
                  </a:cubicBezTo>
                  <a:cubicBezTo>
                    <a:pt x="6" y="4"/>
                    <a:pt x="4" y="7"/>
                    <a:pt x="4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6" name="Freeform 65">
              <a:extLst>
                <a:ext uri="{FF2B5EF4-FFF2-40B4-BE49-F238E27FC236}">
                  <a16:creationId xmlns:a16="http://schemas.microsoft.com/office/drawing/2014/main" id="{C464ADC7-3C95-4B58-B075-2F381E1F1D2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929" y="6904216"/>
              <a:ext cx="49855" cy="89134"/>
            </a:xfrm>
            <a:custGeom>
              <a:avLst/>
              <a:gdLst>
                <a:gd name="T0" fmla="*/ 16 w 33"/>
                <a:gd name="T1" fmla="*/ 12 h 59"/>
                <a:gd name="T2" fmla="*/ 4 w 33"/>
                <a:gd name="T3" fmla="*/ 19 h 59"/>
                <a:gd name="T4" fmla="*/ 0 w 33"/>
                <a:gd name="T5" fmla="*/ 9 h 59"/>
                <a:gd name="T6" fmla="*/ 16 w 33"/>
                <a:gd name="T7" fmla="*/ 0 h 59"/>
                <a:gd name="T8" fmla="*/ 26 w 33"/>
                <a:gd name="T9" fmla="*/ 0 h 59"/>
                <a:gd name="T10" fmla="*/ 26 w 33"/>
                <a:gd name="T11" fmla="*/ 49 h 59"/>
                <a:gd name="T12" fmla="*/ 33 w 33"/>
                <a:gd name="T13" fmla="*/ 49 h 59"/>
                <a:gd name="T14" fmla="*/ 33 w 33"/>
                <a:gd name="T15" fmla="*/ 59 h 59"/>
                <a:gd name="T16" fmla="*/ 7 w 33"/>
                <a:gd name="T17" fmla="*/ 59 h 59"/>
                <a:gd name="T18" fmla="*/ 7 w 33"/>
                <a:gd name="T19" fmla="*/ 49 h 59"/>
                <a:gd name="T20" fmla="*/ 16 w 33"/>
                <a:gd name="T21" fmla="*/ 49 h 59"/>
                <a:gd name="T22" fmla="*/ 16 w 33"/>
                <a:gd name="T23" fmla="*/ 1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9">
                  <a:moveTo>
                    <a:pt x="16" y="12"/>
                  </a:moveTo>
                  <a:lnTo>
                    <a:pt x="4" y="19"/>
                  </a:lnTo>
                  <a:lnTo>
                    <a:pt x="0" y="9"/>
                  </a:lnTo>
                  <a:lnTo>
                    <a:pt x="16" y="0"/>
                  </a:lnTo>
                  <a:lnTo>
                    <a:pt x="26" y="0"/>
                  </a:lnTo>
                  <a:lnTo>
                    <a:pt x="26" y="49"/>
                  </a:lnTo>
                  <a:lnTo>
                    <a:pt x="33" y="49"/>
                  </a:lnTo>
                  <a:lnTo>
                    <a:pt x="33" y="59"/>
                  </a:lnTo>
                  <a:lnTo>
                    <a:pt x="7" y="59"/>
                  </a:lnTo>
                  <a:lnTo>
                    <a:pt x="7" y="49"/>
                  </a:lnTo>
                  <a:lnTo>
                    <a:pt x="16" y="49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7" name="Freeform 83">
              <a:extLst>
                <a:ext uri="{FF2B5EF4-FFF2-40B4-BE49-F238E27FC236}">
                  <a16:creationId xmlns:a16="http://schemas.microsoft.com/office/drawing/2014/main" id="{747808A4-0856-44F3-BC67-276B69422C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2097" y="6450993"/>
              <a:ext cx="92156" cy="157117"/>
            </a:xfrm>
            <a:custGeom>
              <a:avLst/>
              <a:gdLst>
                <a:gd name="T0" fmla="*/ 31 w 61"/>
                <a:gd name="T1" fmla="*/ 19 h 104"/>
                <a:gd name="T2" fmla="*/ 10 w 61"/>
                <a:gd name="T3" fmla="*/ 33 h 104"/>
                <a:gd name="T4" fmla="*/ 0 w 61"/>
                <a:gd name="T5" fmla="*/ 19 h 104"/>
                <a:gd name="T6" fmla="*/ 31 w 61"/>
                <a:gd name="T7" fmla="*/ 0 h 104"/>
                <a:gd name="T8" fmla="*/ 47 w 61"/>
                <a:gd name="T9" fmla="*/ 0 h 104"/>
                <a:gd name="T10" fmla="*/ 47 w 61"/>
                <a:gd name="T11" fmla="*/ 90 h 104"/>
                <a:gd name="T12" fmla="*/ 61 w 61"/>
                <a:gd name="T13" fmla="*/ 90 h 104"/>
                <a:gd name="T14" fmla="*/ 61 w 61"/>
                <a:gd name="T15" fmla="*/ 104 h 104"/>
                <a:gd name="T16" fmla="*/ 17 w 61"/>
                <a:gd name="T17" fmla="*/ 104 h 104"/>
                <a:gd name="T18" fmla="*/ 17 w 61"/>
                <a:gd name="T19" fmla="*/ 90 h 104"/>
                <a:gd name="T20" fmla="*/ 31 w 61"/>
                <a:gd name="T21" fmla="*/ 90 h 104"/>
                <a:gd name="T22" fmla="*/ 31 w 61"/>
                <a:gd name="T23" fmla="*/ 19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4">
                  <a:moveTo>
                    <a:pt x="31" y="19"/>
                  </a:moveTo>
                  <a:lnTo>
                    <a:pt x="10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0"/>
                  </a:lnTo>
                  <a:lnTo>
                    <a:pt x="61" y="90"/>
                  </a:lnTo>
                  <a:lnTo>
                    <a:pt x="61" y="104"/>
                  </a:lnTo>
                  <a:lnTo>
                    <a:pt x="17" y="104"/>
                  </a:lnTo>
                  <a:lnTo>
                    <a:pt x="17" y="90"/>
                  </a:lnTo>
                  <a:lnTo>
                    <a:pt x="31" y="90"/>
                  </a:lnTo>
                  <a:lnTo>
                    <a:pt x="31" y="19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8" name="Freeform 84">
              <a:extLst>
                <a:ext uri="{FF2B5EF4-FFF2-40B4-BE49-F238E27FC236}">
                  <a16:creationId xmlns:a16="http://schemas.microsoft.com/office/drawing/2014/main" id="{EEBB73BF-B4DA-42CA-95AB-F60721EA84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39076" y="6718395"/>
              <a:ext cx="110285" cy="164671"/>
            </a:xfrm>
            <a:custGeom>
              <a:avLst/>
              <a:gdLst>
                <a:gd name="T0" fmla="*/ 31 w 31"/>
                <a:gd name="T1" fmla="*/ 23 h 46"/>
                <a:gd name="T2" fmla="*/ 15 w 31"/>
                <a:gd name="T3" fmla="*/ 46 h 46"/>
                <a:gd name="T4" fmla="*/ 0 w 31"/>
                <a:gd name="T5" fmla="*/ 23 h 46"/>
                <a:gd name="T6" fmla="*/ 15 w 31"/>
                <a:gd name="T7" fmla="*/ 0 h 46"/>
                <a:gd name="T8" fmla="*/ 31 w 31"/>
                <a:gd name="T9" fmla="*/ 23 h 46"/>
                <a:gd name="T10" fmla="*/ 8 w 31"/>
                <a:gd name="T11" fmla="*/ 23 h 46"/>
                <a:gd name="T12" fmla="*/ 15 w 31"/>
                <a:gd name="T13" fmla="*/ 39 h 46"/>
                <a:gd name="T14" fmla="*/ 23 w 31"/>
                <a:gd name="T15" fmla="*/ 23 h 46"/>
                <a:gd name="T16" fmla="*/ 15 w 31"/>
                <a:gd name="T17" fmla="*/ 7 h 46"/>
                <a:gd name="T18" fmla="*/ 8 w 31"/>
                <a:gd name="T19" fmla="*/ 2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46">
                  <a:moveTo>
                    <a:pt x="31" y="23"/>
                  </a:moveTo>
                  <a:cubicBezTo>
                    <a:pt x="31" y="38"/>
                    <a:pt x="26" y="46"/>
                    <a:pt x="15" y="46"/>
                  </a:cubicBezTo>
                  <a:cubicBezTo>
                    <a:pt x="5" y="46"/>
                    <a:pt x="0" y="38"/>
                    <a:pt x="0" y="23"/>
                  </a:cubicBezTo>
                  <a:cubicBezTo>
                    <a:pt x="0" y="8"/>
                    <a:pt x="5" y="0"/>
                    <a:pt x="15" y="0"/>
                  </a:cubicBezTo>
                  <a:cubicBezTo>
                    <a:pt x="26" y="0"/>
                    <a:pt x="31" y="8"/>
                    <a:pt x="31" y="23"/>
                  </a:cubicBezTo>
                  <a:close/>
                  <a:moveTo>
                    <a:pt x="8" y="23"/>
                  </a:moveTo>
                  <a:cubicBezTo>
                    <a:pt x="8" y="34"/>
                    <a:pt x="10" y="39"/>
                    <a:pt x="15" y="39"/>
                  </a:cubicBezTo>
                  <a:cubicBezTo>
                    <a:pt x="20" y="39"/>
                    <a:pt x="23" y="34"/>
                    <a:pt x="23" y="23"/>
                  </a:cubicBezTo>
                  <a:cubicBezTo>
                    <a:pt x="23" y="12"/>
                    <a:pt x="20" y="7"/>
                    <a:pt x="15" y="7"/>
                  </a:cubicBezTo>
                  <a:cubicBezTo>
                    <a:pt x="10" y="7"/>
                    <a:pt x="8" y="12"/>
                    <a:pt x="8" y="2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9" name="Freeform 95">
              <a:extLst>
                <a:ext uri="{FF2B5EF4-FFF2-40B4-BE49-F238E27FC236}">
                  <a16:creationId xmlns:a16="http://schemas.microsoft.com/office/drawing/2014/main" id="{D19DE449-0305-41C4-98D1-5C4D7F5DE15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4031" y="5565699"/>
              <a:ext cx="52876" cy="86113"/>
            </a:xfrm>
            <a:custGeom>
              <a:avLst/>
              <a:gdLst>
                <a:gd name="T0" fmla="*/ 16 w 35"/>
                <a:gd name="T1" fmla="*/ 14 h 57"/>
                <a:gd name="T2" fmla="*/ 7 w 35"/>
                <a:gd name="T3" fmla="*/ 21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7 h 57"/>
                <a:gd name="T12" fmla="*/ 35 w 35"/>
                <a:gd name="T13" fmla="*/ 47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7 h 57"/>
                <a:gd name="T20" fmla="*/ 16 w 35"/>
                <a:gd name="T21" fmla="*/ 47 h 57"/>
                <a:gd name="T22" fmla="*/ 16 w 35"/>
                <a:gd name="T23" fmla="*/ 1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4"/>
                  </a:moveTo>
                  <a:lnTo>
                    <a:pt x="7" y="21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0" name="Freeform 96">
              <a:extLst>
                <a:ext uri="{FF2B5EF4-FFF2-40B4-BE49-F238E27FC236}">
                  <a16:creationId xmlns:a16="http://schemas.microsoft.com/office/drawing/2014/main" id="{6A03E5BA-BB0A-4F0A-BE8F-3B454E52FC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09499" y="5712241"/>
              <a:ext cx="67984" cy="86113"/>
            </a:xfrm>
            <a:custGeom>
              <a:avLst/>
              <a:gdLst>
                <a:gd name="T0" fmla="*/ 17 w 19"/>
                <a:gd name="T1" fmla="*/ 4 h 24"/>
                <a:gd name="T2" fmla="*/ 19 w 19"/>
                <a:gd name="T3" fmla="*/ 12 h 24"/>
                <a:gd name="T4" fmla="*/ 17 w 19"/>
                <a:gd name="T5" fmla="*/ 21 h 24"/>
                <a:gd name="T6" fmla="*/ 10 w 19"/>
                <a:gd name="T7" fmla="*/ 24 h 24"/>
                <a:gd name="T8" fmla="*/ 2 w 19"/>
                <a:gd name="T9" fmla="*/ 20 h 24"/>
                <a:gd name="T10" fmla="*/ 0 w 19"/>
                <a:gd name="T11" fmla="*/ 12 h 24"/>
                <a:gd name="T12" fmla="*/ 10 w 19"/>
                <a:gd name="T13" fmla="*/ 0 h 24"/>
                <a:gd name="T14" fmla="*/ 17 w 19"/>
                <a:gd name="T15" fmla="*/ 4 h 24"/>
                <a:gd name="T16" fmla="*/ 6 w 19"/>
                <a:gd name="T17" fmla="*/ 12 h 24"/>
                <a:gd name="T18" fmla="*/ 10 w 19"/>
                <a:gd name="T19" fmla="*/ 20 h 24"/>
                <a:gd name="T20" fmla="*/ 14 w 19"/>
                <a:gd name="T21" fmla="*/ 12 h 24"/>
                <a:gd name="T22" fmla="*/ 10 w 19"/>
                <a:gd name="T23" fmla="*/ 4 h 24"/>
                <a:gd name="T24" fmla="*/ 6 w 19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4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6"/>
                    <a:pt x="18" y="19"/>
                    <a:pt x="17" y="21"/>
                  </a:cubicBezTo>
                  <a:cubicBezTo>
                    <a:pt x="15" y="23"/>
                    <a:pt x="13" y="24"/>
                    <a:pt x="10" y="24"/>
                  </a:cubicBezTo>
                  <a:cubicBezTo>
                    <a:pt x="6" y="24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1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1" name="Freeform 97">
              <a:extLst>
                <a:ext uri="{FF2B5EF4-FFF2-40B4-BE49-F238E27FC236}">
                  <a16:creationId xmlns:a16="http://schemas.microsoft.com/office/drawing/2014/main" id="{33946C0F-EFCB-4652-8FC6-C4A48DD75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4031" y="5858783"/>
              <a:ext cx="52876" cy="84602"/>
            </a:xfrm>
            <a:custGeom>
              <a:avLst/>
              <a:gdLst>
                <a:gd name="T0" fmla="*/ 16 w 35"/>
                <a:gd name="T1" fmla="*/ 14 h 56"/>
                <a:gd name="T2" fmla="*/ 7 w 35"/>
                <a:gd name="T3" fmla="*/ 21 h 56"/>
                <a:gd name="T4" fmla="*/ 0 w 35"/>
                <a:gd name="T5" fmla="*/ 11 h 56"/>
                <a:gd name="T6" fmla="*/ 19 w 35"/>
                <a:gd name="T7" fmla="*/ 0 h 56"/>
                <a:gd name="T8" fmla="*/ 28 w 35"/>
                <a:gd name="T9" fmla="*/ 0 h 56"/>
                <a:gd name="T10" fmla="*/ 28 w 35"/>
                <a:gd name="T11" fmla="*/ 47 h 56"/>
                <a:gd name="T12" fmla="*/ 35 w 35"/>
                <a:gd name="T13" fmla="*/ 47 h 56"/>
                <a:gd name="T14" fmla="*/ 35 w 35"/>
                <a:gd name="T15" fmla="*/ 56 h 56"/>
                <a:gd name="T16" fmla="*/ 9 w 35"/>
                <a:gd name="T17" fmla="*/ 56 h 56"/>
                <a:gd name="T18" fmla="*/ 9 w 35"/>
                <a:gd name="T19" fmla="*/ 47 h 56"/>
                <a:gd name="T20" fmla="*/ 16 w 35"/>
                <a:gd name="T21" fmla="*/ 47 h 56"/>
                <a:gd name="T22" fmla="*/ 16 w 35"/>
                <a:gd name="T23" fmla="*/ 1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6">
                  <a:moveTo>
                    <a:pt x="16" y="14"/>
                  </a:moveTo>
                  <a:lnTo>
                    <a:pt x="7" y="21"/>
                  </a:lnTo>
                  <a:lnTo>
                    <a:pt x="0" y="11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6"/>
                  </a:lnTo>
                  <a:lnTo>
                    <a:pt x="9" y="56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2" name="Freeform 98">
              <a:extLst>
                <a:ext uri="{FF2B5EF4-FFF2-40B4-BE49-F238E27FC236}">
                  <a16:creationId xmlns:a16="http://schemas.microsoft.com/office/drawing/2014/main" id="{B76CE621-D872-434A-82C5-914D741ED0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09499" y="6005325"/>
              <a:ext cx="67984" cy="84602"/>
            </a:xfrm>
            <a:custGeom>
              <a:avLst/>
              <a:gdLst>
                <a:gd name="T0" fmla="*/ 17 w 19"/>
                <a:gd name="T1" fmla="*/ 4 h 24"/>
                <a:gd name="T2" fmla="*/ 19 w 19"/>
                <a:gd name="T3" fmla="*/ 12 h 24"/>
                <a:gd name="T4" fmla="*/ 17 w 19"/>
                <a:gd name="T5" fmla="*/ 21 h 24"/>
                <a:gd name="T6" fmla="*/ 10 w 19"/>
                <a:gd name="T7" fmla="*/ 24 h 24"/>
                <a:gd name="T8" fmla="*/ 2 w 19"/>
                <a:gd name="T9" fmla="*/ 20 h 24"/>
                <a:gd name="T10" fmla="*/ 0 w 19"/>
                <a:gd name="T11" fmla="*/ 12 h 24"/>
                <a:gd name="T12" fmla="*/ 10 w 19"/>
                <a:gd name="T13" fmla="*/ 0 h 24"/>
                <a:gd name="T14" fmla="*/ 17 w 19"/>
                <a:gd name="T15" fmla="*/ 4 h 24"/>
                <a:gd name="T16" fmla="*/ 6 w 19"/>
                <a:gd name="T17" fmla="*/ 12 h 24"/>
                <a:gd name="T18" fmla="*/ 10 w 19"/>
                <a:gd name="T19" fmla="*/ 20 h 24"/>
                <a:gd name="T20" fmla="*/ 14 w 19"/>
                <a:gd name="T21" fmla="*/ 12 h 24"/>
                <a:gd name="T22" fmla="*/ 10 w 19"/>
                <a:gd name="T23" fmla="*/ 4 h 24"/>
                <a:gd name="T24" fmla="*/ 6 w 19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4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6"/>
                    <a:pt x="18" y="19"/>
                    <a:pt x="17" y="21"/>
                  </a:cubicBezTo>
                  <a:cubicBezTo>
                    <a:pt x="15" y="23"/>
                    <a:pt x="13" y="24"/>
                    <a:pt x="10" y="24"/>
                  </a:cubicBezTo>
                  <a:cubicBezTo>
                    <a:pt x="6" y="24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1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3" name="Freeform 99">
              <a:extLst>
                <a:ext uri="{FF2B5EF4-FFF2-40B4-BE49-F238E27FC236}">
                  <a16:creationId xmlns:a16="http://schemas.microsoft.com/office/drawing/2014/main" id="{0BDE07F2-A6F2-44C8-82B4-6CC9179CFA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4031" y="6150356"/>
              <a:ext cx="52876" cy="86113"/>
            </a:xfrm>
            <a:custGeom>
              <a:avLst/>
              <a:gdLst>
                <a:gd name="T0" fmla="*/ 16 w 35"/>
                <a:gd name="T1" fmla="*/ 15 h 57"/>
                <a:gd name="T2" fmla="*/ 7 w 35"/>
                <a:gd name="T3" fmla="*/ 22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8 h 57"/>
                <a:gd name="T12" fmla="*/ 35 w 35"/>
                <a:gd name="T13" fmla="*/ 48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8 h 57"/>
                <a:gd name="T20" fmla="*/ 16 w 35"/>
                <a:gd name="T21" fmla="*/ 48 h 57"/>
                <a:gd name="T22" fmla="*/ 16 w 35"/>
                <a:gd name="T23" fmla="*/ 1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5"/>
                  </a:moveTo>
                  <a:lnTo>
                    <a:pt x="7" y="22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8"/>
                  </a:lnTo>
                  <a:lnTo>
                    <a:pt x="35" y="48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8"/>
                  </a:lnTo>
                  <a:lnTo>
                    <a:pt x="16" y="48"/>
                  </a:lnTo>
                  <a:lnTo>
                    <a:pt x="16" y="15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4" name="Freeform 100">
              <a:extLst>
                <a:ext uri="{FF2B5EF4-FFF2-40B4-BE49-F238E27FC236}">
                  <a16:creationId xmlns:a16="http://schemas.microsoft.com/office/drawing/2014/main" id="{A6AE9866-670B-41A3-A736-19F5A76670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09499" y="6296898"/>
              <a:ext cx="67984" cy="86113"/>
            </a:xfrm>
            <a:custGeom>
              <a:avLst/>
              <a:gdLst>
                <a:gd name="T0" fmla="*/ 17 w 19"/>
                <a:gd name="T1" fmla="*/ 4 h 24"/>
                <a:gd name="T2" fmla="*/ 19 w 19"/>
                <a:gd name="T3" fmla="*/ 12 h 24"/>
                <a:gd name="T4" fmla="*/ 17 w 19"/>
                <a:gd name="T5" fmla="*/ 21 h 24"/>
                <a:gd name="T6" fmla="*/ 10 w 19"/>
                <a:gd name="T7" fmla="*/ 24 h 24"/>
                <a:gd name="T8" fmla="*/ 2 w 19"/>
                <a:gd name="T9" fmla="*/ 20 h 24"/>
                <a:gd name="T10" fmla="*/ 0 w 19"/>
                <a:gd name="T11" fmla="*/ 12 h 24"/>
                <a:gd name="T12" fmla="*/ 10 w 19"/>
                <a:gd name="T13" fmla="*/ 0 h 24"/>
                <a:gd name="T14" fmla="*/ 17 w 19"/>
                <a:gd name="T15" fmla="*/ 4 h 24"/>
                <a:gd name="T16" fmla="*/ 6 w 19"/>
                <a:gd name="T17" fmla="*/ 12 h 24"/>
                <a:gd name="T18" fmla="*/ 10 w 19"/>
                <a:gd name="T19" fmla="*/ 20 h 24"/>
                <a:gd name="T20" fmla="*/ 14 w 19"/>
                <a:gd name="T21" fmla="*/ 12 h 24"/>
                <a:gd name="T22" fmla="*/ 10 w 19"/>
                <a:gd name="T23" fmla="*/ 4 h 24"/>
                <a:gd name="T24" fmla="*/ 6 w 19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4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6"/>
                    <a:pt x="18" y="19"/>
                    <a:pt x="17" y="21"/>
                  </a:cubicBezTo>
                  <a:cubicBezTo>
                    <a:pt x="15" y="23"/>
                    <a:pt x="13" y="24"/>
                    <a:pt x="10" y="24"/>
                  </a:cubicBezTo>
                  <a:cubicBezTo>
                    <a:pt x="6" y="24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1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5" name="Freeform 101">
              <a:extLst>
                <a:ext uri="{FF2B5EF4-FFF2-40B4-BE49-F238E27FC236}">
                  <a16:creationId xmlns:a16="http://schemas.microsoft.com/office/drawing/2014/main" id="{56392EB8-15E8-455F-A53A-081F0A2693F6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4031" y="6443440"/>
              <a:ext cx="52876" cy="86113"/>
            </a:xfrm>
            <a:custGeom>
              <a:avLst/>
              <a:gdLst>
                <a:gd name="T0" fmla="*/ 16 w 35"/>
                <a:gd name="T1" fmla="*/ 14 h 57"/>
                <a:gd name="T2" fmla="*/ 7 w 35"/>
                <a:gd name="T3" fmla="*/ 21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7 h 57"/>
                <a:gd name="T12" fmla="*/ 35 w 35"/>
                <a:gd name="T13" fmla="*/ 47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7 h 57"/>
                <a:gd name="T20" fmla="*/ 16 w 35"/>
                <a:gd name="T21" fmla="*/ 47 h 57"/>
                <a:gd name="T22" fmla="*/ 16 w 35"/>
                <a:gd name="T23" fmla="*/ 1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4"/>
                  </a:moveTo>
                  <a:lnTo>
                    <a:pt x="7" y="21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6" name="Freeform 102">
              <a:extLst>
                <a:ext uri="{FF2B5EF4-FFF2-40B4-BE49-F238E27FC236}">
                  <a16:creationId xmlns:a16="http://schemas.microsoft.com/office/drawing/2014/main" id="{00B58FAF-6A0D-4928-BC17-F18030E696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4031" y="6589982"/>
              <a:ext cx="52876" cy="86113"/>
            </a:xfrm>
            <a:custGeom>
              <a:avLst/>
              <a:gdLst>
                <a:gd name="T0" fmla="*/ 16 w 35"/>
                <a:gd name="T1" fmla="*/ 14 h 57"/>
                <a:gd name="T2" fmla="*/ 7 w 35"/>
                <a:gd name="T3" fmla="*/ 21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7 h 57"/>
                <a:gd name="T12" fmla="*/ 35 w 35"/>
                <a:gd name="T13" fmla="*/ 47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7 h 57"/>
                <a:gd name="T20" fmla="*/ 16 w 35"/>
                <a:gd name="T21" fmla="*/ 47 h 57"/>
                <a:gd name="T22" fmla="*/ 16 w 35"/>
                <a:gd name="T23" fmla="*/ 1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4"/>
                  </a:moveTo>
                  <a:lnTo>
                    <a:pt x="7" y="21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7" name="Freeform 103">
              <a:extLst>
                <a:ext uri="{FF2B5EF4-FFF2-40B4-BE49-F238E27FC236}">
                  <a16:creationId xmlns:a16="http://schemas.microsoft.com/office/drawing/2014/main" id="{45F518E8-442E-41AF-8668-32BA9B6C5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4031" y="6739546"/>
              <a:ext cx="52876" cy="83091"/>
            </a:xfrm>
            <a:custGeom>
              <a:avLst/>
              <a:gdLst>
                <a:gd name="T0" fmla="*/ 16 w 35"/>
                <a:gd name="T1" fmla="*/ 12 h 55"/>
                <a:gd name="T2" fmla="*/ 7 w 35"/>
                <a:gd name="T3" fmla="*/ 19 h 55"/>
                <a:gd name="T4" fmla="*/ 0 w 35"/>
                <a:gd name="T5" fmla="*/ 10 h 55"/>
                <a:gd name="T6" fmla="*/ 19 w 35"/>
                <a:gd name="T7" fmla="*/ 0 h 55"/>
                <a:gd name="T8" fmla="*/ 28 w 35"/>
                <a:gd name="T9" fmla="*/ 0 h 55"/>
                <a:gd name="T10" fmla="*/ 28 w 35"/>
                <a:gd name="T11" fmla="*/ 45 h 55"/>
                <a:gd name="T12" fmla="*/ 35 w 35"/>
                <a:gd name="T13" fmla="*/ 45 h 55"/>
                <a:gd name="T14" fmla="*/ 35 w 35"/>
                <a:gd name="T15" fmla="*/ 55 h 55"/>
                <a:gd name="T16" fmla="*/ 9 w 35"/>
                <a:gd name="T17" fmla="*/ 55 h 55"/>
                <a:gd name="T18" fmla="*/ 9 w 35"/>
                <a:gd name="T19" fmla="*/ 45 h 55"/>
                <a:gd name="T20" fmla="*/ 16 w 35"/>
                <a:gd name="T21" fmla="*/ 45 h 55"/>
                <a:gd name="T22" fmla="*/ 16 w 35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5">
                  <a:moveTo>
                    <a:pt x="16" y="12"/>
                  </a:moveTo>
                  <a:lnTo>
                    <a:pt x="7" y="19"/>
                  </a:lnTo>
                  <a:lnTo>
                    <a:pt x="0" y="10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5"/>
                  </a:lnTo>
                  <a:lnTo>
                    <a:pt x="35" y="45"/>
                  </a:lnTo>
                  <a:lnTo>
                    <a:pt x="35" y="55"/>
                  </a:lnTo>
                  <a:lnTo>
                    <a:pt x="9" y="55"/>
                  </a:lnTo>
                  <a:lnTo>
                    <a:pt x="9" y="45"/>
                  </a:lnTo>
                  <a:lnTo>
                    <a:pt x="16" y="45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8" name="Freeform 104">
              <a:extLst>
                <a:ext uri="{FF2B5EF4-FFF2-40B4-BE49-F238E27FC236}">
                  <a16:creationId xmlns:a16="http://schemas.microsoft.com/office/drawing/2014/main" id="{AD078B93-87D3-47C3-8E1C-E0AB78A42E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09499" y="6883066"/>
              <a:ext cx="67984" cy="89134"/>
            </a:xfrm>
            <a:custGeom>
              <a:avLst/>
              <a:gdLst>
                <a:gd name="T0" fmla="*/ 17 w 19"/>
                <a:gd name="T1" fmla="*/ 4 h 25"/>
                <a:gd name="T2" fmla="*/ 19 w 19"/>
                <a:gd name="T3" fmla="*/ 12 h 25"/>
                <a:gd name="T4" fmla="*/ 17 w 19"/>
                <a:gd name="T5" fmla="*/ 21 h 25"/>
                <a:gd name="T6" fmla="*/ 10 w 19"/>
                <a:gd name="T7" fmla="*/ 25 h 25"/>
                <a:gd name="T8" fmla="*/ 2 w 19"/>
                <a:gd name="T9" fmla="*/ 20 h 25"/>
                <a:gd name="T10" fmla="*/ 0 w 19"/>
                <a:gd name="T11" fmla="*/ 12 h 25"/>
                <a:gd name="T12" fmla="*/ 10 w 19"/>
                <a:gd name="T13" fmla="*/ 0 h 25"/>
                <a:gd name="T14" fmla="*/ 17 w 19"/>
                <a:gd name="T15" fmla="*/ 4 h 25"/>
                <a:gd name="T16" fmla="*/ 6 w 19"/>
                <a:gd name="T17" fmla="*/ 12 h 25"/>
                <a:gd name="T18" fmla="*/ 10 w 19"/>
                <a:gd name="T19" fmla="*/ 20 h 25"/>
                <a:gd name="T20" fmla="*/ 14 w 19"/>
                <a:gd name="T21" fmla="*/ 12 h 25"/>
                <a:gd name="T22" fmla="*/ 10 w 19"/>
                <a:gd name="T23" fmla="*/ 4 h 25"/>
                <a:gd name="T24" fmla="*/ 6 w 19"/>
                <a:gd name="T25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5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7"/>
                    <a:pt x="18" y="19"/>
                    <a:pt x="17" y="21"/>
                  </a:cubicBezTo>
                  <a:cubicBezTo>
                    <a:pt x="15" y="23"/>
                    <a:pt x="13" y="25"/>
                    <a:pt x="10" y="25"/>
                  </a:cubicBezTo>
                  <a:cubicBezTo>
                    <a:pt x="6" y="25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2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9" name="Freeform 135">
              <a:extLst>
                <a:ext uri="{FF2B5EF4-FFF2-40B4-BE49-F238E27FC236}">
                  <a16:creationId xmlns:a16="http://schemas.microsoft.com/office/drawing/2014/main" id="{9AC0E381-836F-45BD-A615-6954499EAE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4121" y="5932809"/>
              <a:ext cx="60430" cy="111795"/>
            </a:xfrm>
            <a:custGeom>
              <a:avLst/>
              <a:gdLst>
                <a:gd name="T0" fmla="*/ 19 w 40"/>
                <a:gd name="T1" fmla="*/ 14 h 74"/>
                <a:gd name="T2" fmla="*/ 4 w 40"/>
                <a:gd name="T3" fmla="*/ 24 h 74"/>
                <a:gd name="T4" fmla="*/ 0 w 40"/>
                <a:gd name="T5" fmla="*/ 14 h 74"/>
                <a:gd name="T6" fmla="*/ 21 w 40"/>
                <a:gd name="T7" fmla="*/ 0 h 74"/>
                <a:gd name="T8" fmla="*/ 30 w 40"/>
                <a:gd name="T9" fmla="*/ 0 h 74"/>
                <a:gd name="T10" fmla="*/ 30 w 40"/>
                <a:gd name="T11" fmla="*/ 64 h 74"/>
                <a:gd name="T12" fmla="*/ 40 w 40"/>
                <a:gd name="T13" fmla="*/ 64 h 74"/>
                <a:gd name="T14" fmla="*/ 40 w 40"/>
                <a:gd name="T15" fmla="*/ 74 h 74"/>
                <a:gd name="T16" fmla="*/ 9 w 40"/>
                <a:gd name="T17" fmla="*/ 74 h 74"/>
                <a:gd name="T18" fmla="*/ 9 w 40"/>
                <a:gd name="T19" fmla="*/ 64 h 74"/>
                <a:gd name="T20" fmla="*/ 19 w 40"/>
                <a:gd name="T21" fmla="*/ 64 h 74"/>
                <a:gd name="T22" fmla="*/ 19 w 40"/>
                <a:gd name="T23" fmla="*/ 1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4">
                  <a:moveTo>
                    <a:pt x="19" y="14"/>
                  </a:moveTo>
                  <a:lnTo>
                    <a:pt x="4" y="24"/>
                  </a:lnTo>
                  <a:lnTo>
                    <a:pt x="0" y="14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4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9" y="74"/>
                  </a:lnTo>
                  <a:lnTo>
                    <a:pt x="9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0" name="Freeform 136">
              <a:extLst>
                <a:ext uri="{FF2B5EF4-FFF2-40B4-BE49-F238E27FC236}">
                  <a16:creationId xmlns:a16="http://schemas.microsoft.com/office/drawing/2014/main" id="{6237665A-8D88-4084-BAEA-BA764B8BB0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9589" y="6121652"/>
              <a:ext cx="75537" cy="114816"/>
            </a:xfrm>
            <a:custGeom>
              <a:avLst/>
              <a:gdLst>
                <a:gd name="T0" fmla="*/ 21 w 21"/>
                <a:gd name="T1" fmla="*/ 16 h 32"/>
                <a:gd name="T2" fmla="*/ 10 w 21"/>
                <a:gd name="T3" fmla="*/ 32 h 32"/>
                <a:gd name="T4" fmla="*/ 0 w 21"/>
                <a:gd name="T5" fmla="*/ 16 h 32"/>
                <a:gd name="T6" fmla="*/ 10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0 w 21"/>
                <a:gd name="T13" fmla="*/ 28 h 32"/>
                <a:gd name="T14" fmla="*/ 16 w 21"/>
                <a:gd name="T15" fmla="*/ 16 h 32"/>
                <a:gd name="T16" fmla="*/ 10 w 21"/>
                <a:gd name="T17" fmla="*/ 5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7"/>
                    <a:pt x="18" y="32"/>
                    <a:pt x="10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0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8"/>
                    <a:pt x="10" y="28"/>
                  </a:cubicBezTo>
                  <a:cubicBezTo>
                    <a:pt x="14" y="28"/>
                    <a:pt x="16" y="24"/>
                    <a:pt x="16" y="16"/>
                  </a:cubicBezTo>
                  <a:cubicBezTo>
                    <a:pt x="16" y="8"/>
                    <a:pt x="14" y="5"/>
                    <a:pt x="10" y="5"/>
                  </a:cubicBezTo>
                  <a:cubicBezTo>
                    <a:pt x="7" y="5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1" name="Freeform 137">
              <a:extLst>
                <a:ext uri="{FF2B5EF4-FFF2-40B4-BE49-F238E27FC236}">
                  <a16:creationId xmlns:a16="http://schemas.microsoft.com/office/drawing/2014/main" id="{60A3E1D0-A5D5-4ABC-98D0-BB97DFA4CF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9589" y="6503870"/>
              <a:ext cx="75537" cy="114816"/>
            </a:xfrm>
            <a:custGeom>
              <a:avLst/>
              <a:gdLst>
                <a:gd name="T0" fmla="*/ 21 w 21"/>
                <a:gd name="T1" fmla="*/ 16 h 32"/>
                <a:gd name="T2" fmla="*/ 10 w 21"/>
                <a:gd name="T3" fmla="*/ 32 h 32"/>
                <a:gd name="T4" fmla="*/ 0 w 21"/>
                <a:gd name="T5" fmla="*/ 16 h 32"/>
                <a:gd name="T6" fmla="*/ 10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0 w 21"/>
                <a:gd name="T13" fmla="*/ 27 h 32"/>
                <a:gd name="T14" fmla="*/ 16 w 21"/>
                <a:gd name="T15" fmla="*/ 16 h 32"/>
                <a:gd name="T16" fmla="*/ 10 w 21"/>
                <a:gd name="T17" fmla="*/ 4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6"/>
                    <a:pt x="18" y="32"/>
                    <a:pt x="10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0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7"/>
                    <a:pt x="10" y="27"/>
                  </a:cubicBezTo>
                  <a:cubicBezTo>
                    <a:pt x="14" y="27"/>
                    <a:pt x="16" y="24"/>
                    <a:pt x="16" y="16"/>
                  </a:cubicBezTo>
                  <a:cubicBezTo>
                    <a:pt x="16" y="8"/>
                    <a:pt x="14" y="4"/>
                    <a:pt x="10" y="4"/>
                  </a:cubicBezTo>
                  <a:cubicBezTo>
                    <a:pt x="7" y="4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2" name="Freeform 138">
              <a:extLst>
                <a:ext uri="{FF2B5EF4-FFF2-40B4-BE49-F238E27FC236}">
                  <a16:creationId xmlns:a16="http://schemas.microsoft.com/office/drawing/2014/main" id="{1CFB50A0-38FB-48F6-B9E5-324BC54A40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4121" y="6697245"/>
              <a:ext cx="60430" cy="107263"/>
            </a:xfrm>
            <a:custGeom>
              <a:avLst/>
              <a:gdLst>
                <a:gd name="T0" fmla="*/ 19 w 40"/>
                <a:gd name="T1" fmla="*/ 12 h 71"/>
                <a:gd name="T2" fmla="*/ 4 w 40"/>
                <a:gd name="T3" fmla="*/ 21 h 71"/>
                <a:gd name="T4" fmla="*/ 0 w 40"/>
                <a:gd name="T5" fmla="*/ 12 h 71"/>
                <a:gd name="T6" fmla="*/ 21 w 40"/>
                <a:gd name="T7" fmla="*/ 0 h 71"/>
                <a:gd name="T8" fmla="*/ 30 w 40"/>
                <a:gd name="T9" fmla="*/ 0 h 71"/>
                <a:gd name="T10" fmla="*/ 30 w 40"/>
                <a:gd name="T11" fmla="*/ 64 h 71"/>
                <a:gd name="T12" fmla="*/ 40 w 40"/>
                <a:gd name="T13" fmla="*/ 64 h 71"/>
                <a:gd name="T14" fmla="*/ 40 w 40"/>
                <a:gd name="T15" fmla="*/ 71 h 71"/>
                <a:gd name="T16" fmla="*/ 9 w 40"/>
                <a:gd name="T17" fmla="*/ 71 h 71"/>
                <a:gd name="T18" fmla="*/ 9 w 40"/>
                <a:gd name="T19" fmla="*/ 64 h 71"/>
                <a:gd name="T20" fmla="*/ 19 w 40"/>
                <a:gd name="T21" fmla="*/ 64 h 71"/>
                <a:gd name="T22" fmla="*/ 19 w 40"/>
                <a:gd name="T23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1">
                  <a:moveTo>
                    <a:pt x="19" y="12"/>
                  </a:moveTo>
                  <a:lnTo>
                    <a:pt x="4" y="21"/>
                  </a:lnTo>
                  <a:lnTo>
                    <a:pt x="0" y="12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4"/>
                  </a:lnTo>
                  <a:lnTo>
                    <a:pt x="40" y="64"/>
                  </a:lnTo>
                  <a:lnTo>
                    <a:pt x="40" y="71"/>
                  </a:lnTo>
                  <a:lnTo>
                    <a:pt x="9" y="71"/>
                  </a:lnTo>
                  <a:lnTo>
                    <a:pt x="9" y="64"/>
                  </a:lnTo>
                  <a:lnTo>
                    <a:pt x="19" y="64"/>
                  </a:lnTo>
                  <a:lnTo>
                    <a:pt x="19" y="12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3" name="Freeform 139">
              <a:extLst>
                <a:ext uri="{FF2B5EF4-FFF2-40B4-BE49-F238E27FC236}">
                  <a16:creationId xmlns:a16="http://schemas.microsoft.com/office/drawing/2014/main" id="{642341CF-E94F-4647-9213-5A35F5E4E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4121" y="6886087"/>
              <a:ext cx="60430" cy="110285"/>
            </a:xfrm>
            <a:custGeom>
              <a:avLst/>
              <a:gdLst>
                <a:gd name="T0" fmla="*/ 19 w 40"/>
                <a:gd name="T1" fmla="*/ 14 h 73"/>
                <a:gd name="T2" fmla="*/ 4 w 40"/>
                <a:gd name="T3" fmla="*/ 24 h 73"/>
                <a:gd name="T4" fmla="*/ 0 w 40"/>
                <a:gd name="T5" fmla="*/ 14 h 73"/>
                <a:gd name="T6" fmla="*/ 21 w 40"/>
                <a:gd name="T7" fmla="*/ 0 h 73"/>
                <a:gd name="T8" fmla="*/ 30 w 40"/>
                <a:gd name="T9" fmla="*/ 0 h 73"/>
                <a:gd name="T10" fmla="*/ 30 w 40"/>
                <a:gd name="T11" fmla="*/ 64 h 73"/>
                <a:gd name="T12" fmla="*/ 40 w 40"/>
                <a:gd name="T13" fmla="*/ 64 h 73"/>
                <a:gd name="T14" fmla="*/ 40 w 40"/>
                <a:gd name="T15" fmla="*/ 73 h 73"/>
                <a:gd name="T16" fmla="*/ 9 w 40"/>
                <a:gd name="T17" fmla="*/ 73 h 73"/>
                <a:gd name="T18" fmla="*/ 9 w 40"/>
                <a:gd name="T19" fmla="*/ 64 h 73"/>
                <a:gd name="T20" fmla="*/ 19 w 40"/>
                <a:gd name="T21" fmla="*/ 64 h 73"/>
                <a:gd name="T22" fmla="*/ 19 w 40"/>
                <a:gd name="T23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3">
                  <a:moveTo>
                    <a:pt x="19" y="14"/>
                  </a:moveTo>
                  <a:lnTo>
                    <a:pt x="4" y="24"/>
                  </a:lnTo>
                  <a:lnTo>
                    <a:pt x="0" y="14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4"/>
                  </a:lnTo>
                  <a:lnTo>
                    <a:pt x="40" y="64"/>
                  </a:lnTo>
                  <a:lnTo>
                    <a:pt x="40" y="73"/>
                  </a:lnTo>
                  <a:lnTo>
                    <a:pt x="9" y="73"/>
                  </a:lnTo>
                  <a:lnTo>
                    <a:pt x="9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4" name="Freeform 149">
              <a:extLst>
                <a:ext uri="{FF2B5EF4-FFF2-40B4-BE49-F238E27FC236}">
                  <a16:creationId xmlns:a16="http://schemas.microsoft.com/office/drawing/2014/main" id="{6B0C5527-CE4B-4052-8290-AE6FD53929D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0421" y="5576274"/>
              <a:ext cx="92156" cy="164671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5 h 109"/>
                <a:gd name="T12" fmla="*/ 61 w 61"/>
                <a:gd name="T13" fmla="*/ 95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5 h 109"/>
                <a:gd name="T20" fmla="*/ 28 w 61"/>
                <a:gd name="T21" fmla="*/ 95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5"/>
                  </a:lnTo>
                  <a:lnTo>
                    <a:pt x="61" y="95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5"/>
                  </a:lnTo>
                  <a:lnTo>
                    <a:pt x="28" y="95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5" name="Freeform 150">
              <a:extLst>
                <a:ext uri="{FF2B5EF4-FFF2-40B4-BE49-F238E27FC236}">
                  <a16:creationId xmlns:a16="http://schemas.microsoft.com/office/drawing/2014/main" id="{93398178-082B-4199-A282-FDE8125F24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2867" y="5858783"/>
              <a:ext cx="114816" cy="170714"/>
            </a:xfrm>
            <a:custGeom>
              <a:avLst/>
              <a:gdLst>
                <a:gd name="T0" fmla="*/ 32 w 32"/>
                <a:gd name="T1" fmla="*/ 24 h 48"/>
                <a:gd name="T2" fmla="*/ 16 w 32"/>
                <a:gd name="T3" fmla="*/ 48 h 48"/>
                <a:gd name="T4" fmla="*/ 0 w 32"/>
                <a:gd name="T5" fmla="*/ 24 h 48"/>
                <a:gd name="T6" fmla="*/ 16 w 32"/>
                <a:gd name="T7" fmla="*/ 0 h 48"/>
                <a:gd name="T8" fmla="*/ 32 w 32"/>
                <a:gd name="T9" fmla="*/ 24 h 48"/>
                <a:gd name="T10" fmla="*/ 8 w 32"/>
                <a:gd name="T11" fmla="*/ 24 h 48"/>
                <a:gd name="T12" fmla="*/ 16 w 32"/>
                <a:gd name="T13" fmla="*/ 41 h 48"/>
                <a:gd name="T14" fmla="*/ 24 w 32"/>
                <a:gd name="T15" fmla="*/ 24 h 48"/>
                <a:gd name="T16" fmla="*/ 16 w 32"/>
                <a:gd name="T17" fmla="*/ 7 h 48"/>
                <a:gd name="T18" fmla="*/ 8 w 32"/>
                <a:gd name="T19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8">
                  <a:moveTo>
                    <a:pt x="32" y="24"/>
                  </a:moveTo>
                  <a:cubicBezTo>
                    <a:pt x="32" y="40"/>
                    <a:pt x="27" y="48"/>
                    <a:pt x="16" y="48"/>
                  </a:cubicBezTo>
                  <a:cubicBezTo>
                    <a:pt x="5" y="48"/>
                    <a:pt x="0" y="40"/>
                    <a:pt x="0" y="24"/>
                  </a:cubicBezTo>
                  <a:cubicBezTo>
                    <a:pt x="0" y="8"/>
                    <a:pt x="5" y="0"/>
                    <a:pt x="16" y="0"/>
                  </a:cubicBezTo>
                  <a:cubicBezTo>
                    <a:pt x="27" y="0"/>
                    <a:pt x="32" y="8"/>
                    <a:pt x="32" y="24"/>
                  </a:cubicBezTo>
                  <a:close/>
                  <a:moveTo>
                    <a:pt x="8" y="24"/>
                  </a:moveTo>
                  <a:cubicBezTo>
                    <a:pt x="8" y="36"/>
                    <a:pt x="11" y="41"/>
                    <a:pt x="16" y="41"/>
                  </a:cubicBezTo>
                  <a:cubicBezTo>
                    <a:pt x="22" y="41"/>
                    <a:pt x="24" y="36"/>
                    <a:pt x="24" y="24"/>
                  </a:cubicBezTo>
                  <a:cubicBezTo>
                    <a:pt x="24" y="12"/>
                    <a:pt x="22" y="7"/>
                    <a:pt x="16" y="7"/>
                  </a:cubicBezTo>
                  <a:cubicBezTo>
                    <a:pt x="11" y="7"/>
                    <a:pt x="8" y="12"/>
                    <a:pt x="8" y="24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6" name="Freeform 151">
              <a:extLst>
                <a:ext uri="{FF2B5EF4-FFF2-40B4-BE49-F238E27FC236}">
                  <a16:creationId xmlns:a16="http://schemas.microsoft.com/office/drawing/2014/main" id="{3D7BF3E4-2DBC-444F-BD21-AC1E1E00421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0421" y="6147335"/>
              <a:ext cx="92156" cy="164671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5 h 109"/>
                <a:gd name="T12" fmla="*/ 61 w 61"/>
                <a:gd name="T13" fmla="*/ 95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5 h 109"/>
                <a:gd name="T20" fmla="*/ 28 w 61"/>
                <a:gd name="T21" fmla="*/ 95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5"/>
                  </a:lnTo>
                  <a:lnTo>
                    <a:pt x="61" y="95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5"/>
                  </a:lnTo>
                  <a:lnTo>
                    <a:pt x="28" y="95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7" name="Freeform 152">
              <a:extLst>
                <a:ext uri="{FF2B5EF4-FFF2-40B4-BE49-F238E27FC236}">
                  <a16:creationId xmlns:a16="http://schemas.microsoft.com/office/drawing/2014/main" id="{E743FFE7-DC2E-4336-888D-DE65515E02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2867" y="6429843"/>
              <a:ext cx="114816" cy="170714"/>
            </a:xfrm>
            <a:custGeom>
              <a:avLst/>
              <a:gdLst>
                <a:gd name="T0" fmla="*/ 32 w 32"/>
                <a:gd name="T1" fmla="*/ 24 h 48"/>
                <a:gd name="T2" fmla="*/ 16 w 32"/>
                <a:gd name="T3" fmla="*/ 48 h 48"/>
                <a:gd name="T4" fmla="*/ 0 w 32"/>
                <a:gd name="T5" fmla="*/ 24 h 48"/>
                <a:gd name="T6" fmla="*/ 16 w 32"/>
                <a:gd name="T7" fmla="*/ 0 h 48"/>
                <a:gd name="T8" fmla="*/ 32 w 32"/>
                <a:gd name="T9" fmla="*/ 24 h 48"/>
                <a:gd name="T10" fmla="*/ 8 w 32"/>
                <a:gd name="T11" fmla="*/ 24 h 48"/>
                <a:gd name="T12" fmla="*/ 16 w 32"/>
                <a:gd name="T13" fmla="*/ 41 h 48"/>
                <a:gd name="T14" fmla="*/ 24 w 32"/>
                <a:gd name="T15" fmla="*/ 24 h 48"/>
                <a:gd name="T16" fmla="*/ 16 w 32"/>
                <a:gd name="T17" fmla="*/ 7 h 48"/>
                <a:gd name="T18" fmla="*/ 8 w 32"/>
                <a:gd name="T19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8">
                  <a:moveTo>
                    <a:pt x="32" y="24"/>
                  </a:moveTo>
                  <a:cubicBezTo>
                    <a:pt x="32" y="40"/>
                    <a:pt x="27" y="48"/>
                    <a:pt x="16" y="48"/>
                  </a:cubicBezTo>
                  <a:cubicBezTo>
                    <a:pt x="5" y="48"/>
                    <a:pt x="0" y="40"/>
                    <a:pt x="0" y="24"/>
                  </a:cubicBezTo>
                  <a:cubicBezTo>
                    <a:pt x="0" y="8"/>
                    <a:pt x="5" y="0"/>
                    <a:pt x="16" y="0"/>
                  </a:cubicBezTo>
                  <a:cubicBezTo>
                    <a:pt x="27" y="0"/>
                    <a:pt x="32" y="8"/>
                    <a:pt x="32" y="24"/>
                  </a:cubicBezTo>
                  <a:close/>
                  <a:moveTo>
                    <a:pt x="8" y="24"/>
                  </a:moveTo>
                  <a:cubicBezTo>
                    <a:pt x="8" y="36"/>
                    <a:pt x="11" y="41"/>
                    <a:pt x="16" y="41"/>
                  </a:cubicBezTo>
                  <a:cubicBezTo>
                    <a:pt x="22" y="41"/>
                    <a:pt x="24" y="36"/>
                    <a:pt x="24" y="24"/>
                  </a:cubicBezTo>
                  <a:cubicBezTo>
                    <a:pt x="24" y="12"/>
                    <a:pt x="22" y="7"/>
                    <a:pt x="16" y="7"/>
                  </a:cubicBezTo>
                  <a:cubicBezTo>
                    <a:pt x="11" y="7"/>
                    <a:pt x="8" y="12"/>
                    <a:pt x="8" y="24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8" name="Freeform 153">
              <a:extLst>
                <a:ext uri="{FF2B5EF4-FFF2-40B4-BE49-F238E27FC236}">
                  <a16:creationId xmlns:a16="http://schemas.microsoft.com/office/drawing/2014/main" id="{0C0F661F-F3AE-4A5E-85DF-7DDE665DE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0421" y="6718395"/>
              <a:ext cx="92156" cy="164671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4 h 109"/>
                <a:gd name="T12" fmla="*/ 61 w 61"/>
                <a:gd name="T13" fmla="*/ 94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4 h 109"/>
                <a:gd name="T20" fmla="*/ 28 w 61"/>
                <a:gd name="T21" fmla="*/ 94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4"/>
                  </a:lnTo>
                  <a:lnTo>
                    <a:pt x="61" y="94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4"/>
                  </a:lnTo>
                  <a:lnTo>
                    <a:pt x="28" y="94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9" name="Line 8">
              <a:extLst>
                <a:ext uri="{FF2B5EF4-FFF2-40B4-BE49-F238E27FC236}">
                  <a16:creationId xmlns:a16="http://schemas.microsoft.com/office/drawing/2014/main" id="{2C14AF0C-3BA7-4CF4-9DC3-E9DCA1BAA15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81365" y="5104923"/>
              <a:ext cx="0" cy="0"/>
            </a:xfrm>
            <a:prstGeom prst="line">
              <a:avLst/>
            </a:pr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0" name="Line 9">
              <a:extLst>
                <a:ext uri="{FF2B5EF4-FFF2-40B4-BE49-F238E27FC236}">
                  <a16:creationId xmlns:a16="http://schemas.microsoft.com/office/drawing/2014/main" id="{348A5257-D536-490A-90B0-3BF2D7479E0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81365" y="5104923"/>
              <a:ext cx="0" cy="0"/>
            </a:xfrm>
            <a:prstGeom prst="line">
              <a:avLst/>
            </a:pr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1" name="Freeform 10">
              <a:extLst>
                <a:ext uri="{FF2B5EF4-FFF2-40B4-BE49-F238E27FC236}">
                  <a16:creationId xmlns:a16="http://schemas.microsoft.com/office/drawing/2014/main" id="{83DD8A47-B539-4E54-974A-5A7F3072E4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8475" y="6176038"/>
              <a:ext cx="99709" cy="157117"/>
            </a:xfrm>
            <a:custGeom>
              <a:avLst/>
              <a:gdLst>
                <a:gd name="T0" fmla="*/ 30 w 66"/>
                <a:gd name="T1" fmla="*/ 24 h 104"/>
                <a:gd name="T2" fmla="*/ 9 w 66"/>
                <a:gd name="T3" fmla="*/ 38 h 104"/>
                <a:gd name="T4" fmla="*/ 0 w 66"/>
                <a:gd name="T5" fmla="*/ 19 h 104"/>
                <a:gd name="T6" fmla="*/ 33 w 66"/>
                <a:gd name="T7" fmla="*/ 0 h 104"/>
                <a:gd name="T8" fmla="*/ 52 w 66"/>
                <a:gd name="T9" fmla="*/ 0 h 104"/>
                <a:gd name="T10" fmla="*/ 52 w 66"/>
                <a:gd name="T11" fmla="*/ 87 h 104"/>
                <a:gd name="T12" fmla="*/ 66 w 66"/>
                <a:gd name="T13" fmla="*/ 87 h 104"/>
                <a:gd name="T14" fmla="*/ 66 w 66"/>
                <a:gd name="T15" fmla="*/ 104 h 104"/>
                <a:gd name="T16" fmla="*/ 16 w 66"/>
                <a:gd name="T17" fmla="*/ 104 h 104"/>
                <a:gd name="T18" fmla="*/ 16 w 66"/>
                <a:gd name="T19" fmla="*/ 87 h 104"/>
                <a:gd name="T20" fmla="*/ 30 w 66"/>
                <a:gd name="T21" fmla="*/ 87 h 104"/>
                <a:gd name="T22" fmla="*/ 30 w 66"/>
                <a:gd name="T23" fmla="*/ 2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6" h="104">
                  <a:moveTo>
                    <a:pt x="30" y="24"/>
                  </a:moveTo>
                  <a:lnTo>
                    <a:pt x="9" y="38"/>
                  </a:lnTo>
                  <a:lnTo>
                    <a:pt x="0" y="19"/>
                  </a:lnTo>
                  <a:lnTo>
                    <a:pt x="33" y="0"/>
                  </a:lnTo>
                  <a:lnTo>
                    <a:pt x="52" y="0"/>
                  </a:lnTo>
                  <a:lnTo>
                    <a:pt x="52" y="87"/>
                  </a:lnTo>
                  <a:lnTo>
                    <a:pt x="66" y="87"/>
                  </a:lnTo>
                  <a:lnTo>
                    <a:pt x="66" y="104"/>
                  </a:lnTo>
                  <a:lnTo>
                    <a:pt x="16" y="104"/>
                  </a:lnTo>
                  <a:lnTo>
                    <a:pt x="16" y="87"/>
                  </a:lnTo>
                  <a:lnTo>
                    <a:pt x="30" y="87"/>
                  </a:lnTo>
                  <a:lnTo>
                    <a:pt x="30" y="2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2" name="Freeform 11">
              <a:extLst>
                <a:ext uri="{FF2B5EF4-FFF2-40B4-BE49-F238E27FC236}">
                  <a16:creationId xmlns:a16="http://schemas.microsoft.com/office/drawing/2014/main" id="{BB7E2BC1-90B2-4C38-BAC7-2BF84CBF6E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34879" y="6443440"/>
              <a:ext cx="120859" cy="164671"/>
            </a:xfrm>
            <a:custGeom>
              <a:avLst/>
              <a:gdLst>
                <a:gd name="T0" fmla="*/ 32 w 34"/>
                <a:gd name="T1" fmla="*/ 8 h 46"/>
                <a:gd name="T2" fmla="*/ 34 w 34"/>
                <a:gd name="T3" fmla="*/ 23 h 46"/>
                <a:gd name="T4" fmla="*/ 31 w 34"/>
                <a:gd name="T5" fmla="*/ 39 h 46"/>
                <a:gd name="T6" fmla="*/ 17 w 34"/>
                <a:gd name="T7" fmla="*/ 46 h 46"/>
                <a:gd name="T8" fmla="*/ 3 w 34"/>
                <a:gd name="T9" fmla="*/ 37 h 46"/>
                <a:gd name="T10" fmla="*/ 0 w 34"/>
                <a:gd name="T11" fmla="*/ 23 h 46"/>
                <a:gd name="T12" fmla="*/ 17 w 34"/>
                <a:gd name="T13" fmla="*/ 0 h 46"/>
                <a:gd name="T14" fmla="*/ 32 w 34"/>
                <a:gd name="T15" fmla="*/ 8 h 46"/>
                <a:gd name="T16" fmla="*/ 10 w 34"/>
                <a:gd name="T17" fmla="*/ 23 h 46"/>
                <a:gd name="T18" fmla="*/ 17 w 34"/>
                <a:gd name="T19" fmla="*/ 38 h 46"/>
                <a:gd name="T20" fmla="*/ 25 w 34"/>
                <a:gd name="T21" fmla="*/ 23 h 46"/>
                <a:gd name="T22" fmla="*/ 17 w 34"/>
                <a:gd name="T23" fmla="*/ 8 h 46"/>
                <a:gd name="T24" fmla="*/ 10 w 34"/>
                <a:gd name="T25" fmla="*/ 2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" h="46">
                  <a:moveTo>
                    <a:pt x="32" y="8"/>
                  </a:moveTo>
                  <a:cubicBezTo>
                    <a:pt x="34" y="12"/>
                    <a:pt x="34" y="16"/>
                    <a:pt x="34" y="23"/>
                  </a:cubicBezTo>
                  <a:cubicBezTo>
                    <a:pt x="34" y="31"/>
                    <a:pt x="33" y="36"/>
                    <a:pt x="31" y="39"/>
                  </a:cubicBezTo>
                  <a:cubicBezTo>
                    <a:pt x="28" y="43"/>
                    <a:pt x="23" y="46"/>
                    <a:pt x="17" y="46"/>
                  </a:cubicBezTo>
                  <a:cubicBezTo>
                    <a:pt x="11" y="46"/>
                    <a:pt x="6" y="43"/>
                    <a:pt x="3" y="37"/>
                  </a:cubicBezTo>
                  <a:cubicBezTo>
                    <a:pt x="1" y="34"/>
                    <a:pt x="0" y="29"/>
                    <a:pt x="0" y="23"/>
                  </a:cubicBezTo>
                  <a:cubicBezTo>
                    <a:pt x="0" y="8"/>
                    <a:pt x="6" y="0"/>
                    <a:pt x="17" y="0"/>
                  </a:cubicBezTo>
                  <a:cubicBezTo>
                    <a:pt x="24" y="0"/>
                    <a:pt x="29" y="3"/>
                    <a:pt x="32" y="8"/>
                  </a:cubicBezTo>
                  <a:close/>
                  <a:moveTo>
                    <a:pt x="10" y="23"/>
                  </a:moveTo>
                  <a:cubicBezTo>
                    <a:pt x="10" y="33"/>
                    <a:pt x="12" y="38"/>
                    <a:pt x="17" y="38"/>
                  </a:cubicBezTo>
                  <a:cubicBezTo>
                    <a:pt x="22" y="38"/>
                    <a:pt x="25" y="33"/>
                    <a:pt x="25" y="23"/>
                  </a:cubicBezTo>
                  <a:cubicBezTo>
                    <a:pt x="25" y="13"/>
                    <a:pt x="22" y="8"/>
                    <a:pt x="17" y="8"/>
                  </a:cubicBezTo>
                  <a:cubicBezTo>
                    <a:pt x="12" y="8"/>
                    <a:pt x="10" y="13"/>
                    <a:pt x="10" y="2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3" name="Freeform 12">
              <a:extLst>
                <a:ext uri="{FF2B5EF4-FFF2-40B4-BE49-F238E27FC236}">
                  <a16:creationId xmlns:a16="http://schemas.microsoft.com/office/drawing/2014/main" id="{4CFF1A58-665E-4212-B560-9F901A5F604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8475" y="6718395"/>
              <a:ext cx="99709" cy="157117"/>
            </a:xfrm>
            <a:custGeom>
              <a:avLst/>
              <a:gdLst>
                <a:gd name="T0" fmla="*/ 30 w 66"/>
                <a:gd name="T1" fmla="*/ 24 h 104"/>
                <a:gd name="T2" fmla="*/ 9 w 66"/>
                <a:gd name="T3" fmla="*/ 36 h 104"/>
                <a:gd name="T4" fmla="*/ 0 w 66"/>
                <a:gd name="T5" fmla="*/ 19 h 104"/>
                <a:gd name="T6" fmla="*/ 33 w 66"/>
                <a:gd name="T7" fmla="*/ 0 h 104"/>
                <a:gd name="T8" fmla="*/ 52 w 66"/>
                <a:gd name="T9" fmla="*/ 0 h 104"/>
                <a:gd name="T10" fmla="*/ 52 w 66"/>
                <a:gd name="T11" fmla="*/ 87 h 104"/>
                <a:gd name="T12" fmla="*/ 66 w 66"/>
                <a:gd name="T13" fmla="*/ 87 h 104"/>
                <a:gd name="T14" fmla="*/ 66 w 66"/>
                <a:gd name="T15" fmla="*/ 104 h 104"/>
                <a:gd name="T16" fmla="*/ 16 w 66"/>
                <a:gd name="T17" fmla="*/ 104 h 104"/>
                <a:gd name="T18" fmla="*/ 16 w 66"/>
                <a:gd name="T19" fmla="*/ 87 h 104"/>
                <a:gd name="T20" fmla="*/ 30 w 66"/>
                <a:gd name="T21" fmla="*/ 87 h 104"/>
                <a:gd name="T22" fmla="*/ 30 w 66"/>
                <a:gd name="T23" fmla="*/ 2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6" h="104">
                  <a:moveTo>
                    <a:pt x="30" y="24"/>
                  </a:moveTo>
                  <a:lnTo>
                    <a:pt x="9" y="36"/>
                  </a:lnTo>
                  <a:lnTo>
                    <a:pt x="0" y="19"/>
                  </a:lnTo>
                  <a:lnTo>
                    <a:pt x="33" y="0"/>
                  </a:lnTo>
                  <a:lnTo>
                    <a:pt x="52" y="0"/>
                  </a:lnTo>
                  <a:lnTo>
                    <a:pt x="52" y="87"/>
                  </a:lnTo>
                  <a:lnTo>
                    <a:pt x="66" y="87"/>
                  </a:lnTo>
                  <a:lnTo>
                    <a:pt x="66" y="104"/>
                  </a:lnTo>
                  <a:lnTo>
                    <a:pt x="16" y="104"/>
                  </a:lnTo>
                  <a:lnTo>
                    <a:pt x="16" y="87"/>
                  </a:lnTo>
                  <a:lnTo>
                    <a:pt x="30" y="87"/>
                  </a:lnTo>
                  <a:lnTo>
                    <a:pt x="30" y="2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4" name="Freeform 23">
              <a:extLst>
                <a:ext uri="{FF2B5EF4-FFF2-40B4-BE49-F238E27FC236}">
                  <a16:creationId xmlns:a16="http://schemas.microsoft.com/office/drawing/2014/main" id="{07C7253D-5A5E-476B-A016-7C193F3A3F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55156" y="5455415"/>
              <a:ext cx="75537" cy="113306"/>
            </a:xfrm>
            <a:custGeom>
              <a:avLst/>
              <a:gdLst>
                <a:gd name="T0" fmla="*/ 21 w 21"/>
                <a:gd name="T1" fmla="*/ 16 h 32"/>
                <a:gd name="T2" fmla="*/ 11 w 21"/>
                <a:gd name="T3" fmla="*/ 32 h 32"/>
                <a:gd name="T4" fmla="*/ 0 w 21"/>
                <a:gd name="T5" fmla="*/ 16 h 32"/>
                <a:gd name="T6" fmla="*/ 11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1 w 21"/>
                <a:gd name="T13" fmla="*/ 28 h 32"/>
                <a:gd name="T14" fmla="*/ 16 w 21"/>
                <a:gd name="T15" fmla="*/ 16 h 32"/>
                <a:gd name="T16" fmla="*/ 11 w 21"/>
                <a:gd name="T17" fmla="*/ 5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7"/>
                    <a:pt x="18" y="32"/>
                    <a:pt x="11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1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8"/>
                    <a:pt x="11" y="28"/>
                  </a:cubicBezTo>
                  <a:cubicBezTo>
                    <a:pt x="14" y="28"/>
                    <a:pt x="16" y="24"/>
                    <a:pt x="16" y="16"/>
                  </a:cubicBezTo>
                  <a:cubicBezTo>
                    <a:pt x="16" y="8"/>
                    <a:pt x="14" y="5"/>
                    <a:pt x="11" y="5"/>
                  </a:cubicBezTo>
                  <a:cubicBezTo>
                    <a:pt x="7" y="5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5" name="Freeform 24">
              <a:extLst>
                <a:ext uri="{FF2B5EF4-FFF2-40B4-BE49-F238E27FC236}">
                  <a16:creationId xmlns:a16="http://schemas.microsoft.com/office/drawing/2014/main" id="{E3F6E593-6D47-4EB8-B607-DF82305F01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55156" y="5647279"/>
              <a:ext cx="75537" cy="111795"/>
            </a:xfrm>
            <a:custGeom>
              <a:avLst/>
              <a:gdLst>
                <a:gd name="T0" fmla="*/ 21 w 21"/>
                <a:gd name="T1" fmla="*/ 16 h 31"/>
                <a:gd name="T2" fmla="*/ 11 w 21"/>
                <a:gd name="T3" fmla="*/ 31 h 31"/>
                <a:gd name="T4" fmla="*/ 0 w 21"/>
                <a:gd name="T5" fmla="*/ 15 h 31"/>
                <a:gd name="T6" fmla="*/ 11 w 21"/>
                <a:gd name="T7" fmla="*/ 0 h 31"/>
                <a:gd name="T8" fmla="*/ 21 w 21"/>
                <a:gd name="T9" fmla="*/ 16 h 31"/>
                <a:gd name="T10" fmla="*/ 5 w 21"/>
                <a:gd name="T11" fmla="*/ 15 h 31"/>
                <a:gd name="T12" fmla="*/ 11 w 21"/>
                <a:gd name="T13" fmla="*/ 27 h 31"/>
                <a:gd name="T14" fmla="*/ 16 w 21"/>
                <a:gd name="T15" fmla="*/ 16 h 31"/>
                <a:gd name="T16" fmla="*/ 11 w 21"/>
                <a:gd name="T17" fmla="*/ 4 h 31"/>
                <a:gd name="T18" fmla="*/ 5 w 21"/>
                <a:gd name="T1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1">
                  <a:moveTo>
                    <a:pt x="21" y="16"/>
                  </a:moveTo>
                  <a:cubicBezTo>
                    <a:pt x="21" y="26"/>
                    <a:pt x="18" y="31"/>
                    <a:pt x="11" y="31"/>
                  </a:cubicBezTo>
                  <a:cubicBezTo>
                    <a:pt x="3" y="31"/>
                    <a:pt x="0" y="26"/>
                    <a:pt x="0" y="15"/>
                  </a:cubicBezTo>
                  <a:cubicBezTo>
                    <a:pt x="0" y="5"/>
                    <a:pt x="3" y="0"/>
                    <a:pt x="11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5"/>
                  </a:moveTo>
                  <a:cubicBezTo>
                    <a:pt x="5" y="23"/>
                    <a:pt x="7" y="27"/>
                    <a:pt x="11" y="27"/>
                  </a:cubicBezTo>
                  <a:cubicBezTo>
                    <a:pt x="14" y="27"/>
                    <a:pt x="16" y="23"/>
                    <a:pt x="16" y="16"/>
                  </a:cubicBezTo>
                  <a:cubicBezTo>
                    <a:pt x="16" y="8"/>
                    <a:pt x="14" y="4"/>
                    <a:pt x="11" y="4"/>
                  </a:cubicBezTo>
                  <a:cubicBezTo>
                    <a:pt x="7" y="4"/>
                    <a:pt x="5" y="8"/>
                    <a:pt x="5" y="15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6" name="Freeform 25">
              <a:extLst>
                <a:ext uri="{FF2B5EF4-FFF2-40B4-BE49-F238E27FC236}">
                  <a16:creationId xmlns:a16="http://schemas.microsoft.com/office/drawing/2014/main" id="{DA0332EE-3083-416F-9761-BB9539248D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2709" y="6029497"/>
              <a:ext cx="64962" cy="110285"/>
            </a:xfrm>
            <a:custGeom>
              <a:avLst/>
              <a:gdLst>
                <a:gd name="T0" fmla="*/ 19 w 43"/>
                <a:gd name="T1" fmla="*/ 14 h 73"/>
                <a:gd name="T2" fmla="*/ 5 w 43"/>
                <a:gd name="T3" fmla="*/ 24 h 73"/>
                <a:gd name="T4" fmla="*/ 0 w 43"/>
                <a:gd name="T5" fmla="*/ 12 h 73"/>
                <a:gd name="T6" fmla="*/ 22 w 43"/>
                <a:gd name="T7" fmla="*/ 0 h 73"/>
                <a:gd name="T8" fmla="*/ 34 w 43"/>
                <a:gd name="T9" fmla="*/ 0 h 73"/>
                <a:gd name="T10" fmla="*/ 34 w 43"/>
                <a:gd name="T11" fmla="*/ 64 h 73"/>
                <a:gd name="T12" fmla="*/ 43 w 43"/>
                <a:gd name="T13" fmla="*/ 64 h 73"/>
                <a:gd name="T14" fmla="*/ 43 w 43"/>
                <a:gd name="T15" fmla="*/ 73 h 73"/>
                <a:gd name="T16" fmla="*/ 10 w 43"/>
                <a:gd name="T17" fmla="*/ 73 h 73"/>
                <a:gd name="T18" fmla="*/ 10 w 43"/>
                <a:gd name="T19" fmla="*/ 64 h 73"/>
                <a:gd name="T20" fmla="*/ 19 w 43"/>
                <a:gd name="T21" fmla="*/ 64 h 73"/>
                <a:gd name="T22" fmla="*/ 19 w 43"/>
                <a:gd name="T23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73">
                  <a:moveTo>
                    <a:pt x="19" y="14"/>
                  </a:moveTo>
                  <a:lnTo>
                    <a:pt x="5" y="24"/>
                  </a:lnTo>
                  <a:lnTo>
                    <a:pt x="0" y="12"/>
                  </a:lnTo>
                  <a:lnTo>
                    <a:pt x="22" y="0"/>
                  </a:lnTo>
                  <a:lnTo>
                    <a:pt x="34" y="0"/>
                  </a:lnTo>
                  <a:lnTo>
                    <a:pt x="34" y="64"/>
                  </a:lnTo>
                  <a:lnTo>
                    <a:pt x="43" y="64"/>
                  </a:lnTo>
                  <a:lnTo>
                    <a:pt x="43" y="73"/>
                  </a:lnTo>
                  <a:lnTo>
                    <a:pt x="10" y="73"/>
                  </a:lnTo>
                  <a:lnTo>
                    <a:pt x="10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7" name="Freeform 26">
              <a:extLst>
                <a:ext uri="{FF2B5EF4-FFF2-40B4-BE49-F238E27FC236}">
                  <a16:creationId xmlns:a16="http://schemas.microsoft.com/office/drawing/2014/main" id="{674ED2D1-864D-4892-AAB4-E8B2F10E6C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55156" y="6218339"/>
              <a:ext cx="75537" cy="111795"/>
            </a:xfrm>
            <a:custGeom>
              <a:avLst/>
              <a:gdLst>
                <a:gd name="T0" fmla="*/ 21 w 21"/>
                <a:gd name="T1" fmla="*/ 16 h 31"/>
                <a:gd name="T2" fmla="*/ 11 w 21"/>
                <a:gd name="T3" fmla="*/ 31 h 31"/>
                <a:gd name="T4" fmla="*/ 0 w 21"/>
                <a:gd name="T5" fmla="*/ 15 h 31"/>
                <a:gd name="T6" fmla="*/ 11 w 21"/>
                <a:gd name="T7" fmla="*/ 0 h 31"/>
                <a:gd name="T8" fmla="*/ 21 w 21"/>
                <a:gd name="T9" fmla="*/ 16 h 31"/>
                <a:gd name="T10" fmla="*/ 5 w 21"/>
                <a:gd name="T11" fmla="*/ 16 h 31"/>
                <a:gd name="T12" fmla="*/ 11 w 21"/>
                <a:gd name="T13" fmla="*/ 27 h 31"/>
                <a:gd name="T14" fmla="*/ 16 w 21"/>
                <a:gd name="T15" fmla="*/ 16 h 31"/>
                <a:gd name="T16" fmla="*/ 11 w 21"/>
                <a:gd name="T17" fmla="*/ 4 h 31"/>
                <a:gd name="T18" fmla="*/ 5 w 21"/>
                <a:gd name="T19" fmla="*/ 1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1">
                  <a:moveTo>
                    <a:pt x="21" y="16"/>
                  </a:moveTo>
                  <a:cubicBezTo>
                    <a:pt x="21" y="26"/>
                    <a:pt x="18" y="31"/>
                    <a:pt x="11" y="31"/>
                  </a:cubicBezTo>
                  <a:cubicBezTo>
                    <a:pt x="3" y="31"/>
                    <a:pt x="0" y="26"/>
                    <a:pt x="0" y="15"/>
                  </a:cubicBezTo>
                  <a:cubicBezTo>
                    <a:pt x="0" y="5"/>
                    <a:pt x="3" y="0"/>
                    <a:pt x="11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3"/>
                    <a:pt x="7" y="27"/>
                    <a:pt x="11" y="27"/>
                  </a:cubicBezTo>
                  <a:cubicBezTo>
                    <a:pt x="14" y="27"/>
                    <a:pt x="16" y="23"/>
                    <a:pt x="16" y="16"/>
                  </a:cubicBezTo>
                  <a:cubicBezTo>
                    <a:pt x="16" y="8"/>
                    <a:pt x="14" y="4"/>
                    <a:pt x="11" y="4"/>
                  </a:cubicBezTo>
                  <a:cubicBezTo>
                    <a:pt x="7" y="4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8" name="Freeform 27">
              <a:extLst>
                <a:ext uri="{FF2B5EF4-FFF2-40B4-BE49-F238E27FC236}">
                  <a16:creationId xmlns:a16="http://schemas.microsoft.com/office/drawing/2014/main" id="{C305CB71-F0D4-47E2-B69B-2C7BAB5A54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55156" y="6408693"/>
              <a:ext cx="75537" cy="113306"/>
            </a:xfrm>
            <a:custGeom>
              <a:avLst/>
              <a:gdLst>
                <a:gd name="T0" fmla="*/ 21 w 21"/>
                <a:gd name="T1" fmla="*/ 16 h 32"/>
                <a:gd name="T2" fmla="*/ 11 w 21"/>
                <a:gd name="T3" fmla="*/ 32 h 32"/>
                <a:gd name="T4" fmla="*/ 0 w 21"/>
                <a:gd name="T5" fmla="*/ 16 h 32"/>
                <a:gd name="T6" fmla="*/ 11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1 w 21"/>
                <a:gd name="T13" fmla="*/ 27 h 32"/>
                <a:gd name="T14" fmla="*/ 16 w 21"/>
                <a:gd name="T15" fmla="*/ 16 h 32"/>
                <a:gd name="T16" fmla="*/ 11 w 21"/>
                <a:gd name="T17" fmla="*/ 4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7"/>
                    <a:pt x="18" y="32"/>
                    <a:pt x="11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1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7"/>
                    <a:pt x="11" y="27"/>
                  </a:cubicBezTo>
                  <a:cubicBezTo>
                    <a:pt x="14" y="27"/>
                    <a:pt x="16" y="24"/>
                    <a:pt x="16" y="16"/>
                  </a:cubicBezTo>
                  <a:cubicBezTo>
                    <a:pt x="16" y="8"/>
                    <a:pt x="14" y="4"/>
                    <a:pt x="11" y="4"/>
                  </a:cubicBezTo>
                  <a:cubicBezTo>
                    <a:pt x="7" y="4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9" name="Freeform 28">
              <a:extLst>
                <a:ext uri="{FF2B5EF4-FFF2-40B4-BE49-F238E27FC236}">
                  <a16:creationId xmlns:a16="http://schemas.microsoft.com/office/drawing/2014/main" id="{0E05472C-CE51-4B85-9ED5-06671EA552AB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2709" y="6789400"/>
              <a:ext cx="64962" cy="111795"/>
            </a:xfrm>
            <a:custGeom>
              <a:avLst/>
              <a:gdLst>
                <a:gd name="T0" fmla="*/ 19 w 43"/>
                <a:gd name="T1" fmla="*/ 14 h 74"/>
                <a:gd name="T2" fmla="*/ 5 w 43"/>
                <a:gd name="T3" fmla="*/ 24 h 74"/>
                <a:gd name="T4" fmla="*/ 0 w 43"/>
                <a:gd name="T5" fmla="*/ 14 h 74"/>
                <a:gd name="T6" fmla="*/ 22 w 43"/>
                <a:gd name="T7" fmla="*/ 0 h 74"/>
                <a:gd name="T8" fmla="*/ 34 w 43"/>
                <a:gd name="T9" fmla="*/ 0 h 74"/>
                <a:gd name="T10" fmla="*/ 34 w 43"/>
                <a:gd name="T11" fmla="*/ 64 h 74"/>
                <a:gd name="T12" fmla="*/ 43 w 43"/>
                <a:gd name="T13" fmla="*/ 64 h 74"/>
                <a:gd name="T14" fmla="*/ 43 w 43"/>
                <a:gd name="T15" fmla="*/ 74 h 74"/>
                <a:gd name="T16" fmla="*/ 10 w 43"/>
                <a:gd name="T17" fmla="*/ 74 h 74"/>
                <a:gd name="T18" fmla="*/ 10 w 43"/>
                <a:gd name="T19" fmla="*/ 64 h 74"/>
                <a:gd name="T20" fmla="*/ 19 w 43"/>
                <a:gd name="T21" fmla="*/ 64 h 74"/>
                <a:gd name="T22" fmla="*/ 19 w 43"/>
                <a:gd name="T23" fmla="*/ 1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74">
                  <a:moveTo>
                    <a:pt x="19" y="14"/>
                  </a:moveTo>
                  <a:lnTo>
                    <a:pt x="5" y="24"/>
                  </a:lnTo>
                  <a:lnTo>
                    <a:pt x="0" y="14"/>
                  </a:lnTo>
                  <a:lnTo>
                    <a:pt x="22" y="0"/>
                  </a:lnTo>
                  <a:lnTo>
                    <a:pt x="34" y="0"/>
                  </a:lnTo>
                  <a:lnTo>
                    <a:pt x="34" y="64"/>
                  </a:lnTo>
                  <a:lnTo>
                    <a:pt x="43" y="64"/>
                  </a:lnTo>
                  <a:lnTo>
                    <a:pt x="43" y="74"/>
                  </a:lnTo>
                  <a:lnTo>
                    <a:pt x="10" y="74"/>
                  </a:lnTo>
                  <a:lnTo>
                    <a:pt x="10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0" name="Freeform 43">
              <a:extLst>
                <a:ext uri="{FF2B5EF4-FFF2-40B4-BE49-F238E27FC236}">
                  <a16:creationId xmlns:a16="http://schemas.microsoft.com/office/drawing/2014/main" id="{85A6DC70-F3C2-4D95-881C-2A6252D18C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95364" y="5654833"/>
              <a:ext cx="63451" cy="93666"/>
            </a:xfrm>
            <a:custGeom>
              <a:avLst/>
              <a:gdLst>
                <a:gd name="T0" fmla="*/ 18 w 18"/>
                <a:gd name="T1" fmla="*/ 13 h 26"/>
                <a:gd name="T2" fmla="*/ 9 w 18"/>
                <a:gd name="T3" fmla="*/ 26 h 26"/>
                <a:gd name="T4" fmla="*/ 0 w 18"/>
                <a:gd name="T5" fmla="*/ 13 h 26"/>
                <a:gd name="T6" fmla="*/ 9 w 18"/>
                <a:gd name="T7" fmla="*/ 0 h 26"/>
                <a:gd name="T8" fmla="*/ 18 w 18"/>
                <a:gd name="T9" fmla="*/ 13 h 26"/>
                <a:gd name="T10" fmla="*/ 5 w 18"/>
                <a:gd name="T11" fmla="*/ 13 h 26"/>
                <a:gd name="T12" fmla="*/ 9 w 18"/>
                <a:gd name="T13" fmla="*/ 22 h 26"/>
                <a:gd name="T14" fmla="*/ 13 w 18"/>
                <a:gd name="T15" fmla="*/ 13 h 26"/>
                <a:gd name="T16" fmla="*/ 9 w 18"/>
                <a:gd name="T17" fmla="*/ 4 h 26"/>
                <a:gd name="T18" fmla="*/ 5 w 18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6">
                  <a:moveTo>
                    <a:pt x="18" y="13"/>
                  </a:moveTo>
                  <a:cubicBezTo>
                    <a:pt x="18" y="22"/>
                    <a:pt x="15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5"/>
                    <a:pt x="3" y="0"/>
                    <a:pt x="9" y="0"/>
                  </a:cubicBezTo>
                  <a:cubicBezTo>
                    <a:pt x="15" y="0"/>
                    <a:pt x="18" y="5"/>
                    <a:pt x="18" y="13"/>
                  </a:cubicBezTo>
                  <a:close/>
                  <a:moveTo>
                    <a:pt x="5" y="13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7"/>
                    <a:pt x="12" y="4"/>
                    <a:pt x="9" y="4"/>
                  </a:cubicBezTo>
                  <a:cubicBezTo>
                    <a:pt x="6" y="4"/>
                    <a:pt x="5" y="7"/>
                    <a:pt x="5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1" name="Freeform 44">
              <a:extLst>
                <a:ext uri="{FF2B5EF4-FFF2-40B4-BE49-F238E27FC236}">
                  <a16:creationId xmlns:a16="http://schemas.microsoft.com/office/drawing/2014/main" id="{C1144226-B0FE-4006-B726-407BE209D8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95364" y="5808928"/>
              <a:ext cx="63451" cy="92156"/>
            </a:xfrm>
            <a:custGeom>
              <a:avLst/>
              <a:gdLst>
                <a:gd name="T0" fmla="*/ 18 w 18"/>
                <a:gd name="T1" fmla="*/ 13 h 26"/>
                <a:gd name="T2" fmla="*/ 9 w 18"/>
                <a:gd name="T3" fmla="*/ 26 h 26"/>
                <a:gd name="T4" fmla="*/ 0 w 18"/>
                <a:gd name="T5" fmla="*/ 13 h 26"/>
                <a:gd name="T6" fmla="*/ 9 w 18"/>
                <a:gd name="T7" fmla="*/ 0 h 26"/>
                <a:gd name="T8" fmla="*/ 18 w 18"/>
                <a:gd name="T9" fmla="*/ 13 h 26"/>
                <a:gd name="T10" fmla="*/ 5 w 18"/>
                <a:gd name="T11" fmla="*/ 13 h 26"/>
                <a:gd name="T12" fmla="*/ 9 w 18"/>
                <a:gd name="T13" fmla="*/ 22 h 26"/>
                <a:gd name="T14" fmla="*/ 13 w 18"/>
                <a:gd name="T15" fmla="*/ 13 h 26"/>
                <a:gd name="T16" fmla="*/ 9 w 18"/>
                <a:gd name="T17" fmla="*/ 4 h 26"/>
                <a:gd name="T18" fmla="*/ 5 w 18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6">
                  <a:moveTo>
                    <a:pt x="18" y="13"/>
                  </a:moveTo>
                  <a:cubicBezTo>
                    <a:pt x="18" y="21"/>
                    <a:pt x="15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5" y="0"/>
                    <a:pt x="18" y="4"/>
                    <a:pt x="18" y="13"/>
                  </a:cubicBezTo>
                  <a:close/>
                  <a:moveTo>
                    <a:pt x="5" y="13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7"/>
                    <a:pt x="12" y="4"/>
                    <a:pt x="9" y="4"/>
                  </a:cubicBezTo>
                  <a:cubicBezTo>
                    <a:pt x="6" y="4"/>
                    <a:pt x="5" y="7"/>
                    <a:pt x="5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2" name="Freeform 45">
              <a:extLst>
                <a:ext uri="{FF2B5EF4-FFF2-40B4-BE49-F238E27FC236}">
                  <a16:creationId xmlns:a16="http://schemas.microsoft.com/office/drawing/2014/main" id="{BFA88A38-C4E2-47DF-8D7C-ABEE5AF6BBB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5938" y="6115609"/>
              <a:ext cx="49855" cy="89134"/>
            </a:xfrm>
            <a:custGeom>
              <a:avLst/>
              <a:gdLst>
                <a:gd name="T0" fmla="*/ 17 w 33"/>
                <a:gd name="T1" fmla="*/ 12 h 59"/>
                <a:gd name="T2" fmla="*/ 5 w 33"/>
                <a:gd name="T3" fmla="*/ 19 h 59"/>
                <a:gd name="T4" fmla="*/ 0 w 33"/>
                <a:gd name="T5" fmla="*/ 9 h 59"/>
                <a:gd name="T6" fmla="*/ 19 w 33"/>
                <a:gd name="T7" fmla="*/ 0 h 59"/>
                <a:gd name="T8" fmla="*/ 26 w 33"/>
                <a:gd name="T9" fmla="*/ 0 h 59"/>
                <a:gd name="T10" fmla="*/ 26 w 33"/>
                <a:gd name="T11" fmla="*/ 49 h 59"/>
                <a:gd name="T12" fmla="*/ 33 w 33"/>
                <a:gd name="T13" fmla="*/ 49 h 59"/>
                <a:gd name="T14" fmla="*/ 33 w 33"/>
                <a:gd name="T15" fmla="*/ 59 h 59"/>
                <a:gd name="T16" fmla="*/ 10 w 33"/>
                <a:gd name="T17" fmla="*/ 59 h 59"/>
                <a:gd name="T18" fmla="*/ 10 w 33"/>
                <a:gd name="T19" fmla="*/ 49 h 59"/>
                <a:gd name="T20" fmla="*/ 17 w 33"/>
                <a:gd name="T21" fmla="*/ 49 h 59"/>
                <a:gd name="T22" fmla="*/ 17 w 33"/>
                <a:gd name="T23" fmla="*/ 1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9">
                  <a:moveTo>
                    <a:pt x="17" y="12"/>
                  </a:moveTo>
                  <a:lnTo>
                    <a:pt x="5" y="19"/>
                  </a:lnTo>
                  <a:lnTo>
                    <a:pt x="0" y="9"/>
                  </a:lnTo>
                  <a:lnTo>
                    <a:pt x="19" y="0"/>
                  </a:lnTo>
                  <a:lnTo>
                    <a:pt x="26" y="0"/>
                  </a:lnTo>
                  <a:lnTo>
                    <a:pt x="26" y="49"/>
                  </a:lnTo>
                  <a:lnTo>
                    <a:pt x="33" y="49"/>
                  </a:lnTo>
                  <a:lnTo>
                    <a:pt x="33" y="59"/>
                  </a:lnTo>
                  <a:lnTo>
                    <a:pt x="10" y="59"/>
                  </a:lnTo>
                  <a:lnTo>
                    <a:pt x="10" y="49"/>
                  </a:lnTo>
                  <a:lnTo>
                    <a:pt x="17" y="49"/>
                  </a:lnTo>
                  <a:lnTo>
                    <a:pt x="17" y="12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3" name="Freeform 46">
              <a:extLst>
                <a:ext uri="{FF2B5EF4-FFF2-40B4-BE49-F238E27FC236}">
                  <a16:creationId xmlns:a16="http://schemas.microsoft.com/office/drawing/2014/main" id="{5E4C5875-621B-4AEA-8598-9E3F068332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95364" y="6265173"/>
              <a:ext cx="63451" cy="92156"/>
            </a:xfrm>
            <a:custGeom>
              <a:avLst/>
              <a:gdLst>
                <a:gd name="T0" fmla="*/ 18 w 18"/>
                <a:gd name="T1" fmla="*/ 13 h 26"/>
                <a:gd name="T2" fmla="*/ 9 w 18"/>
                <a:gd name="T3" fmla="*/ 26 h 26"/>
                <a:gd name="T4" fmla="*/ 0 w 18"/>
                <a:gd name="T5" fmla="*/ 13 h 26"/>
                <a:gd name="T6" fmla="*/ 9 w 18"/>
                <a:gd name="T7" fmla="*/ 0 h 26"/>
                <a:gd name="T8" fmla="*/ 18 w 18"/>
                <a:gd name="T9" fmla="*/ 13 h 26"/>
                <a:gd name="T10" fmla="*/ 5 w 18"/>
                <a:gd name="T11" fmla="*/ 13 h 26"/>
                <a:gd name="T12" fmla="*/ 9 w 18"/>
                <a:gd name="T13" fmla="*/ 22 h 26"/>
                <a:gd name="T14" fmla="*/ 13 w 18"/>
                <a:gd name="T15" fmla="*/ 13 h 26"/>
                <a:gd name="T16" fmla="*/ 9 w 18"/>
                <a:gd name="T17" fmla="*/ 4 h 26"/>
                <a:gd name="T18" fmla="*/ 5 w 18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6">
                  <a:moveTo>
                    <a:pt x="18" y="13"/>
                  </a:moveTo>
                  <a:cubicBezTo>
                    <a:pt x="18" y="22"/>
                    <a:pt x="15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5" y="0"/>
                    <a:pt x="18" y="4"/>
                    <a:pt x="18" y="13"/>
                  </a:cubicBezTo>
                  <a:close/>
                  <a:moveTo>
                    <a:pt x="5" y="13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7"/>
                    <a:pt x="12" y="4"/>
                    <a:pt x="9" y="4"/>
                  </a:cubicBezTo>
                  <a:cubicBezTo>
                    <a:pt x="6" y="4"/>
                    <a:pt x="5" y="7"/>
                    <a:pt x="5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4" name="Freeform 47">
              <a:extLst>
                <a:ext uri="{FF2B5EF4-FFF2-40B4-BE49-F238E27FC236}">
                  <a16:creationId xmlns:a16="http://schemas.microsoft.com/office/drawing/2014/main" id="{0CC49C4D-0181-4DF7-84FD-061641970B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95364" y="6419268"/>
              <a:ext cx="63451" cy="89134"/>
            </a:xfrm>
            <a:custGeom>
              <a:avLst/>
              <a:gdLst>
                <a:gd name="T0" fmla="*/ 18 w 18"/>
                <a:gd name="T1" fmla="*/ 13 h 25"/>
                <a:gd name="T2" fmla="*/ 9 w 18"/>
                <a:gd name="T3" fmla="*/ 25 h 25"/>
                <a:gd name="T4" fmla="*/ 0 w 18"/>
                <a:gd name="T5" fmla="*/ 12 h 25"/>
                <a:gd name="T6" fmla="*/ 9 w 18"/>
                <a:gd name="T7" fmla="*/ 0 h 25"/>
                <a:gd name="T8" fmla="*/ 18 w 18"/>
                <a:gd name="T9" fmla="*/ 13 h 25"/>
                <a:gd name="T10" fmla="*/ 5 w 18"/>
                <a:gd name="T11" fmla="*/ 12 h 25"/>
                <a:gd name="T12" fmla="*/ 9 w 18"/>
                <a:gd name="T13" fmla="*/ 22 h 25"/>
                <a:gd name="T14" fmla="*/ 13 w 18"/>
                <a:gd name="T15" fmla="*/ 13 h 25"/>
                <a:gd name="T16" fmla="*/ 9 w 18"/>
                <a:gd name="T17" fmla="*/ 3 h 25"/>
                <a:gd name="T18" fmla="*/ 5 w 18"/>
                <a:gd name="T1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5">
                  <a:moveTo>
                    <a:pt x="18" y="13"/>
                  </a:moveTo>
                  <a:cubicBezTo>
                    <a:pt x="18" y="21"/>
                    <a:pt x="15" y="25"/>
                    <a:pt x="9" y="25"/>
                  </a:cubicBezTo>
                  <a:cubicBezTo>
                    <a:pt x="3" y="25"/>
                    <a:pt x="0" y="21"/>
                    <a:pt x="0" y="12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5" y="0"/>
                    <a:pt x="18" y="4"/>
                    <a:pt x="18" y="13"/>
                  </a:cubicBezTo>
                  <a:close/>
                  <a:moveTo>
                    <a:pt x="5" y="12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6"/>
                    <a:pt x="12" y="3"/>
                    <a:pt x="9" y="3"/>
                  </a:cubicBezTo>
                  <a:cubicBezTo>
                    <a:pt x="6" y="3"/>
                    <a:pt x="5" y="6"/>
                    <a:pt x="5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5" name="Freeform 48">
              <a:extLst>
                <a:ext uri="{FF2B5EF4-FFF2-40B4-BE49-F238E27FC236}">
                  <a16:creationId xmlns:a16="http://schemas.microsoft.com/office/drawing/2014/main" id="{E710865E-308E-4DF0-A080-E92E9FEF2BB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5938" y="6725948"/>
              <a:ext cx="49855" cy="84602"/>
            </a:xfrm>
            <a:custGeom>
              <a:avLst/>
              <a:gdLst>
                <a:gd name="T0" fmla="*/ 17 w 33"/>
                <a:gd name="T1" fmla="*/ 9 h 56"/>
                <a:gd name="T2" fmla="*/ 5 w 33"/>
                <a:gd name="T3" fmla="*/ 16 h 56"/>
                <a:gd name="T4" fmla="*/ 0 w 33"/>
                <a:gd name="T5" fmla="*/ 9 h 56"/>
                <a:gd name="T6" fmla="*/ 19 w 33"/>
                <a:gd name="T7" fmla="*/ 0 h 56"/>
                <a:gd name="T8" fmla="*/ 26 w 33"/>
                <a:gd name="T9" fmla="*/ 0 h 56"/>
                <a:gd name="T10" fmla="*/ 26 w 33"/>
                <a:gd name="T11" fmla="*/ 49 h 56"/>
                <a:gd name="T12" fmla="*/ 33 w 33"/>
                <a:gd name="T13" fmla="*/ 49 h 56"/>
                <a:gd name="T14" fmla="*/ 33 w 33"/>
                <a:gd name="T15" fmla="*/ 56 h 56"/>
                <a:gd name="T16" fmla="*/ 10 w 33"/>
                <a:gd name="T17" fmla="*/ 56 h 56"/>
                <a:gd name="T18" fmla="*/ 10 w 33"/>
                <a:gd name="T19" fmla="*/ 49 h 56"/>
                <a:gd name="T20" fmla="*/ 17 w 33"/>
                <a:gd name="T21" fmla="*/ 49 h 56"/>
                <a:gd name="T22" fmla="*/ 17 w 33"/>
                <a:gd name="T23" fmla="*/ 9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6">
                  <a:moveTo>
                    <a:pt x="17" y="9"/>
                  </a:moveTo>
                  <a:lnTo>
                    <a:pt x="5" y="16"/>
                  </a:lnTo>
                  <a:lnTo>
                    <a:pt x="0" y="9"/>
                  </a:lnTo>
                  <a:lnTo>
                    <a:pt x="19" y="0"/>
                  </a:lnTo>
                  <a:lnTo>
                    <a:pt x="26" y="0"/>
                  </a:lnTo>
                  <a:lnTo>
                    <a:pt x="26" y="49"/>
                  </a:lnTo>
                  <a:lnTo>
                    <a:pt x="33" y="49"/>
                  </a:lnTo>
                  <a:lnTo>
                    <a:pt x="33" y="56"/>
                  </a:lnTo>
                  <a:lnTo>
                    <a:pt x="10" y="56"/>
                  </a:lnTo>
                  <a:lnTo>
                    <a:pt x="10" y="49"/>
                  </a:lnTo>
                  <a:lnTo>
                    <a:pt x="17" y="49"/>
                  </a:lnTo>
                  <a:lnTo>
                    <a:pt x="17" y="9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6" name="Freeform 49">
              <a:extLst>
                <a:ext uri="{FF2B5EF4-FFF2-40B4-BE49-F238E27FC236}">
                  <a16:creationId xmlns:a16="http://schemas.microsoft.com/office/drawing/2014/main" id="{4F8BB5A8-8C0A-4F50-8197-17444B731A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95364" y="6875512"/>
              <a:ext cx="63451" cy="89134"/>
            </a:xfrm>
            <a:custGeom>
              <a:avLst/>
              <a:gdLst>
                <a:gd name="T0" fmla="*/ 18 w 18"/>
                <a:gd name="T1" fmla="*/ 13 h 25"/>
                <a:gd name="T2" fmla="*/ 9 w 18"/>
                <a:gd name="T3" fmla="*/ 25 h 25"/>
                <a:gd name="T4" fmla="*/ 0 w 18"/>
                <a:gd name="T5" fmla="*/ 13 h 25"/>
                <a:gd name="T6" fmla="*/ 9 w 18"/>
                <a:gd name="T7" fmla="*/ 0 h 25"/>
                <a:gd name="T8" fmla="*/ 18 w 18"/>
                <a:gd name="T9" fmla="*/ 13 h 25"/>
                <a:gd name="T10" fmla="*/ 5 w 18"/>
                <a:gd name="T11" fmla="*/ 13 h 25"/>
                <a:gd name="T12" fmla="*/ 9 w 18"/>
                <a:gd name="T13" fmla="*/ 22 h 25"/>
                <a:gd name="T14" fmla="*/ 13 w 18"/>
                <a:gd name="T15" fmla="*/ 13 h 25"/>
                <a:gd name="T16" fmla="*/ 9 w 18"/>
                <a:gd name="T17" fmla="*/ 3 h 25"/>
                <a:gd name="T18" fmla="*/ 5 w 18"/>
                <a:gd name="T19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5">
                  <a:moveTo>
                    <a:pt x="18" y="13"/>
                  </a:moveTo>
                  <a:cubicBezTo>
                    <a:pt x="18" y="21"/>
                    <a:pt x="15" y="25"/>
                    <a:pt x="9" y="25"/>
                  </a:cubicBezTo>
                  <a:cubicBezTo>
                    <a:pt x="3" y="25"/>
                    <a:pt x="0" y="21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5" y="0"/>
                    <a:pt x="18" y="4"/>
                    <a:pt x="18" y="13"/>
                  </a:cubicBezTo>
                  <a:close/>
                  <a:moveTo>
                    <a:pt x="5" y="13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6"/>
                    <a:pt x="12" y="3"/>
                    <a:pt x="9" y="3"/>
                  </a:cubicBezTo>
                  <a:cubicBezTo>
                    <a:pt x="6" y="3"/>
                    <a:pt x="5" y="6"/>
                    <a:pt x="5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7" name="Freeform 63">
              <a:extLst>
                <a:ext uri="{FF2B5EF4-FFF2-40B4-BE49-F238E27FC236}">
                  <a16:creationId xmlns:a16="http://schemas.microsoft.com/office/drawing/2014/main" id="{FD0AB972-6F33-4B42-8605-8FDE17B505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67948" y="5654833"/>
              <a:ext cx="60430" cy="93666"/>
            </a:xfrm>
            <a:custGeom>
              <a:avLst/>
              <a:gdLst>
                <a:gd name="T0" fmla="*/ 17 w 17"/>
                <a:gd name="T1" fmla="*/ 13 h 26"/>
                <a:gd name="T2" fmla="*/ 9 w 17"/>
                <a:gd name="T3" fmla="*/ 26 h 26"/>
                <a:gd name="T4" fmla="*/ 0 w 17"/>
                <a:gd name="T5" fmla="*/ 13 h 26"/>
                <a:gd name="T6" fmla="*/ 9 w 17"/>
                <a:gd name="T7" fmla="*/ 0 h 26"/>
                <a:gd name="T8" fmla="*/ 17 w 17"/>
                <a:gd name="T9" fmla="*/ 13 h 26"/>
                <a:gd name="T10" fmla="*/ 4 w 17"/>
                <a:gd name="T11" fmla="*/ 13 h 26"/>
                <a:gd name="T12" fmla="*/ 9 w 17"/>
                <a:gd name="T13" fmla="*/ 22 h 26"/>
                <a:gd name="T14" fmla="*/ 13 w 17"/>
                <a:gd name="T15" fmla="*/ 13 h 26"/>
                <a:gd name="T16" fmla="*/ 9 w 17"/>
                <a:gd name="T17" fmla="*/ 4 h 26"/>
                <a:gd name="T18" fmla="*/ 4 w 17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6">
                  <a:moveTo>
                    <a:pt x="17" y="13"/>
                  </a:moveTo>
                  <a:cubicBezTo>
                    <a:pt x="17" y="22"/>
                    <a:pt x="14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5"/>
                    <a:pt x="3" y="0"/>
                    <a:pt x="9" y="0"/>
                  </a:cubicBezTo>
                  <a:cubicBezTo>
                    <a:pt x="14" y="0"/>
                    <a:pt x="17" y="5"/>
                    <a:pt x="17" y="13"/>
                  </a:cubicBezTo>
                  <a:close/>
                  <a:moveTo>
                    <a:pt x="4" y="13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7"/>
                    <a:pt x="11" y="4"/>
                    <a:pt x="9" y="4"/>
                  </a:cubicBezTo>
                  <a:cubicBezTo>
                    <a:pt x="6" y="4"/>
                    <a:pt x="4" y="7"/>
                    <a:pt x="4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8" name="Freeform 64">
              <a:extLst>
                <a:ext uri="{FF2B5EF4-FFF2-40B4-BE49-F238E27FC236}">
                  <a16:creationId xmlns:a16="http://schemas.microsoft.com/office/drawing/2014/main" id="{13D47FC5-ACD4-4480-8EA8-DAB2CE44EC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67948" y="5808928"/>
              <a:ext cx="60430" cy="92156"/>
            </a:xfrm>
            <a:custGeom>
              <a:avLst/>
              <a:gdLst>
                <a:gd name="T0" fmla="*/ 17 w 17"/>
                <a:gd name="T1" fmla="*/ 13 h 26"/>
                <a:gd name="T2" fmla="*/ 9 w 17"/>
                <a:gd name="T3" fmla="*/ 26 h 26"/>
                <a:gd name="T4" fmla="*/ 0 w 17"/>
                <a:gd name="T5" fmla="*/ 13 h 26"/>
                <a:gd name="T6" fmla="*/ 9 w 17"/>
                <a:gd name="T7" fmla="*/ 0 h 26"/>
                <a:gd name="T8" fmla="*/ 17 w 17"/>
                <a:gd name="T9" fmla="*/ 13 h 26"/>
                <a:gd name="T10" fmla="*/ 4 w 17"/>
                <a:gd name="T11" fmla="*/ 13 h 26"/>
                <a:gd name="T12" fmla="*/ 9 w 17"/>
                <a:gd name="T13" fmla="*/ 22 h 26"/>
                <a:gd name="T14" fmla="*/ 13 w 17"/>
                <a:gd name="T15" fmla="*/ 13 h 26"/>
                <a:gd name="T16" fmla="*/ 9 w 17"/>
                <a:gd name="T17" fmla="*/ 4 h 26"/>
                <a:gd name="T18" fmla="*/ 4 w 17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6">
                  <a:moveTo>
                    <a:pt x="17" y="13"/>
                  </a:moveTo>
                  <a:cubicBezTo>
                    <a:pt x="17" y="21"/>
                    <a:pt x="14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4" y="0"/>
                    <a:pt x="17" y="4"/>
                    <a:pt x="17" y="13"/>
                  </a:cubicBezTo>
                  <a:close/>
                  <a:moveTo>
                    <a:pt x="4" y="13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7"/>
                    <a:pt x="11" y="4"/>
                    <a:pt x="9" y="4"/>
                  </a:cubicBezTo>
                  <a:cubicBezTo>
                    <a:pt x="6" y="4"/>
                    <a:pt x="4" y="7"/>
                    <a:pt x="4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9" name="Freeform 65">
              <a:extLst>
                <a:ext uri="{FF2B5EF4-FFF2-40B4-BE49-F238E27FC236}">
                  <a16:creationId xmlns:a16="http://schemas.microsoft.com/office/drawing/2014/main" id="{CD83D8DB-01DE-4D40-AF60-3588A172E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3991" y="6115609"/>
              <a:ext cx="49855" cy="89134"/>
            </a:xfrm>
            <a:custGeom>
              <a:avLst/>
              <a:gdLst>
                <a:gd name="T0" fmla="*/ 16 w 33"/>
                <a:gd name="T1" fmla="*/ 12 h 59"/>
                <a:gd name="T2" fmla="*/ 4 w 33"/>
                <a:gd name="T3" fmla="*/ 19 h 59"/>
                <a:gd name="T4" fmla="*/ 0 w 33"/>
                <a:gd name="T5" fmla="*/ 9 h 59"/>
                <a:gd name="T6" fmla="*/ 16 w 33"/>
                <a:gd name="T7" fmla="*/ 0 h 59"/>
                <a:gd name="T8" fmla="*/ 26 w 33"/>
                <a:gd name="T9" fmla="*/ 0 h 59"/>
                <a:gd name="T10" fmla="*/ 26 w 33"/>
                <a:gd name="T11" fmla="*/ 49 h 59"/>
                <a:gd name="T12" fmla="*/ 33 w 33"/>
                <a:gd name="T13" fmla="*/ 49 h 59"/>
                <a:gd name="T14" fmla="*/ 33 w 33"/>
                <a:gd name="T15" fmla="*/ 59 h 59"/>
                <a:gd name="T16" fmla="*/ 7 w 33"/>
                <a:gd name="T17" fmla="*/ 59 h 59"/>
                <a:gd name="T18" fmla="*/ 7 w 33"/>
                <a:gd name="T19" fmla="*/ 49 h 59"/>
                <a:gd name="T20" fmla="*/ 16 w 33"/>
                <a:gd name="T21" fmla="*/ 49 h 59"/>
                <a:gd name="T22" fmla="*/ 16 w 33"/>
                <a:gd name="T23" fmla="*/ 1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9">
                  <a:moveTo>
                    <a:pt x="16" y="12"/>
                  </a:moveTo>
                  <a:lnTo>
                    <a:pt x="4" y="19"/>
                  </a:lnTo>
                  <a:lnTo>
                    <a:pt x="0" y="9"/>
                  </a:lnTo>
                  <a:lnTo>
                    <a:pt x="16" y="0"/>
                  </a:lnTo>
                  <a:lnTo>
                    <a:pt x="26" y="0"/>
                  </a:lnTo>
                  <a:lnTo>
                    <a:pt x="26" y="49"/>
                  </a:lnTo>
                  <a:lnTo>
                    <a:pt x="33" y="49"/>
                  </a:lnTo>
                  <a:lnTo>
                    <a:pt x="33" y="59"/>
                  </a:lnTo>
                  <a:lnTo>
                    <a:pt x="7" y="59"/>
                  </a:lnTo>
                  <a:lnTo>
                    <a:pt x="7" y="49"/>
                  </a:lnTo>
                  <a:lnTo>
                    <a:pt x="16" y="49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0" name="Freeform 66">
              <a:extLst>
                <a:ext uri="{FF2B5EF4-FFF2-40B4-BE49-F238E27FC236}">
                  <a16:creationId xmlns:a16="http://schemas.microsoft.com/office/drawing/2014/main" id="{CF14F05A-B5DC-4B47-853F-37AF479275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67948" y="6265173"/>
              <a:ext cx="60430" cy="92156"/>
            </a:xfrm>
            <a:custGeom>
              <a:avLst/>
              <a:gdLst>
                <a:gd name="T0" fmla="*/ 17 w 17"/>
                <a:gd name="T1" fmla="*/ 13 h 26"/>
                <a:gd name="T2" fmla="*/ 9 w 17"/>
                <a:gd name="T3" fmla="*/ 26 h 26"/>
                <a:gd name="T4" fmla="*/ 0 w 17"/>
                <a:gd name="T5" fmla="*/ 13 h 26"/>
                <a:gd name="T6" fmla="*/ 9 w 17"/>
                <a:gd name="T7" fmla="*/ 0 h 26"/>
                <a:gd name="T8" fmla="*/ 17 w 17"/>
                <a:gd name="T9" fmla="*/ 13 h 26"/>
                <a:gd name="T10" fmla="*/ 4 w 17"/>
                <a:gd name="T11" fmla="*/ 13 h 26"/>
                <a:gd name="T12" fmla="*/ 9 w 17"/>
                <a:gd name="T13" fmla="*/ 22 h 26"/>
                <a:gd name="T14" fmla="*/ 13 w 17"/>
                <a:gd name="T15" fmla="*/ 13 h 26"/>
                <a:gd name="T16" fmla="*/ 9 w 17"/>
                <a:gd name="T17" fmla="*/ 4 h 26"/>
                <a:gd name="T18" fmla="*/ 4 w 17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6">
                  <a:moveTo>
                    <a:pt x="17" y="13"/>
                  </a:moveTo>
                  <a:cubicBezTo>
                    <a:pt x="17" y="22"/>
                    <a:pt x="14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4" y="0"/>
                    <a:pt x="17" y="4"/>
                    <a:pt x="17" y="13"/>
                  </a:cubicBezTo>
                  <a:close/>
                  <a:moveTo>
                    <a:pt x="4" y="13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7"/>
                    <a:pt x="11" y="4"/>
                    <a:pt x="9" y="4"/>
                  </a:cubicBezTo>
                  <a:cubicBezTo>
                    <a:pt x="6" y="4"/>
                    <a:pt x="4" y="7"/>
                    <a:pt x="4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1" name="Freeform 67">
              <a:extLst>
                <a:ext uri="{FF2B5EF4-FFF2-40B4-BE49-F238E27FC236}">
                  <a16:creationId xmlns:a16="http://schemas.microsoft.com/office/drawing/2014/main" id="{70933FC4-1C39-4E67-9007-3FB06DDD0C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67948" y="6419268"/>
              <a:ext cx="60430" cy="89134"/>
            </a:xfrm>
            <a:custGeom>
              <a:avLst/>
              <a:gdLst>
                <a:gd name="T0" fmla="*/ 17 w 17"/>
                <a:gd name="T1" fmla="*/ 13 h 25"/>
                <a:gd name="T2" fmla="*/ 9 w 17"/>
                <a:gd name="T3" fmla="*/ 25 h 25"/>
                <a:gd name="T4" fmla="*/ 0 w 17"/>
                <a:gd name="T5" fmla="*/ 12 h 25"/>
                <a:gd name="T6" fmla="*/ 9 w 17"/>
                <a:gd name="T7" fmla="*/ 0 h 25"/>
                <a:gd name="T8" fmla="*/ 17 w 17"/>
                <a:gd name="T9" fmla="*/ 13 h 25"/>
                <a:gd name="T10" fmla="*/ 4 w 17"/>
                <a:gd name="T11" fmla="*/ 12 h 25"/>
                <a:gd name="T12" fmla="*/ 9 w 17"/>
                <a:gd name="T13" fmla="*/ 22 h 25"/>
                <a:gd name="T14" fmla="*/ 13 w 17"/>
                <a:gd name="T15" fmla="*/ 13 h 25"/>
                <a:gd name="T16" fmla="*/ 9 w 17"/>
                <a:gd name="T17" fmla="*/ 3 h 25"/>
                <a:gd name="T18" fmla="*/ 4 w 17"/>
                <a:gd name="T1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5">
                  <a:moveTo>
                    <a:pt x="17" y="13"/>
                  </a:moveTo>
                  <a:cubicBezTo>
                    <a:pt x="17" y="21"/>
                    <a:pt x="14" y="25"/>
                    <a:pt x="9" y="25"/>
                  </a:cubicBezTo>
                  <a:cubicBezTo>
                    <a:pt x="3" y="25"/>
                    <a:pt x="0" y="21"/>
                    <a:pt x="0" y="12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4" y="0"/>
                    <a:pt x="17" y="4"/>
                    <a:pt x="17" y="13"/>
                  </a:cubicBezTo>
                  <a:close/>
                  <a:moveTo>
                    <a:pt x="4" y="12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6"/>
                    <a:pt x="11" y="3"/>
                    <a:pt x="9" y="3"/>
                  </a:cubicBezTo>
                  <a:cubicBezTo>
                    <a:pt x="6" y="3"/>
                    <a:pt x="4" y="6"/>
                    <a:pt x="4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2" name="Freeform 68">
              <a:extLst>
                <a:ext uri="{FF2B5EF4-FFF2-40B4-BE49-F238E27FC236}">
                  <a16:creationId xmlns:a16="http://schemas.microsoft.com/office/drawing/2014/main" id="{AE83E179-DC37-4C23-9389-688803D9E5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3991" y="6725948"/>
              <a:ext cx="49855" cy="84602"/>
            </a:xfrm>
            <a:custGeom>
              <a:avLst/>
              <a:gdLst>
                <a:gd name="T0" fmla="*/ 16 w 33"/>
                <a:gd name="T1" fmla="*/ 9 h 56"/>
                <a:gd name="T2" fmla="*/ 4 w 33"/>
                <a:gd name="T3" fmla="*/ 16 h 56"/>
                <a:gd name="T4" fmla="*/ 0 w 33"/>
                <a:gd name="T5" fmla="*/ 9 h 56"/>
                <a:gd name="T6" fmla="*/ 16 w 33"/>
                <a:gd name="T7" fmla="*/ 0 h 56"/>
                <a:gd name="T8" fmla="*/ 26 w 33"/>
                <a:gd name="T9" fmla="*/ 0 h 56"/>
                <a:gd name="T10" fmla="*/ 26 w 33"/>
                <a:gd name="T11" fmla="*/ 49 h 56"/>
                <a:gd name="T12" fmla="*/ 33 w 33"/>
                <a:gd name="T13" fmla="*/ 49 h 56"/>
                <a:gd name="T14" fmla="*/ 33 w 33"/>
                <a:gd name="T15" fmla="*/ 56 h 56"/>
                <a:gd name="T16" fmla="*/ 7 w 33"/>
                <a:gd name="T17" fmla="*/ 56 h 56"/>
                <a:gd name="T18" fmla="*/ 7 w 33"/>
                <a:gd name="T19" fmla="*/ 49 h 56"/>
                <a:gd name="T20" fmla="*/ 16 w 33"/>
                <a:gd name="T21" fmla="*/ 49 h 56"/>
                <a:gd name="T22" fmla="*/ 16 w 33"/>
                <a:gd name="T23" fmla="*/ 9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6">
                  <a:moveTo>
                    <a:pt x="16" y="9"/>
                  </a:moveTo>
                  <a:lnTo>
                    <a:pt x="4" y="16"/>
                  </a:lnTo>
                  <a:lnTo>
                    <a:pt x="0" y="9"/>
                  </a:lnTo>
                  <a:lnTo>
                    <a:pt x="16" y="0"/>
                  </a:lnTo>
                  <a:lnTo>
                    <a:pt x="26" y="0"/>
                  </a:lnTo>
                  <a:lnTo>
                    <a:pt x="26" y="49"/>
                  </a:lnTo>
                  <a:lnTo>
                    <a:pt x="33" y="49"/>
                  </a:lnTo>
                  <a:lnTo>
                    <a:pt x="33" y="56"/>
                  </a:lnTo>
                  <a:lnTo>
                    <a:pt x="7" y="56"/>
                  </a:lnTo>
                  <a:lnTo>
                    <a:pt x="7" y="49"/>
                  </a:lnTo>
                  <a:lnTo>
                    <a:pt x="16" y="4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3" name="Freeform 69">
              <a:extLst>
                <a:ext uri="{FF2B5EF4-FFF2-40B4-BE49-F238E27FC236}">
                  <a16:creationId xmlns:a16="http://schemas.microsoft.com/office/drawing/2014/main" id="{1C1D5956-1D9A-4E5C-BEDA-88F20824A2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67948" y="6875512"/>
              <a:ext cx="60430" cy="89134"/>
            </a:xfrm>
            <a:custGeom>
              <a:avLst/>
              <a:gdLst>
                <a:gd name="T0" fmla="*/ 17 w 17"/>
                <a:gd name="T1" fmla="*/ 13 h 25"/>
                <a:gd name="T2" fmla="*/ 9 w 17"/>
                <a:gd name="T3" fmla="*/ 25 h 25"/>
                <a:gd name="T4" fmla="*/ 0 w 17"/>
                <a:gd name="T5" fmla="*/ 13 h 25"/>
                <a:gd name="T6" fmla="*/ 9 w 17"/>
                <a:gd name="T7" fmla="*/ 0 h 25"/>
                <a:gd name="T8" fmla="*/ 17 w 17"/>
                <a:gd name="T9" fmla="*/ 13 h 25"/>
                <a:gd name="T10" fmla="*/ 4 w 17"/>
                <a:gd name="T11" fmla="*/ 13 h 25"/>
                <a:gd name="T12" fmla="*/ 9 w 17"/>
                <a:gd name="T13" fmla="*/ 22 h 25"/>
                <a:gd name="T14" fmla="*/ 13 w 17"/>
                <a:gd name="T15" fmla="*/ 13 h 25"/>
                <a:gd name="T16" fmla="*/ 9 w 17"/>
                <a:gd name="T17" fmla="*/ 3 h 25"/>
                <a:gd name="T18" fmla="*/ 4 w 17"/>
                <a:gd name="T19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5">
                  <a:moveTo>
                    <a:pt x="17" y="13"/>
                  </a:moveTo>
                  <a:cubicBezTo>
                    <a:pt x="17" y="21"/>
                    <a:pt x="14" y="25"/>
                    <a:pt x="9" y="25"/>
                  </a:cubicBezTo>
                  <a:cubicBezTo>
                    <a:pt x="3" y="25"/>
                    <a:pt x="0" y="21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4" y="0"/>
                    <a:pt x="17" y="4"/>
                    <a:pt x="17" y="13"/>
                  </a:cubicBezTo>
                  <a:close/>
                  <a:moveTo>
                    <a:pt x="4" y="13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6"/>
                    <a:pt x="11" y="3"/>
                    <a:pt x="9" y="3"/>
                  </a:cubicBezTo>
                  <a:cubicBezTo>
                    <a:pt x="6" y="3"/>
                    <a:pt x="4" y="6"/>
                    <a:pt x="4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4" name="Freeform 83">
              <a:extLst>
                <a:ext uri="{FF2B5EF4-FFF2-40B4-BE49-F238E27FC236}">
                  <a16:creationId xmlns:a16="http://schemas.microsoft.com/office/drawing/2014/main" id="{37B2E288-BE07-4F10-9097-F6D5D51A1CF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2522" y="5662386"/>
              <a:ext cx="92156" cy="157117"/>
            </a:xfrm>
            <a:custGeom>
              <a:avLst/>
              <a:gdLst>
                <a:gd name="T0" fmla="*/ 31 w 61"/>
                <a:gd name="T1" fmla="*/ 19 h 104"/>
                <a:gd name="T2" fmla="*/ 10 w 61"/>
                <a:gd name="T3" fmla="*/ 33 h 104"/>
                <a:gd name="T4" fmla="*/ 0 w 61"/>
                <a:gd name="T5" fmla="*/ 19 h 104"/>
                <a:gd name="T6" fmla="*/ 31 w 61"/>
                <a:gd name="T7" fmla="*/ 0 h 104"/>
                <a:gd name="T8" fmla="*/ 47 w 61"/>
                <a:gd name="T9" fmla="*/ 0 h 104"/>
                <a:gd name="T10" fmla="*/ 47 w 61"/>
                <a:gd name="T11" fmla="*/ 90 h 104"/>
                <a:gd name="T12" fmla="*/ 61 w 61"/>
                <a:gd name="T13" fmla="*/ 90 h 104"/>
                <a:gd name="T14" fmla="*/ 61 w 61"/>
                <a:gd name="T15" fmla="*/ 104 h 104"/>
                <a:gd name="T16" fmla="*/ 17 w 61"/>
                <a:gd name="T17" fmla="*/ 104 h 104"/>
                <a:gd name="T18" fmla="*/ 17 w 61"/>
                <a:gd name="T19" fmla="*/ 90 h 104"/>
                <a:gd name="T20" fmla="*/ 31 w 61"/>
                <a:gd name="T21" fmla="*/ 90 h 104"/>
                <a:gd name="T22" fmla="*/ 31 w 61"/>
                <a:gd name="T23" fmla="*/ 19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4">
                  <a:moveTo>
                    <a:pt x="31" y="19"/>
                  </a:moveTo>
                  <a:lnTo>
                    <a:pt x="10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0"/>
                  </a:lnTo>
                  <a:lnTo>
                    <a:pt x="61" y="90"/>
                  </a:lnTo>
                  <a:lnTo>
                    <a:pt x="61" y="104"/>
                  </a:lnTo>
                  <a:lnTo>
                    <a:pt x="17" y="104"/>
                  </a:lnTo>
                  <a:lnTo>
                    <a:pt x="17" y="90"/>
                  </a:lnTo>
                  <a:lnTo>
                    <a:pt x="31" y="90"/>
                  </a:lnTo>
                  <a:lnTo>
                    <a:pt x="31" y="19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5" name="Freeform 84">
              <a:extLst>
                <a:ext uri="{FF2B5EF4-FFF2-40B4-BE49-F238E27FC236}">
                  <a16:creationId xmlns:a16="http://schemas.microsoft.com/office/drawing/2014/main" id="{220CF29D-9848-436E-9658-35B4F6F0BA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77415" y="5929788"/>
              <a:ext cx="110285" cy="164671"/>
            </a:xfrm>
            <a:custGeom>
              <a:avLst/>
              <a:gdLst>
                <a:gd name="T0" fmla="*/ 31 w 31"/>
                <a:gd name="T1" fmla="*/ 23 h 46"/>
                <a:gd name="T2" fmla="*/ 15 w 31"/>
                <a:gd name="T3" fmla="*/ 46 h 46"/>
                <a:gd name="T4" fmla="*/ 0 w 31"/>
                <a:gd name="T5" fmla="*/ 23 h 46"/>
                <a:gd name="T6" fmla="*/ 15 w 31"/>
                <a:gd name="T7" fmla="*/ 0 h 46"/>
                <a:gd name="T8" fmla="*/ 31 w 31"/>
                <a:gd name="T9" fmla="*/ 23 h 46"/>
                <a:gd name="T10" fmla="*/ 8 w 31"/>
                <a:gd name="T11" fmla="*/ 23 h 46"/>
                <a:gd name="T12" fmla="*/ 15 w 31"/>
                <a:gd name="T13" fmla="*/ 39 h 46"/>
                <a:gd name="T14" fmla="*/ 23 w 31"/>
                <a:gd name="T15" fmla="*/ 23 h 46"/>
                <a:gd name="T16" fmla="*/ 15 w 31"/>
                <a:gd name="T17" fmla="*/ 7 h 46"/>
                <a:gd name="T18" fmla="*/ 8 w 31"/>
                <a:gd name="T19" fmla="*/ 2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46">
                  <a:moveTo>
                    <a:pt x="31" y="23"/>
                  </a:moveTo>
                  <a:cubicBezTo>
                    <a:pt x="31" y="38"/>
                    <a:pt x="26" y="46"/>
                    <a:pt x="15" y="46"/>
                  </a:cubicBezTo>
                  <a:cubicBezTo>
                    <a:pt x="5" y="46"/>
                    <a:pt x="0" y="38"/>
                    <a:pt x="0" y="23"/>
                  </a:cubicBezTo>
                  <a:cubicBezTo>
                    <a:pt x="0" y="8"/>
                    <a:pt x="5" y="0"/>
                    <a:pt x="15" y="0"/>
                  </a:cubicBezTo>
                  <a:cubicBezTo>
                    <a:pt x="26" y="0"/>
                    <a:pt x="31" y="8"/>
                    <a:pt x="31" y="23"/>
                  </a:cubicBezTo>
                  <a:close/>
                  <a:moveTo>
                    <a:pt x="8" y="23"/>
                  </a:moveTo>
                  <a:cubicBezTo>
                    <a:pt x="8" y="34"/>
                    <a:pt x="10" y="39"/>
                    <a:pt x="15" y="39"/>
                  </a:cubicBezTo>
                  <a:cubicBezTo>
                    <a:pt x="20" y="39"/>
                    <a:pt x="23" y="34"/>
                    <a:pt x="23" y="23"/>
                  </a:cubicBezTo>
                  <a:cubicBezTo>
                    <a:pt x="23" y="12"/>
                    <a:pt x="20" y="7"/>
                    <a:pt x="15" y="7"/>
                  </a:cubicBezTo>
                  <a:cubicBezTo>
                    <a:pt x="10" y="7"/>
                    <a:pt x="8" y="12"/>
                    <a:pt x="8" y="2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6" name="Freeform 85">
              <a:extLst>
                <a:ext uri="{FF2B5EF4-FFF2-40B4-BE49-F238E27FC236}">
                  <a16:creationId xmlns:a16="http://schemas.microsoft.com/office/drawing/2014/main" id="{D05E8E07-3B04-4A4B-A6F6-FDE469D262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77415" y="6201721"/>
              <a:ext cx="110285" cy="160139"/>
            </a:xfrm>
            <a:custGeom>
              <a:avLst/>
              <a:gdLst>
                <a:gd name="T0" fmla="*/ 31 w 31"/>
                <a:gd name="T1" fmla="*/ 23 h 45"/>
                <a:gd name="T2" fmla="*/ 15 w 31"/>
                <a:gd name="T3" fmla="*/ 45 h 45"/>
                <a:gd name="T4" fmla="*/ 0 w 31"/>
                <a:gd name="T5" fmla="*/ 23 h 45"/>
                <a:gd name="T6" fmla="*/ 15 w 31"/>
                <a:gd name="T7" fmla="*/ 0 h 45"/>
                <a:gd name="T8" fmla="*/ 31 w 31"/>
                <a:gd name="T9" fmla="*/ 23 h 45"/>
                <a:gd name="T10" fmla="*/ 8 w 31"/>
                <a:gd name="T11" fmla="*/ 23 h 45"/>
                <a:gd name="T12" fmla="*/ 15 w 31"/>
                <a:gd name="T13" fmla="*/ 39 h 45"/>
                <a:gd name="T14" fmla="*/ 23 w 31"/>
                <a:gd name="T15" fmla="*/ 23 h 45"/>
                <a:gd name="T16" fmla="*/ 15 w 31"/>
                <a:gd name="T17" fmla="*/ 6 h 45"/>
                <a:gd name="T18" fmla="*/ 8 w 31"/>
                <a:gd name="T19" fmla="*/ 2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45">
                  <a:moveTo>
                    <a:pt x="31" y="23"/>
                  </a:moveTo>
                  <a:cubicBezTo>
                    <a:pt x="31" y="38"/>
                    <a:pt x="26" y="45"/>
                    <a:pt x="15" y="45"/>
                  </a:cubicBezTo>
                  <a:cubicBezTo>
                    <a:pt x="5" y="45"/>
                    <a:pt x="0" y="38"/>
                    <a:pt x="0" y="23"/>
                  </a:cubicBezTo>
                  <a:cubicBezTo>
                    <a:pt x="0" y="8"/>
                    <a:pt x="5" y="0"/>
                    <a:pt x="15" y="0"/>
                  </a:cubicBezTo>
                  <a:cubicBezTo>
                    <a:pt x="26" y="0"/>
                    <a:pt x="31" y="8"/>
                    <a:pt x="31" y="23"/>
                  </a:cubicBezTo>
                  <a:close/>
                  <a:moveTo>
                    <a:pt x="8" y="23"/>
                  </a:moveTo>
                  <a:cubicBezTo>
                    <a:pt x="8" y="34"/>
                    <a:pt x="10" y="39"/>
                    <a:pt x="15" y="39"/>
                  </a:cubicBezTo>
                  <a:cubicBezTo>
                    <a:pt x="20" y="39"/>
                    <a:pt x="23" y="34"/>
                    <a:pt x="23" y="23"/>
                  </a:cubicBezTo>
                  <a:cubicBezTo>
                    <a:pt x="23" y="12"/>
                    <a:pt x="20" y="6"/>
                    <a:pt x="15" y="6"/>
                  </a:cubicBezTo>
                  <a:cubicBezTo>
                    <a:pt x="10" y="6"/>
                    <a:pt x="8" y="12"/>
                    <a:pt x="8" y="2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7" name="Freeform 86">
              <a:extLst>
                <a:ext uri="{FF2B5EF4-FFF2-40B4-BE49-F238E27FC236}">
                  <a16:creationId xmlns:a16="http://schemas.microsoft.com/office/drawing/2014/main" id="{1AD0A1A7-F3D3-4DDB-BF9A-AE15BCA6B8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2522" y="6475165"/>
              <a:ext cx="92156" cy="157117"/>
            </a:xfrm>
            <a:custGeom>
              <a:avLst/>
              <a:gdLst>
                <a:gd name="T0" fmla="*/ 31 w 61"/>
                <a:gd name="T1" fmla="*/ 19 h 104"/>
                <a:gd name="T2" fmla="*/ 10 w 61"/>
                <a:gd name="T3" fmla="*/ 34 h 104"/>
                <a:gd name="T4" fmla="*/ 0 w 61"/>
                <a:gd name="T5" fmla="*/ 19 h 104"/>
                <a:gd name="T6" fmla="*/ 31 w 61"/>
                <a:gd name="T7" fmla="*/ 0 h 104"/>
                <a:gd name="T8" fmla="*/ 47 w 61"/>
                <a:gd name="T9" fmla="*/ 0 h 104"/>
                <a:gd name="T10" fmla="*/ 47 w 61"/>
                <a:gd name="T11" fmla="*/ 90 h 104"/>
                <a:gd name="T12" fmla="*/ 61 w 61"/>
                <a:gd name="T13" fmla="*/ 90 h 104"/>
                <a:gd name="T14" fmla="*/ 61 w 61"/>
                <a:gd name="T15" fmla="*/ 104 h 104"/>
                <a:gd name="T16" fmla="*/ 17 w 61"/>
                <a:gd name="T17" fmla="*/ 104 h 104"/>
                <a:gd name="T18" fmla="*/ 17 w 61"/>
                <a:gd name="T19" fmla="*/ 90 h 104"/>
                <a:gd name="T20" fmla="*/ 31 w 61"/>
                <a:gd name="T21" fmla="*/ 90 h 104"/>
                <a:gd name="T22" fmla="*/ 31 w 61"/>
                <a:gd name="T23" fmla="*/ 19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4">
                  <a:moveTo>
                    <a:pt x="31" y="19"/>
                  </a:moveTo>
                  <a:lnTo>
                    <a:pt x="10" y="34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0"/>
                  </a:lnTo>
                  <a:lnTo>
                    <a:pt x="61" y="90"/>
                  </a:lnTo>
                  <a:lnTo>
                    <a:pt x="61" y="104"/>
                  </a:lnTo>
                  <a:lnTo>
                    <a:pt x="17" y="104"/>
                  </a:lnTo>
                  <a:lnTo>
                    <a:pt x="17" y="90"/>
                  </a:lnTo>
                  <a:lnTo>
                    <a:pt x="31" y="90"/>
                  </a:lnTo>
                  <a:lnTo>
                    <a:pt x="31" y="19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8" name="Freeform 87">
              <a:extLst>
                <a:ext uri="{FF2B5EF4-FFF2-40B4-BE49-F238E27FC236}">
                  <a16:creationId xmlns:a16="http://schemas.microsoft.com/office/drawing/2014/main" id="{C44F9928-81F8-4C42-A2FA-28F71581225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2522" y="6747099"/>
              <a:ext cx="92156" cy="157117"/>
            </a:xfrm>
            <a:custGeom>
              <a:avLst/>
              <a:gdLst>
                <a:gd name="T0" fmla="*/ 31 w 61"/>
                <a:gd name="T1" fmla="*/ 19 h 104"/>
                <a:gd name="T2" fmla="*/ 10 w 61"/>
                <a:gd name="T3" fmla="*/ 31 h 104"/>
                <a:gd name="T4" fmla="*/ 0 w 61"/>
                <a:gd name="T5" fmla="*/ 19 h 104"/>
                <a:gd name="T6" fmla="*/ 31 w 61"/>
                <a:gd name="T7" fmla="*/ 0 h 104"/>
                <a:gd name="T8" fmla="*/ 47 w 61"/>
                <a:gd name="T9" fmla="*/ 0 h 104"/>
                <a:gd name="T10" fmla="*/ 47 w 61"/>
                <a:gd name="T11" fmla="*/ 90 h 104"/>
                <a:gd name="T12" fmla="*/ 61 w 61"/>
                <a:gd name="T13" fmla="*/ 90 h 104"/>
                <a:gd name="T14" fmla="*/ 61 w 61"/>
                <a:gd name="T15" fmla="*/ 104 h 104"/>
                <a:gd name="T16" fmla="*/ 17 w 61"/>
                <a:gd name="T17" fmla="*/ 104 h 104"/>
                <a:gd name="T18" fmla="*/ 17 w 61"/>
                <a:gd name="T19" fmla="*/ 90 h 104"/>
                <a:gd name="T20" fmla="*/ 31 w 61"/>
                <a:gd name="T21" fmla="*/ 90 h 104"/>
                <a:gd name="T22" fmla="*/ 31 w 61"/>
                <a:gd name="T23" fmla="*/ 19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4">
                  <a:moveTo>
                    <a:pt x="31" y="19"/>
                  </a:moveTo>
                  <a:lnTo>
                    <a:pt x="10" y="31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0"/>
                  </a:lnTo>
                  <a:lnTo>
                    <a:pt x="61" y="90"/>
                  </a:lnTo>
                  <a:lnTo>
                    <a:pt x="61" y="104"/>
                  </a:lnTo>
                  <a:lnTo>
                    <a:pt x="17" y="104"/>
                  </a:lnTo>
                  <a:lnTo>
                    <a:pt x="17" y="90"/>
                  </a:lnTo>
                  <a:lnTo>
                    <a:pt x="31" y="90"/>
                  </a:lnTo>
                  <a:lnTo>
                    <a:pt x="31" y="19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9" name="Freeform 95">
              <a:extLst>
                <a:ext uri="{FF2B5EF4-FFF2-40B4-BE49-F238E27FC236}">
                  <a16:creationId xmlns:a16="http://schemas.microsoft.com/office/drawing/2014/main" id="{6A9B38A3-4052-48D4-BE31-6419848D9D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868" y="4777091"/>
              <a:ext cx="52876" cy="86113"/>
            </a:xfrm>
            <a:custGeom>
              <a:avLst/>
              <a:gdLst>
                <a:gd name="T0" fmla="*/ 16 w 35"/>
                <a:gd name="T1" fmla="*/ 14 h 57"/>
                <a:gd name="T2" fmla="*/ 7 w 35"/>
                <a:gd name="T3" fmla="*/ 21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7 h 57"/>
                <a:gd name="T12" fmla="*/ 35 w 35"/>
                <a:gd name="T13" fmla="*/ 47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7 h 57"/>
                <a:gd name="T20" fmla="*/ 16 w 35"/>
                <a:gd name="T21" fmla="*/ 47 h 57"/>
                <a:gd name="T22" fmla="*/ 16 w 35"/>
                <a:gd name="T23" fmla="*/ 1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4"/>
                  </a:moveTo>
                  <a:lnTo>
                    <a:pt x="7" y="21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0" name="Freeform 96">
              <a:extLst>
                <a:ext uri="{FF2B5EF4-FFF2-40B4-BE49-F238E27FC236}">
                  <a16:creationId xmlns:a16="http://schemas.microsoft.com/office/drawing/2014/main" id="{C680FDFA-5A7D-4065-9BD5-C0747E4241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49292" y="4923634"/>
              <a:ext cx="67984" cy="86113"/>
            </a:xfrm>
            <a:custGeom>
              <a:avLst/>
              <a:gdLst>
                <a:gd name="T0" fmla="*/ 17 w 19"/>
                <a:gd name="T1" fmla="*/ 4 h 24"/>
                <a:gd name="T2" fmla="*/ 19 w 19"/>
                <a:gd name="T3" fmla="*/ 12 h 24"/>
                <a:gd name="T4" fmla="*/ 17 w 19"/>
                <a:gd name="T5" fmla="*/ 21 h 24"/>
                <a:gd name="T6" fmla="*/ 10 w 19"/>
                <a:gd name="T7" fmla="*/ 24 h 24"/>
                <a:gd name="T8" fmla="*/ 2 w 19"/>
                <a:gd name="T9" fmla="*/ 20 h 24"/>
                <a:gd name="T10" fmla="*/ 0 w 19"/>
                <a:gd name="T11" fmla="*/ 12 h 24"/>
                <a:gd name="T12" fmla="*/ 10 w 19"/>
                <a:gd name="T13" fmla="*/ 0 h 24"/>
                <a:gd name="T14" fmla="*/ 17 w 19"/>
                <a:gd name="T15" fmla="*/ 4 h 24"/>
                <a:gd name="T16" fmla="*/ 6 w 19"/>
                <a:gd name="T17" fmla="*/ 12 h 24"/>
                <a:gd name="T18" fmla="*/ 10 w 19"/>
                <a:gd name="T19" fmla="*/ 20 h 24"/>
                <a:gd name="T20" fmla="*/ 14 w 19"/>
                <a:gd name="T21" fmla="*/ 12 h 24"/>
                <a:gd name="T22" fmla="*/ 10 w 19"/>
                <a:gd name="T23" fmla="*/ 4 h 24"/>
                <a:gd name="T24" fmla="*/ 6 w 19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4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6"/>
                    <a:pt x="18" y="19"/>
                    <a:pt x="17" y="21"/>
                  </a:cubicBezTo>
                  <a:cubicBezTo>
                    <a:pt x="15" y="23"/>
                    <a:pt x="13" y="24"/>
                    <a:pt x="10" y="24"/>
                  </a:cubicBezTo>
                  <a:cubicBezTo>
                    <a:pt x="6" y="24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1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1" name="Freeform 97">
              <a:extLst>
                <a:ext uri="{FF2B5EF4-FFF2-40B4-BE49-F238E27FC236}">
                  <a16:creationId xmlns:a16="http://schemas.microsoft.com/office/drawing/2014/main" id="{216A7607-0FB4-435A-9E45-447E3EBE908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868" y="5070175"/>
              <a:ext cx="52876" cy="84602"/>
            </a:xfrm>
            <a:custGeom>
              <a:avLst/>
              <a:gdLst>
                <a:gd name="T0" fmla="*/ 16 w 35"/>
                <a:gd name="T1" fmla="*/ 14 h 56"/>
                <a:gd name="T2" fmla="*/ 7 w 35"/>
                <a:gd name="T3" fmla="*/ 21 h 56"/>
                <a:gd name="T4" fmla="*/ 0 w 35"/>
                <a:gd name="T5" fmla="*/ 11 h 56"/>
                <a:gd name="T6" fmla="*/ 19 w 35"/>
                <a:gd name="T7" fmla="*/ 0 h 56"/>
                <a:gd name="T8" fmla="*/ 28 w 35"/>
                <a:gd name="T9" fmla="*/ 0 h 56"/>
                <a:gd name="T10" fmla="*/ 28 w 35"/>
                <a:gd name="T11" fmla="*/ 47 h 56"/>
                <a:gd name="T12" fmla="*/ 35 w 35"/>
                <a:gd name="T13" fmla="*/ 47 h 56"/>
                <a:gd name="T14" fmla="*/ 35 w 35"/>
                <a:gd name="T15" fmla="*/ 56 h 56"/>
                <a:gd name="T16" fmla="*/ 9 w 35"/>
                <a:gd name="T17" fmla="*/ 56 h 56"/>
                <a:gd name="T18" fmla="*/ 9 w 35"/>
                <a:gd name="T19" fmla="*/ 47 h 56"/>
                <a:gd name="T20" fmla="*/ 16 w 35"/>
                <a:gd name="T21" fmla="*/ 47 h 56"/>
                <a:gd name="T22" fmla="*/ 16 w 35"/>
                <a:gd name="T23" fmla="*/ 1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6">
                  <a:moveTo>
                    <a:pt x="16" y="14"/>
                  </a:moveTo>
                  <a:lnTo>
                    <a:pt x="7" y="21"/>
                  </a:lnTo>
                  <a:lnTo>
                    <a:pt x="0" y="11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6"/>
                  </a:lnTo>
                  <a:lnTo>
                    <a:pt x="9" y="56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2" name="Freeform 98">
              <a:extLst>
                <a:ext uri="{FF2B5EF4-FFF2-40B4-BE49-F238E27FC236}">
                  <a16:creationId xmlns:a16="http://schemas.microsoft.com/office/drawing/2014/main" id="{645FF1E2-120D-4704-AAF3-CF920E4908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49292" y="5216718"/>
              <a:ext cx="67984" cy="84602"/>
            </a:xfrm>
            <a:custGeom>
              <a:avLst/>
              <a:gdLst>
                <a:gd name="T0" fmla="*/ 17 w 19"/>
                <a:gd name="T1" fmla="*/ 4 h 24"/>
                <a:gd name="T2" fmla="*/ 19 w 19"/>
                <a:gd name="T3" fmla="*/ 12 h 24"/>
                <a:gd name="T4" fmla="*/ 17 w 19"/>
                <a:gd name="T5" fmla="*/ 21 h 24"/>
                <a:gd name="T6" fmla="*/ 10 w 19"/>
                <a:gd name="T7" fmla="*/ 24 h 24"/>
                <a:gd name="T8" fmla="*/ 2 w 19"/>
                <a:gd name="T9" fmla="*/ 20 h 24"/>
                <a:gd name="T10" fmla="*/ 0 w 19"/>
                <a:gd name="T11" fmla="*/ 12 h 24"/>
                <a:gd name="T12" fmla="*/ 10 w 19"/>
                <a:gd name="T13" fmla="*/ 0 h 24"/>
                <a:gd name="T14" fmla="*/ 17 w 19"/>
                <a:gd name="T15" fmla="*/ 4 h 24"/>
                <a:gd name="T16" fmla="*/ 6 w 19"/>
                <a:gd name="T17" fmla="*/ 12 h 24"/>
                <a:gd name="T18" fmla="*/ 10 w 19"/>
                <a:gd name="T19" fmla="*/ 20 h 24"/>
                <a:gd name="T20" fmla="*/ 14 w 19"/>
                <a:gd name="T21" fmla="*/ 12 h 24"/>
                <a:gd name="T22" fmla="*/ 10 w 19"/>
                <a:gd name="T23" fmla="*/ 4 h 24"/>
                <a:gd name="T24" fmla="*/ 6 w 19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4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6"/>
                    <a:pt x="18" y="19"/>
                    <a:pt x="17" y="21"/>
                  </a:cubicBezTo>
                  <a:cubicBezTo>
                    <a:pt x="15" y="23"/>
                    <a:pt x="13" y="24"/>
                    <a:pt x="10" y="24"/>
                  </a:cubicBezTo>
                  <a:cubicBezTo>
                    <a:pt x="6" y="24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1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3" name="Freeform 99">
              <a:extLst>
                <a:ext uri="{FF2B5EF4-FFF2-40B4-BE49-F238E27FC236}">
                  <a16:creationId xmlns:a16="http://schemas.microsoft.com/office/drawing/2014/main" id="{31DCB798-A1F3-4B2A-98A3-E3DE4B8C245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868" y="5361749"/>
              <a:ext cx="52876" cy="86113"/>
            </a:xfrm>
            <a:custGeom>
              <a:avLst/>
              <a:gdLst>
                <a:gd name="T0" fmla="*/ 16 w 35"/>
                <a:gd name="T1" fmla="*/ 15 h 57"/>
                <a:gd name="T2" fmla="*/ 7 w 35"/>
                <a:gd name="T3" fmla="*/ 22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8 h 57"/>
                <a:gd name="T12" fmla="*/ 35 w 35"/>
                <a:gd name="T13" fmla="*/ 48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8 h 57"/>
                <a:gd name="T20" fmla="*/ 16 w 35"/>
                <a:gd name="T21" fmla="*/ 48 h 57"/>
                <a:gd name="T22" fmla="*/ 16 w 35"/>
                <a:gd name="T23" fmla="*/ 1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5"/>
                  </a:moveTo>
                  <a:lnTo>
                    <a:pt x="7" y="22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8"/>
                  </a:lnTo>
                  <a:lnTo>
                    <a:pt x="35" y="48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8"/>
                  </a:lnTo>
                  <a:lnTo>
                    <a:pt x="16" y="48"/>
                  </a:lnTo>
                  <a:lnTo>
                    <a:pt x="16" y="15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4" name="Freeform 100">
              <a:extLst>
                <a:ext uri="{FF2B5EF4-FFF2-40B4-BE49-F238E27FC236}">
                  <a16:creationId xmlns:a16="http://schemas.microsoft.com/office/drawing/2014/main" id="{8D49034F-10BB-4F93-A8E2-CAA0584ADB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49292" y="5508290"/>
              <a:ext cx="67984" cy="86113"/>
            </a:xfrm>
            <a:custGeom>
              <a:avLst/>
              <a:gdLst>
                <a:gd name="T0" fmla="*/ 17 w 19"/>
                <a:gd name="T1" fmla="*/ 4 h 24"/>
                <a:gd name="T2" fmla="*/ 19 w 19"/>
                <a:gd name="T3" fmla="*/ 12 h 24"/>
                <a:gd name="T4" fmla="*/ 17 w 19"/>
                <a:gd name="T5" fmla="*/ 21 h 24"/>
                <a:gd name="T6" fmla="*/ 10 w 19"/>
                <a:gd name="T7" fmla="*/ 24 h 24"/>
                <a:gd name="T8" fmla="*/ 2 w 19"/>
                <a:gd name="T9" fmla="*/ 20 h 24"/>
                <a:gd name="T10" fmla="*/ 0 w 19"/>
                <a:gd name="T11" fmla="*/ 12 h 24"/>
                <a:gd name="T12" fmla="*/ 10 w 19"/>
                <a:gd name="T13" fmla="*/ 0 h 24"/>
                <a:gd name="T14" fmla="*/ 17 w 19"/>
                <a:gd name="T15" fmla="*/ 4 h 24"/>
                <a:gd name="T16" fmla="*/ 6 w 19"/>
                <a:gd name="T17" fmla="*/ 12 h 24"/>
                <a:gd name="T18" fmla="*/ 10 w 19"/>
                <a:gd name="T19" fmla="*/ 20 h 24"/>
                <a:gd name="T20" fmla="*/ 14 w 19"/>
                <a:gd name="T21" fmla="*/ 12 h 24"/>
                <a:gd name="T22" fmla="*/ 10 w 19"/>
                <a:gd name="T23" fmla="*/ 4 h 24"/>
                <a:gd name="T24" fmla="*/ 6 w 19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4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6"/>
                    <a:pt x="18" y="19"/>
                    <a:pt x="17" y="21"/>
                  </a:cubicBezTo>
                  <a:cubicBezTo>
                    <a:pt x="15" y="23"/>
                    <a:pt x="13" y="24"/>
                    <a:pt x="10" y="24"/>
                  </a:cubicBezTo>
                  <a:cubicBezTo>
                    <a:pt x="6" y="24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1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5" name="Freeform 101">
              <a:extLst>
                <a:ext uri="{FF2B5EF4-FFF2-40B4-BE49-F238E27FC236}">
                  <a16:creationId xmlns:a16="http://schemas.microsoft.com/office/drawing/2014/main" id="{17273647-0DFE-44DC-BEAB-F9FBDC5443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868" y="5654833"/>
              <a:ext cx="52876" cy="86113"/>
            </a:xfrm>
            <a:custGeom>
              <a:avLst/>
              <a:gdLst>
                <a:gd name="T0" fmla="*/ 16 w 35"/>
                <a:gd name="T1" fmla="*/ 14 h 57"/>
                <a:gd name="T2" fmla="*/ 7 w 35"/>
                <a:gd name="T3" fmla="*/ 21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7 h 57"/>
                <a:gd name="T12" fmla="*/ 35 w 35"/>
                <a:gd name="T13" fmla="*/ 47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7 h 57"/>
                <a:gd name="T20" fmla="*/ 16 w 35"/>
                <a:gd name="T21" fmla="*/ 47 h 57"/>
                <a:gd name="T22" fmla="*/ 16 w 35"/>
                <a:gd name="T23" fmla="*/ 1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4"/>
                  </a:moveTo>
                  <a:lnTo>
                    <a:pt x="7" y="21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6" name="Freeform 102">
              <a:extLst>
                <a:ext uri="{FF2B5EF4-FFF2-40B4-BE49-F238E27FC236}">
                  <a16:creationId xmlns:a16="http://schemas.microsoft.com/office/drawing/2014/main" id="{A8434905-3D05-42DD-B9B0-4789E46BBC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868" y="5801374"/>
              <a:ext cx="52876" cy="86113"/>
            </a:xfrm>
            <a:custGeom>
              <a:avLst/>
              <a:gdLst>
                <a:gd name="T0" fmla="*/ 16 w 35"/>
                <a:gd name="T1" fmla="*/ 14 h 57"/>
                <a:gd name="T2" fmla="*/ 7 w 35"/>
                <a:gd name="T3" fmla="*/ 21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7 h 57"/>
                <a:gd name="T12" fmla="*/ 35 w 35"/>
                <a:gd name="T13" fmla="*/ 47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7 h 57"/>
                <a:gd name="T20" fmla="*/ 16 w 35"/>
                <a:gd name="T21" fmla="*/ 47 h 57"/>
                <a:gd name="T22" fmla="*/ 16 w 35"/>
                <a:gd name="T23" fmla="*/ 1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4"/>
                  </a:moveTo>
                  <a:lnTo>
                    <a:pt x="7" y="21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7" name="Freeform 103">
              <a:extLst>
                <a:ext uri="{FF2B5EF4-FFF2-40B4-BE49-F238E27FC236}">
                  <a16:creationId xmlns:a16="http://schemas.microsoft.com/office/drawing/2014/main" id="{E75D30D5-B97C-45F5-AA30-CF44BE8FD2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868" y="5950938"/>
              <a:ext cx="52876" cy="83091"/>
            </a:xfrm>
            <a:custGeom>
              <a:avLst/>
              <a:gdLst>
                <a:gd name="T0" fmla="*/ 16 w 35"/>
                <a:gd name="T1" fmla="*/ 12 h 55"/>
                <a:gd name="T2" fmla="*/ 7 w 35"/>
                <a:gd name="T3" fmla="*/ 19 h 55"/>
                <a:gd name="T4" fmla="*/ 0 w 35"/>
                <a:gd name="T5" fmla="*/ 10 h 55"/>
                <a:gd name="T6" fmla="*/ 19 w 35"/>
                <a:gd name="T7" fmla="*/ 0 h 55"/>
                <a:gd name="T8" fmla="*/ 28 w 35"/>
                <a:gd name="T9" fmla="*/ 0 h 55"/>
                <a:gd name="T10" fmla="*/ 28 w 35"/>
                <a:gd name="T11" fmla="*/ 45 h 55"/>
                <a:gd name="T12" fmla="*/ 35 w 35"/>
                <a:gd name="T13" fmla="*/ 45 h 55"/>
                <a:gd name="T14" fmla="*/ 35 w 35"/>
                <a:gd name="T15" fmla="*/ 55 h 55"/>
                <a:gd name="T16" fmla="*/ 9 w 35"/>
                <a:gd name="T17" fmla="*/ 55 h 55"/>
                <a:gd name="T18" fmla="*/ 9 w 35"/>
                <a:gd name="T19" fmla="*/ 45 h 55"/>
                <a:gd name="T20" fmla="*/ 16 w 35"/>
                <a:gd name="T21" fmla="*/ 45 h 55"/>
                <a:gd name="T22" fmla="*/ 16 w 35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5">
                  <a:moveTo>
                    <a:pt x="16" y="12"/>
                  </a:moveTo>
                  <a:lnTo>
                    <a:pt x="7" y="19"/>
                  </a:lnTo>
                  <a:lnTo>
                    <a:pt x="0" y="10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5"/>
                  </a:lnTo>
                  <a:lnTo>
                    <a:pt x="35" y="45"/>
                  </a:lnTo>
                  <a:lnTo>
                    <a:pt x="35" y="55"/>
                  </a:lnTo>
                  <a:lnTo>
                    <a:pt x="9" y="55"/>
                  </a:lnTo>
                  <a:lnTo>
                    <a:pt x="9" y="45"/>
                  </a:lnTo>
                  <a:lnTo>
                    <a:pt x="16" y="45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8" name="Freeform 104">
              <a:extLst>
                <a:ext uri="{FF2B5EF4-FFF2-40B4-BE49-F238E27FC236}">
                  <a16:creationId xmlns:a16="http://schemas.microsoft.com/office/drawing/2014/main" id="{9363111A-D2F7-4090-BCCF-CA4EBC765D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49292" y="6094458"/>
              <a:ext cx="67984" cy="89134"/>
            </a:xfrm>
            <a:custGeom>
              <a:avLst/>
              <a:gdLst>
                <a:gd name="T0" fmla="*/ 17 w 19"/>
                <a:gd name="T1" fmla="*/ 4 h 25"/>
                <a:gd name="T2" fmla="*/ 19 w 19"/>
                <a:gd name="T3" fmla="*/ 12 h 25"/>
                <a:gd name="T4" fmla="*/ 17 w 19"/>
                <a:gd name="T5" fmla="*/ 21 h 25"/>
                <a:gd name="T6" fmla="*/ 10 w 19"/>
                <a:gd name="T7" fmla="*/ 25 h 25"/>
                <a:gd name="T8" fmla="*/ 2 w 19"/>
                <a:gd name="T9" fmla="*/ 20 h 25"/>
                <a:gd name="T10" fmla="*/ 0 w 19"/>
                <a:gd name="T11" fmla="*/ 12 h 25"/>
                <a:gd name="T12" fmla="*/ 10 w 19"/>
                <a:gd name="T13" fmla="*/ 0 h 25"/>
                <a:gd name="T14" fmla="*/ 17 w 19"/>
                <a:gd name="T15" fmla="*/ 4 h 25"/>
                <a:gd name="T16" fmla="*/ 6 w 19"/>
                <a:gd name="T17" fmla="*/ 12 h 25"/>
                <a:gd name="T18" fmla="*/ 10 w 19"/>
                <a:gd name="T19" fmla="*/ 20 h 25"/>
                <a:gd name="T20" fmla="*/ 14 w 19"/>
                <a:gd name="T21" fmla="*/ 12 h 25"/>
                <a:gd name="T22" fmla="*/ 10 w 19"/>
                <a:gd name="T23" fmla="*/ 4 h 25"/>
                <a:gd name="T24" fmla="*/ 6 w 19"/>
                <a:gd name="T25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5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7"/>
                    <a:pt x="18" y="19"/>
                    <a:pt x="17" y="21"/>
                  </a:cubicBezTo>
                  <a:cubicBezTo>
                    <a:pt x="15" y="23"/>
                    <a:pt x="13" y="25"/>
                    <a:pt x="10" y="25"/>
                  </a:cubicBezTo>
                  <a:cubicBezTo>
                    <a:pt x="6" y="25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2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9" name="Freeform 105">
              <a:extLst>
                <a:ext uri="{FF2B5EF4-FFF2-40B4-BE49-F238E27FC236}">
                  <a16:creationId xmlns:a16="http://schemas.microsoft.com/office/drawing/2014/main" id="{7E9F9921-7AF2-41D4-8612-C589F708CCC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868" y="6244022"/>
              <a:ext cx="52876" cy="81580"/>
            </a:xfrm>
            <a:custGeom>
              <a:avLst/>
              <a:gdLst>
                <a:gd name="T0" fmla="*/ 16 w 35"/>
                <a:gd name="T1" fmla="*/ 12 h 54"/>
                <a:gd name="T2" fmla="*/ 7 w 35"/>
                <a:gd name="T3" fmla="*/ 19 h 54"/>
                <a:gd name="T4" fmla="*/ 0 w 35"/>
                <a:gd name="T5" fmla="*/ 9 h 54"/>
                <a:gd name="T6" fmla="*/ 19 w 35"/>
                <a:gd name="T7" fmla="*/ 0 h 54"/>
                <a:gd name="T8" fmla="*/ 28 w 35"/>
                <a:gd name="T9" fmla="*/ 0 h 54"/>
                <a:gd name="T10" fmla="*/ 28 w 35"/>
                <a:gd name="T11" fmla="*/ 45 h 54"/>
                <a:gd name="T12" fmla="*/ 35 w 35"/>
                <a:gd name="T13" fmla="*/ 45 h 54"/>
                <a:gd name="T14" fmla="*/ 35 w 35"/>
                <a:gd name="T15" fmla="*/ 54 h 54"/>
                <a:gd name="T16" fmla="*/ 9 w 35"/>
                <a:gd name="T17" fmla="*/ 54 h 54"/>
                <a:gd name="T18" fmla="*/ 9 w 35"/>
                <a:gd name="T19" fmla="*/ 45 h 54"/>
                <a:gd name="T20" fmla="*/ 16 w 35"/>
                <a:gd name="T21" fmla="*/ 45 h 54"/>
                <a:gd name="T22" fmla="*/ 16 w 35"/>
                <a:gd name="T23" fmla="*/ 1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4">
                  <a:moveTo>
                    <a:pt x="16" y="12"/>
                  </a:moveTo>
                  <a:lnTo>
                    <a:pt x="7" y="19"/>
                  </a:lnTo>
                  <a:lnTo>
                    <a:pt x="0" y="9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5"/>
                  </a:lnTo>
                  <a:lnTo>
                    <a:pt x="35" y="45"/>
                  </a:lnTo>
                  <a:lnTo>
                    <a:pt x="35" y="54"/>
                  </a:lnTo>
                  <a:lnTo>
                    <a:pt x="9" y="54"/>
                  </a:lnTo>
                  <a:lnTo>
                    <a:pt x="9" y="45"/>
                  </a:lnTo>
                  <a:lnTo>
                    <a:pt x="16" y="45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80" name="Freeform 106">
              <a:extLst>
                <a:ext uri="{FF2B5EF4-FFF2-40B4-BE49-F238E27FC236}">
                  <a16:creationId xmlns:a16="http://schemas.microsoft.com/office/drawing/2014/main" id="{D6A596F3-C219-43C2-AAC7-ABA46DFD69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49292" y="6386032"/>
              <a:ext cx="67984" cy="89134"/>
            </a:xfrm>
            <a:custGeom>
              <a:avLst/>
              <a:gdLst>
                <a:gd name="T0" fmla="*/ 17 w 19"/>
                <a:gd name="T1" fmla="*/ 5 h 25"/>
                <a:gd name="T2" fmla="*/ 19 w 19"/>
                <a:gd name="T3" fmla="*/ 12 h 25"/>
                <a:gd name="T4" fmla="*/ 17 w 19"/>
                <a:gd name="T5" fmla="*/ 21 h 25"/>
                <a:gd name="T6" fmla="*/ 10 w 19"/>
                <a:gd name="T7" fmla="*/ 25 h 25"/>
                <a:gd name="T8" fmla="*/ 2 w 19"/>
                <a:gd name="T9" fmla="*/ 20 h 25"/>
                <a:gd name="T10" fmla="*/ 0 w 19"/>
                <a:gd name="T11" fmla="*/ 12 h 25"/>
                <a:gd name="T12" fmla="*/ 10 w 19"/>
                <a:gd name="T13" fmla="*/ 0 h 25"/>
                <a:gd name="T14" fmla="*/ 17 w 19"/>
                <a:gd name="T15" fmla="*/ 5 h 25"/>
                <a:gd name="T16" fmla="*/ 6 w 19"/>
                <a:gd name="T17" fmla="*/ 12 h 25"/>
                <a:gd name="T18" fmla="*/ 10 w 19"/>
                <a:gd name="T19" fmla="*/ 21 h 25"/>
                <a:gd name="T20" fmla="*/ 14 w 19"/>
                <a:gd name="T21" fmla="*/ 12 h 25"/>
                <a:gd name="T22" fmla="*/ 10 w 19"/>
                <a:gd name="T23" fmla="*/ 4 h 25"/>
                <a:gd name="T24" fmla="*/ 6 w 19"/>
                <a:gd name="T25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5">
                  <a:moveTo>
                    <a:pt x="17" y="5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7"/>
                    <a:pt x="18" y="19"/>
                    <a:pt x="17" y="21"/>
                  </a:cubicBezTo>
                  <a:cubicBezTo>
                    <a:pt x="15" y="24"/>
                    <a:pt x="13" y="25"/>
                    <a:pt x="10" y="25"/>
                  </a:cubicBezTo>
                  <a:cubicBezTo>
                    <a:pt x="6" y="25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2"/>
                    <a:pt x="17" y="5"/>
                  </a:cubicBezTo>
                  <a:close/>
                  <a:moveTo>
                    <a:pt x="6" y="12"/>
                  </a:moveTo>
                  <a:cubicBezTo>
                    <a:pt x="6" y="18"/>
                    <a:pt x="7" y="21"/>
                    <a:pt x="10" y="21"/>
                  </a:cubicBezTo>
                  <a:cubicBezTo>
                    <a:pt x="12" y="21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81" name="Freeform 107">
              <a:extLst>
                <a:ext uri="{FF2B5EF4-FFF2-40B4-BE49-F238E27FC236}">
                  <a16:creationId xmlns:a16="http://schemas.microsoft.com/office/drawing/2014/main" id="{21C287A1-59B5-4F2F-94FB-40AA1EA633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49292" y="6532573"/>
              <a:ext cx="67984" cy="89134"/>
            </a:xfrm>
            <a:custGeom>
              <a:avLst/>
              <a:gdLst>
                <a:gd name="T0" fmla="*/ 17 w 19"/>
                <a:gd name="T1" fmla="*/ 5 h 25"/>
                <a:gd name="T2" fmla="*/ 19 w 19"/>
                <a:gd name="T3" fmla="*/ 12 h 25"/>
                <a:gd name="T4" fmla="*/ 17 w 19"/>
                <a:gd name="T5" fmla="*/ 21 h 25"/>
                <a:gd name="T6" fmla="*/ 10 w 19"/>
                <a:gd name="T7" fmla="*/ 25 h 25"/>
                <a:gd name="T8" fmla="*/ 2 w 19"/>
                <a:gd name="T9" fmla="*/ 20 h 25"/>
                <a:gd name="T10" fmla="*/ 0 w 19"/>
                <a:gd name="T11" fmla="*/ 12 h 25"/>
                <a:gd name="T12" fmla="*/ 10 w 19"/>
                <a:gd name="T13" fmla="*/ 0 h 25"/>
                <a:gd name="T14" fmla="*/ 17 w 19"/>
                <a:gd name="T15" fmla="*/ 5 h 25"/>
                <a:gd name="T16" fmla="*/ 6 w 19"/>
                <a:gd name="T17" fmla="*/ 12 h 25"/>
                <a:gd name="T18" fmla="*/ 10 w 19"/>
                <a:gd name="T19" fmla="*/ 21 h 25"/>
                <a:gd name="T20" fmla="*/ 14 w 19"/>
                <a:gd name="T21" fmla="*/ 12 h 25"/>
                <a:gd name="T22" fmla="*/ 10 w 19"/>
                <a:gd name="T23" fmla="*/ 4 h 25"/>
                <a:gd name="T24" fmla="*/ 6 w 19"/>
                <a:gd name="T25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5">
                  <a:moveTo>
                    <a:pt x="17" y="5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7"/>
                    <a:pt x="18" y="19"/>
                    <a:pt x="17" y="21"/>
                  </a:cubicBezTo>
                  <a:cubicBezTo>
                    <a:pt x="15" y="24"/>
                    <a:pt x="13" y="25"/>
                    <a:pt x="10" y="25"/>
                  </a:cubicBezTo>
                  <a:cubicBezTo>
                    <a:pt x="6" y="25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2"/>
                    <a:pt x="17" y="5"/>
                  </a:cubicBezTo>
                  <a:close/>
                  <a:moveTo>
                    <a:pt x="6" y="12"/>
                  </a:moveTo>
                  <a:cubicBezTo>
                    <a:pt x="6" y="18"/>
                    <a:pt x="7" y="21"/>
                    <a:pt x="10" y="21"/>
                  </a:cubicBezTo>
                  <a:cubicBezTo>
                    <a:pt x="12" y="21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82" name="Freeform 108">
              <a:extLst>
                <a:ext uri="{FF2B5EF4-FFF2-40B4-BE49-F238E27FC236}">
                  <a16:creationId xmlns:a16="http://schemas.microsoft.com/office/drawing/2014/main" id="{5B239C89-44FE-43B6-AC06-5F6CEE7A72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868" y="6682137"/>
              <a:ext cx="52876" cy="83091"/>
            </a:xfrm>
            <a:custGeom>
              <a:avLst/>
              <a:gdLst>
                <a:gd name="T0" fmla="*/ 16 w 35"/>
                <a:gd name="T1" fmla="*/ 12 h 55"/>
                <a:gd name="T2" fmla="*/ 7 w 35"/>
                <a:gd name="T3" fmla="*/ 19 h 55"/>
                <a:gd name="T4" fmla="*/ 0 w 35"/>
                <a:gd name="T5" fmla="*/ 10 h 55"/>
                <a:gd name="T6" fmla="*/ 19 w 35"/>
                <a:gd name="T7" fmla="*/ 0 h 55"/>
                <a:gd name="T8" fmla="*/ 28 w 35"/>
                <a:gd name="T9" fmla="*/ 0 h 55"/>
                <a:gd name="T10" fmla="*/ 28 w 35"/>
                <a:gd name="T11" fmla="*/ 45 h 55"/>
                <a:gd name="T12" fmla="*/ 35 w 35"/>
                <a:gd name="T13" fmla="*/ 48 h 55"/>
                <a:gd name="T14" fmla="*/ 35 w 35"/>
                <a:gd name="T15" fmla="*/ 55 h 55"/>
                <a:gd name="T16" fmla="*/ 9 w 35"/>
                <a:gd name="T17" fmla="*/ 55 h 55"/>
                <a:gd name="T18" fmla="*/ 9 w 35"/>
                <a:gd name="T19" fmla="*/ 48 h 55"/>
                <a:gd name="T20" fmla="*/ 16 w 35"/>
                <a:gd name="T21" fmla="*/ 45 h 55"/>
                <a:gd name="T22" fmla="*/ 16 w 35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5">
                  <a:moveTo>
                    <a:pt x="16" y="12"/>
                  </a:moveTo>
                  <a:lnTo>
                    <a:pt x="7" y="19"/>
                  </a:lnTo>
                  <a:lnTo>
                    <a:pt x="0" y="10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5"/>
                  </a:lnTo>
                  <a:lnTo>
                    <a:pt x="35" y="48"/>
                  </a:lnTo>
                  <a:lnTo>
                    <a:pt x="35" y="55"/>
                  </a:lnTo>
                  <a:lnTo>
                    <a:pt x="9" y="55"/>
                  </a:lnTo>
                  <a:lnTo>
                    <a:pt x="9" y="48"/>
                  </a:lnTo>
                  <a:lnTo>
                    <a:pt x="16" y="45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83" name="Freeform 109">
              <a:extLst>
                <a:ext uri="{FF2B5EF4-FFF2-40B4-BE49-F238E27FC236}">
                  <a16:creationId xmlns:a16="http://schemas.microsoft.com/office/drawing/2014/main" id="{2AAF910C-518E-4231-B099-B593DAC07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868" y="6828679"/>
              <a:ext cx="52876" cy="83091"/>
            </a:xfrm>
            <a:custGeom>
              <a:avLst/>
              <a:gdLst>
                <a:gd name="T0" fmla="*/ 16 w 35"/>
                <a:gd name="T1" fmla="*/ 12 h 55"/>
                <a:gd name="T2" fmla="*/ 7 w 35"/>
                <a:gd name="T3" fmla="*/ 19 h 55"/>
                <a:gd name="T4" fmla="*/ 0 w 35"/>
                <a:gd name="T5" fmla="*/ 10 h 55"/>
                <a:gd name="T6" fmla="*/ 19 w 35"/>
                <a:gd name="T7" fmla="*/ 0 h 55"/>
                <a:gd name="T8" fmla="*/ 28 w 35"/>
                <a:gd name="T9" fmla="*/ 0 h 55"/>
                <a:gd name="T10" fmla="*/ 28 w 35"/>
                <a:gd name="T11" fmla="*/ 48 h 55"/>
                <a:gd name="T12" fmla="*/ 35 w 35"/>
                <a:gd name="T13" fmla="*/ 48 h 55"/>
                <a:gd name="T14" fmla="*/ 35 w 35"/>
                <a:gd name="T15" fmla="*/ 55 h 55"/>
                <a:gd name="T16" fmla="*/ 9 w 35"/>
                <a:gd name="T17" fmla="*/ 55 h 55"/>
                <a:gd name="T18" fmla="*/ 9 w 35"/>
                <a:gd name="T19" fmla="*/ 48 h 55"/>
                <a:gd name="T20" fmla="*/ 16 w 35"/>
                <a:gd name="T21" fmla="*/ 48 h 55"/>
                <a:gd name="T22" fmla="*/ 16 w 35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5">
                  <a:moveTo>
                    <a:pt x="16" y="12"/>
                  </a:moveTo>
                  <a:lnTo>
                    <a:pt x="7" y="19"/>
                  </a:lnTo>
                  <a:lnTo>
                    <a:pt x="0" y="10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8"/>
                  </a:lnTo>
                  <a:lnTo>
                    <a:pt x="35" y="48"/>
                  </a:lnTo>
                  <a:lnTo>
                    <a:pt x="35" y="55"/>
                  </a:lnTo>
                  <a:lnTo>
                    <a:pt x="9" y="55"/>
                  </a:lnTo>
                  <a:lnTo>
                    <a:pt x="9" y="48"/>
                  </a:lnTo>
                  <a:lnTo>
                    <a:pt x="16" y="48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84" name="Freeform 135">
              <a:extLst>
                <a:ext uri="{FF2B5EF4-FFF2-40B4-BE49-F238E27FC236}">
                  <a16:creationId xmlns:a16="http://schemas.microsoft.com/office/drawing/2014/main" id="{D5F85D54-E1B0-48E3-8485-6EB8F49EFDB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2225" y="5144202"/>
              <a:ext cx="60430" cy="111795"/>
            </a:xfrm>
            <a:custGeom>
              <a:avLst/>
              <a:gdLst>
                <a:gd name="T0" fmla="*/ 19 w 40"/>
                <a:gd name="T1" fmla="*/ 14 h 74"/>
                <a:gd name="T2" fmla="*/ 4 w 40"/>
                <a:gd name="T3" fmla="*/ 24 h 74"/>
                <a:gd name="T4" fmla="*/ 0 w 40"/>
                <a:gd name="T5" fmla="*/ 14 h 74"/>
                <a:gd name="T6" fmla="*/ 21 w 40"/>
                <a:gd name="T7" fmla="*/ 0 h 74"/>
                <a:gd name="T8" fmla="*/ 30 w 40"/>
                <a:gd name="T9" fmla="*/ 0 h 74"/>
                <a:gd name="T10" fmla="*/ 30 w 40"/>
                <a:gd name="T11" fmla="*/ 64 h 74"/>
                <a:gd name="T12" fmla="*/ 40 w 40"/>
                <a:gd name="T13" fmla="*/ 64 h 74"/>
                <a:gd name="T14" fmla="*/ 40 w 40"/>
                <a:gd name="T15" fmla="*/ 74 h 74"/>
                <a:gd name="T16" fmla="*/ 9 w 40"/>
                <a:gd name="T17" fmla="*/ 74 h 74"/>
                <a:gd name="T18" fmla="*/ 9 w 40"/>
                <a:gd name="T19" fmla="*/ 64 h 74"/>
                <a:gd name="T20" fmla="*/ 19 w 40"/>
                <a:gd name="T21" fmla="*/ 64 h 74"/>
                <a:gd name="T22" fmla="*/ 19 w 40"/>
                <a:gd name="T23" fmla="*/ 1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4">
                  <a:moveTo>
                    <a:pt x="19" y="14"/>
                  </a:moveTo>
                  <a:lnTo>
                    <a:pt x="4" y="24"/>
                  </a:lnTo>
                  <a:lnTo>
                    <a:pt x="0" y="14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4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9" y="74"/>
                  </a:lnTo>
                  <a:lnTo>
                    <a:pt x="9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85" name="Freeform 136">
              <a:extLst>
                <a:ext uri="{FF2B5EF4-FFF2-40B4-BE49-F238E27FC236}">
                  <a16:creationId xmlns:a16="http://schemas.microsoft.com/office/drawing/2014/main" id="{7FF8454C-6B9C-4043-905B-F9207593AF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91649" y="5333044"/>
              <a:ext cx="75537" cy="114816"/>
            </a:xfrm>
            <a:custGeom>
              <a:avLst/>
              <a:gdLst>
                <a:gd name="T0" fmla="*/ 21 w 21"/>
                <a:gd name="T1" fmla="*/ 16 h 32"/>
                <a:gd name="T2" fmla="*/ 10 w 21"/>
                <a:gd name="T3" fmla="*/ 32 h 32"/>
                <a:gd name="T4" fmla="*/ 0 w 21"/>
                <a:gd name="T5" fmla="*/ 16 h 32"/>
                <a:gd name="T6" fmla="*/ 10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0 w 21"/>
                <a:gd name="T13" fmla="*/ 28 h 32"/>
                <a:gd name="T14" fmla="*/ 16 w 21"/>
                <a:gd name="T15" fmla="*/ 16 h 32"/>
                <a:gd name="T16" fmla="*/ 10 w 21"/>
                <a:gd name="T17" fmla="*/ 5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7"/>
                    <a:pt x="18" y="32"/>
                    <a:pt x="10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0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8"/>
                    <a:pt x="10" y="28"/>
                  </a:cubicBezTo>
                  <a:cubicBezTo>
                    <a:pt x="14" y="28"/>
                    <a:pt x="16" y="24"/>
                    <a:pt x="16" y="16"/>
                  </a:cubicBezTo>
                  <a:cubicBezTo>
                    <a:pt x="16" y="8"/>
                    <a:pt x="14" y="5"/>
                    <a:pt x="10" y="5"/>
                  </a:cubicBezTo>
                  <a:cubicBezTo>
                    <a:pt x="7" y="5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86" name="Freeform 137">
              <a:extLst>
                <a:ext uri="{FF2B5EF4-FFF2-40B4-BE49-F238E27FC236}">
                  <a16:creationId xmlns:a16="http://schemas.microsoft.com/office/drawing/2014/main" id="{6540D685-3780-44B2-9F11-ED9C9F3EA8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91649" y="5715262"/>
              <a:ext cx="75537" cy="114816"/>
            </a:xfrm>
            <a:custGeom>
              <a:avLst/>
              <a:gdLst>
                <a:gd name="T0" fmla="*/ 21 w 21"/>
                <a:gd name="T1" fmla="*/ 16 h 32"/>
                <a:gd name="T2" fmla="*/ 10 w 21"/>
                <a:gd name="T3" fmla="*/ 32 h 32"/>
                <a:gd name="T4" fmla="*/ 0 w 21"/>
                <a:gd name="T5" fmla="*/ 16 h 32"/>
                <a:gd name="T6" fmla="*/ 10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0 w 21"/>
                <a:gd name="T13" fmla="*/ 27 h 32"/>
                <a:gd name="T14" fmla="*/ 16 w 21"/>
                <a:gd name="T15" fmla="*/ 16 h 32"/>
                <a:gd name="T16" fmla="*/ 10 w 21"/>
                <a:gd name="T17" fmla="*/ 4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6"/>
                    <a:pt x="18" y="32"/>
                    <a:pt x="10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0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7"/>
                    <a:pt x="10" y="27"/>
                  </a:cubicBezTo>
                  <a:cubicBezTo>
                    <a:pt x="14" y="27"/>
                    <a:pt x="16" y="24"/>
                    <a:pt x="16" y="16"/>
                  </a:cubicBezTo>
                  <a:cubicBezTo>
                    <a:pt x="16" y="8"/>
                    <a:pt x="14" y="4"/>
                    <a:pt x="10" y="4"/>
                  </a:cubicBezTo>
                  <a:cubicBezTo>
                    <a:pt x="7" y="4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87" name="Freeform 138">
              <a:extLst>
                <a:ext uri="{FF2B5EF4-FFF2-40B4-BE49-F238E27FC236}">
                  <a16:creationId xmlns:a16="http://schemas.microsoft.com/office/drawing/2014/main" id="{67D2D9DB-8B6D-44F4-8454-DA00FDE1FCA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2225" y="5908637"/>
              <a:ext cx="60430" cy="107263"/>
            </a:xfrm>
            <a:custGeom>
              <a:avLst/>
              <a:gdLst>
                <a:gd name="T0" fmla="*/ 19 w 40"/>
                <a:gd name="T1" fmla="*/ 12 h 71"/>
                <a:gd name="T2" fmla="*/ 4 w 40"/>
                <a:gd name="T3" fmla="*/ 21 h 71"/>
                <a:gd name="T4" fmla="*/ 0 w 40"/>
                <a:gd name="T5" fmla="*/ 12 h 71"/>
                <a:gd name="T6" fmla="*/ 21 w 40"/>
                <a:gd name="T7" fmla="*/ 0 h 71"/>
                <a:gd name="T8" fmla="*/ 30 w 40"/>
                <a:gd name="T9" fmla="*/ 0 h 71"/>
                <a:gd name="T10" fmla="*/ 30 w 40"/>
                <a:gd name="T11" fmla="*/ 64 h 71"/>
                <a:gd name="T12" fmla="*/ 40 w 40"/>
                <a:gd name="T13" fmla="*/ 64 h 71"/>
                <a:gd name="T14" fmla="*/ 40 w 40"/>
                <a:gd name="T15" fmla="*/ 71 h 71"/>
                <a:gd name="T16" fmla="*/ 9 w 40"/>
                <a:gd name="T17" fmla="*/ 71 h 71"/>
                <a:gd name="T18" fmla="*/ 9 w 40"/>
                <a:gd name="T19" fmla="*/ 64 h 71"/>
                <a:gd name="T20" fmla="*/ 19 w 40"/>
                <a:gd name="T21" fmla="*/ 64 h 71"/>
                <a:gd name="T22" fmla="*/ 19 w 40"/>
                <a:gd name="T23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1">
                  <a:moveTo>
                    <a:pt x="19" y="12"/>
                  </a:moveTo>
                  <a:lnTo>
                    <a:pt x="4" y="21"/>
                  </a:lnTo>
                  <a:lnTo>
                    <a:pt x="0" y="12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4"/>
                  </a:lnTo>
                  <a:lnTo>
                    <a:pt x="40" y="64"/>
                  </a:lnTo>
                  <a:lnTo>
                    <a:pt x="40" y="71"/>
                  </a:lnTo>
                  <a:lnTo>
                    <a:pt x="9" y="71"/>
                  </a:lnTo>
                  <a:lnTo>
                    <a:pt x="9" y="64"/>
                  </a:lnTo>
                  <a:lnTo>
                    <a:pt x="19" y="64"/>
                  </a:lnTo>
                  <a:lnTo>
                    <a:pt x="19" y="12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88" name="Freeform 139">
              <a:extLst>
                <a:ext uri="{FF2B5EF4-FFF2-40B4-BE49-F238E27FC236}">
                  <a16:creationId xmlns:a16="http://schemas.microsoft.com/office/drawing/2014/main" id="{35C83651-8E17-42EE-B80D-B98BF0D2A5A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2225" y="6097480"/>
              <a:ext cx="60430" cy="110285"/>
            </a:xfrm>
            <a:custGeom>
              <a:avLst/>
              <a:gdLst>
                <a:gd name="T0" fmla="*/ 19 w 40"/>
                <a:gd name="T1" fmla="*/ 14 h 73"/>
                <a:gd name="T2" fmla="*/ 4 w 40"/>
                <a:gd name="T3" fmla="*/ 24 h 73"/>
                <a:gd name="T4" fmla="*/ 0 w 40"/>
                <a:gd name="T5" fmla="*/ 14 h 73"/>
                <a:gd name="T6" fmla="*/ 21 w 40"/>
                <a:gd name="T7" fmla="*/ 0 h 73"/>
                <a:gd name="T8" fmla="*/ 30 w 40"/>
                <a:gd name="T9" fmla="*/ 0 h 73"/>
                <a:gd name="T10" fmla="*/ 30 w 40"/>
                <a:gd name="T11" fmla="*/ 64 h 73"/>
                <a:gd name="T12" fmla="*/ 40 w 40"/>
                <a:gd name="T13" fmla="*/ 64 h 73"/>
                <a:gd name="T14" fmla="*/ 40 w 40"/>
                <a:gd name="T15" fmla="*/ 73 h 73"/>
                <a:gd name="T16" fmla="*/ 9 w 40"/>
                <a:gd name="T17" fmla="*/ 73 h 73"/>
                <a:gd name="T18" fmla="*/ 9 w 40"/>
                <a:gd name="T19" fmla="*/ 64 h 73"/>
                <a:gd name="T20" fmla="*/ 19 w 40"/>
                <a:gd name="T21" fmla="*/ 64 h 73"/>
                <a:gd name="T22" fmla="*/ 19 w 40"/>
                <a:gd name="T23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3">
                  <a:moveTo>
                    <a:pt x="19" y="14"/>
                  </a:moveTo>
                  <a:lnTo>
                    <a:pt x="4" y="24"/>
                  </a:lnTo>
                  <a:lnTo>
                    <a:pt x="0" y="14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4"/>
                  </a:lnTo>
                  <a:lnTo>
                    <a:pt x="40" y="64"/>
                  </a:lnTo>
                  <a:lnTo>
                    <a:pt x="40" y="73"/>
                  </a:lnTo>
                  <a:lnTo>
                    <a:pt x="9" y="73"/>
                  </a:lnTo>
                  <a:lnTo>
                    <a:pt x="9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89" name="Freeform 140">
              <a:extLst>
                <a:ext uri="{FF2B5EF4-FFF2-40B4-BE49-F238E27FC236}">
                  <a16:creationId xmlns:a16="http://schemas.microsoft.com/office/drawing/2014/main" id="{7203E56C-8074-407E-9914-5624423436D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2225" y="6286323"/>
              <a:ext cx="60430" cy="110285"/>
            </a:xfrm>
            <a:custGeom>
              <a:avLst/>
              <a:gdLst>
                <a:gd name="T0" fmla="*/ 19 w 40"/>
                <a:gd name="T1" fmla="*/ 14 h 73"/>
                <a:gd name="T2" fmla="*/ 4 w 40"/>
                <a:gd name="T3" fmla="*/ 24 h 73"/>
                <a:gd name="T4" fmla="*/ 0 w 40"/>
                <a:gd name="T5" fmla="*/ 14 h 73"/>
                <a:gd name="T6" fmla="*/ 21 w 40"/>
                <a:gd name="T7" fmla="*/ 0 h 73"/>
                <a:gd name="T8" fmla="*/ 30 w 40"/>
                <a:gd name="T9" fmla="*/ 0 h 73"/>
                <a:gd name="T10" fmla="*/ 30 w 40"/>
                <a:gd name="T11" fmla="*/ 64 h 73"/>
                <a:gd name="T12" fmla="*/ 40 w 40"/>
                <a:gd name="T13" fmla="*/ 64 h 73"/>
                <a:gd name="T14" fmla="*/ 40 w 40"/>
                <a:gd name="T15" fmla="*/ 73 h 73"/>
                <a:gd name="T16" fmla="*/ 9 w 40"/>
                <a:gd name="T17" fmla="*/ 73 h 73"/>
                <a:gd name="T18" fmla="*/ 9 w 40"/>
                <a:gd name="T19" fmla="*/ 64 h 73"/>
                <a:gd name="T20" fmla="*/ 19 w 40"/>
                <a:gd name="T21" fmla="*/ 64 h 73"/>
                <a:gd name="T22" fmla="*/ 19 w 40"/>
                <a:gd name="T23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3">
                  <a:moveTo>
                    <a:pt x="19" y="14"/>
                  </a:moveTo>
                  <a:lnTo>
                    <a:pt x="4" y="24"/>
                  </a:lnTo>
                  <a:lnTo>
                    <a:pt x="0" y="14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4"/>
                  </a:lnTo>
                  <a:lnTo>
                    <a:pt x="40" y="64"/>
                  </a:lnTo>
                  <a:lnTo>
                    <a:pt x="40" y="73"/>
                  </a:lnTo>
                  <a:lnTo>
                    <a:pt x="9" y="73"/>
                  </a:lnTo>
                  <a:lnTo>
                    <a:pt x="9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90" name="Freeform 141">
              <a:extLst>
                <a:ext uri="{FF2B5EF4-FFF2-40B4-BE49-F238E27FC236}">
                  <a16:creationId xmlns:a16="http://schemas.microsoft.com/office/drawing/2014/main" id="{6F9FA9F6-A178-4EC4-9C87-C633CE0FA7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2225" y="6479698"/>
              <a:ext cx="60430" cy="110285"/>
            </a:xfrm>
            <a:custGeom>
              <a:avLst/>
              <a:gdLst>
                <a:gd name="T0" fmla="*/ 19 w 40"/>
                <a:gd name="T1" fmla="*/ 14 h 73"/>
                <a:gd name="T2" fmla="*/ 4 w 40"/>
                <a:gd name="T3" fmla="*/ 21 h 73"/>
                <a:gd name="T4" fmla="*/ 0 w 40"/>
                <a:gd name="T5" fmla="*/ 12 h 73"/>
                <a:gd name="T6" fmla="*/ 21 w 40"/>
                <a:gd name="T7" fmla="*/ 0 h 73"/>
                <a:gd name="T8" fmla="*/ 30 w 40"/>
                <a:gd name="T9" fmla="*/ 0 h 73"/>
                <a:gd name="T10" fmla="*/ 30 w 40"/>
                <a:gd name="T11" fmla="*/ 64 h 73"/>
                <a:gd name="T12" fmla="*/ 40 w 40"/>
                <a:gd name="T13" fmla="*/ 64 h 73"/>
                <a:gd name="T14" fmla="*/ 40 w 40"/>
                <a:gd name="T15" fmla="*/ 73 h 73"/>
                <a:gd name="T16" fmla="*/ 9 w 40"/>
                <a:gd name="T17" fmla="*/ 73 h 73"/>
                <a:gd name="T18" fmla="*/ 9 w 40"/>
                <a:gd name="T19" fmla="*/ 64 h 73"/>
                <a:gd name="T20" fmla="*/ 19 w 40"/>
                <a:gd name="T21" fmla="*/ 64 h 73"/>
                <a:gd name="T22" fmla="*/ 19 w 40"/>
                <a:gd name="T23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3">
                  <a:moveTo>
                    <a:pt x="19" y="14"/>
                  </a:moveTo>
                  <a:lnTo>
                    <a:pt x="4" y="21"/>
                  </a:lnTo>
                  <a:lnTo>
                    <a:pt x="0" y="12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4"/>
                  </a:lnTo>
                  <a:lnTo>
                    <a:pt x="40" y="64"/>
                  </a:lnTo>
                  <a:lnTo>
                    <a:pt x="40" y="73"/>
                  </a:lnTo>
                  <a:lnTo>
                    <a:pt x="9" y="73"/>
                  </a:lnTo>
                  <a:lnTo>
                    <a:pt x="9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91" name="Freeform 142">
              <a:extLst>
                <a:ext uri="{FF2B5EF4-FFF2-40B4-BE49-F238E27FC236}">
                  <a16:creationId xmlns:a16="http://schemas.microsoft.com/office/drawing/2014/main" id="{E1D72888-A7F2-4ABD-971D-3DB167679E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91649" y="6668540"/>
              <a:ext cx="75537" cy="110285"/>
            </a:xfrm>
            <a:custGeom>
              <a:avLst/>
              <a:gdLst>
                <a:gd name="T0" fmla="*/ 21 w 21"/>
                <a:gd name="T1" fmla="*/ 15 h 31"/>
                <a:gd name="T2" fmla="*/ 10 w 21"/>
                <a:gd name="T3" fmla="*/ 31 h 31"/>
                <a:gd name="T4" fmla="*/ 0 w 21"/>
                <a:gd name="T5" fmla="*/ 15 h 31"/>
                <a:gd name="T6" fmla="*/ 10 w 21"/>
                <a:gd name="T7" fmla="*/ 0 h 31"/>
                <a:gd name="T8" fmla="*/ 21 w 21"/>
                <a:gd name="T9" fmla="*/ 15 h 31"/>
                <a:gd name="T10" fmla="*/ 5 w 21"/>
                <a:gd name="T11" fmla="*/ 15 h 31"/>
                <a:gd name="T12" fmla="*/ 10 w 21"/>
                <a:gd name="T13" fmla="*/ 27 h 31"/>
                <a:gd name="T14" fmla="*/ 16 w 21"/>
                <a:gd name="T15" fmla="*/ 15 h 31"/>
                <a:gd name="T16" fmla="*/ 10 w 21"/>
                <a:gd name="T17" fmla="*/ 4 h 31"/>
                <a:gd name="T18" fmla="*/ 5 w 21"/>
                <a:gd name="T1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1">
                  <a:moveTo>
                    <a:pt x="21" y="15"/>
                  </a:moveTo>
                  <a:cubicBezTo>
                    <a:pt x="21" y="26"/>
                    <a:pt x="18" y="31"/>
                    <a:pt x="10" y="31"/>
                  </a:cubicBezTo>
                  <a:cubicBezTo>
                    <a:pt x="3" y="31"/>
                    <a:pt x="0" y="26"/>
                    <a:pt x="0" y="15"/>
                  </a:cubicBezTo>
                  <a:cubicBezTo>
                    <a:pt x="0" y="5"/>
                    <a:pt x="3" y="0"/>
                    <a:pt x="10" y="0"/>
                  </a:cubicBezTo>
                  <a:cubicBezTo>
                    <a:pt x="18" y="0"/>
                    <a:pt x="21" y="5"/>
                    <a:pt x="21" y="15"/>
                  </a:cubicBezTo>
                  <a:close/>
                  <a:moveTo>
                    <a:pt x="5" y="15"/>
                  </a:moveTo>
                  <a:cubicBezTo>
                    <a:pt x="5" y="23"/>
                    <a:pt x="7" y="27"/>
                    <a:pt x="10" y="27"/>
                  </a:cubicBezTo>
                  <a:cubicBezTo>
                    <a:pt x="14" y="27"/>
                    <a:pt x="16" y="23"/>
                    <a:pt x="16" y="15"/>
                  </a:cubicBezTo>
                  <a:cubicBezTo>
                    <a:pt x="16" y="8"/>
                    <a:pt x="14" y="4"/>
                    <a:pt x="10" y="4"/>
                  </a:cubicBezTo>
                  <a:cubicBezTo>
                    <a:pt x="7" y="4"/>
                    <a:pt x="5" y="8"/>
                    <a:pt x="5" y="15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92" name="Freeform 143">
              <a:extLst>
                <a:ext uri="{FF2B5EF4-FFF2-40B4-BE49-F238E27FC236}">
                  <a16:creationId xmlns:a16="http://schemas.microsoft.com/office/drawing/2014/main" id="{F62A4A12-CD49-40B1-938B-0CA520201F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91649" y="6857383"/>
              <a:ext cx="75537" cy="114816"/>
            </a:xfrm>
            <a:custGeom>
              <a:avLst/>
              <a:gdLst>
                <a:gd name="T0" fmla="*/ 21 w 21"/>
                <a:gd name="T1" fmla="*/ 16 h 32"/>
                <a:gd name="T2" fmla="*/ 10 w 21"/>
                <a:gd name="T3" fmla="*/ 32 h 32"/>
                <a:gd name="T4" fmla="*/ 0 w 21"/>
                <a:gd name="T5" fmla="*/ 16 h 32"/>
                <a:gd name="T6" fmla="*/ 10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0 w 21"/>
                <a:gd name="T13" fmla="*/ 27 h 32"/>
                <a:gd name="T14" fmla="*/ 16 w 21"/>
                <a:gd name="T15" fmla="*/ 16 h 32"/>
                <a:gd name="T16" fmla="*/ 10 w 21"/>
                <a:gd name="T17" fmla="*/ 4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7"/>
                    <a:pt x="18" y="32"/>
                    <a:pt x="10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0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7"/>
                    <a:pt x="10" y="27"/>
                  </a:cubicBezTo>
                  <a:cubicBezTo>
                    <a:pt x="14" y="27"/>
                    <a:pt x="16" y="24"/>
                    <a:pt x="16" y="16"/>
                  </a:cubicBezTo>
                  <a:cubicBezTo>
                    <a:pt x="16" y="8"/>
                    <a:pt x="14" y="4"/>
                    <a:pt x="10" y="4"/>
                  </a:cubicBezTo>
                  <a:cubicBezTo>
                    <a:pt x="7" y="4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93" name="Freeform 149">
              <a:extLst>
                <a:ext uri="{FF2B5EF4-FFF2-40B4-BE49-F238E27FC236}">
                  <a16:creationId xmlns:a16="http://schemas.microsoft.com/office/drawing/2014/main" id="{A588C178-314E-47A2-9B08-11A3E36A635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4198" y="4787667"/>
              <a:ext cx="92156" cy="164671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5 h 109"/>
                <a:gd name="T12" fmla="*/ 61 w 61"/>
                <a:gd name="T13" fmla="*/ 95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5 h 109"/>
                <a:gd name="T20" fmla="*/ 28 w 61"/>
                <a:gd name="T21" fmla="*/ 95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5"/>
                  </a:lnTo>
                  <a:lnTo>
                    <a:pt x="61" y="95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5"/>
                  </a:lnTo>
                  <a:lnTo>
                    <a:pt x="28" y="95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94" name="Freeform 150">
              <a:extLst>
                <a:ext uri="{FF2B5EF4-FFF2-40B4-BE49-F238E27FC236}">
                  <a16:creationId xmlns:a16="http://schemas.microsoft.com/office/drawing/2014/main" id="{4FC97CE1-E76F-4D72-B66B-B8139A06C9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99092" y="5070175"/>
              <a:ext cx="114816" cy="170714"/>
            </a:xfrm>
            <a:custGeom>
              <a:avLst/>
              <a:gdLst>
                <a:gd name="T0" fmla="*/ 32 w 32"/>
                <a:gd name="T1" fmla="*/ 24 h 48"/>
                <a:gd name="T2" fmla="*/ 16 w 32"/>
                <a:gd name="T3" fmla="*/ 48 h 48"/>
                <a:gd name="T4" fmla="*/ 0 w 32"/>
                <a:gd name="T5" fmla="*/ 24 h 48"/>
                <a:gd name="T6" fmla="*/ 16 w 32"/>
                <a:gd name="T7" fmla="*/ 0 h 48"/>
                <a:gd name="T8" fmla="*/ 32 w 32"/>
                <a:gd name="T9" fmla="*/ 24 h 48"/>
                <a:gd name="T10" fmla="*/ 8 w 32"/>
                <a:gd name="T11" fmla="*/ 24 h 48"/>
                <a:gd name="T12" fmla="*/ 16 w 32"/>
                <a:gd name="T13" fmla="*/ 41 h 48"/>
                <a:gd name="T14" fmla="*/ 24 w 32"/>
                <a:gd name="T15" fmla="*/ 24 h 48"/>
                <a:gd name="T16" fmla="*/ 16 w 32"/>
                <a:gd name="T17" fmla="*/ 7 h 48"/>
                <a:gd name="T18" fmla="*/ 8 w 32"/>
                <a:gd name="T19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8">
                  <a:moveTo>
                    <a:pt x="32" y="24"/>
                  </a:moveTo>
                  <a:cubicBezTo>
                    <a:pt x="32" y="40"/>
                    <a:pt x="27" y="48"/>
                    <a:pt x="16" y="48"/>
                  </a:cubicBezTo>
                  <a:cubicBezTo>
                    <a:pt x="5" y="48"/>
                    <a:pt x="0" y="40"/>
                    <a:pt x="0" y="24"/>
                  </a:cubicBezTo>
                  <a:cubicBezTo>
                    <a:pt x="0" y="8"/>
                    <a:pt x="5" y="0"/>
                    <a:pt x="16" y="0"/>
                  </a:cubicBezTo>
                  <a:cubicBezTo>
                    <a:pt x="27" y="0"/>
                    <a:pt x="32" y="8"/>
                    <a:pt x="32" y="24"/>
                  </a:cubicBezTo>
                  <a:close/>
                  <a:moveTo>
                    <a:pt x="8" y="24"/>
                  </a:moveTo>
                  <a:cubicBezTo>
                    <a:pt x="8" y="36"/>
                    <a:pt x="11" y="41"/>
                    <a:pt x="16" y="41"/>
                  </a:cubicBezTo>
                  <a:cubicBezTo>
                    <a:pt x="22" y="41"/>
                    <a:pt x="24" y="36"/>
                    <a:pt x="24" y="24"/>
                  </a:cubicBezTo>
                  <a:cubicBezTo>
                    <a:pt x="24" y="12"/>
                    <a:pt x="22" y="7"/>
                    <a:pt x="16" y="7"/>
                  </a:cubicBezTo>
                  <a:cubicBezTo>
                    <a:pt x="11" y="7"/>
                    <a:pt x="8" y="12"/>
                    <a:pt x="8" y="24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95" name="Freeform 151">
              <a:extLst>
                <a:ext uri="{FF2B5EF4-FFF2-40B4-BE49-F238E27FC236}">
                  <a16:creationId xmlns:a16="http://schemas.microsoft.com/office/drawing/2014/main" id="{8517FD15-CAA7-4E51-85B9-E0E80ACE5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4198" y="5358727"/>
              <a:ext cx="92156" cy="164671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5 h 109"/>
                <a:gd name="T12" fmla="*/ 61 w 61"/>
                <a:gd name="T13" fmla="*/ 95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5 h 109"/>
                <a:gd name="T20" fmla="*/ 28 w 61"/>
                <a:gd name="T21" fmla="*/ 95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5"/>
                  </a:lnTo>
                  <a:lnTo>
                    <a:pt x="61" y="95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5"/>
                  </a:lnTo>
                  <a:lnTo>
                    <a:pt x="28" y="95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96" name="Freeform 152">
              <a:extLst>
                <a:ext uri="{FF2B5EF4-FFF2-40B4-BE49-F238E27FC236}">
                  <a16:creationId xmlns:a16="http://schemas.microsoft.com/office/drawing/2014/main" id="{B3579814-FB48-4E4B-A874-1020804EA9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99092" y="5641236"/>
              <a:ext cx="114816" cy="170714"/>
            </a:xfrm>
            <a:custGeom>
              <a:avLst/>
              <a:gdLst>
                <a:gd name="T0" fmla="*/ 32 w 32"/>
                <a:gd name="T1" fmla="*/ 24 h 48"/>
                <a:gd name="T2" fmla="*/ 16 w 32"/>
                <a:gd name="T3" fmla="*/ 48 h 48"/>
                <a:gd name="T4" fmla="*/ 0 w 32"/>
                <a:gd name="T5" fmla="*/ 24 h 48"/>
                <a:gd name="T6" fmla="*/ 16 w 32"/>
                <a:gd name="T7" fmla="*/ 0 h 48"/>
                <a:gd name="T8" fmla="*/ 32 w 32"/>
                <a:gd name="T9" fmla="*/ 24 h 48"/>
                <a:gd name="T10" fmla="*/ 8 w 32"/>
                <a:gd name="T11" fmla="*/ 24 h 48"/>
                <a:gd name="T12" fmla="*/ 16 w 32"/>
                <a:gd name="T13" fmla="*/ 41 h 48"/>
                <a:gd name="T14" fmla="*/ 24 w 32"/>
                <a:gd name="T15" fmla="*/ 24 h 48"/>
                <a:gd name="T16" fmla="*/ 16 w 32"/>
                <a:gd name="T17" fmla="*/ 7 h 48"/>
                <a:gd name="T18" fmla="*/ 8 w 32"/>
                <a:gd name="T19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8">
                  <a:moveTo>
                    <a:pt x="32" y="24"/>
                  </a:moveTo>
                  <a:cubicBezTo>
                    <a:pt x="32" y="40"/>
                    <a:pt x="27" y="48"/>
                    <a:pt x="16" y="48"/>
                  </a:cubicBezTo>
                  <a:cubicBezTo>
                    <a:pt x="5" y="48"/>
                    <a:pt x="0" y="40"/>
                    <a:pt x="0" y="24"/>
                  </a:cubicBezTo>
                  <a:cubicBezTo>
                    <a:pt x="0" y="8"/>
                    <a:pt x="5" y="0"/>
                    <a:pt x="16" y="0"/>
                  </a:cubicBezTo>
                  <a:cubicBezTo>
                    <a:pt x="27" y="0"/>
                    <a:pt x="32" y="8"/>
                    <a:pt x="32" y="24"/>
                  </a:cubicBezTo>
                  <a:close/>
                  <a:moveTo>
                    <a:pt x="8" y="24"/>
                  </a:moveTo>
                  <a:cubicBezTo>
                    <a:pt x="8" y="36"/>
                    <a:pt x="11" y="41"/>
                    <a:pt x="16" y="41"/>
                  </a:cubicBezTo>
                  <a:cubicBezTo>
                    <a:pt x="22" y="41"/>
                    <a:pt x="24" y="36"/>
                    <a:pt x="24" y="24"/>
                  </a:cubicBezTo>
                  <a:cubicBezTo>
                    <a:pt x="24" y="12"/>
                    <a:pt x="22" y="7"/>
                    <a:pt x="16" y="7"/>
                  </a:cubicBezTo>
                  <a:cubicBezTo>
                    <a:pt x="11" y="7"/>
                    <a:pt x="8" y="12"/>
                    <a:pt x="8" y="24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97" name="Freeform 153">
              <a:extLst>
                <a:ext uri="{FF2B5EF4-FFF2-40B4-BE49-F238E27FC236}">
                  <a16:creationId xmlns:a16="http://schemas.microsoft.com/office/drawing/2014/main" id="{C89C1C79-C171-4FB4-A6AB-0994879076B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4198" y="5929788"/>
              <a:ext cx="92156" cy="164671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4 h 109"/>
                <a:gd name="T12" fmla="*/ 61 w 61"/>
                <a:gd name="T13" fmla="*/ 94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4 h 109"/>
                <a:gd name="T20" fmla="*/ 28 w 61"/>
                <a:gd name="T21" fmla="*/ 94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4"/>
                  </a:lnTo>
                  <a:lnTo>
                    <a:pt x="61" y="94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4"/>
                  </a:lnTo>
                  <a:lnTo>
                    <a:pt x="28" y="94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98" name="Freeform 154">
              <a:extLst>
                <a:ext uri="{FF2B5EF4-FFF2-40B4-BE49-F238E27FC236}">
                  <a16:creationId xmlns:a16="http://schemas.microsoft.com/office/drawing/2014/main" id="{3A6567B0-6C9D-4BF8-8CE0-ED3994E4557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4198" y="6215318"/>
              <a:ext cx="92156" cy="164671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4 h 109"/>
                <a:gd name="T12" fmla="*/ 61 w 61"/>
                <a:gd name="T13" fmla="*/ 94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4 h 109"/>
                <a:gd name="T20" fmla="*/ 28 w 61"/>
                <a:gd name="T21" fmla="*/ 94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4"/>
                  </a:lnTo>
                  <a:lnTo>
                    <a:pt x="61" y="94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4"/>
                  </a:lnTo>
                  <a:lnTo>
                    <a:pt x="28" y="94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99" name="Freeform 155">
              <a:extLst>
                <a:ext uri="{FF2B5EF4-FFF2-40B4-BE49-F238E27FC236}">
                  <a16:creationId xmlns:a16="http://schemas.microsoft.com/office/drawing/2014/main" id="{CAB906FD-DBFA-4ED0-B5FC-0CCCDD4589B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4198" y="6500848"/>
              <a:ext cx="92156" cy="164671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4 h 109"/>
                <a:gd name="T12" fmla="*/ 61 w 61"/>
                <a:gd name="T13" fmla="*/ 97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7 h 109"/>
                <a:gd name="T20" fmla="*/ 28 w 61"/>
                <a:gd name="T21" fmla="*/ 94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4"/>
                  </a:lnTo>
                  <a:lnTo>
                    <a:pt x="61" y="97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7"/>
                  </a:lnTo>
                  <a:lnTo>
                    <a:pt x="28" y="94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00" name="Freeform 156">
              <a:extLst>
                <a:ext uri="{FF2B5EF4-FFF2-40B4-BE49-F238E27FC236}">
                  <a16:creationId xmlns:a16="http://schemas.microsoft.com/office/drawing/2014/main" id="{256C7220-9B8A-4B83-BDD4-ADE5D7DA0E5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4198" y="6786378"/>
              <a:ext cx="92156" cy="164671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5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4 h 109"/>
                <a:gd name="T12" fmla="*/ 61 w 61"/>
                <a:gd name="T13" fmla="*/ 97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7 h 109"/>
                <a:gd name="T20" fmla="*/ 28 w 61"/>
                <a:gd name="T21" fmla="*/ 94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5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4"/>
                  </a:lnTo>
                  <a:lnTo>
                    <a:pt x="61" y="97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7"/>
                  </a:lnTo>
                  <a:lnTo>
                    <a:pt x="28" y="94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01" name="Line 8">
              <a:extLst>
                <a:ext uri="{FF2B5EF4-FFF2-40B4-BE49-F238E27FC236}">
                  <a16:creationId xmlns:a16="http://schemas.microsoft.com/office/drawing/2014/main" id="{184CC1AD-B911-4E20-965A-3FA8643742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49918" y="3678777"/>
              <a:ext cx="0" cy="0"/>
            </a:xfrm>
            <a:prstGeom prst="lin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02" name="Line 9">
              <a:extLst>
                <a:ext uri="{FF2B5EF4-FFF2-40B4-BE49-F238E27FC236}">
                  <a16:creationId xmlns:a16="http://schemas.microsoft.com/office/drawing/2014/main" id="{F51DFE38-AFD8-45AE-BE71-CA71358987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49918" y="3678777"/>
              <a:ext cx="0" cy="0"/>
            </a:xfrm>
            <a:prstGeom prst="lin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03" name="Freeform 10">
              <a:extLst>
                <a:ext uri="{FF2B5EF4-FFF2-40B4-BE49-F238E27FC236}">
                  <a16:creationId xmlns:a16="http://schemas.microsoft.com/office/drawing/2014/main" id="{2F215A25-574C-4D8B-AB50-31CB033F15EA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3099" y="4749893"/>
              <a:ext cx="99709" cy="157117"/>
            </a:xfrm>
            <a:custGeom>
              <a:avLst/>
              <a:gdLst>
                <a:gd name="T0" fmla="*/ 30 w 66"/>
                <a:gd name="T1" fmla="*/ 24 h 104"/>
                <a:gd name="T2" fmla="*/ 9 w 66"/>
                <a:gd name="T3" fmla="*/ 38 h 104"/>
                <a:gd name="T4" fmla="*/ 0 w 66"/>
                <a:gd name="T5" fmla="*/ 19 h 104"/>
                <a:gd name="T6" fmla="*/ 33 w 66"/>
                <a:gd name="T7" fmla="*/ 0 h 104"/>
                <a:gd name="T8" fmla="*/ 52 w 66"/>
                <a:gd name="T9" fmla="*/ 0 h 104"/>
                <a:gd name="T10" fmla="*/ 52 w 66"/>
                <a:gd name="T11" fmla="*/ 87 h 104"/>
                <a:gd name="T12" fmla="*/ 66 w 66"/>
                <a:gd name="T13" fmla="*/ 87 h 104"/>
                <a:gd name="T14" fmla="*/ 66 w 66"/>
                <a:gd name="T15" fmla="*/ 104 h 104"/>
                <a:gd name="T16" fmla="*/ 16 w 66"/>
                <a:gd name="T17" fmla="*/ 104 h 104"/>
                <a:gd name="T18" fmla="*/ 16 w 66"/>
                <a:gd name="T19" fmla="*/ 87 h 104"/>
                <a:gd name="T20" fmla="*/ 30 w 66"/>
                <a:gd name="T21" fmla="*/ 87 h 104"/>
                <a:gd name="T22" fmla="*/ 30 w 66"/>
                <a:gd name="T23" fmla="*/ 2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6" h="104">
                  <a:moveTo>
                    <a:pt x="30" y="24"/>
                  </a:moveTo>
                  <a:lnTo>
                    <a:pt x="9" y="38"/>
                  </a:lnTo>
                  <a:lnTo>
                    <a:pt x="0" y="19"/>
                  </a:lnTo>
                  <a:lnTo>
                    <a:pt x="33" y="0"/>
                  </a:lnTo>
                  <a:lnTo>
                    <a:pt x="52" y="0"/>
                  </a:lnTo>
                  <a:lnTo>
                    <a:pt x="52" y="87"/>
                  </a:lnTo>
                  <a:lnTo>
                    <a:pt x="66" y="87"/>
                  </a:lnTo>
                  <a:lnTo>
                    <a:pt x="66" y="104"/>
                  </a:lnTo>
                  <a:lnTo>
                    <a:pt x="16" y="104"/>
                  </a:lnTo>
                  <a:lnTo>
                    <a:pt x="16" y="87"/>
                  </a:lnTo>
                  <a:lnTo>
                    <a:pt x="30" y="87"/>
                  </a:lnTo>
                  <a:lnTo>
                    <a:pt x="30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04" name="Freeform 11">
              <a:extLst>
                <a:ext uri="{FF2B5EF4-FFF2-40B4-BE49-F238E27FC236}">
                  <a16:creationId xmlns:a16="http://schemas.microsoft.com/office/drawing/2014/main" id="{752617B3-D9A6-4DC6-A1A2-AD130964BA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5545" y="5017295"/>
              <a:ext cx="120859" cy="164671"/>
            </a:xfrm>
            <a:custGeom>
              <a:avLst/>
              <a:gdLst>
                <a:gd name="T0" fmla="*/ 32 w 34"/>
                <a:gd name="T1" fmla="*/ 8 h 46"/>
                <a:gd name="T2" fmla="*/ 34 w 34"/>
                <a:gd name="T3" fmla="*/ 23 h 46"/>
                <a:gd name="T4" fmla="*/ 31 w 34"/>
                <a:gd name="T5" fmla="*/ 39 h 46"/>
                <a:gd name="T6" fmla="*/ 17 w 34"/>
                <a:gd name="T7" fmla="*/ 46 h 46"/>
                <a:gd name="T8" fmla="*/ 3 w 34"/>
                <a:gd name="T9" fmla="*/ 37 h 46"/>
                <a:gd name="T10" fmla="*/ 0 w 34"/>
                <a:gd name="T11" fmla="*/ 23 h 46"/>
                <a:gd name="T12" fmla="*/ 17 w 34"/>
                <a:gd name="T13" fmla="*/ 0 h 46"/>
                <a:gd name="T14" fmla="*/ 32 w 34"/>
                <a:gd name="T15" fmla="*/ 8 h 46"/>
                <a:gd name="T16" fmla="*/ 10 w 34"/>
                <a:gd name="T17" fmla="*/ 23 h 46"/>
                <a:gd name="T18" fmla="*/ 17 w 34"/>
                <a:gd name="T19" fmla="*/ 38 h 46"/>
                <a:gd name="T20" fmla="*/ 25 w 34"/>
                <a:gd name="T21" fmla="*/ 23 h 46"/>
                <a:gd name="T22" fmla="*/ 17 w 34"/>
                <a:gd name="T23" fmla="*/ 8 h 46"/>
                <a:gd name="T24" fmla="*/ 10 w 34"/>
                <a:gd name="T25" fmla="*/ 2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" h="46">
                  <a:moveTo>
                    <a:pt x="32" y="8"/>
                  </a:moveTo>
                  <a:cubicBezTo>
                    <a:pt x="34" y="12"/>
                    <a:pt x="34" y="16"/>
                    <a:pt x="34" y="23"/>
                  </a:cubicBezTo>
                  <a:cubicBezTo>
                    <a:pt x="34" y="31"/>
                    <a:pt x="33" y="36"/>
                    <a:pt x="31" y="39"/>
                  </a:cubicBezTo>
                  <a:cubicBezTo>
                    <a:pt x="28" y="43"/>
                    <a:pt x="23" y="46"/>
                    <a:pt x="17" y="46"/>
                  </a:cubicBezTo>
                  <a:cubicBezTo>
                    <a:pt x="11" y="46"/>
                    <a:pt x="6" y="43"/>
                    <a:pt x="3" y="37"/>
                  </a:cubicBezTo>
                  <a:cubicBezTo>
                    <a:pt x="1" y="34"/>
                    <a:pt x="0" y="29"/>
                    <a:pt x="0" y="23"/>
                  </a:cubicBezTo>
                  <a:cubicBezTo>
                    <a:pt x="0" y="8"/>
                    <a:pt x="6" y="0"/>
                    <a:pt x="17" y="0"/>
                  </a:cubicBezTo>
                  <a:cubicBezTo>
                    <a:pt x="24" y="0"/>
                    <a:pt x="29" y="3"/>
                    <a:pt x="32" y="8"/>
                  </a:cubicBezTo>
                  <a:close/>
                  <a:moveTo>
                    <a:pt x="10" y="23"/>
                  </a:moveTo>
                  <a:cubicBezTo>
                    <a:pt x="10" y="33"/>
                    <a:pt x="12" y="38"/>
                    <a:pt x="17" y="38"/>
                  </a:cubicBezTo>
                  <a:cubicBezTo>
                    <a:pt x="22" y="38"/>
                    <a:pt x="25" y="33"/>
                    <a:pt x="25" y="23"/>
                  </a:cubicBezTo>
                  <a:cubicBezTo>
                    <a:pt x="25" y="13"/>
                    <a:pt x="22" y="8"/>
                    <a:pt x="17" y="8"/>
                  </a:cubicBezTo>
                  <a:cubicBezTo>
                    <a:pt x="12" y="8"/>
                    <a:pt x="10" y="13"/>
                    <a:pt x="10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05" name="Freeform 12">
              <a:extLst>
                <a:ext uri="{FF2B5EF4-FFF2-40B4-BE49-F238E27FC236}">
                  <a16:creationId xmlns:a16="http://schemas.microsoft.com/office/drawing/2014/main" id="{326C82CC-22D7-446E-8A51-0AD678A186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3099" y="5292250"/>
              <a:ext cx="99709" cy="157117"/>
            </a:xfrm>
            <a:custGeom>
              <a:avLst/>
              <a:gdLst>
                <a:gd name="T0" fmla="*/ 30 w 66"/>
                <a:gd name="T1" fmla="*/ 24 h 104"/>
                <a:gd name="T2" fmla="*/ 9 w 66"/>
                <a:gd name="T3" fmla="*/ 36 h 104"/>
                <a:gd name="T4" fmla="*/ 0 w 66"/>
                <a:gd name="T5" fmla="*/ 19 h 104"/>
                <a:gd name="T6" fmla="*/ 33 w 66"/>
                <a:gd name="T7" fmla="*/ 0 h 104"/>
                <a:gd name="T8" fmla="*/ 52 w 66"/>
                <a:gd name="T9" fmla="*/ 0 h 104"/>
                <a:gd name="T10" fmla="*/ 52 w 66"/>
                <a:gd name="T11" fmla="*/ 87 h 104"/>
                <a:gd name="T12" fmla="*/ 66 w 66"/>
                <a:gd name="T13" fmla="*/ 87 h 104"/>
                <a:gd name="T14" fmla="*/ 66 w 66"/>
                <a:gd name="T15" fmla="*/ 104 h 104"/>
                <a:gd name="T16" fmla="*/ 16 w 66"/>
                <a:gd name="T17" fmla="*/ 104 h 104"/>
                <a:gd name="T18" fmla="*/ 16 w 66"/>
                <a:gd name="T19" fmla="*/ 87 h 104"/>
                <a:gd name="T20" fmla="*/ 30 w 66"/>
                <a:gd name="T21" fmla="*/ 87 h 104"/>
                <a:gd name="T22" fmla="*/ 30 w 66"/>
                <a:gd name="T23" fmla="*/ 2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6" h="104">
                  <a:moveTo>
                    <a:pt x="30" y="24"/>
                  </a:moveTo>
                  <a:lnTo>
                    <a:pt x="9" y="36"/>
                  </a:lnTo>
                  <a:lnTo>
                    <a:pt x="0" y="19"/>
                  </a:lnTo>
                  <a:lnTo>
                    <a:pt x="33" y="0"/>
                  </a:lnTo>
                  <a:lnTo>
                    <a:pt x="52" y="0"/>
                  </a:lnTo>
                  <a:lnTo>
                    <a:pt x="52" y="87"/>
                  </a:lnTo>
                  <a:lnTo>
                    <a:pt x="66" y="87"/>
                  </a:lnTo>
                  <a:lnTo>
                    <a:pt x="66" y="104"/>
                  </a:lnTo>
                  <a:lnTo>
                    <a:pt x="16" y="104"/>
                  </a:lnTo>
                  <a:lnTo>
                    <a:pt x="16" y="87"/>
                  </a:lnTo>
                  <a:lnTo>
                    <a:pt x="30" y="87"/>
                  </a:lnTo>
                  <a:lnTo>
                    <a:pt x="30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06" name="Freeform 13">
              <a:extLst>
                <a:ext uri="{FF2B5EF4-FFF2-40B4-BE49-F238E27FC236}">
                  <a16:creationId xmlns:a16="http://schemas.microsoft.com/office/drawing/2014/main" id="{3B80DE23-3537-4D76-94A9-A3EDFCEF76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3099" y="5564184"/>
              <a:ext cx="99709" cy="157117"/>
            </a:xfrm>
            <a:custGeom>
              <a:avLst/>
              <a:gdLst>
                <a:gd name="T0" fmla="*/ 30 w 66"/>
                <a:gd name="T1" fmla="*/ 23 h 104"/>
                <a:gd name="T2" fmla="*/ 9 w 66"/>
                <a:gd name="T3" fmla="*/ 35 h 104"/>
                <a:gd name="T4" fmla="*/ 0 w 66"/>
                <a:gd name="T5" fmla="*/ 19 h 104"/>
                <a:gd name="T6" fmla="*/ 33 w 66"/>
                <a:gd name="T7" fmla="*/ 0 h 104"/>
                <a:gd name="T8" fmla="*/ 52 w 66"/>
                <a:gd name="T9" fmla="*/ 0 h 104"/>
                <a:gd name="T10" fmla="*/ 52 w 66"/>
                <a:gd name="T11" fmla="*/ 85 h 104"/>
                <a:gd name="T12" fmla="*/ 66 w 66"/>
                <a:gd name="T13" fmla="*/ 87 h 104"/>
                <a:gd name="T14" fmla="*/ 66 w 66"/>
                <a:gd name="T15" fmla="*/ 104 h 104"/>
                <a:gd name="T16" fmla="*/ 16 w 66"/>
                <a:gd name="T17" fmla="*/ 104 h 104"/>
                <a:gd name="T18" fmla="*/ 16 w 66"/>
                <a:gd name="T19" fmla="*/ 87 h 104"/>
                <a:gd name="T20" fmla="*/ 30 w 66"/>
                <a:gd name="T21" fmla="*/ 85 h 104"/>
                <a:gd name="T22" fmla="*/ 30 w 66"/>
                <a:gd name="T23" fmla="*/ 23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6" h="104">
                  <a:moveTo>
                    <a:pt x="30" y="23"/>
                  </a:moveTo>
                  <a:lnTo>
                    <a:pt x="9" y="35"/>
                  </a:lnTo>
                  <a:lnTo>
                    <a:pt x="0" y="19"/>
                  </a:lnTo>
                  <a:lnTo>
                    <a:pt x="33" y="0"/>
                  </a:lnTo>
                  <a:lnTo>
                    <a:pt x="52" y="0"/>
                  </a:lnTo>
                  <a:lnTo>
                    <a:pt x="52" y="85"/>
                  </a:lnTo>
                  <a:lnTo>
                    <a:pt x="66" y="87"/>
                  </a:lnTo>
                  <a:lnTo>
                    <a:pt x="66" y="104"/>
                  </a:lnTo>
                  <a:lnTo>
                    <a:pt x="16" y="104"/>
                  </a:lnTo>
                  <a:lnTo>
                    <a:pt x="16" y="87"/>
                  </a:lnTo>
                  <a:lnTo>
                    <a:pt x="30" y="85"/>
                  </a:lnTo>
                  <a:lnTo>
                    <a:pt x="30" y="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07" name="Freeform 14">
              <a:extLst>
                <a:ext uri="{FF2B5EF4-FFF2-40B4-BE49-F238E27FC236}">
                  <a16:creationId xmlns:a16="http://schemas.microsoft.com/office/drawing/2014/main" id="{C9F73AA3-FFDF-45E5-B005-1E2A72AC5C6A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3099" y="5834606"/>
              <a:ext cx="99709" cy="157117"/>
            </a:xfrm>
            <a:custGeom>
              <a:avLst/>
              <a:gdLst>
                <a:gd name="T0" fmla="*/ 30 w 66"/>
                <a:gd name="T1" fmla="*/ 24 h 104"/>
                <a:gd name="T2" fmla="*/ 9 w 66"/>
                <a:gd name="T3" fmla="*/ 36 h 104"/>
                <a:gd name="T4" fmla="*/ 0 w 66"/>
                <a:gd name="T5" fmla="*/ 19 h 104"/>
                <a:gd name="T6" fmla="*/ 33 w 66"/>
                <a:gd name="T7" fmla="*/ 0 h 104"/>
                <a:gd name="T8" fmla="*/ 52 w 66"/>
                <a:gd name="T9" fmla="*/ 0 h 104"/>
                <a:gd name="T10" fmla="*/ 52 w 66"/>
                <a:gd name="T11" fmla="*/ 85 h 104"/>
                <a:gd name="T12" fmla="*/ 66 w 66"/>
                <a:gd name="T13" fmla="*/ 88 h 104"/>
                <a:gd name="T14" fmla="*/ 66 w 66"/>
                <a:gd name="T15" fmla="*/ 104 h 104"/>
                <a:gd name="T16" fmla="*/ 16 w 66"/>
                <a:gd name="T17" fmla="*/ 104 h 104"/>
                <a:gd name="T18" fmla="*/ 16 w 66"/>
                <a:gd name="T19" fmla="*/ 88 h 104"/>
                <a:gd name="T20" fmla="*/ 30 w 66"/>
                <a:gd name="T21" fmla="*/ 85 h 104"/>
                <a:gd name="T22" fmla="*/ 30 w 66"/>
                <a:gd name="T23" fmla="*/ 2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6" h="104">
                  <a:moveTo>
                    <a:pt x="30" y="24"/>
                  </a:moveTo>
                  <a:lnTo>
                    <a:pt x="9" y="36"/>
                  </a:lnTo>
                  <a:lnTo>
                    <a:pt x="0" y="19"/>
                  </a:lnTo>
                  <a:lnTo>
                    <a:pt x="33" y="0"/>
                  </a:lnTo>
                  <a:lnTo>
                    <a:pt x="52" y="0"/>
                  </a:lnTo>
                  <a:lnTo>
                    <a:pt x="52" y="85"/>
                  </a:lnTo>
                  <a:lnTo>
                    <a:pt x="66" y="88"/>
                  </a:lnTo>
                  <a:lnTo>
                    <a:pt x="66" y="104"/>
                  </a:lnTo>
                  <a:lnTo>
                    <a:pt x="16" y="104"/>
                  </a:lnTo>
                  <a:lnTo>
                    <a:pt x="16" y="88"/>
                  </a:lnTo>
                  <a:lnTo>
                    <a:pt x="30" y="85"/>
                  </a:lnTo>
                  <a:lnTo>
                    <a:pt x="30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08" name="Freeform 15">
              <a:extLst>
                <a:ext uri="{FF2B5EF4-FFF2-40B4-BE49-F238E27FC236}">
                  <a16:creationId xmlns:a16="http://schemas.microsoft.com/office/drawing/2014/main" id="{FC00D38A-1923-426E-8606-80849D103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3099" y="6106539"/>
              <a:ext cx="99709" cy="152585"/>
            </a:xfrm>
            <a:custGeom>
              <a:avLst/>
              <a:gdLst>
                <a:gd name="T0" fmla="*/ 30 w 66"/>
                <a:gd name="T1" fmla="*/ 23 h 101"/>
                <a:gd name="T2" fmla="*/ 9 w 66"/>
                <a:gd name="T3" fmla="*/ 35 h 101"/>
                <a:gd name="T4" fmla="*/ 0 w 66"/>
                <a:gd name="T5" fmla="*/ 19 h 101"/>
                <a:gd name="T6" fmla="*/ 33 w 66"/>
                <a:gd name="T7" fmla="*/ 0 h 101"/>
                <a:gd name="T8" fmla="*/ 52 w 66"/>
                <a:gd name="T9" fmla="*/ 0 h 101"/>
                <a:gd name="T10" fmla="*/ 52 w 66"/>
                <a:gd name="T11" fmla="*/ 85 h 101"/>
                <a:gd name="T12" fmla="*/ 66 w 66"/>
                <a:gd name="T13" fmla="*/ 85 h 101"/>
                <a:gd name="T14" fmla="*/ 66 w 66"/>
                <a:gd name="T15" fmla="*/ 101 h 101"/>
                <a:gd name="T16" fmla="*/ 16 w 66"/>
                <a:gd name="T17" fmla="*/ 101 h 101"/>
                <a:gd name="T18" fmla="*/ 16 w 66"/>
                <a:gd name="T19" fmla="*/ 85 h 101"/>
                <a:gd name="T20" fmla="*/ 30 w 66"/>
                <a:gd name="T21" fmla="*/ 85 h 101"/>
                <a:gd name="T22" fmla="*/ 30 w 66"/>
                <a:gd name="T23" fmla="*/ 23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6" h="101">
                  <a:moveTo>
                    <a:pt x="30" y="23"/>
                  </a:moveTo>
                  <a:lnTo>
                    <a:pt x="9" y="35"/>
                  </a:lnTo>
                  <a:lnTo>
                    <a:pt x="0" y="19"/>
                  </a:lnTo>
                  <a:lnTo>
                    <a:pt x="33" y="0"/>
                  </a:lnTo>
                  <a:lnTo>
                    <a:pt x="52" y="0"/>
                  </a:lnTo>
                  <a:lnTo>
                    <a:pt x="52" y="85"/>
                  </a:lnTo>
                  <a:lnTo>
                    <a:pt x="66" y="85"/>
                  </a:lnTo>
                  <a:lnTo>
                    <a:pt x="66" y="101"/>
                  </a:lnTo>
                  <a:lnTo>
                    <a:pt x="16" y="101"/>
                  </a:lnTo>
                  <a:lnTo>
                    <a:pt x="16" y="85"/>
                  </a:lnTo>
                  <a:lnTo>
                    <a:pt x="30" y="85"/>
                  </a:lnTo>
                  <a:lnTo>
                    <a:pt x="30" y="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09" name="Freeform 16">
              <a:extLst>
                <a:ext uri="{FF2B5EF4-FFF2-40B4-BE49-F238E27FC236}">
                  <a16:creationId xmlns:a16="http://schemas.microsoft.com/office/drawing/2014/main" id="{DA958C64-EDA5-49E2-9973-AC5A3BE2EE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5545" y="6644364"/>
              <a:ext cx="120859" cy="161650"/>
            </a:xfrm>
            <a:custGeom>
              <a:avLst/>
              <a:gdLst>
                <a:gd name="T0" fmla="*/ 32 w 34"/>
                <a:gd name="T1" fmla="*/ 8 h 45"/>
                <a:gd name="T2" fmla="*/ 34 w 34"/>
                <a:gd name="T3" fmla="*/ 22 h 45"/>
                <a:gd name="T4" fmla="*/ 31 w 34"/>
                <a:gd name="T5" fmla="*/ 39 h 45"/>
                <a:gd name="T6" fmla="*/ 17 w 34"/>
                <a:gd name="T7" fmla="*/ 45 h 45"/>
                <a:gd name="T8" fmla="*/ 3 w 34"/>
                <a:gd name="T9" fmla="*/ 37 h 45"/>
                <a:gd name="T10" fmla="*/ 0 w 34"/>
                <a:gd name="T11" fmla="*/ 22 h 45"/>
                <a:gd name="T12" fmla="*/ 17 w 34"/>
                <a:gd name="T13" fmla="*/ 0 h 45"/>
                <a:gd name="T14" fmla="*/ 32 w 34"/>
                <a:gd name="T15" fmla="*/ 8 h 45"/>
                <a:gd name="T16" fmla="*/ 10 w 34"/>
                <a:gd name="T17" fmla="*/ 22 h 45"/>
                <a:gd name="T18" fmla="*/ 17 w 34"/>
                <a:gd name="T19" fmla="*/ 37 h 45"/>
                <a:gd name="T20" fmla="*/ 25 w 34"/>
                <a:gd name="T21" fmla="*/ 22 h 45"/>
                <a:gd name="T22" fmla="*/ 17 w 34"/>
                <a:gd name="T23" fmla="*/ 7 h 45"/>
                <a:gd name="T24" fmla="*/ 10 w 34"/>
                <a:gd name="T25" fmla="*/ 2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" h="45">
                  <a:moveTo>
                    <a:pt x="32" y="8"/>
                  </a:moveTo>
                  <a:cubicBezTo>
                    <a:pt x="34" y="11"/>
                    <a:pt x="34" y="16"/>
                    <a:pt x="34" y="22"/>
                  </a:cubicBezTo>
                  <a:cubicBezTo>
                    <a:pt x="34" y="30"/>
                    <a:pt x="33" y="35"/>
                    <a:pt x="31" y="39"/>
                  </a:cubicBezTo>
                  <a:cubicBezTo>
                    <a:pt x="28" y="43"/>
                    <a:pt x="23" y="45"/>
                    <a:pt x="17" y="45"/>
                  </a:cubicBezTo>
                  <a:cubicBezTo>
                    <a:pt x="11" y="45"/>
                    <a:pt x="6" y="42"/>
                    <a:pt x="3" y="37"/>
                  </a:cubicBezTo>
                  <a:cubicBezTo>
                    <a:pt x="1" y="33"/>
                    <a:pt x="0" y="29"/>
                    <a:pt x="0" y="22"/>
                  </a:cubicBezTo>
                  <a:cubicBezTo>
                    <a:pt x="0" y="7"/>
                    <a:pt x="6" y="0"/>
                    <a:pt x="17" y="0"/>
                  </a:cubicBezTo>
                  <a:cubicBezTo>
                    <a:pt x="24" y="0"/>
                    <a:pt x="29" y="2"/>
                    <a:pt x="32" y="8"/>
                  </a:cubicBezTo>
                  <a:close/>
                  <a:moveTo>
                    <a:pt x="10" y="22"/>
                  </a:moveTo>
                  <a:cubicBezTo>
                    <a:pt x="10" y="33"/>
                    <a:pt x="12" y="37"/>
                    <a:pt x="17" y="37"/>
                  </a:cubicBezTo>
                  <a:cubicBezTo>
                    <a:pt x="22" y="37"/>
                    <a:pt x="25" y="33"/>
                    <a:pt x="25" y="22"/>
                  </a:cubicBezTo>
                  <a:cubicBezTo>
                    <a:pt x="25" y="12"/>
                    <a:pt x="22" y="7"/>
                    <a:pt x="17" y="7"/>
                  </a:cubicBezTo>
                  <a:cubicBezTo>
                    <a:pt x="12" y="7"/>
                    <a:pt x="10" y="12"/>
                    <a:pt x="10" y="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10" name="Freeform 17">
              <a:extLst>
                <a:ext uri="{FF2B5EF4-FFF2-40B4-BE49-F238E27FC236}">
                  <a16:creationId xmlns:a16="http://schemas.microsoft.com/office/drawing/2014/main" id="{B740C55C-D05D-4718-9946-9DC5DD88DD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5545" y="6916297"/>
              <a:ext cx="120859" cy="160139"/>
            </a:xfrm>
            <a:custGeom>
              <a:avLst/>
              <a:gdLst>
                <a:gd name="T0" fmla="*/ 32 w 34"/>
                <a:gd name="T1" fmla="*/ 8 h 45"/>
                <a:gd name="T2" fmla="*/ 34 w 34"/>
                <a:gd name="T3" fmla="*/ 22 h 45"/>
                <a:gd name="T4" fmla="*/ 31 w 34"/>
                <a:gd name="T5" fmla="*/ 39 h 45"/>
                <a:gd name="T6" fmla="*/ 17 w 34"/>
                <a:gd name="T7" fmla="*/ 45 h 45"/>
                <a:gd name="T8" fmla="*/ 3 w 34"/>
                <a:gd name="T9" fmla="*/ 37 h 45"/>
                <a:gd name="T10" fmla="*/ 0 w 34"/>
                <a:gd name="T11" fmla="*/ 22 h 45"/>
                <a:gd name="T12" fmla="*/ 17 w 34"/>
                <a:gd name="T13" fmla="*/ 0 h 45"/>
                <a:gd name="T14" fmla="*/ 32 w 34"/>
                <a:gd name="T15" fmla="*/ 8 h 45"/>
                <a:gd name="T16" fmla="*/ 10 w 34"/>
                <a:gd name="T17" fmla="*/ 22 h 45"/>
                <a:gd name="T18" fmla="*/ 17 w 34"/>
                <a:gd name="T19" fmla="*/ 37 h 45"/>
                <a:gd name="T20" fmla="*/ 25 w 34"/>
                <a:gd name="T21" fmla="*/ 22 h 45"/>
                <a:gd name="T22" fmla="*/ 17 w 34"/>
                <a:gd name="T23" fmla="*/ 7 h 45"/>
                <a:gd name="T24" fmla="*/ 10 w 34"/>
                <a:gd name="T25" fmla="*/ 2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" h="45">
                  <a:moveTo>
                    <a:pt x="32" y="8"/>
                  </a:moveTo>
                  <a:cubicBezTo>
                    <a:pt x="34" y="11"/>
                    <a:pt x="34" y="16"/>
                    <a:pt x="34" y="22"/>
                  </a:cubicBezTo>
                  <a:cubicBezTo>
                    <a:pt x="34" y="30"/>
                    <a:pt x="33" y="35"/>
                    <a:pt x="31" y="39"/>
                  </a:cubicBezTo>
                  <a:cubicBezTo>
                    <a:pt x="28" y="43"/>
                    <a:pt x="23" y="45"/>
                    <a:pt x="17" y="45"/>
                  </a:cubicBezTo>
                  <a:cubicBezTo>
                    <a:pt x="11" y="45"/>
                    <a:pt x="6" y="42"/>
                    <a:pt x="3" y="37"/>
                  </a:cubicBezTo>
                  <a:cubicBezTo>
                    <a:pt x="1" y="33"/>
                    <a:pt x="0" y="29"/>
                    <a:pt x="0" y="22"/>
                  </a:cubicBezTo>
                  <a:cubicBezTo>
                    <a:pt x="0" y="7"/>
                    <a:pt x="6" y="0"/>
                    <a:pt x="17" y="0"/>
                  </a:cubicBezTo>
                  <a:cubicBezTo>
                    <a:pt x="24" y="0"/>
                    <a:pt x="29" y="2"/>
                    <a:pt x="32" y="8"/>
                  </a:cubicBezTo>
                  <a:close/>
                  <a:moveTo>
                    <a:pt x="10" y="22"/>
                  </a:moveTo>
                  <a:cubicBezTo>
                    <a:pt x="10" y="33"/>
                    <a:pt x="12" y="37"/>
                    <a:pt x="17" y="37"/>
                  </a:cubicBezTo>
                  <a:cubicBezTo>
                    <a:pt x="22" y="37"/>
                    <a:pt x="25" y="33"/>
                    <a:pt x="25" y="22"/>
                  </a:cubicBezTo>
                  <a:cubicBezTo>
                    <a:pt x="25" y="12"/>
                    <a:pt x="22" y="7"/>
                    <a:pt x="17" y="7"/>
                  </a:cubicBezTo>
                  <a:cubicBezTo>
                    <a:pt x="12" y="7"/>
                    <a:pt x="10" y="12"/>
                    <a:pt x="10" y="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11" name="Freeform 23">
              <a:extLst>
                <a:ext uri="{FF2B5EF4-FFF2-40B4-BE49-F238E27FC236}">
                  <a16:creationId xmlns:a16="http://schemas.microsoft.com/office/drawing/2014/main" id="{4AE10405-1B57-49C7-B3B7-6B7E17A5FF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00590" y="4029270"/>
              <a:ext cx="75537" cy="113306"/>
            </a:xfrm>
            <a:custGeom>
              <a:avLst/>
              <a:gdLst>
                <a:gd name="T0" fmla="*/ 21 w 21"/>
                <a:gd name="T1" fmla="*/ 16 h 32"/>
                <a:gd name="T2" fmla="*/ 11 w 21"/>
                <a:gd name="T3" fmla="*/ 32 h 32"/>
                <a:gd name="T4" fmla="*/ 0 w 21"/>
                <a:gd name="T5" fmla="*/ 16 h 32"/>
                <a:gd name="T6" fmla="*/ 11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1 w 21"/>
                <a:gd name="T13" fmla="*/ 28 h 32"/>
                <a:gd name="T14" fmla="*/ 16 w 21"/>
                <a:gd name="T15" fmla="*/ 16 h 32"/>
                <a:gd name="T16" fmla="*/ 11 w 21"/>
                <a:gd name="T17" fmla="*/ 5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7"/>
                    <a:pt x="18" y="32"/>
                    <a:pt x="11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1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8"/>
                    <a:pt x="11" y="28"/>
                  </a:cubicBezTo>
                  <a:cubicBezTo>
                    <a:pt x="14" y="28"/>
                    <a:pt x="16" y="24"/>
                    <a:pt x="16" y="16"/>
                  </a:cubicBezTo>
                  <a:cubicBezTo>
                    <a:pt x="16" y="8"/>
                    <a:pt x="14" y="5"/>
                    <a:pt x="11" y="5"/>
                  </a:cubicBezTo>
                  <a:cubicBezTo>
                    <a:pt x="7" y="5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12" name="Freeform 24">
              <a:extLst>
                <a:ext uri="{FF2B5EF4-FFF2-40B4-BE49-F238E27FC236}">
                  <a16:creationId xmlns:a16="http://schemas.microsoft.com/office/drawing/2014/main" id="{8B913E83-CC67-45F1-8A5F-5F21104F8C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00590" y="4221133"/>
              <a:ext cx="75537" cy="111795"/>
            </a:xfrm>
            <a:custGeom>
              <a:avLst/>
              <a:gdLst>
                <a:gd name="T0" fmla="*/ 21 w 21"/>
                <a:gd name="T1" fmla="*/ 16 h 31"/>
                <a:gd name="T2" fmla="*/ 11 w 21"/>
                <a:gd name="T3" fmla="*/ 31 h 31"/>
                <a:gd name="T4" fmla="*/ 0 w 21"/>
                <a:gd name="T5" fmla="*/ 15 h 31"/>
                <a:gd name="T6" fmla="*/ 11 w 21"/>
                <a:gd name="T7" fmla="*/ 0 h 31"/>
                <a:gd name="T8" fmla="*/ 21 w 21"/>
                <a:gd name="T9" fmla="*/ 16 h 31"/>
                <a:gd name="T10" fmla="*/ 5 w 21"/>
                <a:gd name="T11" fmla="*/ 15 h 31"/>
                <a:gd name="T12" fmla="*/ 11 w 21"/>
                <a:gd name="T13" fmla="*/ 27 h 31"/>
                <a:gd name="T14" fmla="*/ 16 w 21"/>
                <a:gd name="T15" fmla="*/ 16 h 31"/>
                <a:gd name="T16" fmla="*/ 11 w 21"/>
                <a:gd name="T17" fmla="*/ 4 h 31"/>
                <a:gd name="T18" fmla="*/ 5 w 21"/>
                <a:gd name="T1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1">
                  <a:moveTo>
                    <a:pt x="21" y="16"/>
                  </a:moveTo>
                  <a:cubicBezTo>
                    <a:pt x="21" y="26"/>
                    <a:pt x="18" y="31"/>
                    <a:pt x="11" y="31"/>
                  </a:cubicBezTo>
                  <a:cubicBezTo>
                    <a:pt x="3" y="31"/>
                    <a:pt x="0" y="26"/>
                    <a:pt x="0" y="15"/>
                  </a:cubicBezTo>
                  <a:cubicBezTo>
                    <a:pt x="0" y="5"/>
                    <a:pt x="3" y="0"/>
                    <a:pt x="11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5"/>
                  </a:moveTo>
                  <a:cubicBezTo>
                    <a:pt x="5" y="23"/>
                    <a:pt x="7" y="27"/>
                    <a:pt x="11" y="27"/>
                  </a:cubicBezTo>
                  <a:cubicBezTo>
                    <a:pt x="14" y="27"/>
                    <a:pt x="16" y="23"/>
                    <a:pt x="16" y="16"/>
                  </a:cubicBezTo>
                  <a:cubicBezTo>
                    <a:pt x="16" y="8"/>
                    <a:pt x="14" y="4"/>
                    <a:pt x="11" y="4"/>
                  </a:cubicBezTo>
                  <a:cubicBezTo>
                    <a:pt x="7" y="4"/>
                    <a:pt x="5" y="8"/>
                    <a:pt x="5" y="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13" name="Freeform 25">
              <a:extLst>
                <a:ext uri="{FF2B5EF4-FFF2-40B4-BE49-F238E27FC236}">
                  <a16:creationId xmlns:a16="http://schemas.microsoft.com/office/drawing/2014/main" id="{B068F818-122B-4B95-B4A8-BE77D60A0A5C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3612" y="4603352"/>
              <a:ext cx="64962" cy="110285"/>
            </a:xfrm>
            <a:custGeom>
              <a:avLst/>
              <a:gdLst>
                <a:gd name="T0" fmla="*/ 19 w 43"/>
                <a:gd name="T1" fmla="*/ 14 h 73"/>
                <a:gd name="T2" fmla="*/ 5 w 43"/>
                <a:gd name="T3" fmla="*/ 24 h 73"/>
                <a:gd name="T4" fmla="*/ 0 w 43"/>
                <a:gd name="T5" fmla="*/ 12 h 73"/>
                <a:gd name="T6" fmla="*/ 22 w 43"/>
                <a:gd name="T7" fmla="*/ 0 h 73"/>
                <a:gd name="T8" fmla="*/ 34 w 43"/>
                <a:gd name="T9" fmla="*/ 0 h 73"/>
                <a:gd name="T10" fmla="*/ 34 w 43"/>
                <a:gd name="T11" fmla="*/ 64 h 73"/>
                <a:gd name="T12" fmla="*/ 43 w 43"/>
                <a:gd name="T13" fmla="*/ 64 h 73"/>
                <a:gd name="T14" fmla="*/ 43 w 43"/>
                <a:gd name="T15" fmla="*/ 73 h 73"/>
                <a:gd name="T16" fmla="*/ 10 w 43"/>
                <a:gd name="T17" fmla="*/ 73 h 73"/>
                <a:gd name="T18" fmla="*/ 10 w 43"/>
                <a:gd name="T19" fmla="*/ 64 h 73"/>
                <a:gd name="T20" fmla="*/ 19 w 43"/>
                <a:gd name="T21" fmla="*/ 64 h 73"/>
                <a:gd name="T22" fmla="*/ 19 w 43"/>
                <a:gd name="T23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73">
                  <a:moveTo>
                    <a:pt x="19" y="14"/>
                  </a:moveTo>
                  <a:lnTo>
                    <a:pt x="5" y="24"/>
                  </a:lnTo>
                  <a:lnTo>
                    <a:pt x="0" y="12"/>
                  </a:lnTo>
                  <a:lnTo>
                    <a:pt x="22" y="0"/>
                  </a:lnTo>
                  <a:lnTo>
                    <a:pt x="34" y="0"/>
                  </a:lnTo>
                  <a:lnTo>
                    <a:pt x="34" y="64"/>
                  </a:lnTo>
                  <a:lnTo>
                    <a:pt x="43" y="64"/>
                  </a:lnTo>
                  <a:lnTo>
                    <a:pt x="43" y="73"/>
                  </a:lnTo>
                  <a:lnTo>
                    <a:pt x="10" y="73"/>
                  </a:lnTo>
                  <a:lnTo>
                    <a:pt x="10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14" name="Freeform 26">
              <a:extLst>
                <a:ext uri="{FF2B5EF4-FFF2-40B4-BE49-F238E27FC236}">
                  <a16:creationId xmlns:a16="http://schemas.microsoft.com/office/drawing/2014/main" id="{445AE024-037E-412E-83F6-466F9DB850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00590" y="4792194"/>
              <a:ext cx="75537" cy="111795"/>
            </a:xfrm>
            <a:custGeom>
              <a:avLst/>
              <a:gdLst>
                <a:gd name="T0" fmla="*/ 21 w 21"/>
                <a:gd name="T1" fmla="*/ 16 h 31"/>
                <a:gd name="T2" fmla="*/ 11 w 21"/>
                <a:gd name="T3" fmla="*/ 31 h 31"/>
                <a:gd name="T4" fmla="*/ 0 w 21"/>
                <a:gd name="T5" fmla="*/ 15 h 31"/>
                <a:gd name="T6" fmla="*/ 11 w 21"/>
                <a:gd name="T7" fmla="*/ 0 h 31"/>
                <a:gd name="T8" fmla="*/ 21 w 21"/>
                <a:gd name="T9" fmla="*/ 16 h 31"/>
                <a:gd name="T10" fmla="*/ 5 w 21"/>
                <a:gd name="T11" fmla="*/ 16 h 31"/>
                <a:gd name="T12" fmla="*/ 11 w 21"/>
                <a:gd name="T13" fmla="*/ 27 h 31"/>
                <a:gd name="T14" fmla="*/ 16 w 21"/>
                <a:gd name="T15" fmla="*/ 16 h 31"/>
                <a:gd name="T16" fmla="*/ 11 w 21"/>
                <a:gd name="T17" fmla="*/ 4 h 31"/>
                <a:gd name="T18" fmla="*/ 5 w 21"/>
                <a:gd name="T19" fmla="*/ 1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1">
                  <a:moveTo>
                    <a:pt x="21" y="16"/>
                  </a:moveTo>
                  <a:cubicBezTo>
                    <a:pt x="21" y="26"/>
                    <a:pt x="18" y="31"/>
                    <a:pt x="11" y="31"/>
                  </a:cubicBezTo>
                  <a:cubicBezTo>
                    <a:pt x="3" y="31"/>
                    <a:pt x="0" y="26"/>
                    <a:pt x="0" y="15"/>
                  </a:cubicBezTo>
                  <a:cubicBezTo>
                    <a:pt x="0" y="5"/>
                    <a:pt x="3" y="0"/>
                    <a:pt x="11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3"/>
                    <a:pt x="7" y="27"/>
                    <a:pt x="11" y="27"/>
                  </a:cubicBezTo>
                  <a:cubicBezTo>
                    <a:pt x="14" y="27"/>
                    <a:pt x="16" y="23"/>
                    <a:pt x="16" y="16"/>
                  </a:cubicBezTo>
                  <a:cubicBezTo>
                    <a:pt x="16" y="8"/>
                    <a:pt x="14" y="4"/>
                    <a:pt x="11" y="4"/>
                  </a:cubicBezTo>
                  <a:cubicBezTo>
                    <a:pt x="7" y="4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15" name="Freeform 27">
              <a:extLst>
                <a:ext uri="{FF2B5EF4-FFF2-40B4-BE49-F238E27FC236}">
                  <a16:creationId xmlns:a16="http://schemas.microsoft.com/office/drawing/2014/main" id="{5A8BDE68-E8BE-4C2A-A805-558C4FF7BB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00590" y="4982547"/>
              <a:ext cx="75537" cy="113306"/>
            </a:xfrm>
            <a:custGeom>
              <a:avLst/>
              <a:gdLst>
                <a:gd name="T0" fmla="*/ 21 w 21"/>
                <a:gd name="T1" fmla="*/ 16 h 32"/>
                <a:gd name="T2" fmla="*/ 11 w 21"/>
                <a:gd name="T3" fmla="*/ 32 h 32"/>
                <a:gd name="T4" fmla="*/ 0 w 21"/>
                <a:gd name="T5" fmla="*/ 16 h 32"/>
                <a:gd name="T6" fmla="*/ 11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1 w 21"/>
                <a:gd name="T13" fmla="*/ 27 h 32"/>
                <a:gd name="T14" fmla="*/ 16 w 21"/>
                <a:gd name="T15" fmla="*/ 16 h 32"/>
                <a:gd name="T16" fmla="*/ 11 w 21"/>
                <a:gd name="T17" fmla="*/ 4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7"/>
                    <a:pt x="18" y="32"/>
                    <a:pt x="11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1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7"/>
                    <a:pt x="11" y="27"/>
                  </a:cubicBezTo>
                  <a:cubicBezTo>
                    <a:pt x="14" y="27"/>
                    <a:pt x="16" y="24"/>
                    <a:pt x="16" y="16"/>
                  </a:cubicBezTo>
                  <a:cubicBezTo>
                    <a:pt x="16" y="8"/>
                    <a:pt x="14" y="4"/>
                    <a:pt x="11" y="4"/>
                  </a:cubicBezTo>
                  <a:cubicBezTo>
                    <a:pt x="7" y="4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16" name="Freeform 28">
              <a:extLst>
                <a:ext uri="{FF2B5EF4-FFF2-40B4-BE49-F238E27FC236}">
                  <a16:creationId xmlns:a16="http://schemas.microsoft.com/office/drawing/2014/main" id="{F1F9A01E-DF99-48B3-88E1-8B4D3B8AB9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3612" y="5363254"/>
              <a:ext cx="64962" cy="111795"/>
            </a:xfrm>
            <a:custGeom>
              <a:avLst/>
              <a:gdLst>
                <a:gd name="T0" fmla="*/ 19 w 43"/>
                <a:gd name="T1" fmla="*/ 14 h 74"/>
                <a:gd name="T2" fmla="*/ 5 w 43"/>
                <a:gd name="T3" fmla="*/ 24 h 74"/>
                <a:gd name="T4" fmla="*/ 0 w 43"/>
                <a:gd name="T5" fmla="*/ 14 h 74"/>
                <a:gd name="T6" fmla="*/ 22 w 43"/>
                <a:gd name="T7" fmla="*/ 0 h 74"/>
                <a:gd name="T8" fmla="*/ 34 w 43"/>
                <a:gd name="T9" fmla="*/ 0 h 74"/>
                <a:gd name="T10" fmla="*/ 34 w 43"/>
                <a:gd name="T11" fmla="*/ 64 h 74"/>
                <a:gd name="T12" fmla="*/ 43 w 43"/>
                <a:gd name="T13" fmla="*/ 64 h 74"/>
                <a:gd name="T14" fmla="*/ 43 w 43"/>
                <a:gd name="T15" fmla="*/ 74 h 74"/>
                <a:gd name="T16" fmla="*/ 10 w 43"/>
                <a:gd name="T17" fmla="*/ 74 h 74"/>
                <a:gd name="T18" fmla="*/ 10 w 43"/>
                <a:gd name="T19" fmla="*/ 64 h 74"/>
                <a:gd name="T20" fmla="*/ 19 w 43"/>
                <a:gd name="T21" fmla="*/ 64 h 74"/>
                <a:gd name="T22" fmla="*/ 19 w 43"/>
                <a:gd name="T23" fmla="*/ 1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74">
                  <a:moveTo>
                    <a:pt x="19" y="14"/>
                  </a:moveTo>
                  <a:lnTo>
                    <a:pt x="5" y="24"/>
                  </a:lnTo>
                  <a:lnTo>
                    <a:pt x="0" y="14"/>
                  </a:lnTo>
                  <a:lnTo>
                    <a:pt x="22" y="0"/>
                  </a:lnTo>
                  <a:lnTo>
                    <a:pt x="34" y="0"/>
                  </a:lnTo>
                  <a:lnTo>
                    <a:pt x="34" y="64"/>
                  </a:lnTo>
                  <a:lnTo>
                    <a:pt x="43" y="64"/>
                  </a:lnTo>
                  <a:lnTo>
                    <a:pt x="43" y="74"/>
                  </a:lnTo>
                  <a:lnTo>
                    <a:pt x="10" y="74"/>
                  </a:lnTo>
                  <a:lnTo>
                    <a:pt x="10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17" name="Freeform 29">
              <a:extLst>
                <a:ext uri="{FF2B5EF4-FFF2-40B4-BE49-F238E27FC236}">
                  <a16:creationId xmlns:a16="http://schemas.microsoft.com/office/drawing/2014/main" id="{D003614A-D418-44F7-9A3A-0D2CD6234C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00590" y="5553608"/>
              <a:ext cx="75537" cy="113306"/>
            </a:xfrm>
            <a:custGeom>
              <a:avLst/>
              <a:gdLst>
                <a:gd name="T0" fmla="*/ 21 w 21"/>
                <a:gd name="T1" fmla="*/ 16 h 32"/>
                <a:gd name="T2" fmla="*/ 11 w 21"/>
                <a:gd name="T3" fmla="*/ 32 h 32"/>
                <a:gd name="T4" fmla="*/ 0 w 21"/>
                <a:gd name="T5" fmla="*/ 16 h 32"/>
                <a:gd name="T6" fmla="*/ 11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1 w 21"/>
                <a:gd name="T13" fmla="*/ 28 h 32"/>
                <a:gd name="T14" fmla="*/ 16 w 21"/>
                <a:gd name="T15" fmla="*/ 16 h 32"/>
                <a:gd name="T16" fmla="*/ 11 w 21"/>
                <a:gd name="T17" fmla="*/ 5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7"/>
                    <a:pt x="18" y="32"/>
                    <a:pt x="11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1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8"/>
                    <a:pt x="11" y="28"/>
                  </a:cubicBezTo>
                  <a:cubicBezTo>
                    <a:pt x="14" y="28"/>
                    <a:pt x="16" y="24"/>
                    <a:pt x="16" y="16"/>
                  </a:cubicBezTo>
                  <a:cubicBezTo>
                    <a:pt x="16" y="8"/>
                    <a:pt x="14" y="5"/>
                    <a:pt x="11" y="5"/>
                  </a:cubicBezTo>
                  <a:cubicBezTo>
                    <a:pt x="7" y="5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18" name="Freeform 30">
              <a:extLst>
                <a:ext uri="{FF2B5EF4-FFF2-40B4-BE49-F238E27FC236}">
                  <a16:creationId xmlns:a16="http://schemas.microsoft.com/office/drawing/2014/main" id="{B9F52411-677B-4993-B80E-237486ABA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3612" y="5745473"/>
              <a:ext cx="64962" cy="110285"/>
            </a:xfrm>
            <a:custGeom>
              <a:avLst/>
              <a:gdLst>
                <a:gd name="T0" fmla="*/ 19 w 43"/>
                <a:gd name="T1" fmla="*/ 14 h 73"/>
                <a:gd name="T2" fmla="*/ 5 w 43"/>
                <a:gd name="T3" fmla="*/ 24 h 73"/>
                <a:gd name="T4" fmla="*/ 0 w 43"/>
                <a:gd name="T5" fmla="*/ 14 h 73"/>
                <a:gd name="T6" fmla="*/ 22 w 43"/>
                <a:gd name="T7" fmla="*/ 0 h 73"/>
                <a:gd name="T8" fmla="*/ 34 w 43"/>
                <a:gd name="T9" fmla="*/ 0 h 73"/>
                <a:gd name="T10" fmla="*/ 34 w 43"/>
                <a:gd name="T11" fmla="*/ 64 h 73"/>
                <a:gd name="T12" fmla="*/ 43 w 43"/>
                <a:gd name="T13" fmla="*/ 64 h 73"/>
                <a:gd name="T14" fmla="*/ 43 w 43"/>
                <a:gd name="T15" fmla="*/ 73 h 73"/>
                <a:gd name="T16" fmla="*/ 10 w 43"/>
                <a:gd name="T17" fmla="*/ 73 h 73"/>
                <a:gd name="T18" fmla="*/ 10 w 43"/>
                <a:gd name="T19" fmla="*/ 64 h 73"/>
                <a:gd name="T20" fmla="*/ 19 w 43"/>
                <a:gd name="T21" fmla="*/ 64 h 73"/>
                <a:gd name="T22" fmla="*/ 19 w 43"/>
                <a:gd name="T23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73">
                  <a:moveTo>
                    <a:pt x="19" y="14"/>
                  </a:moveTo>
                  <a:lnTo>
                    <a:pt x="5" y="24"/>
                  </a:lnTo>
                  <a:lnTo>
                    <a:pt x="0" y="14"/>
                  </a:lnTo>
                  <a:lnTo>
                    <a:pt x="22" y="0"/>
                  </a:lnTo>
                  <a:lnTo>
                    <a:pt x="34" y="0"/>
                  </a:lnTo>
                  <a:lnTo>
                    <a:pt x="34" y="64"/>
                  </a:lnTo>
                  <a:lnTo>
                    <a:pt x="43" y="64"/>
                  </a:lnTo>
                  <a:lnTo>
                    <a:pt x="43" y="73"/>
                  </a:lnTo>
                  <a:lnTo>
                    <a:pt x="10" y="73"/>
                  </a:lnTo>
                  <a:lnTo>
                    <a:pt x="10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19" name="Freeform 31">
              <a:extLst>
                <a:ext uri="{FF2B5EF4-FFF2-40B4-BE49-F238E27FC236}">
                  <a16:creationId xmlns:a16="http://schemas.microsoft.com/office/drawing/2014/main" id="{9D100BC2-ED2C-4558-B54C-36A9C6945A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00590" y="5934315"/>
              <a:ext cx="75537" cy="114816"/>
            </a:xfrm>
            <a:custGeom>
              <a:avLst/>
              <a:gdLst>
                <a:gd name="T0" fmla="*/ 21 w 21"/>
                <a:gd name="T1" fmla="*/ 16 h 32"/>
                <a:gd name="T2" fmla="*/ 11 w 21"/>
                <a:gd name="T3" fmla="*/ 32 h 32"/>
                <a:gd name="T4" fmla="*/ 0 w 21"/>
                <a:gd name="T5" fmla="*/ 16 h 32"/>
                <a:gd name="T6" fmla="*/ 11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1 w 21"/>
                <a:gd name="T13" fmla="*/ 27 h 32"/>
                <a:gd name="T14" fmla="*/ 16 w 21"/>
                <a:gd name="T15" fmla="*/ 16 h 32"/>
                <a:gd name="T16" fmla="*/ 11 w 21"/>
                <a:gd name="T17" fmla="*/ 4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7"/>
                    <a:pt x="18" y="32"/>
                    <a:pt x="11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1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7"/>
                    <a:pt x="11" y="27"/>
                  </a:cubicBezTo>
                  <a:cubicBezTo>
                    <a:pt x="14" y="27"/>
                    <a:pt x="16" y="24"/>
                    <a:pt x="16" y="16"/>
                  </a:cubicBezTo>
                  <a:cubicBezTo>
                    <a:pt x="16" y="8"/>
                    <a:pt x="14" y="4"/>
                    <a:pt x="11" y="4"/>
                  </a:cubicBezTo>
                  <a:cubicBezTo>
                    <a:pt x="7" y="4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20" name="Freeform 32">
              <a:extLst>
                <a:ext uri="{FF2B5EF4-FFF2-40B4-BE49-F238E27FC236}">
                  <a16:creationId xmlns:a16="http://schemas.microsoft.com/office/drawing/2014/main" id="{1D3C3194-FB9D-491B-A2B8-BABF8D0F01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3612" y="6127690"/>
              <a:ext cx="64962" cy="107263"/>
            </a:xfrm>
            <a:custGeom>
              <a:avLst/>
              <a:gdLst>
                <a:gd name="T0" fmla="*/ 19 w 43"/>
                <a:gd name="T1" fmla="*/ 12 h 71"/>
                <a:gd name="T2" fmla="*/ 5 w 43"/>
                <a:gd name="T3" fmla="*/ 21 h 71"/>
                <a:gd name="T4" fmla="*/ 0 w 43"/>
                <a:gd name="T5" fmla="*/ 12 h 71"/>
                <a:gd name="T6" fmla="*/ 22 w 43"/>
                <a:gd name="T7" fmla="*/ 0 h 71"/>
                <a:gd name="T8" fmla="*/ 34 w 43"/>
                <a:gd name="T9" fmla="*/ 0 h 71"/>
                <a:gd name="T10" fmla="*/ 34 w 43"/>
                <a:gd name="T11" fmla="*/ 64 h 71"/>
                <a:gd name="T12" fmla="*/ 43 w 43"/>
                <a:gd name="T13" fmla="*/ 64 h 71"/>
                <a:gd name="T14" fmla="*/ 43 w 43"/>
                <a:gd name="T15" fmla="*/ 71 h 71"/>
                <a:gd name="T16" fmla="*/ 10 w 43"/>
                <a:gd name="T17" fmla="*/ 71 h 71"/>
                <a:gd name="T18" fmla="*/ 10 w 43"/>
                <a:gd name="T19" fmla="*/ 64 h 71"/>
                <a:gd name="T20" fmla="*/ 19 w 43"/>
                <a:gd name="T21" fmla="*/ 64 h 71"/>
                <a:gd name="T22" fmla="*/ 19 w 43"/>
                <a:gd name="T23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71">
                  <a:moveTo>
                    <a:pt x="19" y="12"/>
                  </a:moveTo>
                  <a:lnTo>
                    <a:pt x="5" y="21"/>
                  </a:lnTo>
                  <a:lnTo>
                    <a:pt x="0" y="12"/>
                  </a:lnTo>
                  <a:lnTo>
                    <a:pt x="22" y="0"/>
                  </a:lnTo>
                  <a:lnTo>
                    <a:pt x="34" y="0"/>
                  </a:lnTo>
                  <a:lnTo>
                    <a:pt x="34" y="64"/>
                  </a:lnTo>
                  <a:lnTo>
                    <a:pt x="43" y="64"/>
                  </a:lnTo>
                  <a:lnTo>
                    <a:pt x="43" y="71"/>
                  </a:lnTo>
                  <a:lnTo>
                    <a:pt x="10" y="71"/>
                  </a:lnTo>
                  <a:lnTo>
                    <a:pt x="10" y="64"/>
                  </a:lnTo>
                  <a:lnTo>
                    <a:pt x="19" y="64"/>
                  </a:lnTo>
                  <a:lnTo>
                    <a:pt x="19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21" name="Freeform 33">
              <a:extLst>
                <a:ext uri="{FF2B5EF4-FFF2-40B4-BE49-F238E27FC236}">
                  <a16:creationId xmlns:a16="http://schemas.microsoft.com/office/drawing/2014/main" id="{686FB1E4-CD3C-418A-8FDF-141BB845F3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3612" y="6316533"/>
              <a:ext cx="64962" cy="110285"/>
            </a:xfrm>
            <a:custGeom>
              <a:avLst/>
              <a:gdLst>
                <a:gd name="T0" fmla="*/ 19 w 43"/>
                <a:gd name="T1" fmla="*/ 14 h 73"/>
                <a:gd name="T2" fmla="*/ 5 w 43"/>
                <a:gd name="T3" fmla="*/ 24 h 73"/>
                <a:gd name="T4" fmla="*/ 0 w 43"/>
                <a:gd name="T5" fmla="*/ 14 h 73"/>
                <a:gd name="T6" fmla="*/ 22 w 43"/>
                <a:gd name="T7" fmla="*/ 0 h 73"/>
                <a:gd name="T8" fmla="*/ 34 w 43"/>
                <a:gd name="T9" fmla="*/ 0 h 73"/>
                <a:gd name="T10" fmla="*/ 34 w 43"/>
                <a:gd name="T11" fmla="*/ 64 h 73"/>
                <a:gd name="T12" fmla="*/ 43 w 43"/>
                <a:gd name="T13" fmla="*/ 64 h 73"/>
                <a:gd name="T14" fmla="*/ 43 w 43"/>
                <a:gd name="T15" fmla="*/ 73 h 73"/>
                <a:gd name="T16" fmla="*/ 10 w 43"/>
                <a:gd name="T17" fmla="*/ 73 h 73"/>
                <a:gd name="T18" fmla="*/ 10 w 43"/>
                <a:gd name="T19" fmla="*/ 64 h 73"/>
                <a:gd name="T20" fmla="*/ 19 w 43"/>
                <a:gd name="T21" fmla="*/ 64 h 73"/>
                <a:gd name="T22" fmla="*/ 19 w 43"/>
                <a:gd name="T23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73">
                  <a:moveTo>
                    <a:pt x="19" y="14"/>
                  </a:moveTo>
                  <a:lnTo>
                    <a:pt x="5" y="24"/>
                  </a:lnTo>
                  <a:lnTo>
                    <a:pt x="0" y="14"/>
                  </a:lnTo>
                  <a:lnTo>
                    <a:pt x="22" y="0"/>
                  </a:lnTo>
                  <a:lnTo>
                    <a:pt x="34" y="0"/>
                  </a:lnTo>
                  <a:lnTo>
                    <a:pt x="34" y="64"/>
                  </a:lnTo>
                  <a:lnTo>
                    <a:pt x="43" y="64"/>
                  </a:lnTo>
                  <a:lnTo>
                    <a:pt x="43" y="73"/>
                  </a:lnTo>
                  <a:lnTo>
                    <a:pt x="10" y="73"/>
                  </a:lnTo>
                  <a:lnTo>
                    <a:pt x="10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22" name="Freeform 34">
              <a:extLst>
                <a:ext uri="{FF2B5EF4-FFF2-40B4-BE49-F238E27FC236}">
                  <a16:creationId xmlns:a16="http://schemas.microsoft.com/office/drawing/2014/main" id="{BE3FD35D-14CF-48A2-821B-EDCB2531E3BB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3612" y="6505375"/>
              <a:ext cx="64962" cy="110285"/>
            </a:xfrm>
            <a:custGeom>
              <a:avLst/>
              <a:gdLst>
                <a:gd name="T0" fmla="*/ 19 w 43"/>
                <a:gd name="T1" fmla="*/ 14 h 73"/>
                <a:gd name="T2" fmla="*/ 5 w 43"/>
                <a:gd name="T3" fmla="*/ 24 h 73"/>
                <a:gd name="T4" fmla="*/ 0 w 43"/>
                <a:gd name="T5" fmla="*/ 14 h 73"/>
                <a:gd name="T6" fmla="*/ 22 w 43"/>
                <a:gd name="T7" fmla="*/ 0 h 73"/>
                <a:gd name="T8" fmla="*/ 34 w 43"/>
                <a:gd name="T9" fmla="*/ 0 h 73"/>
                <a:gd name="T10" fmla="*/ 34 w 43"/>
                <a:gd name="T11" fmla="*/ 64 h 73"/>
                <a:gd name="T12" fmla="*/ 43 w 43"/>
                <a:gd name="T13" fmla="*/ 64 h 73"/>
                <a:gd name="T14" fmla="*/ 43 w 43"/>
                <a:gd name="T15" fmla="*/ 73 h 73"/>
                <a:gd name="T16" fmla="*/ 10 w 43"/>
                <a:gd name="T17" fmla="*/ 73 h 73"/>
                <a:gd name="T18" fmla="*/ 10 w 43"/>
                <a:gd name="T19" fmla="*/ 64 h 73"/>
                <a:gd name="T20" fmla="*/ 19 w 43"/>
                <a:gd name="T21" fmla="*/ 64 h 73"/>
                <a:gd name="T22" fmla="*/ 19 w 43"/>
                <a:gd name="T23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73">
                  <a:moveTo>
                    <a:pt x="19" y="14"/>
                  </a:moveTo>
                  <a:lnTo>
                    <a:pt x="5" y="24"/>
                  </a:lnTo>
                  <a:lnTo>
                    <a:pt x="0" y="14"/>
                  </a:lnTo>
                  <a:lnTo>
                    <a:pt x="22" y="0"/>
                  </a:lnTo>
                  <a:lnTo>
                    <a:pt x="34" y="0"/>
                  </a:lnTo>
                  <a:lnTo>
                    <a:pt x="34" y="64"/>
                  </a:lnTo>
                  <a:lnTo>
                    <a:pt x="43" y="64"/>
                  </a:lnTo>
                  <a:lnTo>
                    <a:pt x="43" y="73"/>
                  </a:lnTo>
                  <a:lnTo>
                    <a:pt x="10" y="73"/>
                  </a:lnTo>
                  <a:lnTo>
                    <a:pt x="10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23" name="Freeform 43">
              <a:extLst>
                <a:ext uri="{FF2B5EF4-FFF2-40B4-BE49-F238E27FC236}">
                  <a16:creationId xmlns:a16="http://schemas.microsoft.com/office/drawing/2014/main" id="{257F8374-3854-42FA-AC0E-1564395B1F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72468" y="4228688"/>
              <a:ext cx="63451" cy="93666"/>
            </a:xfrm>
            <a:custGeom>
              <a:avLst/>
              <a:gdLst>
                <a:gd name="T0" fmla="*/ 18 w 18"/>
                <a:gd name="T1" fmla="*/ 13 h 26"/>
                <a:gd name="T2" fmla="*/ 9 w 18"/>
                <a:gd name="T3" fmla="*/ 26 h 26"/>
                <a:gd name="T4" fmla="*/ 0 w 18"/>
                <a:gd name="T5" fmla="*/ 13 h 26"/>
                <a:gd name="T6" fmla="*/ 9 w 18"/>
                <a:gd name="T7" fmla="*/ 0 h 26"/>
                <a:gd name="T8" fmla="*/ 18 w 18"/>
                <a:gd name="T9" fmla="*/ 13 h 26"/>
                <a:gd name="T10" fmla="*/ 5 w 18"/>
                <a:gd name="T11" fmla="*/ 13 h 26"/>
                <a:gd name="T12" fmla="*/ 9 w 18"/>
                <a:gd name="T13" fmla="*/ 22 h 26"/>
                <a:gd name="T14" fmla="*/ 13 w 18"/>
                <a:gd name="T15" fmla="*/ 13 h 26"/>
                <a:gd name="T16" fmla="*/ 9 w 18"/>
                <a:gd name="T17" fmla="*/ 4 h 26"/>
                <a:gd name="T18" fmla="*/ 5 w 18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6">
                  <a:moveTo>
                    <a:pt x="18" y="13"/>
                  </a:moveTo>
                  <a:cubicBezTo>
                    <a:pt x="18" y="22"/>
                    <a:pt x="15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5"/>
                    <a:pt x="3" y="0"/>
                    <a:pt x="9" y="0"/>
                  </a:cubicBezTo>
                  <a:cubicBezTo>
                    <a:pt x="15" y="0"/>
                    <a:pt x="18" y="5"/>
                    <a:pt x="18" y="13"/>
                  </a:cubicBezTo>
                  <a:close/>
                  <a:moveTo>
                    <a:pt x="5" y="13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7"/>
                    <a:pt x="12" y="4"/>
                    <a:pt x="9" y="4"/>
                  </a:cubicBezTo>
                  <a:cubicBezTo>
                    <a:pt x="6" y="4"/>
                    <a:pt x="5" y="7"/>
                    <a:pt x="5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24" name="Freeform 44">
              <a:extLst>
                <a:ext uri="{FF2B5EF4-FFF2-40B4-BE49-F238E27FC236}">
                  <a16:creationId xmlns:a16="http://schemas.microsoft.com/office/drawing/2014/main" id="{53EEDE8D-BC27-4E45-9927-B353CE6034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72468" y="4382783"/>
              <a:ext cx="63451" cy="92156"/>
            </a:xfrm>
            <a:custGeom>
              <a:avLst/>
              <a:gdLst>
                <a:gd name="T0" fmla="*/ 18 w 18"/>
                <a:gd name="T1" fmla="*/ 13 h 26"/>
                <a:gd name="T2" fmla="*/ 9 w 18"/>
                <a:gd name="T3" fmla="*/ 26 h 26"/>
                <a:gd name="T4" fmla="*/ 0 w 18"/>
                <a:gd name="T5" fmla="*/ 13 h 26"/>
                <a:gd name="T6" fmla="*/ 9 w 18"/>
                <a:gd name="T7" fmla="*/ 0 h 26"/>
                <a:gd name="T8" fmla="*/ 18 w 18"/>
                <a:gd name="T9" fmla="*/ 13 h 26"/>
                <a:gd name="T10" fmla="*/ 5 w 18"/>
                <a:gd name="T11" fmla="*/ 13 h 26"/>
                <a:gd name="T12" fmla="*/ 9 w 18"/>
                <a:gd name="T13" fmla="*/ 22 h 26"/>
                <a:gd name="T14" fmla="*/ 13 w 18"/>
                <a:gd name="T15" fmla="*/ 13 h 26"/>
                <a:gd name="T16" fmla="*/ 9 w 18"/>
                <a:gd name="T17" fmla="*/ 4 h 26"/>
                <a:gd name="T18" fmla="*/ 5 w 18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6">
                  <a:moveTo>
                    <a:pt x="18" y="13"/>
                  </a:moveTo>
                  <a:cubicBezTo>
                    <a:pt x="18" y="21"/>
                    <a:pt x="15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5" y="0"/>
                    <a:pt x="18" y="4"/>
                    <a:pt x="18" y="13"/>
                  </a:cubicBezTo>
                  <a:close/>
                  <a:moveTo>
                    <a:pt x="5" y="13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7"/>
                    <a:pt x="12" y="4"/>
                    <a:pt x="9" y="4"/>
                  </a:cubicBezTo>
                  <a:cubicBezTo>
                    <a:pt x="6" y="4"/>
                    <a:pt x="5" y="7"/>
                    <a:pt x="5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25" name="Freeform 45">
              <a:extLst>
                <a:ext uri="{FF2B5EF4-FFF2-40B4-BE49-F238E27FC236}">
                  <a16:creationId xmlns:a16="http://schemas.microsoft.com/office/drawing/2014/main" id="{3D80912A-497B-4C81-9BA5-B4FB39954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8075490" y="4689463"/>
              <a:ext cx="49855" cy="89134"/>
            </a:xfrm>
            <a:custGeom>
              <a:avLst/>
              <a:gdLst>
                <a:gd name="T0" fmla="*/ 17 w 33"/>
                <a:gd name="T1" fmla="*/ 12 h 59"/>
                <a:gd name="T2" fmla="*/ 5 w 33"/>
                <a:gd name="T3" fmla="*/ 19 h 59"/>
                <a:gd name="T4" fmla="*/ 0 w 33"/>
                <a:gd name="T5" fmla="*/ 9 h 59"/>
                <a:gd name="T6" fmla="*/ 19 w 33"/>
                <a:gd name="T7" fmla="*/ 0 h 59"/>
                <a:gd name="T8" fmla="*/ 26 w 33"/>
                <a:gd name="T9" fmla="*/ 0 h 59"/>
                <a:gd name="T10" fmla="*/ 26 w 33"/>
                <a:gd name="T11" fmla="*/ 49 h 59"/>
                <a:gd name="T12" fmla="*/ 33 w 33"/>
                <a:gd name="T13" fmla="*/ 49 h 59"/>
                <a:gd name="T14" fmla="*/ 33 w 33"/>
                <a:gd name="T15" fmla="*/ 59 h 59"/>
                <a:gd name="T16" fmla="*/ 10 w 33"/>
                <a:gd name="T17" fmla="*/ 59 h 59"/>
                <a:gd name="T18" fmla="*/ 10 w 33"/>
                <a:gd name="T19" fmla="*/ 49 h 59"/>
                <a:gd name="T20" fmla="*/ 17 w 33"/>
                <a:gd name="T21" fmla="*/ 49 h 59"/>
                <a:gd name="T22" fmla="*/ 17 w 33"/>
                <a:gd name="T23" fmla="*/ 1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9">
                  <a:moveTo>
                    <a:pt x="17" y="12"/>
                  </a:moveTo>
                  <a:lnTo>
                    <a:pt x="5" y="19"/>
                  </a:lnTo>
                  <a:lnTo>
                    <a:pt x="0" y="9"/>
                  </a:lnTo>
                  <a:lnTo>
                    <a:pt x="19" y="0"/>
                  </a:lnTo>
                  <a:lnTo>
                    <a:pt x="26" y="0"/>
                  </a:lnTo>
                  <a:lnTo>
                    <a:pt x="26" y="49"/>
                  </a:lnTo>
                  <a:lnTo>
                    <a:pt x="33" y="49"/>
                  </a:lnTo>
                  <a:lnTo>
                    <a:pt x="33" y="59"/>
                  </a:lnTo>
                  <a:lnTo>
                    <a:pt x="10" y="59"/>
                  </a:lnTo>
                  <a:lnTo>
                    <a:pt x="10" y="49"/>
                  </a:lnTo>
                  <a:lnTo>
                    <a:pt x="17" y="49"/>
                  </a:lnTo>
                  <a:lnTo>
                    <a:pt x="17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26" name="Freeform 46">
              <a:extLst>
                <a:ext uri="{FF2B5EF4-FFF2-40B4-BE49-F238E27FC236}">
                  <a16:creationId xmlns:a16="http://schemas.microsoft.com/office/drawing/2014/main" id="{9DCB625B-DB84-4FF7-AA27-4870A8FD3B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72468" y="4839027"/>
              <a:ext cx="63451" cy="92156"/>
            </a:xfrm>
            <a:custGeom>
              <a:avLst/>
              <a:gdLst>
                <a:gd name="T0" fmla="*/ 18 w 18"/>
                <a:gd name="T1" fmla="*/ 13 h 26"/>
                <a:gd name="T2" fmla="*/ 9 w 18"/>
                <a:gd name="T3" fmla="*/ 26 h 26"/>
                <a:gd name="T4" fmla="*/ 0 w 18"/>
                <a:gd name="T5" fmla="*/ 13 h 26"/>
                <a:gd name="T6" fmla="*/ 9 w 18"/>
                <a:gd name="T7" fmla="*/ 0 h 26"/>
                <a:gd name="T8" fmla="*/ 18 w 18"/>
                <a:gd name="T9" fmla="*/ 13 h 26"/>
                <a:gd name="T10" fmla="*/ 5 w 18"/>
                <a:gd name="T11" fmla="*/ 13 h 26"/>
                <a:gd name="T12" fmla="*/ 9 w 18"/>
                <a:gd name="T13" fmla="*/ 22 h 26"/>
                <a:gd name="T14" fmla="*/ 13 w 18"/>
                <a:gd name="T15" fmla="*/ 13 h 26"/>
                <a:gd name="T16" fmla="*/ 9 w 18"/>
                <a:gd name="T17" fmla="*/ 4 h 26"/>
                <a:gd name="T18" fmla="*/ 5 w 18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6">
                  <a:moveTo>
                    <a:pt x="18" y="13"/>
                  </a:moveTo>
                  <a:cubicBezTo>
                    <a:pt x="18" y="22"/>
                    <a:pt x="15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5" y="0"/>
                    <a:pt x="18" y="4"/>
                    <a:pt x="18" y="13"/>
                  </a:cubicBezTo>
                  <a:close/>
                  <a:moveTo>
                    <a:pt x="5" y="13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7"/>
                    <a:pt x="12" y="4"/>
                    <a:pt x="9" y="4"/>
                  </a:cubicBezTo>
                  <a:cubicBezTo>
                    <a:pt x="6" y="4"/>
                    <a:pt x="5" y="7"/>
                    <a:pt x="5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27" name="Freeform 47">
              <a:extLst>
                <a:ext uri="{FF2B5EF4-FFF2-40B4-BE49-F238E27FC236}">
                  <a16:creationId xmlns:a16="http://schemas.microsoft.com/office/drawing/2014/main" id="{AE79E78B-8725-4197-BB30-9E297AD880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72468" y="4993123"/>
              <a:ext cx="63451" cy="89134"/>
            </a:xfrm>
            <a:custGeom>
              <a:avLst/>
              <a:gdLst>
                <a:gd name="T0" fmla="*/ 18 w 18"/>
                <a:gd name="T1" fmla="*/ 13 h 25"/>
                <a:gd name="T2" fmla="*/ 9 w 18"/>
                <a:gd name="T3" fmla="*/ 25 h 25"/>
                <a:gd name="T4" fmla="*/ 0 w 18"/>
                <a:gd name="T5" fmla="*/ 12 h 25"/>
                <a:gd name="T6" fmla="*/ 9 w 18"/>
                <a:gd name="T7" fmla="*/ 0 h 25"/>
                <a:gd name="T8" fmla="*/ 18 w 18"/>
                <a:gd name="T9" fmla="*/ 13 h 25"/>
                <a:gd name="T10" fmla="*/ 5 w 18"/>
                <a:gd name="T11" fmla="*/ 12 h 25"/>
                <a:gd name="T12" fmla="*/ 9 w 18"/>
                <a:gd name="T13" fmla="*/ 22 h 25"/>
                <a:gd name="T14" fmla="*/ 13 w 18"/>
                <a:gd name="T15" fmla="*/ 13 h 25"/>
                <a:gd name="T16" fmla="*/ 9 w 18"/>
                <a:gd name="T17" fmla="*/ 3 h 25"/>
                <a:gd name="T18" fmla="*/ 5 w 18"/>
                <a:gd name="T1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5">
                  <a:moveTo>
                    <a:pt x="18" y="13"/>
                  </a:moveTo>
                  <a:cubicBezTo>
                    <a:pt x="18" y="21"/>
                    <a:pt x="15" y="25"/>
                    <a:pt x="9" y="25"/>
                  </a:cubicBezTo>
                  <a:cubicBezTo>
                    <a:pt x="3" y="25"/>
                    <a:pt x="0" y="21"/>
                    <a:pt x="0" y="12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5" y="0"/>
                    <a:pt x="18" y="4"/>
                    <a:pt x="18" y="13"/>
                  </a:cubicBezTo>
                  <a:close/>
                  <a:moveTo>
                    <a:pt x="5" y="12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6"/>
                    <a:pt x="12" y="3"/>
                    <a:pt x="9" y="3"/>
                  </a:cubicBezTo>
                  <a:cubicBezTo>
                    <a:pt x="6" y="3"/>
                    <a:pt x="5" y="6"/>
                    <a:pt x="5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28" name="Freeform 48">
              <a:extLst>
                <a:ext uri="{FF2B5EF4-FFF2-40B4-BE49-F238E27FC236}">
                  <a16:creationId xmlns:a16="http://schemas.microsoft.com/office/drawing/2014/main" id="{AE95E22E-2A2A-411A-90F9-8589887790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075490" y="5299803"/>
              <a:ext cx="49855" cy="84602"/>
            </a:xfrm>
            <a:custGeom>
              <a:avLst/>
              <a:gdLst>
                <a:gd name="T0" fmla="*/ 17 w 33"/>
                <a:gd name="T1" fmla="*/ 9 h 56"/>
                <a:gd name="T2" fmla="*/ 5 w 33"/>
                <a:gd name="T3" fmla="*/ 16 h 56"/>
                <a:gd name="T4" fmla="*/ 0 w 33"/>
                <a:gd name="T5" fmla="*/ 9 h 56"/>
                <a:gd name="T6" fmla="*/ 19 w 33"/>
                <a:gd name="T7" fmla="*/ 0 h 56"/>
                <a:gd name="T8" fmla="*/ 26 w 33"/>
                <a:gd name="T9" fmla="*/ 0 h 56"/>
                <a:gd name="T10" fmla="*/ 26 w 33"/>
                <a:gd name="T11" fmla="*/ 49 h 56"/>
                <a:gd name="T12" fmla="*/ 33 w 33"/>
                <a:gd name="T13" fmla="*/ 49 h 56"/>
                <a:gd name="T14" fmla="*/ 33 w 33"/>
                <a:gd name="T15" fmla="*/ 56 h 56"/>
                <a:gd name="T16" fmla="*/ 10 w 33"/>
                <a:gd name="T17" fmla="*/ 56 h 56"/>
                <a:gd name="T18" fmla="*/ 10 w 33"/>
                <a:gd name="T19" fmla="*/ 49 h 56"/>
                <a:gd name="T20" fmla="*/ 17 w 33"/>
                <a:gd name="T21" fmla="*/ 49 h 56"/>
                <a:gd name="T22" fmla="*/ 17 w 33"/>
                <a:gd name="T23" fmla="*/ 9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6">
                  <a:moveTo>
                    <a:pt x="17" y="9"/>
                  </a:moveTo>
                  <a:lnTo>
                    <a:pt x="5" y="16"/>
                  </a:lnTo>
                  <a:lnTo>
                    <a:pt x="0" y="9"/>
                  </a:lnTo>
                  <a:lnTo>
                    <a:pt x="19" y="0"/>
                  </a:lnTo>
                  <a:lnTo>
                    <a:pt x="26" y="0"/>
                  </a:lnTo>
                  <a:lnTo>
                    <a:pt x="26" y="49"/>
                  </a:lnTo>
                  <a:lnTo>
                    <a:pt x="33" y="49"/>
                  </a:lnTo>
                  <a:lnTo>
                    <a:pt x="33" y="56"/>
                  </a:lnTo>
                  <a:lnTo>
                    <a:pt x="10" y="56"/>
                  </a:lnTo>
                  <a:lnTo>
                    <a:pt x="10" y="49"/>
                  </a:lnTo>
                  <a:lnTo>
                    <a:pt x="17" y="49"/>
                  </a:lnTo>
                  <a:lnTo>
                    <a:pt x="17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29" name="Freeform 49">
              <a:extLst>
                <a:ext uri="{FF2B5EF4-FFF2-40B4-BE49-F238E27FC236}">
                  <a16:creationId xmlns:a16="http://schemas.microsoft.com/office/drawing/2014/main" id="{C17F8B32-02C1-4F35-94B8-08A224FA5F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72468" y="5449367"/>
              <a:ext cx="63451" cy="89134"/>
            </a:xfrm>
            <a:custGeom>
              <a:avLst/>
              <a:gdLst>
                <a:gd name="T0" fmla="*/ 18 w 18"/>
                <a:gd name="T1" fmla="*/ 13 h 25"/>
                <a:gd name="T2" fmla="*/ 9 w 18"/>
                <a:gd name="T3" fmla="*/ 25 h 25"/>
                <a:gd name="T4" fmla="*/ 0 w 18"/>
                <a:gd name="T5" fmla="*/ 13 h 25"/>
                <a:gd name="T6" fmla="*/ 9 w 18"/>
                <a:gd name="T7" fmla="*/ 0 h 25"/>
                <a:gd name="T8" fmla="*/ 18 w 18"/>
                <a:gd name="T9" fmla="*/ 13 h 25"/>
                <a:gd name="T10" fmla="*/ 5 w 18"/>
                <a:gd name="T11" fmla="*/ 13 h 25"/>
                <a:gd name="T12" fmla="*/ 9 w 18"/>
                <a:gd name="T13" fmla="*/ 22 h 25"/>
                <a:gd name="T14" fmla="*/ 13 w 18"/>
                <a:gd name="T15" fmla="*/ 13 h 25"/>
                <a:gd name="T16" fmla="*/ 9 w 18"/>
                <a:gd name="T17" fmla="*/ 3 h 25"/>
                <a:gd name="T18" fmla="*/ 5 w 18"/>
                <a:gd name="T19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5">
                  <a:moveTo>
                    <a:pt x="18" y="13"/>
                  </a:moveTo>
                  <a:cubicBezTo>
                    <a:pt x="18" y="21"/>
                    <a:pt x="15" y="25"/>
                    <a:pt x="9" y="25"/>
                  </a:cubicBezTo>
                  <a:cubicBezTo>
                    <a:pt x="3" y="25"/>
                    <a:pt x="0" y="21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5" y="0"/>
                    <a:pt x="18" y="4"/>
                    <a:pt x="18" y="13"/>
                  </a:cubicBezTo>
                  <a:close/>
                  <a:moveTo>
                    <a:pt x="5" y="13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6"/>
                    <a:pt x="12" y="3"/>
                    <a:pt x="9" y="3"/>
                  </a:cubicBezTo>
                  <a:cubicBezTo>
                    <a:pt x="6" y="3"/>
                    <a:pt x="5" y="6"/>
                    <a:pt x="5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30" name="Freeform 50">
              <a:extLst>
                <a:ext uri="{FF2B5EF4-FFF2-40B4-BE49-F238E27FC236}">
                  <a16:creationId xmlns:a16="http://schemas.microsoft.com/office/drawing/2014/main" id="{8639F1C3-4CBA-4B50-8466-BB9864187D29}"/>
                </a:ext>
              </a:extLst>
            </p:cNvPr>
            <p:cNvSpPr>
              <a:spLocks/>
            </p:cNvSpPr>
            <p:nvPr/>
          </p:nvSpPr>
          <p:spPr bwMode="auto">
            <a:xfrm>
              <a:off x="8075490" y="5603463"/>
              <a:ext cx="49855" cy="89134"/>
            </a:xfrm>
            <a:custGeom>
              <a:avLst/>
              <a:gdLst>
                <a:gd name="T0" fmla="*/ 17 w 33"/>
                <a:gd name="T1" fmla="*/ 11 h 59"/>
                <a:gd name="T2" fmla="*/ 5 w 33"/>
                <a:gd name="T3" fmla="*/ 18 h 59"/>
                <a:gd name="T4" fmla="*/ 0 w 33"/>
                <a:gd name="T5" fmla="*/ 9 h 59"/>
                <a:gd name="T6" fmla="*/ 19 w 33"/>
                <a:gd name="T7" fmla="*/ 0 h 59"/>
                <a:gd name="T8" fmla="*/ 26 w 33"/>
                <a:gd name="T9" fmla="*/ 0 h 59"/>
                <a:gd name="T10" fmla="*/ 26 w 33"/>
                <a:gd name="T11" fmla="*/ 49 h 59"/>
                <a:gd name="T12" fmla="*/ 33 w 33"/>
                <a:gd name="T13" fmla="*/ 52 h 59"/>
                <a:gd name="T14" fmla="*/ 33 w 33"/>
                <a:gd name="T15" fmla="*/ 59 h 59"/>
                <a:gd name="T16" fmla="*/ 10 w 33"/>
                <a:gd name="T17" fmla="*/ 59 h 59"/>
                <a:gd name="T18" fmla="*/ 10 w 33"/>
                <a:gd name="T19" fmla="*/ 52 h 59"/>
                <a:gd name="T20" fmla="*/ 17 w 33"/>
                <a:gd name="T21" fmla="*/ 49 h 59"/>
                <a:gd name="T22" fmla="*/ 17 w 33"/>
                <a:gd name="T23" fmla="*/ 1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9">
                  <a:moveTo>
                    <a:pt x="17" y="11"/>
                  </a:moveTo>
                  <a:lnTo>
                    <a:pt x="5" y="18"/>
                  </a:lnTo>
                  <a:lnTo>
                    <a:pt x="0" y="9"/>
                  </a:lnTo>
                  <a:lnTo>
                    <a:pt x="19" y="0"/>
                  </a:lnTo>
                  <a:lnTo>
                    <a:pt x="26" y="0"/>
                  </a:lnTo>
                  <a:lnTo>
                    <a:pt x="26" y="49"/>
                  </a:lnTo>
                  <a:lnTo>
                    <a:pt x="33" y="52"/>
                  </a:lnTo>
                  <a:lnTo>
                    <a:pt x="33" y="59"/>
                  </a:lnTo>
                  <a:lnTo>
                    <a:pt x="10" y="59"/>
                  </a:lnTo>
                  <a:lnTo>
                    <a:pt x="10" y="52"/>
                  </a:lnTo>
                  <a:lnTo>
                    <a:pt x="17" y="49"/>
                  </a:lnTo>
                  <a:lnTo>
                    <a:pt x="17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31" name="Freeform 51">
              <a:extLst>
                <a:ext uri="{FF2B5EF4-FFF2-40B4-BE49-F238E27FC236}">
                  <a16:creationId xmlns:a16="http://schemas.microsoft.com/office/drawing/2014/main" id="{B4EE38B1-849C-4E1B-9D0B-9E18929B88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72468" y="5753026"/>
              <a:ext cx="63451" cy="92156"/>
            </a:xfrm>
            <a:custGeom>
              <a:avLst/>
              <a:gdLst>
                <a:gd name="T0" fmla="*/ 18 w 18"/>
                <a:gd name="T1" fmla="*/ 13 h 26"/>
                <a:gd name="T2" fmla="*/ 9 w 18"/>
                <a:gd name="T3" fmla="*/ 26 h 26"/>
                <a:gd name="T4" fmla="*/ 0 w 18"/>
                <a:gd name="T5" fmla="*/ 13 h 26"/>
                <a:gd name="T6" fmla="*/ 9 w 18"/>
                <a:gd name="T7" fmla="*/ 0 h 26"/>
                <a:gd name="T8" fmla="*/ 18 w 18"/>
                <a:gd name="T9" fmla="*/ 13 h 26"/>
                <a:gd name="T10" fmla="*/ 5 w 18"/>
                <a:gd name="T11" fmla="*/ 13 h 26"/>
                <a:gd name="T12" fmla="*/ 9 w 18"/>
                <a:gd name="T13" fmla="*/ 22 h 26"/>
                <a:gd name="T14" fmla="*/ 13 w 18"/>
                <a:gd name="T15" fmla="*/ 13 h 26"/>
                <a:gd name="T16" fmla="*/ 9 w 18"/>
                <a:gd name="T17" fmla="*/ 4 h 26"/>
                <a:gd name="T18" fmla="*/ 5 w 18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6">
                  <a:moveTo>
                    <a:pt x="18" y="13"/>
                  </a:moveTo>
                  <a:cubicBezTo>
                    <a:pt x="18" y="22"/>
                    <a:pt x="15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5" y="0"/>
                    <a:pt x="18" y="4"/>
                    <a:pt x="18" y="13"/>
                  </a:cubicBezTo>
                  <a:close/>
                  <a:moveTo>
                    <a:pt x="5" y="13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7"/>
                    <a:pt x="12" y="4"/>
                    <a:pt x="9" y="4"/>
                  </a:cubicBezTo>
                  <a:cubicBezTo>
                    <a:pt x="6" y="4"/>
                    <a:pt x="5" y="7"/>
                    <a:pt x="5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32" name="Freeform 52">
              <a:extLst>
                <a:ext uri="{FF2B5EF4-FFF2-40B4-BE49-F238E27FC236}">
                  <a16:creationId xmlns:a16="http://schemas.microsoft.com/office/drawing/2014/main" id="{9EB89B9A-5946-4293-A8C7-31B90BABF63A}"/>
                </a:ext>
              </a:extLst>
            </p:cNvPr>
            <p:cNvSpPr>
              <a:spLocks/>
            </p:cNvSpPr>
            <p:nvPr/>
          </p:nvSpPr>
          <p:spPr bwMode="auto">
            <a:xfrm>
              <a:off x="8075490" y="5905611"/>
              <a:ext cx="49855" cy="89134"/>
            </a:xfrm>
            <a:custGeom>
              <a:avLst/>
              <a:gdLst>
                <a:gd name="T0" fmla="*/ 17 w 33"/>
                <a:gd name="T1" fmla="*/ 12 h 59"/>
                <a:gd name="T2" fmla="*/ 5 w 33"/>
                <a:gd name="T3" fmla="*/ 19 h 59"/>
                <a:gd name="T4" fmla="*/ 0 w 33"/>
                <a:gd name="T5" fmla="*/ 12 h 59"/>
                <a:gd name="T6" fmla="*/ 19 w 33"/>
                <a:gd name="T7" fmla="*/ 0 h 59"/>
                <a:gd name="T8" fmla="*/ 26 w 33"/>
                <a:gd name="T9" fmla="*/ 0 h 59"/>
                <a:gd name="T10" fmla="*/ 26 w 33"/>
                <a:gd name="T11" fmla="*/ 52 h 59"/>
                <a:gd name="T12" fmla="*/ 33 w 33"/>
                <a:gd name="T13" fmla="*/ 52 h 59"/>
                <a:gd name="T14" fmla="*/ 33 w 33"/>
                <a:gd name="T15" fmla="*/ 59 h 59"/>
                <a:gd name="T16" fmla="*/ 10 w 33"/>
                <a:gd name="T17" fmla="*/ 59 h 59"/>
                <a:gd name="T18" fmla="*/ 10 w 33"/>
                <a:gd name="T19" fmla="*/ 52 h 59"/>
                <a:gd name="T20" fmla="*/ 17 w 33"/>
                <a:gd name="T21" fmla="*/ 52 h 59"/>
                <a:gd name="T22" fmla="*/ 17 w 33"/>
                <a:gd name="T23" fmla="*/ 1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9">
                  <a:moveTo>
                    <a:pt x="17" y="12"/>
                  </a:moveTo>
                  <a:lnTo>
                    <a:pt x="5" y="19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6" y="0"/>
                  </a:lnTo>
                  <a:lnTo>
                    <a:pt x="26" y="52"/>
                  </a:lnTo>
                  <a:lnTo>
                    <a:pt x="33" y="52"/>
                  </a:lnTo>
                  <a:lnTo>
                    <a:pt x="33" y="59"/>
                  </a:lnTo>
                  <a:lnTo>
                    <a:pt x="10" y="59"/>
                  </a:lnTo>
                  <a:lnTo>
                    <a:pt x="10" y="52"/>
                  </a:lnTo>
                  <a:lnTo>
                    <a:pt x="17" y="52"/>
                  </a:lnTo>
                  <a:lnTo>
                    <a:pt x="17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33" name="Freeform 53">
              <a:extLst>
                <a:ext uri="{FF2B5EF4-FFF2-40B4-BE49-F238E27FC236}">
                  <a16:creationId xmlns:a16="http://schemas.microsoft.com/office/drawing/2014/main" id="{5CD489E1-DA86-4F9A-844B-B7BC20F9F2A7}"/>
                </a:ext>
              </a:extLst>
            </p:cNvPr>
            <p:cNvSpPr>
              <a:spLocks/>
            </p:cNvSpPr>
            <p:nvPr/>
          </p:nvSpPr>
          <p:spPr bwMode="auto">
            <a:xfrm>
              <a:off x="8075490" y="6059707"/>
              <a:ext cx="49855" cy="89134"/>
            </a:xfrm>
            <a:custGeom>
              <a:avLst/>
              <a:gdLst>
                <a:gd name="T0" fmla="*/ 17 w 33"/>
                <a:gd name="T1" fmla="*/ 12 h 59"/>
                <a:gd name="T2" fmla="*/ 5 w 33"/>
                <a:gd name="T3" fmla="*/ 19 h 59"/>
                <a:gd name="T4" fmla="*/ 0 w 33"/>
                <a:gd name="T5" fmla="*/ 9 h 59"/>
                <a:gd name="T6" fmla="*/ 19 w 33"/>
                <a:gd name="T7" fmla="*/ 0 h 59"/>
                <a:gd name="T8" fmla="*/ 26 w 33"/>
                <a:gd name="T9" fmla="*/ 0 h 59"/>
                <a:gd name="T10" fmla="*/ 26 w 33"/>
                <a:gd name="T11" fmla="*/ 52 h 59"/>
                <a:gd name="T12" fmla="*/ 33 w 33"/>
                <a:gd name="T13" fmla="*/ 52 h 59"/>
                <a:gd name="T14" fmla="*/ 33 w 33"/>
                <a:gd name="T15" fmla="*/ 59 h 59"/>
                <a:gd name="T16" fmla="*/ 10 w 33"/>
                <a:gd name="T17" fmla="*/ 59 h 59"/>
                <a:gd name="T18" fmla="*/ 10 w 33"/>
                <a:gd name="T19" fmla="*/ 52 h 59"/>
                <a:gd name="T20" fmla="*/ 17 w 33"/>
                <a:gd name="T21" fmla="*/ 52 h 59"/>
                <a:gd name="T22" fmla="*/ 17 w 33"/>
                <a:gd name="T23" fmla="*/ 1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9">
                  <a:moveTo>
                    <a:pt x="17" y="12"/>
                  </a:moveTo>
                  <a:lnTo>
                    <a:pt x="5" y="19"/>
                  </a:lnTo>
                  <a:lnTo>
                    <a:pt x="0" y="9"/>
                  </a:lnTo>
                  <a:lnTo>
                    <a:pt x="19" y="0"/>
                  </a:lnTo>
                  <a:lnTo>
                    <a:pt x="26" y="0"/>
                  </a:lnTo>
                  <a:lnTo>
                    <a:pt x="26" y="52"/>
                  </a:lnTo>
                  <a:lnTo>
                    <a:pt x="33" y="52"/>
                  </a:lnTo>
                  <a:lnTo>
                    <a:pt x="33" y="59"/>
                  </a:lnTo>
                  <a:lnTo>
                    <a:pt x="10" y="59"/>
                  </a:lnTo>
                  <a:lnTo>
                    <a:pt x="10" y="52"/>
                  </a:lnTo>
                  <a:lnTo>
                    <a:pt x="17" y="52"/>
                  </a:lnTo>
                  <a:lnTo>
                    <a:pt x="17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34" name="Freeform 54">
              <a:extLst>
                <a:ext uri="{FF2B5EF4-FFF2-40B4-BE49-F238E27FC236}">
                  <a16:creationId xmlns:a16="http://schemas.microsoft.com/office/drawing/2014/main" id="{DDBD4774-00FF-4F50-9017-22FA5F61D706}"/>
                </a:ext>
              </a:extLst>
            </p:cNvPr>
            <p:cNvSpPr>
              <a:spLocks/>
            </p:cNvSpPr>
            <p:nvPr/>
          </p:nvSpPr>
          <p:spPr bwMode="auto">
            <a:xfrm>
              <a:off x="8075490" y="6213803"/>
              <a:ext cx="49855" cy="84602"/>
            </a:xfrm>
            <a:custGeom>
              <a:avLst/>
              <a:gdLst>
                <a:gd name="T0" fmla="*/ 17 w 33"/>
                <a:gd name="T1" fmla="*/ 9 h 56"/>
                <a:gd name="T2" fmla="*/ 5 w 33"/>
                <a:gd name="T3" fmla="*/ 16 h 56"/>
                <a:gd name="T4" fmla="*/ 0 w 33"/>
                <a:gd name="T5" fmla="*/ 9 h 56"/>
                <a:gd name="T6" fmla="*/ 19 w 33"/>
                <a:gd name="T7" fmla="*/ 0 h 56"/>
                <a:gd name="T8" fmla="*/ 26 w 33"/>
                <a:gd name="T9" fmla="*/ 0 h 56"/>
                <a:gd name="T10" fmla="*/ 26 w 33"/>
                <a:gd name="T11" fmla="*/ 49 h 56"/>
                <a:gd name="T12" fmla="*/ 33 w 33"/>
                <a:gd name="T13" fmla="*/ 49 h 56"/>
                <a:gd name="T14" fmla="*/ 33 w 33"/>
                <a:gd name="T15" fmla="*/ 56 h 56"/>
                <a:gd name="T16" fmla="*/ 10 w 33"/>
                <a:gd name="T17" fmla="*/ 56 h 56"/>
                <a:gd name="T18" fmla="*/ 10 w 33"/>
                <a:gd name="T19" fmla="*/ 49 h 56"/>
                <a:gd name="T20" fmla="*/ 17 w 33"/>
                <a:gd name="T21" fmla="*/ 49 h 56"/>
                <a:gd name="T22" fmla="*/ 17 w 33"/>
                <a:gd name="T23" fmla="*/ 9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6">
                  <a:moveTo>
                    <a:pt x="17" y="9"/>
                  </a:moveTo>
                  <a:lnTo>
                    <a:pt x="5" y="16"/>
                  </a:lnTo>
                  <a:lnTo>
                    <a:pt x="0" y="9"/>
                  </a:lnTo>
                  <a:lnTo>
                    <a:pt x="19" y="0"/>
                  </a:lnTo>
                  <a:lnTo>
                    <a:pt x="26" y="0"/>
                  </a:lnTo>
                  <a:lnTo>
                    <a:pt x="26" y="49"/>
                  </a:lnTo>
                  <a:lnTo>
                    <a:pt x="33" y="49"/>
                  </a:lnTo>
                  <a:lnTo>
                    <a:pt x="33" y="56"/>
                  </a:lnTo>
                  <a:lnTo>
                    <a:pt x="10" y="56"/>
                  </a:lnTo>
                  <a:lnTo>
                    <a:pt x="10" y="49"/>
                  </a:lnTo>
                  <a:lnTo>
                    <a:pt x="17" y="49"/>
                  </a:lnTo>
                  <a:lnTo>
                    <a:pt x="17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35" name="Freeform 55">
              <a:extLst>
                <a:ext uri="{FF2B5EF4-FFF2-40B4-BE49-F238E27FC236}">
                  <a16:creationId xmlns:a16="http://schemas.microsoft.com/office/drawing/2014/main" id="{C0ACBC4B-4087-4528-81C4-361029698C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72468" y="6667025"/>
              <a:ext cx="63451" cy="92156"/>
            </a:xfrm>
            <a:custGeom>
              <a:avLst/>
              <a:gdLst>
                <a:gd name="T0" fmla="*/ 18 w 18"/>
                <a:gd name="T1" fmla="*/ 13 h 26"/>
                <a:gd name="T2" fmla="*/ 9 w 18"/>
                <a:gd name="T3" fmla="*/ 26 h 26"/>
                <a:gd name="T4" fmla="*/ 0 w 18"/>
                <a:gd name="T5" fmla="*/ 13 h 26"/>
                <a:gd name="T6" fmla="*/ 9 w 18"/>
                <a:gd name="T7" fmla="*/ 0 h 26"/>
                <a:gd name="T8" fmla="*/ 18 w 18"/>
                <a:gd name="T9" fmla="*/ 13 h 26"/>
                <a:gd name="T10" fmla="*/ 5 w 18"/>
                <a:gd name="T11" fmla="*/ 13 h 26"/>
                <a:gd name="T12" fmla="*/ 9 w 18"/>
                <a:gd name="T13" fmla="*/ 22 h 26"/>
                <a:gd name="T14" fmla="*/ 13 w 18"/>
                <a:gd name="T15" fmla="*/ 13 h 26"/>
                <a:gd name="T16" fmla="*/ 9 w 18"/>
                <a:gd name="T17" fmla="*/ 4 h 26"/>
                <a:gd name="T18" fmla="*/ 5 w 18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6">
                  <a:moveTo>
                    <a:pt x="18" y="13"/>
                  </a:moveTo>
                  <a:cubicBezTo>
                    <a:pt x="18" y="22"/>
                    <a:pt x="15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5" y="0"/>
                    <a:pt x="18" y="4"/>
                    <a:pt x="18" y="13"/>
                  </a:cubicBezTo>
                  <a:close/>
                  <a:moveTo>
                    <a:pt x="5" y="13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7"/>
                    <a:pt x="12" y="4"/>
                    <a:pt x="9" y="4"/>
                  </a:cubicBezTo>
                  <a:cubicBezTo>
                    <a:pt x="6" y="4"/>
                    <a:pt x="5" y="7"/>
                    <a:pt x="5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36" name="Freeform 56">
              <a:extLst>
                <a:ext uri="{FF2B5EF4-FFF2-40B4-BE49-F238E27FC236}">
                  <a16:creationId xmlns:a16="http://schemas.microsoft.com/office/drawing/2014/main" id="{B765FB79-26D8-40BC-83A6-3AF29B2BF5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72468" y="6819610"/>
              <a:ext cx="63451" cy="89134"/>
            </a:xfrm>
            <a:custGeom>
              <a:avLst/>
              <a:gdLst>
                <a:gd name="T0" fmla="*/ 18 w 18"/>
                <a:gd name="T1" fmla="*/ 13 h 25"/>
                <a:gd name="T2" fmla="*/ 9 w 18"/>
                <a:gd name="T3" fmla="*/ 25 h 25"/>
                <a:gd name="T4" fmla="*/ 0 w 18"/>
                <a:gd name="T5" fmla="*/ 13 h 25"/>
                <a:gd name="T6" fmla="*/ 9 w 18"/>
                <a:gd name="T7" fmla="*/ 0 h 25"/>
                <a:gd name="T8" fmla="*/ 18 w 18"/>
                <a:gd name="T9" fmla="*/ 13 h 25"/>
                <a:gd name="T10" fmla="*/ 5 w 18"/>
                <a:gd name="T11" fmla="*/ 13 h 25"/>
                <a:gd name="T12" fmla="*/ 9 w 18"/>
                <a:gd name="T13" fmla="*/ 22 h 25"/>
                <a:gd name="T14" fmla="*/ 13 w 18"/>
                <a:gd name="T15" fmla="*/ 13 h 25"/>
                <a:gd name="T16" fmla="*/ 9 w 18"/>
                <a:gd name="T17" fmla="*/ 4 h 25"/>
                <a:gd name="T18" fmla="*/ 5 w 18"/>
                <a:gd name="T19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5">
                  <a:moveTo>
                    <a:pt x="18" y="13"/>
                  </a:moveTo>
                  <a:cubicBezTo>
                    <a:pt x="18" y="21"/>
                    <a:pt x="15" y="25"/>
                    <a:pt x="9" y="25"/>
                  </a:cubicBezTo>
                  <a:cubicBezTo>
                    <a:pt x="3" y="25"/>
                    <a:pt x="0" y="21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5" y="0"/>
                    <a:pt x="18" y="4"/>
                    <a:pt x="18" y="13"/>
                  </a:cubicBezTo>
                  <a:close/>
                  <a:moveTo>
                    <a:pt x="5" y="13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7"/>
                    <a:pt x="12" y="4"/>
                    <a:pt x="9" y="4"/>
                  </a:cubicBezTo>
                  <a:cubicBezTo>
                    <a:pt x="6" y="4"/>
                    <a:pt x="5" y="7"/>
                    <a:pt x="5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37" name="Freeform 63">
              <a:extLst>
                <a:ext uri="{FF2B5EF4-FFF2-40B4-BE49-F238E27FC236}">
                  <a16:creationId xmlns:a16="http://schemas.microsoft.com/office/drawing/2014/main" id="{970203A6-F5B7-4D8E-AFDA-2BAC92ABB9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02906" y="4228688"/>
              <a:ext cx="60430" cy="93666"/>
            </a:xfrm>
            <a:custGeom>
              <a:avLst/>
              <a:gdLst>
                <a:gd name="T0" fmla="*/ 17 w 17"/>
                <a:gd name="T1" fmla="*/ 13 h 26"/>
                <a:gd name="T2" fmla="*/ 9 w 17"/>
                <a:gd name="T3" fmla="*/ 26 h 26"/>
                <a:gd name="T4" fmla="*/ 0 w 17"/>
                <a:gd name="T5" fmla="*/ 13 h 26"/>
                <a:gd name="T6" fmla="*/ 9 w 17"/>
                <a:gd name="T7" fmla="*/ 0 h 26"/>
                <a:gd name="T8" fmla="*/ 17 w 17"/>
                <a:gd name="T9" fmla="*/ 13 h 26"/>
                <a:gd name="T10" fmla="*/ 4 w 17"/>
                <a:gd name="T11" fmla="*/ 13 h 26"/>
                <a:gd name="T12" fmla="*/ 9 w 17"/>
                <a:gd name="T13" fmla="*/ 22 h 26"/>
                <a:gd name="T14" fmla="*/ 13 w 17"/>
                <a:gd name="T15" fmla="*/ 13 h 26"/>
                <a:gd name="T16" fmla="*/ 9 w 17"/>
                <a:gd name="T17" fmla="*/ 4 h 26"/>
                <a:gd name="T18" fmla="*/ 4 w 17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6">
                  <a:moveTo>
                    <a:pt x="17" y="13"/>
                  </a:moveTo>
                  <a:cubicBezTo>
                    <a:pt x="17" y="22"/>
                    <a:pt x="14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5"/>
                    <a:pt x="3" y="0"/>
                    <a:pt x="9" y="0"/>
                  </a:cubicBezTo>
                  <a:cubicBezTo>
                    <a:pt x="14" y="0"/>
                    <a:pt x="17" y="5"/>
                    <a:pt x="17" y="13"/>
                  </a:cubicBezTo>
                  <a:close/>
                  <a:moveTo>
                    <a:pt x="4" y="13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7"/>
                    <a:pt x="11" y="4"/>
                    <a:pt x="9" y="4"/>
                  </a:cubicBezTo>
                  <a:cubicBezTo>
                    <a:pt x="6" y="4"/>
                    <a:pt x="4" y="7"/>
                    <a:pt x="4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38" name="Freeform 64">
              <a:extLst>
                <a:ext uri="{FF2B5EF4-FFF2-40B4-BE49-F238E27FC236}">
                  <a16:creationId xmlns:a16="http://schemas.microsoft.com/office/drawing/2014/main" id="{B99183FD-5C5E-405A-BDEC-E4B30A4230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02906" y="4382783"/>
              <a:ext cx="60430" cy="92156"/>
            </a:xfrm>
            <a:custGeom>
              <a:avLst/>
              <a:gdLst>
                <a:gd name="T0" fmla="*/ 17 w 17"/>
                <a:gd name="T1" fmla="*/ 13 h 26"/>
                <a:gd name="T2" fmla="*/ 9 w 17"/>
                <a:gd name="T3" fmla="*/ 26 h 26"/>
                <a:gd name="T4" fmla="*/ 0 w 17"/>
                <a:gd name="T5" fmla="*/ 13 h 26"/>
                <a:gd name="T6" fmla="*/ 9 w 17"/>
                <a:gd name="T7" fmla="*/ 0 h 26"/>
                <a:gd name="T8" fmla="*/ 17 w 17"/>
                <a:gd name="T9" fmla="*/ 13 h 26"/>
                <a:gd name="T10" fmla="*/ 4 w 17"/>
                <a:gd name="T11" fmla="*/ 13 h 26"/>
                <a:gd name="T12" fmla="*/ 9 w 17"/>
                <a:gd name="T13" fmla="*/ 22 h 26"/>
                <a:gd name="T14" fmla="*/ 13 w 17"/>
                <a:gd name="T15" fmla="*/ 13 h 26"/>
                <a:gd name="T16" fmla="*/ 9 w 17"/>
                <a:gd name="T17" fmla="*/ 4 h 26"/>
                <a:gd name="T18" fmla="*/ 4 w 17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6">
                  <a:moveTo>
                    <a:pt x="17" y="13"/>
                  </a:moveTo>
                  <a:cubicBezTo>
                    <a:pt x="17" y="21"/>
                    <a:pt x="14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4" y="0"/>
                    <a:pt x="17" y="4"/>
                    <a:pt x="17" y="13"/>
                  </a:cubicBezTo>
                  <a:close/>
                  <a:moveTo>
                    <a:pt x="4" y="13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7"/>
                    <a:pt x="11" y="4"/>
                    <a:pt x="9" y="4"/>
                  </a:cubicBezTo>
                  <a:cubicBezTo>
                    <a:pt x="6" y="4"/>
                    <a:pt x="4" y="7"/>
                    <a:pt x="4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39" name="Freeform 65">
              <a:extLst>
                <a:ext uri="{FF2B5EF4-FFF2-40B4-BE49-F238E27FC236}">
                  <a16:creationId xmlns:a16="http://schemas.microsoft.com/office/drawing/2014/main" id="{92FC56CE-7D41-4ED8-A086-15737BAFF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7438" y="4689463"/>
              <a:ext cx="49855" cy="89134"/>
            </a:xfrm>
            <a:custGeom>
              <a:avLst/>
              <a:gdLst>
                <a:gd name="T0" fmla="*/ 16 w 33"/>
                <a:gd name="T1" fmla="*/ 12 h 59"/>
                <a:gd name="T2" fmla="*/ 4 w 33"/>
                <a:gd name="T3" fmla="*/ 19 h 59"/>
                <a:gd name="T4" fmla="*/ 0 w 33"/>
                <a:gd name="T5" fmla="*/ 9 h 59"/>
                <a:gd name="T6" fmla="*/ 16 w 33"/>
                <a:gd name="T7" fmla="*/ 0 h 59"/>
                <a:gd name="T8" fmla="*/ 26 w 33"/>
                <a:gd name="T9" fmla="*/ 0 h 59"/>
                <a:gd name="T10" fmla="*/ 26 w 33"/>
                <a:gd name="T11" fmla="*/ 49 h 59"/>
                <a:gd name="T12" fmla="*/ 33 w 33"/>
                <a:gd name="T13" fmla="*/ 49 h 59"/>
                <a:gd name="T14" fmla="*/ 33 w 33"/>
                <a:gd name="T15" fmla="*/ 59 h 59"/>
                <a:gd name="T16" fmla="*/ 7 w 33"/>
                <a:gd name="T17" fmla="*/ 59 h 59"/>
                <a:gd name="T18" fmla="*/ 7 w 33"/>
                <a:gd name="T19" fmla="*/ 49 h 59"/>
                <a:gd name="T20" fmla="*/ 16 w 33"/>
                <a:gd name="T21" fmla="*/ 49 h 59"/>
                <a:gd name="T22" fmla="*/ 16 w 33"/>
                <a:gd name="T23" fmla="*/ 1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9">
                  <a:moveTo>
                    <a:pt x="16" y="12"/>
                  </a:moveTo>
                  <a:lnTo>
                    <a:pt x="4" y="19"/>
                  </a:lnTo>
                  <a:lnTo>
                    <a:pt x="0" y="9"/>
                  </a:lnTo>
                  <a:lnTo>
                    <a:pt x="16" y="0"/>
                  </a:lnTo>
                  <a:lnTo>
                    <a:pt x="26" y="0"/>
                  </a:lnTo>
                  <a:lnTo>
                    <a:pt x="26" y="49"/>
                  </a:lnTo>
                  <a:lnTo>
                    <a:pt x="33" y="49"/>
                  </a:lnTo>
                  <a:lnTo>
                    <a:pt x="33" y="59"/>
                  </a:lnTo>
                  <a:lnTo>
                    <a:pt x="7" y="59"/>
                  </a:lnTo>
                  <a:lnTo>
                    <a:pt x="7" y="49"/>
                  </a:lnTo>
                  <a:lnTo>
                    <a:pt x="16" y="49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40" name="Freeform 66">
              <a:extLst>
                <a:ext uri="{FF2B5EF4-FFF2-40B4-BE49-F238E27FC236}">
                  <a16:creationId xmlns:a16="http://schemas.microsoft.com/office/drawing/2014/main" id="{718F906A-8926-4272-988C-7C071E209E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02906" y="4839027"/>
              <a:ext cx="60430" cy="92156"/>
            </a:xfrm>
            <a:custGeom>
              <a:avLst/>
              <a:gdLst>
                <a:gd name="T0" fmla="*/ 17 w 17"/>
                <a:gd name="T1" fmla="*/ 13 h 26"/>
                <a:gd name="T2" fmla="*/ 9 w 17"/>
                <a:gd name="T3" fmla="*/ 26 h 26"/>
                <a:gd name="T4" fmla="*/ 0 w 17"/>
                <a:gd name="T5" fmla="*/ 13 h 26"/>
                <a:gd name="T6" fmla="*/ 9 w 17"/>
                <a:gd name="T7" fmla="*/ 0 h 26"/>
                <a:gd name="T8" fmla="*/ 17 w 17"/>
                <a:gd name="T9" fmla="*/ 13 h 26"/>
                <a:gd name="T10" fmla="*/ 4 w 17"/>
                <a:gd name="T11" fmla="*/ 13 h 26"/>
                <a:gd name="T12" fmla="*/ 9 w 17"/>
                <a:gd name="T13" fmla="*/ 22 h 26"/>
                <a:gd name="T14" fmla="*/ 13 w 17"/>
                <a:gd name="T15" fmla="*/ 13 h 26"/>
                <a:gd name="T16" fmla="*/ 9 w 17"/>
                <a:gd name="T17" fmla="*/ 4 h 26"/>
                <a:gd name="T18" fmla="*/ 4 w 17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6">
                  <a:moveTo>
                    <a:pt x="17" y="13"/>
                  </a:moveTo>
                  <a:cubicBezTo>
                    <a:pt x="17" y="22"/>
                    <a:pt x="14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4" y="0"/>
                    <a:pt x="17" y="4"/>
                    <a:pt x="17" y="13"/>
                  </a:cubicBezTo>
                  <a:close/>
                  <a:moveTo>
                    <a:pt x="4" y="13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7"/>
                    <a:pt x="11" y="4"/>
                    <a:pt x="9" y="4"/>
                  </a:cubicBezTo>
                  <a:cubicBezTo>
                    <a:pt x="6" y="4"/>
                    <a:pt x="4" y="7"/>
                    <a:pt x="4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41" name="Freeform 67">
              <a:extLst>
                <a:ext uri="{FF2B5EF4-FFF2-40B4-BE49-F238E27FC236}">
                  <a16:creationId xmlns:a16="http://schemas.microsoft.com/office/drawing/2014/main" id="{C445CD25-DE1A-4637-B7E8-345167C6F1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02906" y="4993123"/>
              <a:ext cx="60430" cy="89134"/>
            </a:xfrm>
            <a:custGeom>
              <a:avLst/>
              <a:gdLst>
                <a:gd name="T0" fmla="*/ 17 w 17"/>
                <a:gd name="T1" fmla="*/ 13 h 25"/>
                <a:gd name="T2" fmla="*/ 9 w 17"/>
                <a:gd name="T3" fmla="*/ 25 h 25"/>
                <a:gd name="T4" fmla="*/ 0 w 17"/>
                <a:gd name="T5" fmla="*/ 12 h 25"/>
                <a:gd name="T6" fmla="*/ 9 w 17"/>
                <a:gd name="T7" fmla="*/ 0 h 25"/>
                <a:gd name="T8" fmla="*/ 17 w 17"/>
                <a:gd name="T9" fmla="*/ 13 h 25"/>
                <a:gd name="T10" fmla="*/ 4 w 17"/>
                <a:gd name="T11" fmla="*/ 12 h 25"/>
                <a:gd name="T12" fmla="*/ 9 w 17"/>
                <a:gd name="T13" fmla="*/ 22 h 25"/>
                <a:gd name="T14" fmla="*/ 13 w 17"/>
                <a:gd name="T15" fmla="*/ 13 h 25"/>
                <a:gd name="T16" fmla="*/ 9 w 17"/>
                <a:gd name="T17" fmla="*/ 3 h 25"/>
                <a:gd name="T18" fmla="*/ 4 w 17"/>
                <a:gd name="T1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5">
                  <a:moveTo>
                    <a:pt x="17" y="13"/>
                  </a:moveTo>
                  <a:cubicBezTo>
                    <a:pt x="17" y="21"/>
                    <a:pt x="14" y="25"/>
                    <a:pt x="9" y="25"/>
                  </a:cubicBezTo>
                  <a:cubicBezTo>
                    <a:pt x="3" y="25"/>
                    <a:pt x="0" y="21"/>
                    <a:pt x="0" y="12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4" y="0"/>
                    <a:pt x="17" y="4"/>
                    <a:pt x="17" y="13"/>
                  </a:cubicBezTo>
                  <a:close/>
                  <a:moveTo>
                    <a:pt x="4" y="12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6"/>
                    <a:pt x="11" y="3"/>
                    <a:pt x="9" y="3"/>
                  </a:cubicBezTo>
                  <a:cubicBezTo>
                    <a:pt x="6" y="3"/>
                    <a:pt x="4" y="6"/>
                    <a:pt x="4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42" name="Freeform 68">
              <a:extLst>
                <a:ext uri="{FF2B5EF4-FFF2-40B4-BE49-F238E27FC236}">
                  <a16:creationId xmlns:a16="http://schemas.microsoft.com/office/drawing/2014/main" id="{102C4E81-051C-4788-8E69-76C56FD1B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7438" y="5299803"/>
              <a:ext cx="49855" cy="84602"/>
            </a:xfrm>
            <a:custGeom>
              <a:avLst/>
              <a:gdLst>
                <a:gd name="T0" fmla="*/ 16 w 33"/>
                <a:gd name="T1" fmla="*/ 9 h 56"/>
                <a:gd name="T2" fmla="*/ 4 w 33"/>
                <a:gd name="T3" fmla="*/ 16 h 56"/>
                <a:gd name="T4" fmla="*/ 0 w 33"/>
                <a:gd name="T5" fmla="*/ 9 h 56"/>
                <a:gd name="T6" fmla="*/ 16 w 33"/>
                <a:gd name="T7" fmla="*/ 0 h 56"/>
                <a:gd name="T8" fmla="*/ 26 w 33"/>
                <a:gd name="T9" fmla="*/ 0 h 56"/>
                <a:gd name="T10" fmla="*/ 26 w 33"/>
                <a:gd name="T11" fmla="*/ 49 h 56"/>
                <a:gd name="T12" fmla="*/ 33 w 33"/>
                <a:gd name="T13" fmla="*/ 49 h 56"/>
                <a:gd name="T14" fmla="*/ 33 w 33"/>
                <a:gd name="T15" fmla="*/ 56 h 56"/>
                <a:gd name="T16" fmla="*/ 7 w 33"/>
                <a:gd name="T17" fmla="*/ 56 h 56"/>
                <a:gd name="T18" fmla="*/ 7 w 33"/>
                <a:gd name="T19" fmla="*/ 49 h 56"/>
                <a:gd name="T20" fmla="*/ 16 w 33"/>
                <a:gd name="T21" fmla="*/ 49 h 56"/>
                <a:gd name="T22" fmla="*/ 16 w 33"/>
                <a:gd name="T23" fmla="*/ 9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6">
                  <a:moveTo>
                    <a:pt x="16" y="9"/>
                  </a:moveTo>
                  <a:lnTo>
                    <a:pt x="4" y="16"/>
                  </a:lnTo>
                  <a:lnTo>
                    <a:pt x="0" y="9"/>
                  </a:lnTo>
                  <a:lnTo>
                    <a:pt x="16" y="0"/>
                  </a:lnTo>
                  <a:lnTo>
                    <a:pt x="26" y="0"/>
                  </a:lnTo>
                  <a:lnTo>
                    <a:pt x="26" y="49"/>
                  </a:lnTo>
                  <a:lnTo>
                    <a:pt x="33" y="49"/>
                  </a:lnTo>
                  <a:lnTo>
                    <a:pt x="33" y="56"/>
                  </a:lnTo>
                  <a:lnTo>
                    <a:pt x="7" y="56"/>
                  </a:lnTo>
                  <a:lnTo>
                    <a:pt x="7" y="49"/>
                  </a:lnTo>
                  <a:lnTo>
                    <a:pt x="16" y="4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43" name="Freeform 69">
              <a:extLst>
                <a:ext uri="{FF2B5EF4-FFF2-40B4-BE49-F238E27FC236}">
                  <a16:creationId xmlns:a16="http://schemas.microsoft.com/office/drawing/2014/main" id="{92E6F882-573F-4467-8486-5435C80005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02906" y="5449367"/>
              <a:ext cx="60430" cy="89134"/>
            </a:xfrm>
            <a:custGeom>
              <a:avLst/>
              <a:gdLst>
                <a:gd name="T0" fmla="*/ 17 w 17"/>
                <a:gd name="T1" fmla="*/ 13 h 25"/>
                <a:gd name="T2" fmla="*/ 9 w 17"/>
                <a:gd name="T3" fmla="*/ 25 h 25"/>
                <a:gd name="T4" fmla="*/ 0 w 17"/>
                <a:gd name="T5" fmla="*/ 13 h 25"/>
                <a:gd name="T6" fmla="*/ 9 w 17"/>
                <a:gd name="T7" fmla="*/ 0 h 25"/>
                <a:gd name="T8" fmla="*/ 17 w 17"/>
                <a:gd name="T9" fmla="*/ 13 h 25"/>
                <a:gd name="T10" fmla="*/ 4 w 17"/>
                <a:gd name="T11" fmla="*/ 13 h 25"/>
                <a:gd name="T12" fmla="*/ 9 w 17"/>
                <a:gd name="T13" fmla="*/ 22 h 25"/>
                <a:gd name="T14" fmla="*/ 13 w 17"/>
                <a:gd name="T15" fmla="*/ 13 h 25"/>
                <a:gd name="T16" fmla="*/ 9 w 17"/>
                <a:gd name="T17" fmla="*/ 3 h 25"/>
                <a:gd name="T18" fmla="*/ 4 w 17"/>
                <a:gd name="T19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5">
                  <a:moveTo>
                    <a:pt x="17" y="13"/>
                  </a:moveTo>
                  <a:cubicBezTo>
                    <a:pt x="17" y="21"/>
                    <a:pt x="14" y="25"/>
                    <a:pt x="9" y="25"/>
                  </a:cubicBezTo>
                  <a:cubicBezTo>
                    <a:pt x="3" y="25"/>
                    <a:pt x="0" y="21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4" y="0"/>
                    <a:pt x="17" y="4"/>
                    <a:pt x="17" y="13"/>
                  </a:cubicBezTo>
                  <a:close/>
                  <a:moveTo>
                    <a:pt x="4" y="13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6"/>
                    <a:pt x="11" y="3"/>
                    <a:pt x="9" y="3"/>
                  </a:cubicBezTo>
                  <a:cubicBezTo>
                    <a:pt x="6" y="3"/>
                    <a:pt x="4" y="6"/>
                    <a:pt x="4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44" name="Freeform 70">
              <a:extLst>
                <a:ext uri="{FF2B5EF4-FFF2-40B4-BE49-F238E27FC236}">
                  <a16:creationId xmlns:a16="http://schemas.microsoft.com/office/drawing/2014/main" id="{4E00C538-EA91-449F-8738-E65AE8F79D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7438" y="5603463"/>
              <a:ext cx="49855" cy="89134"/>
            </a:xfrm>
            <a:custGeom>
              <a:avLst/>
              <a:gdLst>
                <a:gd name="T0" fmla="*/ 16 w 33"/>
                <a:gd name="T1" fmla="*/ 11 h 59"/>
                <a:gd name="T2" fmla="*/ 4 w 33"/>
                <a:gd name="T3" fmla="*/ 18 h 59"/>
                <a:gd name="T4" fmla="*/ 0 w 33"/>
                <a:gd name="T5" fmla="*/ 9 h 59"/>
                <a:gd name="T6" fmla="*/ 16 w 33"/>
                <a:gd name="T7" fmla="*/ 0 h 59"/>
                <a:gd name="T8" fmla="*/ 26 w 33"/>
                <a:gd name="T9" fmla="*/ 0 h 59"/>
                <a:gd name="T10" fmla="*/ 26 w 33"/>
                <a:gd name="T11" fmla="*/ 49 h 59"/>
                <a:gd name="T12" fmla="*/ 33 w 33"/>
                <a:gd name="T13" fmla="*/ 52 h 59"/>
                <a:gd name="T14" fmla="*/ 33 w 33"/>
                <a:gd name="T15" fmla="*/ 59 h 59"/>
                <a:gd name="T16" fmla="*/ 7 w 33"/>
                <a:gd name="T17" fmla="*/ 59 h 59"/>
                <a:gd name="T18" fmla="*/ 7 w 33"/>
                <a:gd name="T19" fmla="*/ 52 h 59"/>
                <a:gd name="T20" fmla="*/ 16 w 33"/>
                <a:gd name="T21" fmla="*/ 49 h 59"/>
                <a:gd name="T22" fmla="*/ 16 w 33"/>
                <a:gd name="T23" fmla="*/ 1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9">
                  <a:moveTo>
                    <a:pt x="16" y="11"/>
                  </a:moveTo>
                  <a:lnTo>
                    <a:pt x="4" y="18"/>
                  </a:lnTo>
                  <a:lnTo>
                    <a:pt x="0" y="9"/>
                  </a:lnTo>
                  <a:lnTo>
                    <a:pt x="16" y="0"/>
                  </a:lnTo>
                  <a:lnTo>
                    <a:pt x="26" y="0"/>
                  </a:lnTo>
                  <a:lnTo>
                    <a:pt x="26" y="49"/>
                  </a:lnTo>
                  <a:lnTo>
                    <a:pt x="33" y="52"/>
                  </a:lnTo>
                  <a:lnTo>
                    <a:pt x="33" y="59"/>
                  </a:lnTo>
                  <a:lnTo>
                    <a:pt x="7" y="59"/>
                  </a:lnTo>
                  <a:lnTo>
                    <a:pt x="7" y="52"/>
                  </a:lnTo>
                  <a:lnTo>
                    <a:pt x="16" y="49"/>
                  </a:lnTo>
                  <a:lnTo>
                    <a:pt x="16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45" name="Freeform 71">
              <a:extLst>
                <a:ext uri="{FF2B5EF4-FFF2-40B4-BE49-F238E27FC236}">
                  <a16:creationId xmlns:a16="http://schemas.microsoft.com/office/drawing/2014/main" id="{8A4CEB6F-3C40-47DC-B1EC-4E60A8389E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02906" y="5753026"/>
              <a:ext cx="60430" cy="92156"/>
            </a:xfrm>
            <a:custGeom>
              <a:avLst/>
              <a:gdLst>
                <a:gd name="T0" fmla="*/ 17 w 17"/>
                <a:gd name="T1" fmla="*/ 13 h 26"/>
                <a:gd name="T2" fmla="*/ 9 w 17"/>
                <a:gd name="T3" fmla="*/ 26 h 26"/>
                <a:gd name="T4" fmla="*/ 0 w 17"/>
                <a:gd name="T5" fmla="*/ 13 h 26"/>
                <a:gd name="T6" fmla="*/ 9 w 17"/>
                <a:gd name="T7" fmla="*/ 0 h 26"/>
                <a:gd name="T8" fmla="*/ 17 w 17"/>
                <a:gd name="T9" fmla="*/ 13 h 26"/>
                <a:gd name="T10" fmla="*/ 4 w 17"/>
                <a:gd name="T11" fmla="*/ 13 h 26"/>
                <a:gd name="T12" fmla="*/ 9 w 17"/>
                <a:gd name="T13" fmla="*/ 22 h 26"/>
                <a:gd name="T14" fmla="*/ 13 w 17"/>
                <a:gd name="T15" fmla="*/ 13 h 26"/>
                <a:gd name="T16" fmla="*/ 9 w 17"/>
                <a:gd name="T17" fmla="*/ 4 h 26"/>
                <a:gd name="T18" fmla="*/ 4 w 17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6">
                  <a:moveTo>
                    <a:pt x="17" y="13"/>
                  </a:moveTo>
                  <a:cubicBezTo>
                    <a:pt x="17" y="22"/>
                    <a:pt x="14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4" y="0"/>
                    <a:pt x="17" y="4"/>
                    <a:pt x="17" y="13"/>
                  </a:cubicBezTo>
                  <a:close/>
                  <a:moveTo>
                    <a:pt x="4" y="13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7"/>
                    <a:pt x="11" y="4"/>
                    <a:pt x="9" y="4"/>
                  </a:cubicBezTo>
                  <a:cubicBezTo>
                    <a:pt x="6" y="4"/>
                    <a:pt x="4" y="7"/>
                    <a:pt x="4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46" name="Freeform 72">
              <a:extLst>
                <a:ext uri="{FF2B5EF4-FFF2-40B4-BE49-F238E27FC236}">
                  <a16:creationId xmlns:a16="http://schemas.microsoft.com/office/drawing/2014/main" id="{3CDB7A24-59B5-4C5C-8A57-9B5CB7C9F8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7438" y="5905611"/>
              <a:ext cx="49855" cy="89134"/>
            </a:xfrm>
            <a:custGeom>
              <a:avLst/>
              <a:gdLst>
                <a:gd name="T0" fmla="*/ 16 w 33"/>
                <a:gd name="T1" fmla="*/ 12 h 59"/>
                <a:gd name="T2" fmla="*/ 4 w 33"/>
                <a:gd name="T3" fmla="*/ 19 h 59"/>
                <a:gd name="T4" fmla="*/ 0 w 33"/>
                <a:gd name="T5" fmla="*/ 12 h 59"/>
                <a:gd name="T6" fmla="*/ 16 w 33"/>
                <a:gd name="T7" fmla="*/ 0 h 59"/>
                <a:gd name="T8" fmla="*/ 26 w 33"/>
                <a:gd name="T9" fmla="*/ 0 h 59"/>
                <a:gd name="T10" fmla="*/ 26 w 33"/>
                <a:gd name="T11" fmla="*/ 52 h 59"/>
                <a:gd name="T12" fmla="*/ 33 w 33"/>
                <a:gd name="T13" fmla="*/ 52 h 59"/>
                <a:gd name="T14" fmla="*/ 33 w 33"/>
                <a:gd name="T15" fmla="*/ 59 h 59"/>
                <a:gd name="T16" fmla="*/ 7 w 33"/>
                <a:gd name="T17" fmla="*/ 59 h 59"/>
                <a:gd name="T18" fmla="*/ 7 w 33"/>
                <a:gd name="T19" fmla="*/ 52 h 59"/>
                <a:gd name="T20" fmla="*/ 16 w 33"/>
                <a:gd name="T21" fmla="*/ 52 h 59"/>
                <a:gd name="T22" fmla="*/ 16 w 33"/>
                <a:gd name="T23" fmla="*/ 1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9">
                  <a:moveTo>
                    <a:pt x="16" y="12"/>
                  </a:moveTo>
                  <a:lnTo>
                    <a:pt x="4" y="19"/>
                  </a:lnTo>
                  <a:lnTo>
                    <a:pt x="0" y="12"/>
                  </a:lnTo>
                  <a:lnTo>
                    <a:pt x="16" y="0"/>
                  </a:lnTo>
                  <a:lnTo>
                    <a:pt x="26" y="0"/>
                  </a:lnTo>
                  <a:lnTo>
                    <a:pt x="26" y="52"/>
                  </a:lnTo>
                  <a:lnTo>
                    <a:pt x="33" y="52"/>
                  </a:lnTo>
                  <a:lnTo>
                    <a:pt x="33" y="59"/>
                  </a:lnTo>
                  <a:lnTo>
                    <a:pt x="7" y="59"/>
                  </a:lnTo>
                  <a:lnTo>
                    <a:pt x="7" y="52"/>
                  </a:lnTo>
                  <a:lnTo>
                    <a:pt x="16" y="52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47" name="Freeform 73">
              <a:extLst>
                <a:ext uri="{FF2B5EF4-FFF2-40B4-BE49-F238E27FC236}">
                  <a16:creationId xmlns:a16="http://schemas.microsoft.com/office/drawing/2014/main" id="{9E159F50-D183-40A9-88E8-C3B8C8EBF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7438" y="6059707"/>
              <a:ext cx="49855" cy="89134"/>
            </a:xfrm>
            <a:custGeom>
              <a:avLst/>
              <a:gdLst>
                <a:gd name="T0" fmla="*/ 16 w 33"/>
                <a:gd name="T1" fmla="*/ 12 h 59"/>
                <a:gd name="T2" fmla="*/ 4 w 33"/>
                <a:gd name="T3" fmla="*/ 19 h 59"/>
                <a:gd name="T4" fmla="*/ 0 w 33"/>
                <a:gd name="T5" fmla="*/ 9 h 59"/>
                <a:gd name="T6" fmla="*/ 16 w 33"/>
                <a:gd name="T7" fmla="*/ 0 h 59"/>
                <a:gd name="T8" fmla="*/ 26 w 33"/>
                <a:gd name="T9" fmla="*/ 0 h 59"/>
                <a:gd name="T10" fmla="*/ 26 w 33"/>
                <a:gd name="T11" fmla="*/ 52 h 59"/>
                <a:gd name="T12" fmla="*/ 33 w 33"/>
                <a:gd name="T13" fmla="*/ 52 h 59"/>
                <a:gd name="T14" fmla="*/ 33 w 33"/>
                <a:gd name="T15" fmla="*/ 59 h 59"/>
                <a:gd name="T16" fmla="*/ 7 w 33"/>
                <a:gd name="T17" fmla="*/ 59 h 59"/>
                <a:gd name="T18" fmla="*/ 7 w 33"/>
                <a:gd name="T19" fmla="*/ 52 h 59"/>
                <a:gd name="T20" fmla="*/ 16 w 33"/>
                <a:gd name="T21" fmla="*/ 52 h 59"/>
                <a:gd name="T22" fmla="*/ 16 w 33"/>
                <a:gd name="T23" fmla="*/ 1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9">
                  <a:moveTo>
                    <a:pt x="16" y="12"/>
                  </a:moveTo>
                  <a:lnTo>
                    <a:pt x="4" y="19"/>
                  </a:lnTo>
                  <a:lnTo>
                    <a:pt x="0" y="9"/>
                  </a:lnTo>
                  <a:lnTo>
                    <a:pt x="16" y="0"/>
                  </a:lnTo>
                  <a:lnTo>
                    <a:pt x="26" y="0"/>
                  </a:lnTo>
                  <a:lnTo>
                    <a:pt x="26" y="52"/>
                  </a:lnTo>
                  <a:lnTo>
                    <a:pt x="33" y="52"/>
                  </a:lnTo>
                  <a:lnTo>
                    <a:pt x="33" y="59"/>
                  </a:lnTo>
                  <a:lnTo>
                    <a:pt x="7" y="59"/>
                  </a:lnTo>
                  <a:lnTo>
                    <a:pt x="7" y="52"/>
                  </a:lnTo>
                  <a:lnTo>
                    <a:pt x="16" y="52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48" name="Freeform 74">
              <a:extLst>
                <a:ext uri="{FF2B5EF4-FFF2-40B4-BE49-F238E27FC236}">
                  <a16:creationId xmlns:a16="http://schemas.microsoft.com/office/drawing/2014/main" id="{5351B2AB-E143-49C1-9C84-080ECF3D72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7438" y="6213803"/>
              <a:ext cx="49855" cy="84602"/>
            </a:xfrm>
            <a:custGeom>
              <a:avLst/>
              <a:gdLst>
                <a:gd name="T0" fmla="*/ 16 w 33"/>
                <a:gd name="T1" fmla="*/ 9 h 56"/>
                <a:gd name="T2" fmla="*/ 4 w 33"/>
                <a:gd name="T3" fmla="*/ 16 h 56"/>
                <a:gd name="T4" fmla="*/ 0 w 33"/>
                <a:gd name="T5" fmla="*/ 9 h 56"/>
                <a:gd name="T6" fmla="*/ 16 w 33"/>
                <a:gd name="T7" fmla="*/ 0 h 56"/>
                <a:gd name="T8" fmla="*/ 26 w 33"/>
                <a:gd name="T9" fmla="*/ 0 h 56"/>
                <a:gd name="T10" fmla="*/ 26 w 33"/>
                <a:gd name="T11" fmla="*/ 49 h 56"/>
                <a:gd name="T12" fmla="*/ 33 w 33"/>
                <a:gd name="T13" fmla="*/ 49 h 56"/>
                <a:gd name="T14" fmla="*/ 33 w 33"/>
                <a:gd name="T15" fmla="*/ 56 h 56"/>
                <a:gd name="T16" fmla="*/ 7 w 33"/>
                <a:gd name="T17" fmla="*/ 56 h 56"/>
                <a:gd name="T18" fmla="*/ 7 w 33"/>
                <a:gd name="T19" fmla="*/ 49 h 56"/>
                <a:gd name="T20" fmla="*/ 16 w 33"/>
                <a:gd name="T21" fmla="*/ 49 h 56"/>
                <a:gd name="T22" fmla="*/ 16 w 33"/>
                <a:gd name="T23" fmla="*/ 9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6">
                  <a:moveTo>
                    <a:pt x="16" y="9"/>
                  </a:moveTo>
                  <a:lnTo>
                    <a:pt x="4" y="16"/>
                  </a:lnTo>
                  <a:lnTo>
                    <a:pt x="0" y="9"/>
                  </a:lnTo>
                  <a:lnTo>
                    <a:pt x="16" y="0"/>
                  </a:lnTo>
                  <a:lnTo>
                    <a:pt x="26" y="0"/>
                  </a:lnTo>
                  <a:lnTo>
                    <a:pt x="26" y="49"/>
                  </a:lnTo>
                  <a:lnTo>
                    <a:pt x="33" y="49"/>
                  </a:lnTo>
                  <a:lnTo>
                    <a:pt x="33" y="56"/>
                  </a:lnTo>
                  <a:lnTo>
                    <a:pt x="7" y="56"/>
                  </a:lnTo>
                  <a:lnTo>
                    <a:pt x="7" y="49"/>
                  </a:lnTo>
                  <a:lnTo>
                    <a:pt x="16" y="4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49" name="Freeform 75">
              <a:extLst>
                <a:ext uri="{FF2B5EF4-FFF2-40B4-BE49-F238E27FC236}">
                  <a16:creationId xmlns:a16="http://schemas.microsoft.com/office/drawing/2014/main" id="{8571A0CD-575D-4AF2-9B0F-66F21B7CD0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02906" y="6667025"/>
              <a:ext cx="60430" cy="92156"/>
            </a:xfrm>
            <a:custGeom>
              <a:avLst/>
              <a:gdLst>
                <a:gd name="T0" fmla="*/ 17 w 17"/>
                <a:gd name="T1" fmla="*/ 13 h 26"/>
                <a:gd name="T2" fmla="*/ 9 w 17"/>
                <a:gd name="T3" fmla="*/ 26 h 26"/>
                <a:gd name="T4" fmla="*/ 0 w 17"/>
                <a:gd name="T5" fmla="*/ 13 h 26"/>
                <a:gd name="T6" fmla="*/ 9 w 17"/>
                <a:gd name="T7" fmla="*/ 0 h 26"/>
                <a:gd name="T8" fmla="*/ 17 w 17"/>
                <a:gd name="T9" fmla="*/ 13 h 26"/>
                <a:gd name="T10" fmla="*/ 4 w 17"/>
                <a:gd name="T11" fmla="*/ 13 h 26"/>
                <a:gd name="T12" fmla="*/ 9 w 17"/>
                <a:gd name="T13" fmla="*/ 22 h 26"/>
                <a:gd name="T14" fmla="*/ 13 w 17"/>
                <a:gd name="T15" fmla="*/ 13 h 26"/>
                <a:gd name="T16" fmla="*/ 9 w 17"/>
                <a:gd name="T17" fmla="*/ 4 h 26"/>
                <a:gd name="T18" fmla="*/ 4 w 17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6">
                  <a:moveTo>
                    <a:pt x="17" y="13"/>
                  </a:moveTo>
                  <a:cubicBezTo>
                    <a:pt x="17" y="22"/>
                    <a:pt x="14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4" y="0"/>
                    <a:pt x="17" y="4"/>
                    <a:pt x="17" y="13"/>
                  </a:cubicBezTo>
                  <a:close/>
                  <a:moveTo>
                    <a:pt x="4" y="13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7"/>
                    <a:pt x="11" y="4"/>
                    <a:pt x="9" y="4"/>
                  </a:cubicBezTo>
                  <a:cubicBezTo>
                    <a:pt x="6" y="4"/>
                    <a:pt x="4" y="7"/>
                    <a:pt x="4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50" name="Freeform 76">
              <a:extLst>
                <a:ext uri="{FF2B5EF4-FFF2-40B4-BE49-F238E27FC236}">
                  <a16:creationId xmlns:a16="http://schemas.microsoft.com/office/drawing/2014/main" id="{DE6FEE3E-9468-413D-8F85-668EC3792F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02906" y="6819610"/>
              <a:ext cx="60430" cy="89134"/>
            </a:xfrm>
            <a:custGeom>
              <a:avLst/>
              <a:gdLst>
                <a:gd name="T0" fmla="*/ 17 w 17"/>
                <a:gd name="T1" fmla="*/ 13 h 25"/>
                <a:gd name="T2" fmla="*/ 9 w 17"/>
                <a:gd name="T3" fmla="*/ 25 h 25"/>
                <a:gd name="T4" fmla="*/ 0 w 17"/>
                <a:gd name="T5" fmla="*/ 13 h 25"/>
                <a:gd name="T6" fmla="*/ 9 w 17"/>
                <a:gd name="T7" fmla="*/ 0 h 25"/>
                <a:gd name="T8" fmla="*/ 17 w 17"/>
                <a:gd name="T9" fmla="*/ 13 h 25"/>
                <a:gd name="T10" fmla="*/ 4 w 17"/>
                <a:gd name="T11" fmla="*/ 13 h 25"/>
                <a:gd name="T12" fmla="*/ 9 w 17"/>
                <a:gd name="T13" fmla="*/ 22 h 25"/>
                <a:gd name="T14" fmla="*/ 13 w 17"/>
                <a:gd name="T15" fmla="*/ 13 h 25"/>
                <a:gd name="T16" fmla="*/ 9 w 17"/>
                <a:gd name="T17" fmla="*/ 4 h 25"/>
                <a:gd name="T18" fmla="*/ 4 w 17"/>
                <a:gd name="T19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5">
                  <a:moveTo>
                    <a:pt x="17" y="13"/>
                  </a:moveTo>
                  <a:cubicBezTo>
                    <a:pt x="17" y="21"/>
                    <a:pt x="14" y="25"/>
                    <a:pt x="9" y="25"/>
                  </a:cubicBezTo>
                  <a:cubicBezTo>
                    <a:pt x="3" y="25"/>
                    <a:pt x="0" y="21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4" y="0"/>
                    <a:pt x="17" y="4"/>
                    <a:pt x="17" y="13"/>
                  </a:cubicBezTo>
                  <a:close/>
                  <a:moveTo>
                    <a:pt x="4" y="13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7"/>
                    <a:pt x="11" y="4"/>
                    <a:pt x="9" y="4"/>
                  </a:cubicBezTo>
                  <a:cubicBezTo>
                    <a:pt x="6" y="4"/>
                    <a:pt x="4" y="7"/>
                    <a:pt x="4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51" name="Freeform 83">
              <a:extLst>
                <a:ext uri="{FF2B5EF4-FFF2-40B4-BE49-F238E27FC236}">
                  <a16:creationId xmlns:a16="http://schemas.microsoft.com/office/drawing/2014/main" id="{DEC54BAB-C942-48B3-94A8-D33E104190B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6606" y="4236241"/>
              <a:ext cx="92156" cy="157117"/>
            </a:xfrm>
            <a:custGeom>
              <a:avLst/>
              <a:gdLst>
                <a:gd name="T0" fmla="*/ 31 w 61"/>
                <a:gd name="T1" fmla="*/ 19 h 104"/>
                <a:gd name="T2" fmla="*/ 10 w 61"/>
                <a:gd name="T3" fmla="*/ 33 h 104"/>
                <a:gd name="T4" fmla="*/ 0 w 61"/>
                <a:gd name="T5" fmla="*/ 19 h 104"/>
                <a:gd name="T6" fmla="*/ 31 w 61"/>
                <a:gd name="T7" fmla="*/ 0 h 104"/>
                <a:gd name="T8" fmla="*/ 47 w 61"/>
                <a:gd name="T9" fmla="*/ 0 h 104"/>
                <a:gd name="T10" fmla="*/ 47 w 61"/>
                <a:gd name="T11" fmla="*/ 90 h 104"/>
                <a:gd name="T12" fmla="*/ 61 w 61"/>
                <a:gd name="T13" fmla="*/ 90 h 104"/>
                <a:gd name="T14" fmla="*/ 61 w 61"/>
                <a:gd name="T15" fmla="*/ 104 h 104"/>
                <a:gd name="T16" fmla="*/ 17 w 61"/>
                <a:gd name="T17" fmla="*/ 104 h 104"/>
                <a:gd name="T18" fmla="*/ 17 w 61"/>
                <a:gd name="T19" fmla="*/ 90 h 104"/>
                <a:gd name="T20" fmla="*/ 31 w 61"/>
                <a:gd name="T21" fmla="*/ 90 h 104"/>
                <a:gd name="T22" fmla="*/ 31 w 61"/>
                <a:gd name="T23" fmla="*/ 19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4">
                  <a:moveTo>
                    <a:pt x="31" y="19"/>
                  </a:moveTo>
                  <a:lnTo>
                    <a:pt x="10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0"/>
                  </a:lnTo>
                  <a:lnTo>
                    <a:pt x="61" y="90"/>
                  </a:lnTo>
                  <a:lnTo>
                    <a:pt x="61" y="104"/>
                  </a:lnTo>
                  <a:lnTo>
                    <a:pt x="17" y="104"/>
                  </a:lnTo>
                  <a:lnTo>
                    <a:pt x="17" y="90"/>
                  </a:lnTo>
                  <a:lnTo>
                    <a:pt x="31" y="90"/>
                  </a:lnTo>
                  <a:lnTo>
                    <a:pt x="31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52" name="Freeform 84">
              <a:extLst>
                <a:ext uri="{FF2B5EF4-FFF2-40B4-BE49-F238E27FC236}">
                  <a16:creationId xmlns:a16="http://schemas.microsoft.com/office/drawing/2014/main" id="{519EF74B-75D6-416D-882F-6780F3B673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43584" y="4503643"/>
              <a:ext cx="110285" cy="164671"/>
            </a:xfrm>
            <a:custGeom>
              <a:avLst/>
              <a:gdLst>
                <a:gd name="T0" fmla="*/ 31 w 31"/>
                <a:gd name="T1" fmla="*/ 23 h 46"/>
                <a:gd name="T2" fmla="*/ 15 w 31"/>
                <a:gd name="T3" fmla="*/ 46 h 46"/>
                <a:gd name="T4" fmla="*/ 0 w 31"/>
                <a:gd name="T5" fmla="*/ 23 h 46"/>
                <a:gd name="T6" fmla="*/ 15 w 31"/>
                <a:gd name="T7" fmla="*/ 0 h 46"/>
                <a:gd name="T8" fmla="*/ 31 w 31"/>
                <a:gd name="T9" fmla="*/ 23 h 46"/>
                <a:gd name="T10" fmla="*/ 8 w 31"/>
                <a:gd name="T11" fmla="*/ 23 h 46"/>
                <a:gd name="T12" fmla="*/ 15 w 31"/>
                <a:gd name="T13" fmla="*/ 39 h 46"/>
                <a:gd name="T14" fmla="*/ 23 w 31"/>
                <a:gd name="T15" fmla="*/ 23 h 46"/>
                <a:gd name="T16" fmla="*/ 15 w 31"/>
                <a:gd name="T17" fmla="*/ 7 h 46"/>
                <a:gd name="T18" fmla="*/ 8 w 31"/>
                <a:gd name="T19" fmla="*/ 2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46">
                  <a:moveTo>
                    <a:pt x="31" y="23"/>
                  </a:moveTo>
                  <a:cubicBezTo>
                    <a:pt x="31" y="38"/>
                    <a:pt x="26" y="46"/>
                    <a:pt x="15" y="46"/>
                  </a:cubicBezTo>
                  <a:cubicBezTo>
                    <a:pt x="5" y="46"/>
                    <a:pt x="0" y="38"/>
                    <a:pt x="0" y="23"/>
                  </a:cubicBezTo>
                  <a:cubicBezTo>
                    <a:pt x="0" y="8"/>
                    <a:pt x="5" y="0"/>
                    <a:pt x="15" y="0"/>
                  </a:cubicBezTo>
                  <a:cubicBezTo>
                    <a:pt x="26" y="0"/>
                    <a:pt x="31" y="8"/>
                    <a:pt x="31" y="23"/>
                  </a:cubicBezTo>
                  <a:close/>
                  <a:moveTo>
                    <a:pt x="8" y="23"/>
                  </a:moveTo>
                  <a:cubicBezTo>
                    <a:pt x="8" y="34"/>
                    <a:pt x="10" y="39"/>
                    <a:pt x="15" y="39"/>
                  </a:cubicBezTo>
                  <a:cubicBezTo>
                    <a:pt x="20" y="39"/>
                    <a:pt x="23" y="34"/>
                    <a:pt x="23" y="23"/>
                  </a:cubicBezTo>
                  <a:cubicBezTo>
                    <a:pt x="23" y="12"/>
                    <a:pt x="20" y="7"/>
                    <a:pt x="15" y="7"/>
                  </a:cubicBezTo>
                  <a:cubicBezTo>
                    <a:pt x="10" y="7"/>
                    <a:pt x="8" y="12"/>
                    <a:pt x="8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53" name="Freeform 85">
              <a:extLst>
                <a:ext uri="{FF2B5EF4-FFF2-40B4-BE49-F238E27FC236}">
                  <a16:creationId xmlns:a16="http://schemas.microsoft.com/office/drawing/2014/main" id="{4A54E9E8-3DA4-4E88-A426-5BDDC4E7BA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43584" y="4775576"/>
              <a:ext cx="110285" cy="160139"/>
            </a:xfrm>
            <a:custGeom>
              <a:avLst/>
              <a:gdLst>
                <a:gd name="T0" fmla="*/ 31 w 31"/>
                <a:gd name="T1" fmla="*/ 23 h 45"/>
                <a:gd name="T2" fmla="*/ 15 w 31"/>
                <a:gd name="T3" fmla="*/ 45 h 45"/>
                <a:gd name="T4" fmla="*/ 0 w 31"/>
                <a:gd name="T5" fmla="*/ 23 h 45"/>
                <a:gd name="T6" fmla="*/ 15 w 31"/>
                <a:gd name="T7" fmla="*/ 0 h 45"/>
                <a:gd name="T8" fmla="*/ 31 w 31"/>
                <a:gd name="T9" fmla="*/ 23 h 45"/>
                <a:gd name="T10" fmla="*/ 8 w 31"/>
                <a:gd name="T11" fmla="*/ 23 h 45"/>
                <a:gd name="T12" fmla="*/ 15 w 31"/>
                <a:gd name="T13" fmla="*/ 39 h 45"/>
                <a:gd name="T14" fmla="*/ 23 w 31"/>
                <a:gd name="T15" fmla="*/ 23 h 45"/>
                <a:gd name="T16" fmla="*/ 15 w 31"/>
                <a:gd name="T17" fmla="*/ 6 h 45"/>
                <a:gd name="T18" fmla="*/ 8 w 31"/>
                <a:gd name="T19" fmla="*/ 2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45">
                  <a:moveTo>
                    <a:pt x="31" y="23"/>
                  </a:moveTo>
                  <a:cubicBezTo>
                    <a:pt x="31" y="38"/>
                    <a:pt x="26" y="45"/>
                    <a:pt x="15" y="45"/>
                  </a:cubicBezTo>
                  <a:cubicBezTo>
                    <a:pt x="5" y="45"/>
                    <a:pt x="0" y="38"/>
                    <a:pt x="0" y="23"/>
                  </a:cubicBezTo>
                  <a:cubicBezTo>
                    <a:pt x="0" y="8"/>
                    <a:pt x="5" y="0"/>
                    <a:pt x="15" y="0"/>
                  </a:cubicBezTo>
                  <a:cubicBezTo>
                    <a:pt x="26" y="0"/>
                    <a:pt x="31" y="8"/>
                    <a:pt x="31" y="23"/>
                  </a:cubicBezTo>
                  <a:close/>
                  <a:moveTo>
                    <a:pt x="8" y="23"/>
                  </a:moveTo>
                  <a:cubicBezTo>
                    <a:pt x="8" y="34"/>
                    <a:pt x="10" y="39"/>
                    <a:pt x="15" y="39"/>
                  </a:cubicBezTo>
                  <a:cubicBezTo>
                    <a:pt x="20" y="39"/>
                    <a:pt x="23" y="34"/>
                    <a:pt x="23" y="23"/>
                  </a:cubicBezTo>
                  <a:cubicBezTo>
                    <a:pt x="23" y="12"/>
                    <a:pt x="20" y="6"/>
                    <a:pt x="15" y="6"/>
                  </a:cubicBezTo>
                  <a:cubicBezTo>
                    <a:pt x="10" y="6"/>
                    <a:pt x="8" y="12"/>
                    <a:pt x="8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54" name="Freeform 86">
              <a:extLst>
                <a:ext uri="{FF2B5EF4-FFF2-40B4-BE49-F238E27FC236}">
                  <a16:creationId xmlns:a16="http://schemas.microsoft.com/office/drawing/2014/main" id="{D77332F1-F1B5-4CAB-9BBE-368E910B881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6606" y="5049020"/>
              <a:ext cx="92156" cy="157117"/>
            </a:xfrm>
            <a:custGeom>
              <a:avLst/>
              <a:gdLst>
                <a:gd name="T0" fmla="*/ 31 w 61"/>
                <a:gd name="T1" fmla="*/ 19 h 104"/>
                <a:gd name="T2" fmla="*/ 10 w 61"/>
                <a:gd name="T3" fmla="*/ 34 h 104"/>
                <a:gd name="T4" fmla="*/ 0 w 61"/>
                <a:gd name="T5" fmla="*/ 19 h 104"/>
                <a:gd name="T6" fmla="*/ 31 w 61"/>
                <a:gd name="T7" fmla="*/ 0 h 104"/>
                <a:gd name="T8" fmla="*/ 47 w 61"/>
                <a:gd name="T9" fmla="*/ 0 h 104"/>
                <a:gd name="T10" fmla="*/ 47 w 61"/>
                <a:gd name="T11" fmla="*/ 90 h 104"/>
                <a:gd name="T12" fmla="*/ 61 w 61"/>
                <a:gd name="T13" fmla="*/ 90 h 104"/>
                <a:gd name="T14" fmla="*/ 61 w 61"/>
                <a:gd name="T15" fmla="*/ 104 h 104"/>
                <a:gd name="T16" fmla="*/ 17 w 61"/>
                <a:gd name="T17" fmla="*/ 104 h 104"/>
                <a:gd name="T18" fmla="*/ 17 w 61"/>
                <a:gd name="T19" fmla="*/ 90 h 104"/>
                <a:gd name="T20" fmla="*/ 31 w 61"/>
                <a:gd name="T21" fmla="*/ 90 h 104"/>
                <a:gd name="T22" fmla="*/ 31 w 61"/>
                <a:gd name="T23" fmla="*/ 19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4">
                  <a:moveTo>
                    <a:pt x="31" y="19"/>
                  </a:moveTo>
                  <a:lnTo>
                    <a:pt x="10" y="34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0"/>
                  </a:lnTo>
                  <a:lnTo>
                    <a:pt x="61" y="90"/>
                  </a:lnTo>
                  <a:lnTo>
                    <a:pt x="61" y="104"/>
                  </a:lnTo>
                  <a:lnTo>
                    <a:pt x="17" y="104"/>
                  </a:lnTo>
                  <a:lnTo>
                    <a:pt x="17" y="90"/>
                  </a:lnTo>
                  <a:lnTo>
                    <a:pt x="31" y="90"/>
                  </a:lnTo>
                  <a:lnTo>
                    <a:pt x="31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55" name="Freeform 87">
              <a:extLst>
                <a:ext uri="{FF2B5EF4-FFF2-40B4-BE49-F238E27FC236}">
                  <a16:creationId xmlns:a16="http://schemas.microsoft.com/office/drawing/2014/main" id="{D105CAFF-85B3-44F8-A833-2BC313C51042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6606" y="5320954"/>
              <a:ext cx="92156" cy="157117"/>
            </a:xfrm>
            <a:custGeom>
              <a:avLst/>
              <a:gdLst>
                <a:gd name="T0" fmla="*/ 31 w 61"/>
                <a:gd name="T1" fmla="*/ 19 h 104"/>
                <a:gd name="T2" fmla="*/ 10 w 61"/>
                <a:gd name="T3" fmla="*/ 31 h 104"/>
                <a:gd name="T4" fmla="*/ 0 w 61"/>
                <a:gd name="T5" fmla="*/ 19 h 104"/>
                <a:gd name="T6" fmla="*/ 31 w 61"/>
                <a:gd name="T7" fmla="*/ 0 h 104"/>
                <a:gd name="T8" fmla="*/ 47 w 61"/>
                <a:gd name="T9" fmla="*/ 0 h 104"/>
                <a:gd name="T10" fmla="*/ 47 w 61"/>
                <a:gd name="T11" fmla="*/ 90 h 104"/>
                <a:gd name="T12" fmla="*/ 61 w 61"/>
                <a:gd name="T13" fmla="*/ 90 h 104"/>
                <a:gd name="T14" fmla="*/ 61 w 61"/>
                <a:gd name="T15" fmla="*/ 104 h 104"/>
                <a:gd name="T16" fmla="*/ 17 w 61"/>
                <a:gd name="T17" fmla="*/ 104 h 104"/>
                <a:gd name="T18" fmla="*/ 17 w 61"/>
                <a:gd name="T19" fmla="*/ 90 h 104"/>
                <a:gd name="T20" fmla="*/ 31 w 61"/>
                <a:gd name="T21" fmla="*/ 90 h 104"/>
                <a:gd name="T22" fmla="*/ 31 w 61"/>
                <a:gd name="T23" fmla="*/ 19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4">
                  <a:moveTo>
                    <a:pt x="31" y="19"/>
                  </a:moveTo>
                  <a:lnTo>
                    <a:pt x="10" y="31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0"/>
                  </a:lnTo>
                  <a:lnTo>
                    <a:pt x="61" y="90"/>
                  </a:lnTo>
                  <a:lnTo>
                    <a:pt x="61" y="104"/>
                  </a:lnTo>
                  <a:lnTo>
                    <a:pt x="17" y="104"/>
                  </a:lnTo>
                  <a:lnTo>
                    <a:pt x="17" y="90"/>
                  </a:lnTo>
                  <a:lnTo>
                    <a:pt x="31" y="90"/>
                  </a:lnTo>
                  <a:lnTo>
                    <a:pt x="31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56" name="Freeform 88">
              <a:extLst>
                <a:ext uri="{FF2B5EF4-FFF2-40B4-BE49-F238E27FC236}">
                  <a16:creationId xmlns:a16="http://schemas.microsoft.com/office/drawing/2014/main" id="{93941D72-EB73-44F8-9518-63287F06EC9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6606" y="5592887"/>
              <a:ext cx="92156" cy="155607"/>
            </a:xfrm>
            <a:custGeom>
              <a:avLst/>
              <a:gdLst>
                <a:gd name="T0" fmla="*/ 31 w 61"/>
                <a:gd name="T1" fmla="*/ 18 h 103"/>
                <a:gd name="T2" fmla="*/ 10 w 61"/>
                <a:gd name="T3" fmla="*/ 30 h 103"/>
                <a:gd name="T4" fmla="*/ 0 w 61"/>
                <a:gd name="T5" fmla="*/ 18 h 103"/>
                <a:gd name="T6" fmla="*/ 31 w 61"/>
                <a:gd name="T7" fmla="*/ 0 h 103"/>
                <a:gd name="T8" fmla="*/ 47 w 61"/>
                <a:gd name="T9" fmla="*/ 0 h 103"/>
                <a:gd name="T10" fmla="*/ 47 w 61"/>
                <a:gd name="T11" fmla="*/ 89 h 103"/>
                <a:gd name="T12" fmla="*/ 61 w 61"/>
                <a:gd name="T13" fmla="*/ 89 h 103"/>
                <a:gd name="T14" fmla="*/ 61 w 61"/>
                <a:gd name="T15" fmla="*/ 103 h 103"/>
                <a:gd name="T16" fmla="*/ 17 w 61"/>
                <a:gd name="T17" fmla="*/ 103 h 103"/>
                <a:gd name="T18" fmla="*/ 17 w 61"/>
                <a:gd name="T19" fmla="*/ 89 h 103"/>
                <a:gd name="T20" fmla="*/ 31 w 61"/>
                <a:gd name="T21" fmla="*/ 89 h 103"/>
                <a:gd name="T22" fmla="*/ 31 w 61"/>
                <a:gd name="T23" fmla="*/ 1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3">
                  <a:moveTo>
                    <a:pt x="31" y="18"/>
                  </a:moveTo>
                  <a:lnTo>
                    <a:pt x="10" y="30"/>
                  </a:lnTo>
                  <a:lnTo>
                    <a:pt x="0" y="18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89"/>
                  </a:lnTo>
                  <a:lnTo>
                    <a:pt x="61" y="89"/>
                  </a:lnTo>
                  <a:lnTo>
                    <a:pt x="61" y="103"/>
                  </a:lnTo>
                  <a:lnTo>
                    <a:pt x="17" y="103"/>
                  </a:lnTo>
                  <a:lnTo>
                    <a:pt x="17" y="89"/>
                  </a:lnTo>
                  <a:lnTo>
                    <a:pt x="31" y="89"/>
                  </a:lnTo>
                  <a:lnTo>
                    <a:pt x="31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57" name="Freeform 89">
              <a:extLst>
                <a:ext uri="{FF2B5EF4-FFF2-40B4-BE49-F238E27FC236}">
                  <a16:creationId xmlns:a16="http://schemas.microsoft.com/office/drawing/2014/main" id="{F5B457D1-7152-4E05-92EB-B2800A53AF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43584" y="5860289"/>
              <a:ext cx="110285" cy="160139"/>
            </a:xfrm>
            <a:custGeom>
              <a:avLst/>
              <a:gdLst>
                <a:gd name="T0" fmla="*/ 31 w 31"/>
                <a:gd name="T1" fmla="*/ 23 h 45"/>
                <a:gd name="T2" fmla="*/ 15 w 31"/>
                <a:gd name="T3" fmla="*/ 45 h 45"/>
                <a:gd name="T4" fmla="*/ 0 w 31"/>
                <a:gd name="T5" fmla="*/ 22 h 45"/>
                <a:gd name="T6" fmla="*/ 15 w 31"/>
                <a:gd name="T7" fmla="*/ 0 h 45"/>
                <a:gd name="T8" fmla="*/ 31 w 31"/>
                <a:gd name="T9" fmla="*/ 23 h 45"/>
                <a:gd name="T10" fmla="*/ 8 w 31"/>
                <a:gd name="T11" fmla="*/ 22 h 45"/>
                <a:gd name="T12" fmla="*/ 15 w 31"/>
                <a:gd name="T13" fmla="*/ 39 h 45"/>
                <a:gd name="T14" fmla="*/ 23 w 31"/>
                <a:gd name="T15" fmla="*/ 23 h 45"/>
                <a:gd name="T16" fmla="*/ 15 w 31"/>
                <a:gd name="T17" fmla="*/ 6 h 45"/>
                <a:gd name="T18" fmla="*/ 8 w 31"/>
                <a:gd name="T19" fmla="*/ 2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45">
                  <a:moveTo>
                    <a:pt x="31" y="23"/>
                  </a:moveTo>
                  <a:cubicBezTo>
                    <a:pt x="31" y="38"/>
                    <a:pt x="26" y="45"/>
                    <a:pt x="15" y="45"/>
                  </a:cubicBezTo>
                  <a:cubicBezTo>
                    <a:pt x="5" y="45"/>
                    <a:pt x="0" y="38"/>
                    <a:pt x="0" y="22"/>
                  </a:cubicBezTo>
                  <a:cubicBezTo>
                    <a:pt x="0" y="7"/>
                    <a:pt x="5" y="0"/>
                    <a:pt x="15" y="0"/>
                  </a:cubicBezTo>
                  <a:cubicBezTo>
                    <a:pt x="26" y="0"/>
                    <a:pt x="31" y="7"/>
                    <a:pt x="31" y="23"/>
                  </a:cubicBezTo>
                  <a:close/>
                  <a:moveTo>
                    <a:pt x="8" y="22"/>
                  </a:moveTo>
                  <a:cubicBezTo>
                    <a:pt x="8" y="34"/>
                    <a:pt x="10" y="39"/>
                    <a:pt x="15" y="39"/>
                  </a:cubicBezTo>
                  <a:cubicBezTo>
                    <a:pt x="20" y="39"/>
                    <a:pt x="23" y="34"/>
                    <a:pt x="23" y="23"/>
                  </a:cubicBezTo>
                  <a:cubicBezTo>
                    <a:pt x="23" y="11"/>
                    <a:pt x="20" y="6"/>
                    <a:pt x="15" y="6"/>
                  </a:cubicBezTo>
                  <a:cubicBezTo>
                    <a:pt x="10" y="6"/>
                    <a:pt x="8" y="11"/>
                    <a:pt x="8" y="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58" name="Freeform 90">
              <a:extLst>
                <a:ext uri="{FF2B5EF4-FFF2-40B4-BE49-F238E27FC236}">
                  <a16:creationId xmlns:a16="http://schemas.microsoft.com/office/drawing/2014/main" id="{BA0C5572-C2AF-4184-B7AA-B9F9493C74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43584" y="6673068"/>
              <a:ext cx="110285" cy="161650"/>
            </a:xfrm>
            <a:custGeom>
              <a:avLst/>
              <a:gdLst>
                <a:gd name="T0" fmla="*/ 31 w 31"/>
                <a:gd name="T1" fmla="*/ 22 h 45"/>
                <a:gd name="T2" fmla="*/ 15 w 31"/>
                <a:gd name="T3" fmla="*/ 45 h 45"/>
                <a:gd name="T4" fmla="*/ 0 w 31"/>
                <a:gd name="T5" fmla="*/ 22 h 45"/>
                <a:gd name="T6" fmla="*/ 15 w 31"/>
                <a:gd name="T7" fmla="*/ 0 h 45"/>
                <a:gd name="T8" fmla="*/ 31 w 31"/>
                <a:gd name="T9" fmla="*/ 22 h 45"/>
                <a:gd name="T10" fmla="*/ 8 w 31"/>
                <a:gd name="T11" fmla="*/ 22 h 45"/>
                <a:gd name="T12" fmla="*/ 15 w 31"/>
                <a:gd name="T13" fmla="*/ 39 h 45"/>
                <a:gd name="T14" fmla="*/ 23 w 31"/>
                <a:gd name="T15" fmla="*/ 22 h 45"/>
                <a:gd name="T16" fmla="*/ 15 w 31"/>
                <a:gd name="T17" fmla="*/ 6 h 45"/>
                <a:gd name="T18" fmla="*/ 8 w 31"/>
                <a:gd name="T19" fmla="*/ 2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45">
                  <a:moveTo>
                    <a:pt x="31" y="22"/>
                  </a:moveTo>
                  <a:cubicBezTo>
                    <a:pt x="31" y="38"/>
                    <a:pt x="26" y="45"/>
                    <a:pt x="15" y="45"/>
                  </a:cubicBezTo>
                  <a:cubicBezTo>
                    <a:pt x="5" y="45"/>
                    <a:pt x="0" y="38"/>
                    <a:pt x="0" y="22"/>
                  </a:cubicBezTo>
                  <a:cubicBezTo>
                    <a:pt x="0" y="7"/>
                    <a:pt x="5" y="0"/>
                    <a:pt x="15" y="0"/>
                  </a:cubicBezTo>
                  <a:cubicBezTo>
                    <a:pt x="26" y="0"/>
                    <a:pt x="31" y="7"/>
                    <a:pt x="31" y="22"/>
                  </a:cubicBezTo>
                  <a:close/>
                  <a:moveTo>
                    <a:pt x="8" y="22"/>
                  </a:moveTo>
                  <a:cubicBezTo>
                    <a:pt x="8" y="33"/>
                    <a:pt x="10" y="39"/>
                    <a:pt x="15" y="39"/>
                  </a:cubicBezTo>
                  <a:cubicBezTo>
                    <a:pt x="20" y="39"/>
                    <a:pt x="23" y="33"/>
                    <a:pt x="23" y="22"/>
                  </a:cubicBezTo>
                  <a:cubicBezTo>
                    <a:pt x="23" y="11"/>
                    <a:pt x="20" y="6"/>
                    <a:pt x="15" y="6"/>
                  </a:cubicBezTo>
                  <a:cubicBezTo>
                    <a:pt x="10" y="6"/>
                    <a:pt x="8" y="11"/>
                    <a:pt x="8" y="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59" name="Freeform 95">
              <a:extLst>
                <a:ext uri="{FF2B5EF4-FFF2-40B4-BE49-F238E27FC236}">
                  <a16:creationId xmlns:a16="http://schemas.microsoft.com/office/drawing/2014/main" id="{FB895672-372D-4054-800F-0F62612FB1E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8539" y="3350946"/>
              <a:ext cx="52876" cy="86113"/>
            </a:xfrm>
            <a:custGeom>
              <a:avLst/>
              <a:gdLst>
                <a:gd name="T0" fmla="*/ 16 w 35"/>
                <a:gd name="T1" fmla="*/ 14 h 57"/>
                <a:gd name="T2" fmla="*/ 7 w 35"/>
                <a:gd name="T3" fmla="*/ 21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7 h 57"/>
                <a:gd name="T12" fmla="*/ 35 w 35"/>
                <a:gd name="T13" fmla="*/ 47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7 h 57"/>
                <a:gd name="T20" fmla="*/ 16 w 35"/>
                <a:gd name="T21" fmla="*/ 47 h 57"/>
                <a:gd name="T22" fmla="*/ 16 w 35"/>
                <a:gd name="T23" fmla="*/ 1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4"/>
                  </a:moveTo>
                  <a:lnTo>
                    <a:pt x="7" y="21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60" name="Freeform 96">
              <a:extLst>
                <a:ext uri="{FF2B5EF4-FFF2-40B4-BE49-F238E27FC236}">
                  <a16:creationId xmlns:a16="http://schemas.microsoft.com/office/drawing/2014/main" id="{D8C6ED9A-5AEA-41A5-9899-19B0191D2D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14007" y="3497488"/>
              <a:ext cx="67984" cy="86113"/>
            </a:xfrm>
            <a:custGeom>
              <a:avLst/>
              <a:gdLst>
                <a:gd name="T0" fmla="*/ 17 w 19"/>
                <a:gd name="T1" fmla="*/ 4 h 24"/>
                <a:gd name="T2" fmla="*/ 19 w 19"/>
                <a:gd name="T3" fmla="*/ 12 h 24"/>
                <a:gd name="T4" fmla="*/ 17 w 19"/>
                <a:gd name="T5" fmla="*/ 21 h 24"/>
                <a:gd name="T6" fmla="*/ 10 w 19"/>
                <a:gd name="T7" fmla="*/ 24 h 24"/>
                <a:gd name="T8" fmla="*/ 2 w 19"/>
                <a:gd name="T9" fmla="*/ 20 h 24"/>
                <a:gd name="T10" fmla="*/ 0 w 19"/>
                <a:gd name="T11" fmla="*/ 12 h 24"/>
                <a:gd name="T12" fmla="*/ 10 w 19"/>
                <a:gd name="T13" fmla="*/ 0 h 24"/>
                <a:gd name="T14" fmla="*/ 17 w 19"/>
                <a:gd name="T15" fmla="*/ 4 h 24"/>
                <a:gd name="T16" fmla="*/ 6 w 19"/>
                <a:gd name="T17" fmla="*/ 12 h 24"/>
                <a:gd name="T18" fmla="*/ 10 w 19"/>
                <a:gd name="T19" fmla="*/ 20 h 24"/>
                <a:gd name="T20" fmla="*/ 14 w 19"/>
                <a:gd name="T21" fmla="*/ 12 h 24"/>
                <a:gd name="T22" fmla="*/ 10 w 19"/>
                <a:gd name="T23" fmla="*/ 4 h 24"/>
                <a:gd name="T24" fmla="*/ 6 w 19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4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6"/>
                    <a:pt x="18" y="19"/>
                    <a:pt x="17" y="21"/>
                  </a:cubicBezTo>
                  <a:cubicBezTo>
                    <a:pt x="15" y="23"/>
                    <a:pt x="13" y="24"/>
                    <a:pt x="10" y="24"/>
                  </a:cubicBezTo>
                  <a:cubicBezTo>
                    <a:pt x="6" y="24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1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61" name="Freeform 97">
              <a:extLst>
                <a:ext uri="{FF2B5EF4-FFF2-40B4-BE49-F238E27FC236}">
                  <a16:creationId xmlns:a16="http://schemas.microsoft.com/office/drawing/2014/main" id="{A03B7573-37FC-40B4-8530-F8CC0B0E23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8539" y="3644030"/>
              <a:ext cx="52876" cy="84602"/>
            </a:xfrm>
            <a:custGeom>
              <a:avLst/>
              <a:gdLst>
                <a:gd name="T0" fmla="*/ 16 w 35"/>
                <a:gd name="T1" fmla="*/ 14 h 56"/>
                <a:gd name="T2" fmla="*/ 7 w 35"/>
                <a:gd name="T3" fmla="*/ 21 h 56"/>
                <a:gd name="T4" fmla="*/ 0 w 35"/>
                <a:gd name="T5" fmla="*/ 11 h 56"/>
                <a:gd name="T6" fmla="*/ 19 w 35"/>
                <a:gd name="T7" fmla="*/ 0 h 56"/>
                <a:gd name="T8" fmla="*/ 28 w 35"/>
                <a:gd name="T9" fmla="*/ 0 h 56"/>
                <a:gd name="T10" fmla="*/ 28 w 35"/>
                <a:gd name="T11" fmla="*/ 47 h 56"/>
                <a:gd name="T12" fmla="*/ 35 w 35"/>
                <a:gd name="T13" fmla="*/ 47 h 56"/>
                <a:gd name="T14" fmla="*/ 35 w 35"/>
                <a:gd name="T15" fmla="*/ 56 h 56"/>
                <a:gd name="T16" fmla="*/ 9 w 35"/>
                <a:gd name="T17" fmla="*/ 56 h 56"/>
                <a:gd name="T18" fmla="*/ 9 w 35"/>
                <a:gd name="T19" fmla="*/ 47 h 56"/>
                <a:gd name="T20" fmla="*/ 16 w 35"/>
                <a:gd name="T21" fmla="*/ 47 h 56"/>
                <a:gd name="T22" fmla="*/ 16 w 35"/>
                <a:gd name="T23" fmla="*/ 1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6">
                  <a:moveTo>
                    <a:pt x="16" y="14"/>
                  </a:moveTo>
                  <a:lnTo>
                    <a:pt x="7" y="21"/>
                  </a:lnTo>
                  <a:lnTo>
                    <a:pt x="0" y="11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6"/>
                  </a:lnTo>
                  <a:lnTo>
                    <a:pt x="9" y="56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62" name="Freeform 98">
              <a:extLst>
                <a:ext uri="{FF2B5EF4-FFF2-40B4-BE49-F238E27FC236}">
                  <a16:creationId xmlns:a16="http://schemas.microsoft.com/office/drawing/2014/main" id="{4E09B4D8-63F1-4826-B9C3-FE988C2376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14007" y="3790572"/>
              <a:ext cx="67984" cy="84602"/>
            </a:xfrm>
            <a:custGeom>
              <a:avLst/>
              <a:gdLst>
                <a:gd name="T0" fmla="*/ 17 w 19"/>
                <a:gd name="T1" fmla="*/ 4 h 24"/>
                <a:gd name="T2" fmla="*/ 19 w 19"/>
                <a:gd name="T3" fmla="*/ 12 h 24"/>
                <a:gd name="T4" fmla="*/ 17 w 19"/>
                <a:gd name="T5" fmla="*/ 21 h 24"/>
                <a:gd name="T6" fmla="*/ 10 w 19"/>
                <a:gd name="T7" fmla="*/ 24 h 24"/>
                <a:gd name="T8" fmla="*/ 2 w 19"/>
                <a:gd name="T9" fmla="*/ 20 h 24"/>
                <a:gd name="T10" fmla="*/ 0 w 19"/>
                <a:gd name="T11" fmla="*/ 12 h 24"/>
                <a:gd name="T12" fmla="*/ 10 w 19"/>
                <a:gd name="T13" fmla="*/ 0 h 24"/>
                <a:gd name="T14" fmla="*/ 17 w 19"/>
                <a:gd name="T15" fmla="*/ 4 h 24"/>
                <a:gd name="T16" fmla="*/ 6 w 19"/>
                <a:gd name="T17" fmla="*/ 12 h 24"/>
                <a:gd name="T18" fmla="*/ 10 w 19"/>
                <a:gd name="T19" fmla="*/ 20 h 24"/>
                <a:gd name="T20" fmla="*/ 14 w 19"/>
                <a:gd name="T21" fmla="*/ 12 h 24"/>
                <a:gd name="T22" fmla="*/ 10 w 19"/>
                <a:gd name="T23" fmla="*/ 4 h 24"/>
                <a:gd name="T24" fmla="*/ 6 w 19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4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6"/>
                    <a:pt x="18" y="19"/>
                    <a:pt x="17" y="21"/>
                  </a:cubicBezTo>
                  <a:cubicBezTo>
                    <a:pt x="15" y="23"/>
                    <a:pt x="13" y="24"/>
                    <a:pt x="10" y="24"/>
                  </a:cubicBezTo>
                  <a:cubicBezTo>
                    <a:pt x="6" y="24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1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63" name="Freeform 99">
              <a:extLst>
                <a:ext uri="{FF2B5EF4-FFF2-40B4-BE49-F238E27FC236}">
                  <a16:creationId xmlns:a16="http://schemas.microsoft.com/office/drawing/2014/main" id="{DB89F6F9-43A5-4983-BC74-1690157698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8539" y="3935604"/>
              <a:ext cx="52876" cy="86113"/>
            </a:xfrm>
            <a:custGeom>
              <a:avLst/>
              <a:gdLst>
                <a:gd name="T0" fmla="*/ 16 w 35"/>
                <a:gd name="T1" fmla="*/ 15 h 57"/>
                <a:gd name="T2" fmla="*/ 7 w 35"/>
                <a:gd name="T3" fmla="*/ 22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8 h 57"/>
                <a:gd name="T12" fmla="*/ 35 w 35"/>
                <a:gd name="T13" fmla="*/ 48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8 h 57"/>
                <a:gd name="T20" fmla="*/ 16 w 35"/>
                <a:gd name="T21" fmla="*/ 48 h 57"/>
                <a:gd name="T22" fmla="*/ 16 w 35"/>
                <a:gd name="T23" fmla="*/ 1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5"/>
                  </a:moveTo>
                  <a:lnTo>
                    <a:pt x="7" y="22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8"/>
                  </a:lnTo>
                  <a:lnTo>
                    <a:pt x="35" y="48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8"/>
                  </a:lnTo>
                  <a:lnTo>
                    <a:pt x="16" y="48"/>
                  </a:lnTo>
                  <a:lnTo>
                    <a:pt x="16" y="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64" name="Freeform 100">
              <a:extLst>
                <a:ext uri="{FF2B5EF4-FFF2-40B4-BE49-F238E27FC236}">
                  <a16:creationId xmlns:a16="http://schemas.microsoft.com/office/drawing/2014/main" id="{EAEF2B8F-6F30-4230-A210-31DB856704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14007" y="4082145"/>
              <a:ext cx="67984" cy="86113"/>
            </a:xfrm>
            <a:custGeom>
              <a:avLst/>
              <a:gdLst>
                <a:gd name="T0" fmla="*/ 17 w 19"/>
                <a:gd name="T1" fmla="*/ 4 h 24"/>
                <a:gd name="T2" fmla="*/ 19 w 19"/>
                <a:gd name="T3" fmla="*/ 12 h 24"/>
                <a:gd name="T4" fmla="*/ 17 w 19"/>
                <a:gd name="T5" fmla="*/ 21 h 24"/>
                <a:gd name="T6" fmla="*/ 10 w 19"/>
                <a:gd name="T7" fmla="*/ 24 h 24"/>
                <a:gd name="T8" fmla="*/ 2 w 19"/>
                <a:gd name="T9" fmla="*/ 20 h 24"/>
                <a:gd name="T10" fmla="*/ 0 w 19"/>
                <a:gd name="T11" fmla="*/ 12 h 24"/>
                <a:gd name="T12" fmla="*/ 10 w 19"/>
                <a:gd name="T13" fmla="*/ 0 h 24"/>
                <a:gd name="T14" fmla="*/ 17 w 19"/>
                <a:gd name="T15" fmla="*/ 4 h 24"/>
                <a:gd name="T16" fmla="*/ 6 w 19"/>
                <a:gd name="T17" fmla="*/ 12 h 24"/>
                <a:gd name="T18" fmla="*/ 10 w 19"/>
                <a:gd name="T19" fmla="*/ 20 h 24"/>
                <a:gd name="T20" fmla="*/ 14 w 19"/>
                <a:gd name="T21" fmla="*/ 12 h 24"/>
                <a:gd name="T22" fmla="*/ 10 w 19"/>
                <a:gd name="T23" fmla="*/ 4 h 24"/>
                <a:gd name="T24" fmla="*/ 6 w 19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4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6"/>
                    <a:pt x="18" y="19"/>
                    <a:pt x="17" y="21"/>
                  </a:cubicBezTo>
                  <a:cubicBezTo>
                    <a:pt x="15" y="23"/>
                    <a:pt x="13" y="24"/>
                    <a:pt x="10" y="24"/>
                  </a:cubicBezTo>
                  <a:cubicBezTo>
                    <a:pt x="6" y="24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1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65" name="Freeform 101">
              <a:extLst>
                <a:ext uri="{FF2B5EF4-FFF2-40B4-BE49-F238E27FC236}">
                  <a16:creationId xmlns:a16="http://schemas.microsoft.com/office/drawing/2014/main" id="{B3E188D8-FBEA-4464-BA26-0B54882D4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8539" y="4228688"/>
              <a:ext cx="52876" cy="86113"/>
            </a:xfrm>
            <a:custGeom>
              <a:avLst/>
              <a:gdLst>
                <a:gd name="T0" fmla="*/ 16 w 35"/>
                <a:gd name="T1" fmla="*/ 14 h 57"/>
                <a:gd name="T2" fmla="*/ 7 w 35"/>
                <a:gd name="T3" fmla="*/ 21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7 h 57"/>
                <a:gd name="T12" fmla="*/ 35 w 35"/>
                <a:gd name="T13" fmla="*/ 47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7 h 57"/>
                <a:gd name="T20" fmla="*/ 16 w 35"/>
                <a:gd name="T21" fmla="*/ 47 h 57"/>
                <a:gd name="T22" fmla="*/ 16 w 35"/>
                <a:gd name="T23" fmla="*/ 1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4"/>
                  </a:moveTo>
                  <a:lnTo>
                    <a:pt x="7" y="21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66" name="Freeform 102">
              <a:extLst>
                <a:ext uri="{FF2B5EF4-FFF2-40B4-BE49-F238E27FC236}">
                  <a16:creationId xmlns:a16="http://schemas.microsoft.com/office/drawing/2014/main" id="{8DE50394-7731-4FBF-982A-9EA80194BDA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8539" y="4375229"/>
              <a:ext cx="52876" cy="86113"/>
            </a:xfrm>
            <a:custGeom>
              <a:avLst/>
              <a:gdLst>
                <a:gd name="T0" fmla="*/ 16 w 35"/>
                <a:gd name="T1" fmla="*/ 14 h 57"/>
                <a:gd name="T2" fmla="*/ 7 w 35"/>
                <a:gd name="T3" fmla="*/ 21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7 h 57"/>
                <a:gd name="T12" fmla="*/ 35 w 35"/>
                <a:gd name="T13" fmla="*/ 47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7 h 57"/>
                <a:gd name="T20" fmla="*/ 16 w 35"/>
                <a:gd name="T21" fmla="*/ 47 h 57"/>
                <a:gd name="T22" fmla="*/ 16 w 35"/>
                <a:gd name="T23" fmla="*/ 1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4"/>
                  </a:moveTo>
                  <a:lnTo>
                    <a:pt x="7" y="21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67" name="Freeform 103">
              <a:extLst>
                <a:ext uri="{FF2B5EF4-FFF2-40B4-BE49-F238E27FC236}">
                  <a16:creationId xmlns:a16="http://schemas.microsoft.com/office/drawing/2014/main" id="{76861AE5-DFEC-40AD-9293-3846B9B70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8539" y="4524793"/>
              <a:ext cx="52876" cy="83091"/>
            </a:xfrm>
            <a:custGeom>
              <a:avLst/>
              <a:gdLst>
                <a:gd name="T0" fmla="*/ 16 w 35"/>
                <a:gd name="T1" fmla="*/ 12 h 55"/>
                <a:gd name="T2" fmla="*/ 7 w 35"/>
                <a:gd name="T3" fmla="*/ 19 h 55"/>
                <a:gd name="T4" fmla="*/ 0 w 35"/>
                <a:gd name="T5" fmla="*/ 10 h 55"/>
                <a:gd name="T6" fmla="*/ 19 w 35"/>
                <a:gd name="T7" fmla="*/ 0 h 55"/>
                <a:gd name="T8" fmla="*/ 28 w 35"/>
                <a:gd name="T9" fmla="*/ 0 h 55"/>
                <a:gd name="T10" fmla="*/ 28 w 35"/>
                <a:gd name="T11" fmla="*/ 45 h 55"/>
                <a:gd name="T12" fmla="*/ 35 w 35"/>
                <a:gd name="T13" fmla="*/ 45 h 55"/>
                <a:gd name="T14" fmla="*/ 35 w 35"/>
                <a:gd name="T15" fmla="*/ 55 h 55"/>
                <a:gd name="T16" fmla="*/ 9 w 35"/>
                <a:gd name="T17" fmla="*/ 55 h 55"/>
                <a:gd name="T18" fmla="*/ 9 w 35"/>
                <a:gd name="T19" fmla="*/ 45 h 55"/>
                <a:gd name="T20" fmla="*/ 16 w 35"/>
                <a:gd name="T21" fmla="*/ 45 h 55"/>
                <a:gd name="T22" fmla="*/ 16 w 35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5">
                  <a:moveTo>
                    <a:pt x="16" y="12"/>
                  </a:moveTo>
                  <a:lnTo>
                    <a:pt x="7" y="19"/>
                  </a:lnTo>
                  <a:lnTo>
                    <a:pt x="0" y="10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5"/>
                  </a:lnTo>
                  <a:lnTo>
                    <a:pt x="35" y="45"/>
                  </a:lnTo>
                  <a:lnTo>
                    <a:pt x="35" y="55"/>
                  </a:lnTo>
                  <a:lnTo>
                    <a:pt x="9" y="55"/>
                  </a:lnTo>
                  <a:lnTo>
                    <a:pt x="9" y="45"/>
                  </a:lnTo>
                  <a:lnTo>
                    <a:pt x="16" y="45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68" name="Freeform 104">
              <a:extLst>
                <a:ext uri="{FF2B5EF4-FFF2-40B4-BE49-F238E27FC236}">
                  <a16:creationId xmlns:a16="http://schemas.microsoft.com/office/drawing/2014/main" id="{C48306CE-486C-4505-8166-D0DF0CC4D8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14007" y="4668313"/>
              <a:ext cx="67984" cy="89134"/>
            </a:xfrm>
            <a:custGeom>
              <a:avLst/>
              <a:gdLst>
                <a:gd name="T0" fmla="*/ 17 w 19"/>
                <a:gd name="T1" fmla="*/ 4 h 25"/>
                <a:gd name="T2" fmla="*/ 19 w 19"/>
                <a:gd name="T3" fmla="*/ 12 h 25"/>
                <a:gd name="T4" fmla="*/ 17 w 19"/>
                <a:gd name="T5" fmla="*/ 21 h 25"/>
                <a:gd name="T6" fmla="*/ 10 w 19"/>
                <a:gd name="T7" fmla="*/ 25 h 25"/>
                <a:gd name="T8" fmla="*/ 2 w 19"/>
                <a:gd name="T9" fmla="*/ 20 h 25"/>
                <a:gd name="T10" fmla="*/ 0 w 19"/>
                <a:gd name="T11" fmla="*/ 12 h 25"/>
                <a:gd name="T12" fmla="*/ 10 w 19"/>
                <a:gd name="T13" fmla="*/ 0 h 25"/>
                <a:gd name="T14" fmla="*/ 17 w 19"/>
                <a:gd name="T15" fmla="*/ 4 h 25"/>
                <a:gd name="T16" fmla="*/ 6 w 19"/>
                <a:gd name="T17" fmla="*/ 12 h 25"/>
                <a:gd name="T18" fmla="*/ 10 w 19"/>
                <a:gd name="T19" fmla="*/ 20 h 25"/>
                <a:gd name="T20" fmla="*/ 14 w 19"/>
                <a:gd name="T21" fmla="*/ 12 h 25"/>
                <a:gd name="T22" fmla="*/ 10 w 19"/>
                <a:gd name="T23" fmla="*/ 4 h 25"/>
                <a:gd name="T24" fmla="*/ 6 w 19"/>
                <a:gd name="T25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5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7"/>
                    <a:pt x="18" y="19"/>
                    <a:pt x="17" y="21"/>
                  </a:cubicBezTo>
                  <a:cubicBezTo>
                    <a:pt x="15" y="23"/>
                    <a:pt x="13" y="25"/>
                    <a:pt x="10" y="25"/>
                  </a:cubicBezTo>
                  <a:cubicBezTo>
                    <a:pt x="6" y="25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2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69" name="Freeform 105">
              <a:extLst>
                <a:ext uri="{FF2B5EF4-FFF2-40B4-BE49-F238E27FC236}">
                  <a16:creationId xmlns:a16="http://schemas.microsoft.com/office/drawing/2014/main" id="{28AD979D-DBBE-435F-AF21-9D117D4BBF6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8539" y="4817877"/>
              <a:ext cx="52876" cy="81580"/>
            </a:xfrm>
            <a:custGeom>
              <a:avLst/>
              <a:gdLst>
                <a:gd name="T0" fmla="*/ 16 w 35"/>
                <a:gd name="T1" fmla="*/ 12 h 54"/>
                <a:gd name="T2" fmla="*/ 7 w 35"/>
                <a:gd name="T3" fmla="*/ 19 h 54"/>
                <a:gd name="T4" fmla="*/ 0 w 35"/>
                <a:gd name="T5" fmla="*/ 9 h 54"/>
                <a:gd name="T6" fmla="*/ 19 w 35"/>
                <a:gd name="T7" fmla="*/ 0 h 54"/>
                <a:gd name="T8" fmla="*/ 28 w 35"/>
                <a:gd name="T9" fmla="*/ 0 h 54"/>
                <a:gd name="T10" fmla="*/ 28 w 35"/>
                <a:gd name="T11" fmla="*/ 45 h 54"/>
                <a:gd name="T12" fmla="*/ 35 w 35"/>
                <a:gd name="T13" fmla="*/ 45 h 54"/>
                <a:gd name="T14" fmla="*/ 35 w 35"/>
                <a:gd name="T15" fmla="*/ 54 h 54"/>
                <a:gd name="T16" fmla="*/ 9 w 35"/>
                <a:gd name="T17" fmla="*/ 54 h 54"/>
                <a:gd name="T18" fmla="*/ 9 w 35"/>
                <a:gd name="T19" fmla="*/ 45 h 54"/>
                <a:gd name="T20" fmla="*/ 16 w 35"/>
                <a:gd name="T21" fmla="*/ 45 h 54"/>
                <a:gd name="T22" fmla="*/ 16 w 35"/>
                <a:gd name="T23" fmla="*/ 1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4">
                  <a:moveTo>
                    <a:pt x="16" y="12"/>
                  </a:moveTo>
                  <a:lnTo>
                    <a:pt x="7" y="19"/>
                  </a:lnTo>
                  <a:lnTo>
                    <a:pt x="0" y="9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5"/>
                  </a:lnTo>
                  <a:lnTo>
                    <a:pt x="35" y="45"/>
                  </a:lnTo>
                  <a:lnTo>
                    <a:pt x="35" y="54"/>
                  </a:lnTo>
                  <a:lnTo>
                    <a:pt x="9" y="54"/>
                  </a:lnTo>
                  <a:lnTo>
                    <a:pt x="9" y="45"/>
                  </a:lnTo>
                  <a:lnTo>
                    <a:pt x="16" y="45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70" name="Freeform 106">
              <a:extLst>
                <a:ext uri="{FF2B5EF4-FFF2-40B4-BE49-F238E27FC236}">
                  <a16:creationId xmlns:a16="http://schemas.microsoft.com/office/drawing/2014/main" id="{81597FC3-C6CC-4A61-AAF4-EC0E4F4658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14007" y="4959887"/>
              <a:ext cx="67984" cy="89134"/>
            </a:xfrm>
            <a:custGeom>
              <a:avLst/>
              <a:gdLst>
                <a:gd name="T0" fmla="*/ 17 w 19"/>
                <a:gd name="T1" fmla="*/ 5 h 25"/>
                <a:gd name="T2" fmla="*/ 19 w 19"/>
                <a:gd name="T3" fmla="*/ 12 h 25"/>
                <a:gd name="T4" fmla="*/ 17 w 19"/>
                <a:gd name="T5" fmla="*/ 21 h 25"/>
                <a:gd name="T6" fmla="*/ 10 w 19"/>
                <a:gd name="T7" fmla="*/ 25 h 25"/>
                <a:gd name="T8" fmla="*/ 2 w 19"/>
                <a:gd name="T9" fmla="*/ 20 h 25"/>
                <a:gd name="T10" fmla="*/ 0 w 19"/>
                <a:gd name="T11" fmla="*/ 12 h 25"/>
                <a:gd name="T12" fmla="*/ 10 w 19"/>
                <a:gd name="T13" fmla="*/ 0 h 25"/>
                <a:gd name="T14" fmla="*/ 17 w 19"/>
                <a:gd name="T15" fmla="*/ 5 h 25"/>
                <a:gd name="T16" fmla="*/ 6 w 19"/>
                <a:gd name="T17" fmla="*/ 12 h 25"/>
                <a:gd name="T18" fmla="*/ 10 w 19"/>
                <a:gd name="T19" fmla="*/ 21 h 25"/>
                <a:gd name="T20" fmla="*/ 14 w 19"/>
                <a:gd name="T21" fmla="*/ 12 h 25"/>
                <a:gd name="T22" fmla="*/ 10 w 19"/>
                <a:gd name="T23" fmla="*/ 4 h 25"/>
                <a:gd name="T24" fmla="*/ 6 w 19"/>
                <a:gd name="T25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5">
                  <a:moveTo>
                    <a:pt x="17" y="5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7"/>
                    <a:pt x="18" y="19"/>
                    <a:pt x="17" y="21"/>
                  </a:cubicBezTo>
                  <a:cubicBezTo>
                    <a:pt x="15" y="24"/>
                    <a:pt x="13" y="25"/>
                    <a:pt x="10" y="25"/>
                  </a:cubicBezTo>
                  <a:cubicBezTo>
                    <a:pt x="6" y="25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2"/>
                    <a:pt x="17" y="5"/>
                  </a:cubicBezTo>
                  <a:close/>
                  <a:moveTo>
                    <a:pt x="6" y="12"/>
                  </a:moveTo>
                  <a:cubicBezTo>
                    <a:pt x="6" y="18"/>
                    <a:pt x="7" y="21"/>
                    <a:pt x="10" y="21"/>
                  </a:cubicBezTo>
                  <a:cubicBezTo>
                    <a:pt x="12" y="21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71" name="Freeform 107">
              <a:extLst>
                <a:ext uri="{FF2B5EF4-FFF2-40B4-BE49-F238E27FC236}">
                  <a16:creationId xmlns:a16="http://schemas.microsoft.com/office/drawing/2014/main" id="{35706A01-A487-4715-84FF-EE599BFCA0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14007" y="5106428"/>
              <a:ext cx="67984" cy="89134"/>
            </a:xfrm>
            <a:custGeom>
              <a:avLst/>
              <a:gdLst>
                <a:gd name="T0" fmla="*/ 17 w 19"/>
                <a:gd name="T1" fmla="*/ 5 h 25"/>
                <a:gd name="T2" fmla="*/ 19 w 19"/>
                <a:gd name="T3" fmla="*/ 12 h 25"/>
                <a:gd name="T4" fmla="*/ 17 w 19"/>
                <a:gd name="T5" fmla="*/ 21 h 25"/>
                <a:gd name="T6" fmla="*/ 10 w 19"/>
                <a:gd name="T7" fmla="*/ 25 h 25"/>
                <a:gd name="T8" fmla="*/ 2 w 19"/>
                <a:gd name="T9" fmla="*/ 20 h 25"/>
                <a:gd name="T10" fmla="*/ 0 w 19"/>
                <a:gd name="T11" fmla="*/ 12 h 25"/>
                <a:gd name="T12" fmla="*/ 10 w 19"/>
                <a:gd name="T13" fmla="*/ 0 h 25"/>
                <a:gd name="T14" fmla="*/ 17 w 19"/>
                <a:gd name="T15" fmla="*/ 5 h 25"/>
                <a:gd name="T16" fmla="*/ 6 w 19"/>
                <a:gd name="T17" fmla="*/ 12 h 25"/>
                <a:gd name="T18" fmla="*/ 10 w 19"/>
                <a:gd name="T19" fmla="*/ 21 h 25"/>
                <a:gd name="T20" fmla="*/ 14 w 19"/>
                <a:gd name="T21" fmla="*/ 12 h 25"/>
                <a:gd name="T22" fmla="*/ 10 w 19"/>
                <a:gd name="T23" fmla="*/ 4 h 25"/>
                <a:gd name="T24" fmla="*/ 6 w 19"/>
                <a:gd name="T25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5">
                  <a:moveTo>
                    <a:pt x="17" y="5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7"/>
                    <a:pt x="18" y="19"/>
                    <a:pt x="17" y="21"/>
                  </a:cubicBezTo>
                  <a:cubicBezTo>
                    <a:pt x="15" y="24"/>
                    <a:pt x="13" y="25"/>
                    <a:pt x="10" y="25"/>
                  </a:cubicBezTo>
                  <a:cubicBezTo>
                    <a:pt x="6" y="25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2"/>
                    <a:pt x="17" y="5"/>
                  </a:cubicBezTo>
                  <a:close/>
                  <a:moveTo>
                    <a:pt x="6" y="12"/>
                  </a:moveTo>
                  <a:cubicBezTo>
                    <a:pt x="6" y="18"/>
                    <a:pt x="7" y="21"/>
                    <a:pt x="10" y="21"/>
                  </a:cubicBezTo>
                  <a:cubicBezTo>
                    <a:pt x="12" y="21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72" name="Freeform 108">
              <a:extLst>
                <a:ext uri="{FF2B5EF4-FFF2-40B4-BE49-F238E27FC236}">
                  <a16:creationId xmlns:a16="http://schemas.microsoft.com/office/drawing/2014/main" id="{41E1BD05-52F0-43A0-9B3F-57F5BC2C5F3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8539" y="5255992"/>
              <a:ext cx="52876" cy="83091"/>
            </a:xfrm>
            <a:custGeom>
              <a:avLst/>
              <a:gdLst>
                <a:gd name="T0" fmla="*/ 16 w 35"/>
                <a:gd name="T1" fmla="*/ 12 h 55"/>
                <a:gd name="T2" fmla="*/ 7 w 35"/>
                <a:gd name="T3" fmla="*/ 19 h 55"/>
                <a:gd name="T4" fmla="*/ 0 w 35"/>
                <a:gd name="T5" fmla="*/ 10 h 55"/>
                <a:gd name="T6" fmla="*/ 19 w 35"/>
                <a:gd name="T7" fmla="*/ 0 h 55"/>
                <a:gd name="T8" fmla="*/ 28 w 35"/>
                <a:gd name="T9" fmla="*/ 0 h 55"/>
                <a:gd name="T10" fmla="*/ 28 w 35"/>
                <a:gd name="T11" fmla="*/ 45 h 55"/>
                <a:gd name="T12" fmla="*/ 35 w 35"/>
                <a:gd name="T13" fmla="*/ 48 h 55"/>
                <a:gd name="T14" fmla="*/ 35 w 35"/>
                <a:gd name="T15" fmla="*/ 55 h 55"/>
                <a:gd name="T16" fmla="*/ 9 w 35"/>
                <a:gd name="T17" fmla="*/ 55 h 55"/>
                <a:gd name="T18" fmla="*/ 9 w 35"/>
                <a:gd name="T19" fmla="*/ 48 h 55"/>
                <a:gd name="T20" fmla="*/ 16 w 35"/>
                <a:gd name="T21" fmla="*/ 45 h 55"/>
                <a:gd name="T22" fmla="*/ 16 w 35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5">
                  <a:moveTo>
                    <a:pt x="16" y="12"/>
                  </a:moveTo>
                  <a:lnTo>
                    <a:pt x="7" y="19"/>
                  </a:lnTo>
                  <a:lnTo>
                    <a:pt x="0" y="10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5"/>
                  </a:lnTo>
                  <a:lnTo>
                    <a:pt x="35" y="48"/>
                  </a:lnTo>
                  <a:lnTo>
                    <a:pt x="35" y="55"/>
                  </a:lnTo>
                  <a:lnTo>
                    <a:pt x="9" y="55"/>
                  </a:lnTo>
                  <a:lnTo>
                    <a:pt x="9" y="48"/>
                  </a:lnTo>
                  <a:lnTo>
                    <a:pt x="16" y="45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73" name="Freeform 109">
              <a:extLst>
                <a:ext uri="{FF2B5EF4-FFF2-40B4-BE49-F238E27FC236}">
                  <a16:creationId xmlns:a16="http://schemas.microsoft.com/office/drawing/2014/main" id="{294EE5F2-CA07-4368-93A5-FADB1C3460C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8539" y="5402534"/>
              <a:ext cx="52876" cy="83091"/>
            </a:xfrm>
            <a:custGeom>
              <a:avLst/>
              <a:gdLst>
                <a:gd name="T0" fmla="*/ 16 w 35"/>
                <a:gd name="T1" fmla="*/ 12 h 55"/>
                <a:gd name="T2" fmla="*/ 7 w 35"/>
                <a:gd name="T3" fmla="*/ 19 h 55"/>
                <a:gd name="T4" fmla="*/ 0 w 35"/>
                <a:gd name="T5" fmla="*/ 10 h 55"/>
                <a:gd name="T6" fmla="*/ 19 w 35"/>
                <a:gd name="T7" fmla="*/ 0 h 55"/>
                <a:gd name="T8" fmla="*/ 28 w 35"/>
                <a:gd name="T9" fmla="*/ 0 h 55"/>
                <a:gd name="T10" fmla="*/ 28 w 35"/>
                <a:gd name="T11" fmla="*/ 48 h 55"/>
                <a:gd name="T12" fmla="*/ 35 w 35"/>
                <a:gd name="T13" fmla="*/ 48 h 55"/>
                <a:gd name="T14" fmla="*/ 35 w 35"/>
                <a:gd name="T15" fmla="*/ 55 h 55"/>
                <a:gd name="T16" fmla="*/ 9 w 35"/>
                <a:gd name="T17" fmla="*/ 55 h 55"/>
                <a:gd name="T18" fmla="*/ 9 w 35"/>
                <a:gd name="T19" fmla="*/ 48 h 55"/>
                <a:gd name="T20" fmla="*/ 16 w 35"/>
                <a:gd name="T21" fmla="*/ 48 h 55"/>
                <a:gd name="T22" fmla="*/ 16 w 35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5">
                  <a:moveTo>
                    <a:pt x="16" y="12"/>
                  </a:moveTo>
                  <a:lnTo>
                    <a:pt x="7" y="19"/>
                  </a:lnTo>
                  <a:lnTo>
                    <a:pt x="0" y="10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8"/>
                  </a:lnTo>
                  <a:lnTo>
                    <a:pt x="35" y="48"/>
                  </a:lnTo>
                  <a:lnTo>
                    <a:pt x="35" y="55"/>
                  </a:lnTo>
                  <a:lnTo>
                    <a:pt x="9" y="55"/>
                  </a:lnTo>
                  <a:lnTo>
                    <a:pt x="9" y="48"/>
                  </a:lnTo>
                  <a:lnTo>
                    <a:pt x="16" y="48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74" name="Freeform 110">
              <a:extLst>
                <a:ext uri="{FF2B5EF4-FFF2-40B4-BE49-F238E27FC236}">
                  <a16:creationId xmlns:a16="http://schemas.microsoft.com/office/drawing/2014/main" id="{DF9BA302-7837-41D8-9021-BDBDA196CC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14007" y="5546055"/>
              <a:ext cx="67984" cy="89134"/>
            </a:xfrm>
            <a:custGeom>
              <a:avLst/>
              <a:gdLst>
                <a:gd name="T0" fmla="*/ 17 w 19"/>
                <a:gd name="T1" fmla="*/ 5 h 25"/>
                <a:gd name="T2" fmla="*/ 19 w 19"/>
                <a:gd name="T3" fmla="*/ 13 h 25"/>
                <a:gd name="T4" fmla="*/ 17 w 19"/>
                <a:gd name="T5" fmla="*/ 21 h 25"/>
                <a:gd name="T6" fmla="*/ 10 w 19"/>
                <a:gd name="T7" fmla="*/ 25 h 25"/>
                <a:gd name="T8" fmla="*/ 2 w 19"/>
                <a:gd name="T9" fmla="*/ 21 h 25"/>
                <a:gd name="T10" fmla="*/ 0 w 19"/>
                <a:gd name="T11" fmla="*/ 12 h 25"/>
                <a:gd name="T12" fmla="*/ 10 w 19"/>
                <a:gd name="T13" fmla="*/ 0 h 25"/>
                <a:gd name="T14" fmla="*/ 17 w 19"/>
                <a:gd name="T15" fmla="*/ 5 h 25"/>
                <a:gd name="T16" fmla="*/ 6 w 19"/>
                <a:gd name="T17" fmla="*/ 13 h 25"/>
                <a:gd name="T18" fmla="*/ 10 w 19"/>
                <a:gd name="T19" fmla="*/ 21 h 25"/>
                <a:gd name="T20" fmla="*/ 14 w 19"/>
                <a:gd name="T21" fmla="*/ 13 h 25"/>
                <a:gd name="T22" fmla="*/ 10 w 19"/>
                <a:gd name="T23" fmla="*/ 5 h 25"/>
                <a:gd name="T24" fmla="*/ 6 w 19"/>
                <a:gd name="T25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5">
                  <a:moveTo>
                    <a:pt x="17" y="5"/>
                  </a:moveTo>
                  <a:cubicBezTo>
                    <a:pt x="18" y="7"/>
                    <a:pt x="19" y="9"/>
                    <a:pt x="19" y="13"/>
                  </a:cubicBezTo>
                  <a:cubicBezTo>
                    <a:pt x="19" y="17"/>
                    <a:pt x="18" y="19"/>
                    <a:pt x="17" y="21"/>
                  </a:cubicBezTo>
                  <a:cubicBezTo>
                    <a:pt x="15" y="24"/>
                    <a:pt x="13" y="25"/>
                    <a:pt x="10" y="25"/>
                  </a:cubicBezTo>
                  <a:cubicBezTo>
                    <a:pt x="6" y="25"/>
                    <a:pt x="3" y="23"/>
                    <a:pt x="2" y="21"/>
                  </a:cubicBezTo>
                  <a:cubicBezTo>
                    <a:pt x="1" y="19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2"/>
                    <a:pt x="17" y="5"/>
                  </a:cubicBezTo>
                  <a:close/>
                  <a:moveTo>
                    <a:pt x="6" y="13"/>
                  </a:moveTo>
                  <a:cubicBezTo>
                    <a:pt x="6" y="18"/>
                    <a:pt x="7" y="21"/>
                    <a:pt x="10" y="21"/>
                  </a:cubicBezTo>
                  <a:cubicBezTo>
                    <a:pt x="12" y="21"/>
                    <a:pt x="14" y="18"/>
                    <a:pt x="14" y="13"/>
                  </a:cubicBezTo>
                  <a:cubicBezTo>
                    <a:pt x="14" y="7"/>
                    <a:pt x="12" y="5"/>
                    <a:pt x="10" y="5"/>
                  </a:cubicBezTo>
                  <a:cubicBezTo>
                    <a:pt x="7" y="5"/>
                    <a:pt x="6" y="7"/>
                    <a:pt x="6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75" name="Freeform 111">
              <a:extLst>
                <a:ext uri="{FF2B5EF4-FFF2-40B4-BE49-F238E27FC236}">
                  <a16:creationId xmlns:a16="http://schemas.microsoft.com/office/drawing/2014/main" id="{EB6F2C0A-9548-40C9-B0D4-79EA891BAB7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8539" y="5695618"/>
              <a:ext cx="52876" cy="81580"/>
            </a:xfrm>
            <a:custGeom>
              <a:avLst/>
              <a:gdLst>
                <a:gd name="T0" fmla="*/ 16 w 35"/>
                <a:gd name="T1" fmla="*/ 12 h 54"/>
                <a:gd name="T2" fmla="*/ 7 w 35"/>
                <a:gd name="T3" fmla="*/ 19 h 54"/>
                <a:gd name="T4" fmla="*/ 0 w 35"/>
                <a:gd name="T5" fmla="*/ 9 h 54"/>
                <a:gd name="T6" fmla="*/ 19 w 35"/>
                <a:gd name="T7" fmla="*/ 0 h 54"/>
                <a:gd name="T8" fmla="*/ 28 w 35"/>
                <a:gd name="T9" fmla="*/ 0 h 54"/>
                <a:gd name="T10" fmla="*/ 28 w 35"/>
                <a:gd name="T11" fmla="*/ 47 h 54"/>
                <a:gd name="T12" fmla="*/ 35 w 35"/>
                <a:gd name="T13" fmla="*/ 47 h 54"/>
                <a:gd name="T14" fmla="*/ 35 w 35"/>
                <a:gd name="T15" fmla="*/ 54 h 54"/>
                <a:gd name="T16" fmla="*/ 9 w 35"/>
                <a:gd name="T17" fmla="*/ 54 h 54"/>
                <a:gd name="T18" fmla="*/ 9 w 35"/>
                <a:gd name="T19" fmla="*/ 47 h 54"/>
                <a:gd name="T20" fmla="*/ 16 w 35"/>
                <a:gd name="T21" fmla="*/ 47 h 54"/>
                <a:gd name="T22" fmla="*/ 16 w 35"/>
                <a:gd name="T23" fmla="*/ 1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4">
                  <a:moveTo>
                    <a:pt x="16" y="12"/>
                  </a:moveTo>
                  <a:lnTo>
                    <a:pt x="7" y="19"/>
                  </a:lnTo>
                  <a:lnTo>
                    <a:pt x="0" y="9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4"/>
                  </a:lnTo>
                  <a:lnTo>
                    <a:pt x="9" y="54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76" name="Freeform 112">
              <a:extLst>
                <a:ext uri="{FF2B5EF4-FFF2-40B4-BE49-F238E27FC236}">
                  <a16:creationId xmlns:a16="http://schemas.microsoft.com/office/drawing/2014/main" id="{2392433A-B18A-45CB-B3BC-17916F865F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14007" y="5839139"/>
              <a:ext cx="67984" cy="89134"/>
            </a:xfrm>
            <a:custGeom>
              <a:avLst/>
              <a:gdLst>
                <a:gd name="T0" fmla="*/ 17 w 19"/>
                <a:gd name="T1" fmla="*/ 5 h 25"/>
                <a:gd name="T2" fmla="*/ 19 w 19"/>
                <a:gd name="T3" fmla="*/ 13 h 25"/>
                <a:gd name="T4" fmla="*/ 17 w 19"/>
                <a:gd name="T5" fmla="*/ 22 h 25"/>
                <a:gd name="T6" fmla="*/ 10 w 19"/>
                <a:gd name="T7" fmla="*/ 25 h 25"/>
                <a:gd name="T8" fmla="*/ 2 w 19"/>
                <a:gd name="T9" fmla="*/ 21 h 25"/>
                <a:gd name="T10" fmla="*/ 0 w 19"/>
                <a:gd name="T11" fmla="*/ 13 h 25"/>
                <a:gd name="T12" fmla="*/ 10 w 19"/>
                <a:gd name="T13" fmla="*/ 0 h 25"/>
                <a:gd name="T14" fmla="*/ 17 w 19"/>
                <a:gd name="T15" fmla="*/ 5 h 25"/>
                <a:gd name="T16" fmla="*/ 6 w 19"/>
                <a:gd name="T17" fmla="*/ 13 h 25"/>
                <a:gd name="T18" fmla="*/ 10 w 19"/>
                <a:gd name="T19" fmla="*/ 21 h 25"/>
                <a:gd name="T20" fmla="*/ 14 w 19"/>
                <a:gd name="T21" fmla="*/ 13 h 25"/>
                <a:gd name="T22" fmla="*/ 10 w 19"/>
                <a:gd name="T23" fmla="*/ 5 h 25"/>
                <a:gd name="T24" fmla="*/ 6 w 19"/>
                <a:gd name="T25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5">
                  <a:moveTo>
                    <a:pt x="17" y="5"/>
                  </a:moveTo>
                  <a:cubicBezTo>
                    <a:pt x="18" y="7"/>
                    <a:pt x="19" y="9"/>
                    <a:pt x="19" y="13"/>
                  </a:cubicBezTo>
                  <a:cubicBezTo>
                    <a:pt x="19" y="17"/>
                    <a:pt x="18" y="20"/>
                    <a:pt x="17" y="22"/>
                  </a:cubicBezTo>
                  <a:cubicBezTo>
                    <a:pt x="15" y="24"/>
                    <a:pt x="13" y="25"/>
                    <a:pt x="10" y="25"/>
                  </a:cubicBezTo>
                  <a:cubicBezTo>
                    <a:pt x="6" y="25"/>
                    <a:pt x="3" y="23"/>
                    <a:pt x="2" y="21"/>
                  </a:cubicBezTo>
                  <a:cubicBezTo>
                    <a:pt x="1" y="19"/>
                    <a:pt x="0" y="16"/>
                    <a:pt x="0" y="13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2"/>
                    <a:pt x="17" y="5"/>
                  </a:cubicBezTo>
                  <a:close/>
                  <a:moveTo>
                    <a:pt x="6" y="13"/>
                  </a:moveTo>
                  <a:cubicBezTo>
                    <a:pt x="6" y="18"/>
                    <a:pt x="7" y="21"/>
                    <a:pt x="10" y="21"/>
                  </a:cubicBezTo>
                  <a:cubicBezTo>
                    <a:pt x="12" y="21"/>
                    <a:pt x="14" y="18"/>
                    <a:pt x="14" y="13"/>
                  </a:cubicBezTo>
                  <a:cubicBezTo>
                    <a:pt x="14" y="7"/>
                    <a:pt x="12" y="5"/>
                    <a:pt x="10" y="5"/>
                  </a:cubicBezTo>
                  <a:cubicBezTo>
                    <a:pt x="7" y="5"/>
                    <a:pt x="6" y="7"/>
                    <a:pt x="6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77" name="Freeform 113">
              <a:extLst>
                <a:ext uri="{FF2B5EF4-FFF2-40B4-BE49-F238E27FC236}">
                  <a16:creationId xmlns:a16="http://schemas.microsoft.com/office/drawing/2014/main" id="{ADE56D62-3782-4C8B-AFCD-24759625091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8539" y="5988702"/>
              <a:ext cx="52876" cy="84602"/>
            </a:xfrm>
            <a:custGeom>
              <a:avLst/>
              <a:gdLst>
                <a:gd name="T0" fmla="*/ 16 w 35"/>
                <a:gd name="T1" fmla="*/ 12 h 56"/>
                <a:gd name="T2" fmla="*/ 7 w 35"/>
                <a:gd name="T3" fmla="*/ 19 h 56"/>
                <a:gd name="T4" fmla="*/ 0 w 35"/>
                <a:gd name="T5" fmla="*/ 9 h 56"/>
                <a:gd name="T6" fmla="*/ 19 w 35"/>
                <a:gd name="T7" fmla="*/ 0 h 56"/>
                <a:gd name="T8" fmla="*/ 28 w 35"/>
                <a:gd name="T9" fmla="*/ 0 h 56"/>
                <a:gd name="T10" fmla="*/ 28 w 35"/>
                <a:gd name="T11" fmla="*/ 47 h 56"/>
                <a:gd name="T12" fmla="*/ 35 w 35"/>
                <a:gd name="T13" fmla="*/ 47 h 56"/>
                <a:gd name="T14" fmla="*/ 35 w 35"/>
                <a:gd name="T15" fmla="*/ 56 h 56"/>
                <a:gd name="T16" fmla="*/ 9 w 35"/>
                <a:gd name="T17" fmla="*/ 56 h 56"/>
                <a:gd name="T18" fmla="*/ 9 w 35"/>
                <a:gd name="T19" fmla="*/ 47 h 56"/>
                <a:gd name="T20" fmla="*/ 16 w 35"/>
                <a:gd name="T21" fmla="*/ 47 h 56"/>
                <a:gd name="T22" fmla="*/ 16 w 35"/>
                <a:gd name="T23" fmla="*/ 12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6">
                  <a:moveTo>
                    <a:pt x="16" y="12"/>
                  </a:moveTo>
                  <a:lnTo>
                    <a:pt x="7" y="19"/>
                  </a:lnTo>
                  <a:lnTo>
                    <a:pt x="0" y="9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6"/>
                  </a:lnTo>
                  <a:lnTo>
                    <a:pt x="9" y="56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78" name="Freeform 114">
              <a:extLst>
                <a:ext uri="{FF2B5EF4-FFF2-40B4-BE49-F238E27FC236}">
                  <a16:creationId xmlns:a16="http://schemas.microsoft.com/office/drawing/2014/main" id="{4FE996B7-C94A-44B9-AC0C-4407283AF9C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8539" y="6135244"/>
              <a:ext cx="52876" cy="84602"/>
            </a:xfrm>
            <a:custGeom>
              <a:avLst/>
              <a:gdLst>
                <a:gd name="T0" fmla="*/ 16 w 35"/>
                <a:gd name="T1" fmla="*/ 11 h 56"/>
                <a:gd name="T2" fmla="*/ 7 w 35"/>
                <a:gd name="T3" fmla="*/ 18 h 56"/>
                <a:gd name="T4" fmla="*/ 0 w 35"/>
                <a:gd name="T5" fmla="*/ 9 h 56"/>
                <a:gd name="T6" fmla="*/ 19 w 35"/>
                <a:gd name="T7" fmla="*/ 0 h 56"/>
                <a:gd name="T8" fmla="*/ 28 w 35"/>
                <a:gd name="T9" fmla="*/ 0 h 56"/>
                <a:gd name="T10" fmla="*/ 28 w 35"/>
                <a:gd name="T11" fmla="*/ 47 h 56"/>
                <a:gd name="T12" fmla="*/ 35 w 35"/>
                <a:gd name="T13" fmla="*/ 47 h 56"/>
                <a:gd name="T14" fmla="*/ 35 w 35"/>
                <a:gd name="T15" fmla="*/ 56 h 56"/>
                <a:gd name="T16" fmla="*/ 9 w 35"/>
                <a:gd name="T17" fmla="*/ 56 h 56"/>
                <a:gd name="T18" fmla="*/ 9 w 35"/>
                <a:gd name="T19" fmla="*/ 47 h 56"/>
                <a:gd name="T20" fmla="*/ 16 w 35"/>
                <a:gd name="T21" fmla="*/ 47 h 56"/>
                <a:gd name="T22" fmla="*/ 16 w 35"/>
                <a:gd name="T23" fmla="*/ 1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6">
                  <a:moveTo>
                    <a:pt x="16" y="11"/>
                  </a:moveTo>
                  <a:lnTo>
                    <a:pt x="7" y="18"/>
                  </a:lnTo>
                  <a:lnTo>
                    <a:pt x="0" y="9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6"/>
                  </a:lnTo>
                  <a:lnTo>
                    <a:pt x="9" y="56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79" name="Freeform 115">
              <a:extLst>
                <a:ext uri="{FF2B5EF4-FFF2-40B4-BE49-F238E27FC236}">
                  <a16:creationId xmlns:a16="http://schemas.microsoft.com/office/drawing/2014/main" id="{2EF3A044-B45F-4D59-868A-DA7E427F47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14007" y="6280275"/>
              <a:ext cx="67984" cy="86113"/>
            </a:xfrm>
            <a:custGeom>
              <a:avLst/>
              <a:gdLst>
                <a:gd name="T0" fmla="*/ 17 w 19"/>
                <a:gd name="T1" fmla="*/ 4 h 24"/>
                <a:gd name="T2" fmla="*/ 19 w 19"/>
                <a:gd name="T3" fmla="*/ 12 h 24"/>
                <a:gd name="T4" fmla="*/ 17 w 19"/>
                <a:gd name="T5" fmla="*/ 21 h 24"/>
                <a:gd name="T6" fmla="*/ 10 w 19"/>
                <a:gd name="T7" fmla="*/ 24 h 24"/>
                <a:gd name="T8" fmla="*/ 2 w 19"/>
                <a:gd name="T9" fmla="*/ 20 h 24"/>
                <a:gd name="T10" fmla="*/ 0 w 19"/>
                <a:gd name="T11" fmla="*/ 12 h 24"/>
                <a:gd name="T12" fmla="*/ 10 w 19"/>
                <a:gd name="T13" fmla="*/ 0 h 24"/>
                <a:gd name="T14" fmla="*/ 17 w 19"/>
                <a:gd name="T15" fmla="*/ 4 h 24"/>
                <a:gd name="T16" fmla="*/ 6 w 19"/>
                <a:gd name="T17" fmla="*/ 12 h 24"/>
                <a:gd name="T18" fmla="*/ 10 w 19"/>
                <a:gd name="T19" fmla="*/ 20 h 24"/>
                <a:gd name="T20" fmla="*/ 14 w 19"/>
                <a:gd name="T21" fmla="*/ 12 h 24"/>
                <a:gd name="T22" fmla="*/ 10 w 19"/>
                <a:gd name="T23" fmla="*/ 4 h 24"/>
                <a:gd name="T24" fmla="*/ 6 w 19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4">
                  <a:moveTo>
                    <a:pt x="17" y="4"/>
                  </a:moveTo>
                  <a:cubicBezTo>
                    <a:pt x="18" y="6"/>
                    <a:pt x="19" y="8"/>
                    <a:pt x="19" y="12"/>
                  </a:cubicBezTo>
                  <a:cubicBezTo>
                    <a:pt x="19" y="16"/>
                    <a:pt x="18" y="19"/>
                    <a:pt x="17" y="21"/>
                  </a:cubicBezTo>
                  <a:cubicBezTo>
                    <a:pt x="15" y="23"/>
                    <a:pt x="13" y="24"/>
                    <a:pt x="10" y="24"/>
                  </a:cubicBezTo>
                  <a:cubicBezTo>
                    <a:pt x="6" y="24"/>
                    <a:pt x="3" y="23"/>
                    <a:pt x="2" y="20"/>
                  </a:cubicBezTo>
                  <a:cubicBezTo>
                    <a:pt x="1" y="18"/>
                    <a:pt x="0" y="15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1"/>
                    <a:pt x="17" y="4"/>
                  </a:cubicBezTo>
                  <a:close/>
                  <a:moveTo>
                    <a:pt x="6" y="12"/>
                  </a:moveTo>
                  <a:cubicBezTo>
                    <a:pt x="6" y="17"/>
                    <a:pt x="7" y="20"/>
                    <a:pt x="10" y="20"/>
                  </a:cubicBezTo>
                  <a:cubicBezTo>
                    <a:pt x="12" y="20"/>
                    <a:pt x="14" y="17"/>
                    <a:pt x="14" y="12"/>
                  </a:cubicBezTo>
                  <a:cubicBezTo>
                    <a:pt x="14" y="6"/>
                    <a:pt x="12" y="4"/>
                    <a:pt x="10" y="4"/>
                  </a:cubicBezTo>
                  <a:cubicBezTo>
                    <a:pt x="7" y="4"/>
                    <a:pt x="6" y="6"/>
                    <a:pt x="6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80" name="Freeform 116">
              <a:extLst>
                <a:ext uri="{FF2B5EF4-FFF2-40B4-BE49-F238E27FC236}">
                  <a16:creationId xmlns:a16="http://schemas.microsoft.com/office/drawing/2014/main" id="{FCED222F-D6B2-4C5F-9A56-8009917210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14007" y="6426817"/>
              <a:ext cx="67984" cy="86113"/>
            </a:xfrm>
            <a:custGeom>
              <a:avLst/>
              <a:gdLst>
                <a:gd name="T0" fmla="*/ 17 w 19"/>
                <a:gd name="T1" fmla="*/ 4 h 24"/>
                <a:gd name="T2" fmla="*/ 19 w 19"/>
                <a:gd name="T3" fmla="*/ 12 h 24"/>
                <a:gd name="T4" fmla="*/ 17 w 19"/>
                <a:gd name="T5" fmla="*/ 21 h 24"/>
                <a:gd name="T6" fmla="*/ 10 w 19"/>
                <a:gd name="T7" fmla="*/ 24 h 24"/>
                <a:gd name="T8" fmla="*/ 2 w 19"/>
                <a:gd name="T9" fmla="*/ 20 h 24"/>
                <a:gd name="T10" fmla="*/ 0 w 19"/>
                <a:gd name="T11" fmla="*/ 12 h 24"/>
                <a:gd name="T12" fmla="*/ 10 w 19"/>
                <a:gd name="T13" fmla="*/ 0 h 24"/>
                <a:gd name="T14" fmla="*/ 17 w 19"/>
                <a:gd name="T15" fmla="*/ 4 h 24"/>
                <a:gd name="T16" fmla="*/ 6 w 19"/>
                <a:gd name="T17" fmla="*/ 12 h 24"/>
                <a:gd name="T18" fmla="*/ 10 w 19"/>
                <a:gd name="T19" fmla="*/ 20 h 24"/>
                <a:gd name="T20" fmla="*/ 14 w 19"/>
                <a:gd name="T21" fmla="*/ 12 h 24"/>
                <a:gd name="T22" fmla="*/ 10 w 19"/>
                <a:gd name="T23" fmla="*/ 4 h 24"/>
                <a:gd name="T24" fmla="*/ 6 w 19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4">
                  <a:moveTo>
                    <a:pt x="17" y="4"/>
                  </a:moveTo>
                  <a:cubicBezTo>
                    <a:pt x="18" y="6"/>
                    <a:pt x="19" y="8"/>
                    <a:pt x="19" y="12"/>
                  </a:cubicBezTo>
                  <a:cubicBezTo>
                    <a:pt x="19" y="16"/>
                    <a:pt x="18" y="19"/>
                    <a:pt x="17" y="21"/>
                  </a:cubicBezTo>
                  <a:cubicBezTo>
                    <a:pt x="15" y="23"/>
                    <a:pt x="13" y="24"/>
                    <a:pt x="10" y="24"/>
                  </a:cubicBezTo>
                  <a:cubicBezTo>
                    <a:pt x="6" y="24"/>
                    <a:pt x="3" y="23"/>
                    <a:pt x="2" y="20"/>
                  </a:cubicBezTo>
                  <a:cubicBezTo>
                    <a:pt x="1" y="18"/>
                    <a:pt x="0" y="15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1"/>
                    <a:pt x="17" y="4"/>
                  </a:cubicBezTo>
                  <a:close/>
                  <a:moveTo>
                    <a:pt x="6" y="12"/>
                  </a:moveTo>
                  <a:cubicBezTo>
                    <a:pt x="6" y="17"/>
                    <a:pt x="7" y="20"/>
                    <a:pt x="10" y="20"/>
                  </a:cubicBezTo>
                  <a:cubicBezTo>
                    <a:pt x="12" y="20"/>
                    <a:pt x="14" y="17"/>
                    <a:pt x="14" y="12"/>
                  </a:cubicBezTo>
                  <a:cubicBezTo>
                    <a:pt x="14" y="6"/>
                    <a:pt x="12" y="4"/>
                    <a:pt x="10" y="4"/>
                  </a:cubicBezTo>
                  <a:cubicBezTo>
                    <a:pt x="7" y="4"/>
                    <a:pt x="6" y="6"/>
                    <a:pt x="6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81" name="Freeform 117">
              <a:extLst>
                <a:ext uri="{FF2B5EF4-FFF2-40B4-BE49-F238E27FC236}">
                  <a16:creationId xmlns:a16="http://schemas.microsoft.com/office/drawing/2014/main" id="{7B81C105-BDA4-4A9A-BDA5-962FDD17F5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14007" y="6573359"/>
              <a:ext cx="67984" cy="86113"/>
            </a:xfrm>
            <a:custGeom>
              <a:avLst/>
              <a:gdLst>
                <a:gd name="T0" fmla="*/ 17 w 19"/>
                <a:gd name="T1" fmla="*/ 4 h 24"/>
                <a:gd name="T2" fmla="*/ 19 w 19"/>
                <a:gd name="T3" fmla="*/ 12 h 24"/>
                <a:gd name="T4" fmla="*/ 17 w 19"/>
                <a:gd name="T5" fmla="*/ 21 h 24"/>
                <a:gd name="T6" fmla="*/ 10 w 19"/>
                <a:gd name="T7" fmla="*/ 24 h 24"/>
                <a:gd name="T8" fmla="*/ 2 w 19"/>
                <a:gd name="T9" fmla="*/ 20 h 24"/>
                <a:gd name="T10" fmla="*/ 0 w 19"/>
                <a:gd name="T11" fmla="*/ 12 h 24"/>
                <a:gd name="T12" fmla="*/ 10 w 19"/>
                <a:gd name="T13" fmla="*/ 0 h 24"/>
                <a:gd name="T14" fmla="*/ 17 w 19"/>
                <a:gd name="T15" fmla="*/ 4 h 24"/>
                <a:gd name="T16" fmla="*/ 6 w 19"/>
                <a:gd name="T17" fmla="*/ 12 h 24"/>
                <a:gd name="T18" fmla="*/ 10 w 19"/>
                <a:gd name="T19" fmla="*/ 20 h 24"/>
                <a:gd name="T20" fmla="*/ 14 w 19"/>
                <a:gd name="T21" fmla="*/ 12 h 24"/>
                <a:gd name="T22" fmla="*/ 10 w 19"/>
                <a:gd name="T23" fmla="*/ 4 h 24"/>
                <a:gd name="T24" fmla="*/ 6 w 19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4">
                  <a:moveTo>
                    <a:pt x="17" y="4"/>
                  </a:moveTo>
                  <a:cubicBezTo>
                    <a:pt x="18" y="6"/>
                    <a:pt x="19" y="8"/>
                    <a:pt x="19" y="12"/>
                  </a:cubicBezTo>
                  <a:cubicBezTo>
                    <a:pt x="19" y="16"/>
                    <a:pt x="18" y="19"/>
                    <a:pt x="17" y="21"/>
                  </a:cubicBezTo>
                  <a:cubicBezTo>
                    <a:pt x="15" y="23"/>
                    <a:pt x="13" y="24"/>
                    <a:pt x="10" y="24"/>
                  </a:cubicBezTo>
                  <a:cubicBezTo>
                    <a:pt x="6" y="24"/>
                    <a:pt x="3" y="23"/>
                    <a:pt x="2" y="20"/>
                  </a:cubicBezTo>
                  <a:cubicBezTo>
                    <a:pt x="1" y="18"/>
                    <a:pt x="0" y="15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1"/>
                    <a:pt x="17" y="4"/>
                  </a:cubicBezTo>
                  <a:close/>
                  <a:moveTo>
                    <a:pt x="6" y="12"/>
                  </a:moveTo>
                  <a:cubicBezTo>
                    <a:pt x="6" y="17"/>
                    <a:pt x="7" y="20"/>
                    <a:pt x="10" y="20"/>
                  </a:cubicBezTo>
                  <a:cubicBezTo>
                    <a:pt x="12" y="20"/>
                    <a:pt x="14" y="17"/>
                    <a:pt x="14" y="12"/>
                  </a:cubicBezTo>
                  <a:cubicBezTo>
                    <a:pt x="14" y="6"/>
                    <a:pt x="12" y="4"/>
                    <a:pt x="10" y="4"/>
                  </a:cubicBezTo>
                  <a:cubicBezTo>
                    <a:pt x="7" y="4"/>
                    <a:pt x="6" y="6"/>
                    <a:pt x="6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82" name="Freeform 118">
              <a:extLst>
                <a:ext uri="{FF2B5EF4-FFF2-40B4-BE49-F238E27FC236}">
                  <a16:creationId xmlns:a16="http://schemas.microsoft.com/office/drawing/2014/main" id="{18E19D5A-FC00-4411-B2D2-D47EF40601C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8539" y="6719901"/>
              <a:ext cx="52876" cy="86113"/>
            </a:xfrm>
            <a:custGeom>
              <a:avLst/>
              <a:gdLst>
                <a:gd name="T0" fmla="*/ 16 w 35"/>
                <a:gd name="T1" fmla="*/ 14 h 57"/>
                <a:gd name="T2" fmla="*/ 7 w 35"/>
                <a:gd name="T3" fmla="*/ 21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7 h 57"/>
                <a:gd name="T12" fmla="*/ 35 w 35"/>
                <a:gd name="T13" fmla="*/ 47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7 h 57"/>
                <a:gd name="T20" fmla="*/ 16 w 35"/>
                <a:gd name="T21" fmla="*/ 47 h 57"/>
                <a:gd name="T22" fmla="*/ 16 w 35"/>
                <a:gd name="T23" fmla="*/ 1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4"/>
                  </a:moveTo>
                  <a:lnTo>
                    <a:pt x="7" y="21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83" name="Freeform 119">
              <a:extLst>
                <a:ext uri="{FF2B5EF4-FFF2-40B4-BE49-F238E27FC236}">
                  <a16:creationId xmlns:a16="http://schemas.microsoft.com/office/drawing/2014/main" id="{EA7ABB47-32BA-49DE-9FC9-94A6B29800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14007" y="6866443"/>
              <a:ext cx="67984" cy="86113"/>
            </a:xfrm>
            <a:custGeom>
              <a:avLst/>
              <a:gdLst>
                <a:gd name="T0" fmla="*/ 17 w 19"/>
                <a:gd name="T1" fmla="*/ 4 h 24"/>
                <a:gd name="T2" fmla="*/ 19 w 19"/>
                <a:gd name="T3" fmla="*/ 12 h 24"/>
                <a:gd name="T4" fmla="*/ 17 w 19"/>
                <a:gd name="T5" fmla="*/ 21 h 24"/>
                <a:gd name="T6" fmla="*/ 10 w 19"/>
                <a:gd name="T7" fmla="*/ 24 h 24"/>
                <a:gd name="T8" fmla="*/ 2 w 19"/>
                <a:gd name="T9" fmla="*/ 20 h 24"/>
                <a:gd name="T10" fmla="*/ 0 w 19"/>
                <a:gd name="T11" fmla="*/ 12 h 24"/>
                <a:gd name="T12" fmla="*/ 10 w 19"/>
                <a:gd name="T13" fmla="*/ 0 h 24"/>
                <a:gd name="T14" fmla="*/ 17 w 19"/>
                <a:gd name="T15" fmla="*/ 4 h 24"/>
                <a:gd name="T16" fmla="*/ 6 w 19"/>
                <a:gd name="T17" fmla="*/ 12 h 24"/>
                <a:gd name="T18" fmla="*/ 10 w 19"/>
                <a:gd name="T19" fmla="*/ 20 h 24"/>
                <a:gd name="T20" fmla="*/ 14 w 19"/>
                <a:gd name="T21" fmla="*/ 12 h 24"/>
                <a:gd name="T22" fmla="*/ 10 w 19"/>
                <a:gd name="T23" fmla="*/ 4 h 24"/>
                <a:gd name="T24" fmla="*/ 6 w 19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4">
                  <a:moveTo>
                    <a:pt x="17" y="4"/>
                  </a:moveTo>
                  <a:cubicBezTo>
                    <a:pt x="18" y="6"/>
                    <a:pt x="19" y="8"/>
                    <a:pt x="19" y="12"/>
                  </a:cubicBezTo>
                  <a:cubicBezTo>
                    <a:pt x="19" y="16"/>
                    <a:pt x="18" y="19"/>
                    <a:pt x="17" y="21"/>
                  </a:cubicBezTo>
                  <a:cubicBezTo>
                    <a:pt x="15" y="23"/>
                    <a:pt x="13" y="24"/>
                    <a:pt x="10" y="24"/>
                  </a:cubicBezTo>
                  <a:cubicBezTo>
                    <a:pt x="6" y="24"/>
                    <a:pt x="3" y="23"/>
                    <a:pt x="2" y="20"/>
                  </a:cubicBezTo>
                  <a:cubicBezTo>
                    <a:pt x="1" y="18"/>
                    <a:pt x="0" y="15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1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6"/>
                    <a:pt x="12" y="4"/>
                    <a:pt x="10" y="4"/>
                  </a:cubicBezTo>
                  <a:cubicBezTo>
                    <a:pt x="7" y="4"/>
                    <a:pt x="6" y="6"/>
                    <a:pt x="6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84" name="Freeform 135">
              <a:extLst>
                <a:ext uri="{FF2B5EF4-FFF2-40B4-BE49-F238E27FC236}">
                  <a16:creationId xmlns:a16="http://schemas.microsoft.com/office/drawing/2014/main" id="{5533ACEE-E5ED-4A81-808B-54139AC60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68629" y="3718057"/>
              <a:ext cx="60430" cy="111795"/>
            </a:xfrm>
            <a:custGeom>
              <a:avLst/>
              <a:gdLst>
                <a:gd name="T0" fmla="*/ 19 w 40"/>
                <a:gd name="T1" fmla="*/ 14 h 74"/>
                <a:gd name="T2" fmla="*/ 4 w 40"/>
                <a:gd name="T3" fmla="*/ 24 h 74"/>
                <a:gd name="T4" fmla="*/ 0 w 40"/>
                <a:gd name="T5" fmla="*/ 14 h 74"/>
                <a:gd name="T6" fmla="*/ 21 w 40"/>
                <a:gd name="T7" fmla="*/ 0 h 74"/>
                <a:gd name="T8" fmla="*/ 30 w 40"/>
                <a:gd name="T9" fmla="*/ 0 h 74"/>
                <a:gd name="T10" fmla="*/ 30 w 40"/>
                <a:gd name="T11" fmla="*/ 64 h 74"/>
                <a:gd name="T12" fmla="*/ 40 w 40"/>
                <a:gd name="T13" fmla="*/ 64 h 74"/>
                <a:gd name="T14" fmla="*/ 40 w 40"/>
                <a:gd name="T15" fmla="*/ 74 h 74"/>
                <a:gd name="T16" fmla="*/ 9 w 40"/>
                <a:gd name="T17" fmla="*/ 74 h 74"/>
                <a:gd name="T18" fmla="*/ 9 w 40"/>
                <a:gd name="T19" fmla="*/ 64 h 74"/>
                <a:gd name="T20" fmla="*/ 19 w 40"/>
                <a:gd name="T21" fmla="*/ 64 h 74"/>
                <a:gd name="T22" fmla="*/ 19 w 40"/>
                <a:gd name="T23" fmla="*/ 1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4">
                  <a:moveTo>
                    <a:pt x="19" y="14"/>
                  </a:moveTo>
                  <a:lnTo>
                    <a:pt x="4" y="24"/>
                  </a:lnTo>
                  <a:lnTo>
                    <a:pt x="0" y="14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4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9" y="74"/>
                  </a:lnTo>
                  <a:lnTo>
                    <a:pt x="9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85" name="Freeform 136">
              <a:extLst>
                <a:ext uri="{FF2B5EF4-FFF2-40B4-BE49-F238E27FC236}">
                  <a16:creationId xmlns:a16="http://schemas.microsoft.com/office/drawing/2014/main" id="{AFFC51FC-60A7-4361-A3E9-78B624518A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64097" y="3906899"/>
              <a:ext cx="75537" cy="114816"/>
            </a:xfrm>
            <a:custGeom>
              <a:avLst/>
              <a:gdLst>
                <a:gd name="T0" fmla="*/ 21 w 21"/>
                <a:gd name="T1" fmla="*/ 16 h 32"/>
                <a:gd name="T2" fmla="*/ 10 w 21"/>
                <a:gd name="T3" fmla="*/ 32 h 32"/>
                <a:gd name="T4" fmla="*/ 0 w 21"/>
                <a:gd name="T5" fmla="*/ 16 h 32"/>
                <a:gd name="T6" fmla="*/ 10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0 w 21"/>
                <a:gd name="T13" fmla="*/ 28 h 32"/>
                <a:gd name="T14" fmla="*/ 16 w 21"/>
                <a:gd name="T15" fmla="*/ 16 h 32"/>
                <a:gd name="T16" fmla="*/ 10 w 21"/>
                <a:gd name="T17" fmla="*/ 5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7"/>
                    <a:pt x="18" y="32"/>
                    <a:pt x="10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0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8"/>
                    <a:pt x="10" y="28"/>
                  </a:cubicBezTo>
                  <a:cubicBezTo>
                    <a:pt x="14" y="28"/>
                    <a:pt x="16" y="24"/>
                    <a:pt x="16" y="16"/>
                  </a:cubicBezTo>
                  <a:cubicBezTo>
                    <a:pt x="16" y="8"/>
                    <a:pt x="14" y="5"/>
                    <a:pt x="10" y="5"/>
                  </a:cubicBezTo>
                  <a:cubicBezTo>
                    <a:pt x="7" y="5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86" name="Freeform 137">
              <a:extLst>
                <a:ext uri="{FF2B5EF4-FFF2-40B4-BE49-F238E27FC236}">
                  <a16:creationId xmlns:a16="http://schemas.microsoft.com/office/drawing/2014/main" id="{DCE735FD-A47E-4CC6-B6D7-57C7D455F1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64097" y="4289117"/>
              <a:ext cx="75537" cy="114816"/>
            </a:xfrm>
            <a:custGeom>
              <a:avLst/>
              <a:gdLst>
                <a:gd name="T0" fmla="*/ 21 w 21"/>
                <a:gd name="T1" fmla="*/ 16 h 32"/>
                <a:gd name="T2" fmla="*/ 10 w 21"/>
                <a:gd name="T3" fmla="*/ 32 h 32"/>
                <a:gd name="T4" fmla="*/ 0 w 21"/>
                <a:gd name="T5" fmla="*/ 16 h 32"/>
                <a:gd name="T6" fmla="*/ 10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0 w 21"/>
                <a:gd name="T13" fmla="*/ 27 h 32"/>
                <a:gd name="T14" fmla="*/ 16 w 21"/>
                <a:gd name="T15" fmla="*/ 16 h 32"/>
                <a:gd name="T16" fmla="*/ 10 w 21"/>
                <a:gd name="T17" fmla="*/ 4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6"/>
                    <a:pt x="18" y="32"/>
                    <a:pt x="10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0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7"/>
                    <a:pt x="10" y="27"/>
                  </a:cubicBezTo>
                  <a:cubicBezTo>
                    <a:pt x="14" y="27"/>
                    <a:pt x="16" y="24"/>
                    <a:pt x="16" y="16"/>
                  </a:cubicBezTo>
                  <a:cubicBezTo>
                    <a:pt x="16" y="8"/>
                    <a:pt x="14" y="4"/>
                    <a:pt x="10" y="4"/>
                  </a:cubicBezTo>
                  <a:cubicBezTo>
                    <a:pt x="7" y="4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87" name="Freeform 138">
              <a:extLst>
                <a:ext uri="{FF2B5EF4-FFF2-40B4-BE49-F238E27FC236}">
                  <a16:creationId xmlns:a16="http://schemas.microsoft.com/office/drawing/2014/main" id="{F254D812-3A79-4D65-ABF3-8702581B18B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68629" y="4482492"/>
              <a:ext cx="60430" cy="107263"/>
            </a:xfrm>
            <a:custGeom>
              <a:avLst/>
              <a:gdLst>
                <a:gd name="T0" fmla="*/ 19 w 40"/>
                <a:gd name="T1" fmla="*/ 12 h 71"/>
                <a:gd name="T2" fmla="*/ 4 w 40"/>
                <a:gd name="T3" fmla="*/ 21 h 71"/>
                <a:gd name="T4" fmla="*/ 0 w 40"/>
                <a:gd name="T5" fmla="*/ 12 h 71"/>
                <a:gd name="T6" fmla="*/ 21 w 40"/>
                <a:gd name="T7" fmla="*/ 0 h 71"/>
                <a:gd name="T8" fmla="*/ 30 w 40"/>
                <a:gd name="T9" fmla="*/ 0 h 71"/>
                <a:gd name="T10" fmla="*/ 30 w 40"/>
                <a:gd name="T11" fmla="*/ 64 h 71"/>
                <a:gd name="T12" fmla="*/ 40 w 40"/>
                <a:gd name="T13" fmla="*/ 64 h 71"/>
                <a:gd name="T14" fmla="*/ 40 w 40"/>
                <a:gd name="T15" fmla="*/ 71 h 71"/>
                <a:gd name="T16" fmla="*/ 9 w 40"/>
                <a:gd name="T17" fmla="*/ 71 h 71"/>
                <a:gd name="T18" fmla="*/ 9 w 40"/>
                <a:gd name="T19" fmla="*/ 64 h 71"/>
                <a:gd name="T20" fmla="*/ 19 w 40"/>
                <a:gd name="T21" fmla="*/ 64 h 71"/>
                <a:gd name="T22" fmla="*/ 19 w 40"/>
                <a:gd name="T23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1">
                  <a:moveTo>
                    <a:pt x="19" y="12"/>
                  </a:moveTo>
                  <a:lnTo>
                    <a:pt x="4" y="21"/>
                  </a:lnTo>
                  <a:lnTo>
                    <a:pt x="0" y="12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4"/>
                  </a:lnTo>
                  <a:lnTo>
                    <a:pt x="40" y="64"/>
                  </a:lnTo>
                  <a:lnTo>
                    <a:pt x="40" y="71"/>
                  </a:lnTo>
                  <a:lnTo>
                    <a:pt x="9" y="71"/>
                  </a:lnTo>
                  <a:lnTo>
                    <a:pt x="9" y="64"/>
                  </a:lnTo>
                  <a:lnTo>
                    <a:pt x="19" y="64"/>
                  </a:lnTo>
                  <a:lnTo>
                    <a:pt x="19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88" name="Freeform 139">
              <a:extLst>
                <a:ext uri="{FF2B5EF4-FFF2-40B4-BE49-F238E27FC236}">
                  <a16:creationId xmlns:a16="http://schemas.microsoft.com/office/drawing/2014/main" id="{3BB61C6A-8BFB-4B68-B6D5-6B9C61F44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8868629" y="4671335"/>
              <a:ext cx="60430" cy="110285"/>
            </a:xfrm>
            <a:custGeom>
              <a:avLst/>
              <a:gdLst>
                <a:gd name="T0" fmla="*/ 19 w 40"/>
                <a:gd name="T1" fmla="*/ 14 h 73"/>
                <a:gd name="T2" fmla="*/ 4 w 40"/>
                <a:gd name="T3" fmla="*/ 24 h 73"/>
                <a:gd name="T4" fmla="*/ 0 w 40"/>
                <a:gd name="T5" fmla="*/ 14 h 73"/>
                <a:gd name="T6" fmla="*/ 21 w 40"/>
                <a:gd name="T7" fmla="*/ 0 h 73"/>
                <a:gd name="T8" fmla="*/ 30 w 40"/>
                <a:gd name="T9" fmla="*/ 0 h 73"/>
                <a:gd name="T10" fmla="*/ 30 w 40"/>
                <a:gd name="T11" fmla="*/ 64 h 73"/>
                <a:gd name="T12" fmla="*/ 40 w 40"/>
                <a:gd name="T13" fmla="*/ 64 h 73"/>
                <a:gd name="T14" fmla="*/ 40 w 40"/>
                <a:gd name="T15" fmla="*/ 73 h 73"/>
                <a:gd name="T16" fmla="*/ 9 w 40"/>
                <a:gd name="T17" fmla="*/ 73 h 73"/>
                <a:gd name="T18" fmla="*/ 9 w 40"/>
                <a:gd name="T19" fmla="*/ 64 h 73"/>
                <a:gd name="T20" fmla="*/ 19 w 40"/>
                <a:gd name="T21" fmla="*/ 64 h 73"/>
                <a:gd name="T22" fmla="*/ 19 w 40"/>
                <a:gd name="T23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3">
                  <a:moveTo>
                    <a:pt x="19" y="14"/>
                  </a:moveTo>
                  <a:lnTo>
                    <a:pt x="4" y="24"/>
                  </a:lnTo>
                  <a:lnTo>
                    <a:pt x="0" y="14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4"/>
                  </a:lnTo>
                  <a:lnTo>
                    <a:pt x="40" y="64"/>
                  </a:lnTo>
                  <a:lnTo>
                    <a:pt x="40" y="73"/>
                  </a:lnTo>
                  <a:lnTo>
                    <a:pt x="9" y="73"/>
                  </a:lnTo>
                  <a:lnTo>
                    <a:pt x="9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89" name="Freeform 140">
              <a:extLst>
                <a:ext uri="{FF2B5EF4-FFF2-40B4-BE49-F238E27FC236}">
                  <a16:creationId xmlns:a16="http://schemas.microsoft.com/office/drawing/2014/main" id="{16031E09-E362-43BE-8ABC-515E5DC67CCF}"/>
                </a:ext>
              </a:extLst>
            </p:cNvPr>
            <p:cNvSpPr>
              <a:spLocks/>
            </p:cNvSpPr>
            <p:nvPr/>
          </p:nvSpPr>
          <p:spPr bwMode="auto">
            <a:xfrm>
              <a:off x="8868629" y="4860178"/>
              <a:ext cx="60430" cy="110285"/>
            </a:xfrm>
            <a:custGeom>
              <a:avLst/>
              <a:gdLst>
                <a:gd name="T0" fmla="*/ 19 w 40"/>
                <a:gd name="T1" fmla="*/ 14 h 73"/>
                <a:gd name="T2" fmla="*/ 4 w 40"/>
                <a:gd name="T3" fmla="*/ 24 h 73"/>
                <a:gd name="T4" fmla="*/ 0 w 40"/>
                <a:gd name="T5" fmla="*/ 14 h 73"/>
                <a:gd name="T6" fmla="*/ 21 w 40"/>
                <a:gd name="T7" fmla="*/ 0 h 73"/>
                <a:gd name="T8" fmla="*/ 30 w 40"/>
                <a:gd name="T9" fmla="*/ 0 h 73"/>
                <a:gd name="T10" fmla="*/ 30 w 40"/>
                <a:gd name="T11" fmla="*/ 64 h 73"/>
                <a:gd name="T12" fmla="*/ 40 w 40"/>
                <a:gd name="T13" fmla="*/ 64 h 73"/>
                <a:gd name="T14" fmla="*/ 40 w 40"/>
                <a:gd name="T15" fmla="*/ 73 h 73"/>
                <a:gd name="T16" fmla="*/ 9 w 40"/>
                <a:gd name="T17" fmla="*/ 73 h 73"/>
                <a:gd name="T18" fmla="*/ 9 w 40"/>
                <a:gd name="T19" fmla="*/ 64 h 73"/>
                <a:gd name="T20" fmla="*/ 19 w 40"/>
                <a:gd name="T21" fmla="*/ 64 h 73"/>
                <a:gd name="T22" fmla="*/ 19 w 40"/>
                <a:gd name="T23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3">
                  <a:moveTo>
                    <a:pt x="19" y="14"/>
                  </a:moveTo>
                  <a:lnTo>
                    <a:pt x="4" y="24"/>
                  </a:lnTo>
                  <a:lnTo>
                    <a:pt x="0" y="14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4"/>
                  </a:lnTo>
                  <a:lnTo>
                    <a:pt x="40" y="64"/>
                  </a:lnTo>
                  <a:lnTo>
                    <a:pt x="40" y="73"/>
                  </a:lnTo>
                  <a:lnTo>
                    <a:pt x="9" y="73"/>
                  </a:lnTo>
                  <a:lnTo>
                    <a:pt x="9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90" name="Freeform 141">
              <a:extLst>
                <a:ext uri="{FF2B5EF4-FFF2-40B4-BE49-F238E27FC236}">
                  <a16:creationId xmlns:a16="http://schemas.microsoft.com/office/drawing/2014/main" id="{14DC8768-6D12-4EA9-9A2A-3A769B588C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868629" y="5053553"/>
              <a:ext cx="60430" cy="110285"/>
            </a:xfrm>
            <a:custGeom>
              <a:avLst/>
              <a:gdLst>
                <a:gd name="T0" fmla="*/ 19 w 40"/>
                <a:gd name="T1" fmla="*/ 14 h 73"/>
                <a:gd name="T2" fmla="*/ 4 w 40"/>
                <a:gd name="T3" fmla="*/ 21 h 73"/>
                <a:gd name="T4" fmla="*/ 0 w 40"/>
                <a:gd name="T5" fmla="*/ 12 h 73"/>
                <a:gd name="T6" fmla="*/ 21 w 40"/>
                <a:gd name="T7" fmla="*/ 0 h 73"/>
                <a:gd name="T8" fmla="*/ 30 w 40"/>
                <a:gd name="T9" fmla="*/ 0 h 73"/>
                <a:gd name="T10" fmla="*/ 30 w 40"/>
                <a:gd name="T11" fmla="*/ 64 h 73"/>
                <a:gd name="T12" fmla="*/ 40 w 40"/>
                <a:gd name="T13" fmla="*/ 64 h 73"/>
                <a:gd name="T14" fmla="*/ 40 w 40"/>
                <a:gd name="T15" fmla="*/ 73 h 73"/>
                <a:gd name="T16" fmla="*/ 9 w 40"/>
                <a:gd name="T17" fmla="*/ 73 h 73"/>
                <a:gd name="T18" fmla="*/ 9 w 40"/>
                <a:gd name="T19" fmla="*/ 64 h 73"/>
                <a:gd name="T20" fmla="*/ 19 w 40"/>
                <a:gd name="T21" fmla="*/ 64 h 73"/>
                <a:gd name="T22" fmla="*/ 19 w 40"/>
                <a:gd name="T23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3">
                  <a:moveTo>
                    <a:pt x="19" y="14"/>
                  </a:moveTo>
                  <a:lnTo>
                    <a:pt x="4" y="21"/>
                  </a:lnTo>
                  <a:lnTo>
                    <a:pt x="0" y="12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4"/>
                  </a:lnTo>
                  <a:lnTo>
                    <a:pt x="40" y="64"/>
                  </a:lnTo>
                  <a:lnTo>
                    <a:pt x="40" y="73"/>
                  </a:lnTo>
                  <a:lnTo>
                    <a:pt x="9" y="73"/>
                  </a:lnTo>
                  <a:lnTo>
                    <a:pt x="9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91" name="Freeform 142">
              <a:extLst>
                <a:ext uri="{FF2B5EF4-FFF2-40B4-BE49-F238E27FC236}">
                  <a16:creationId xmlns:a16="http://schemas.microsoft.com/office/drawing/2014/main" id="{B0186DB9-E930-40F3-A9CA-EC05A6600D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64097" y="5242395"/>
              <a:ext cx="75537" cy="110285"/>
            </a:xfrm>
            <a:custGeom>
              <a:avLst/>
              <a:gdLst>
                <a:gd name="T0" fmla="*/ 21 w 21"/>
                <a:gd name="T1" fmla="*/ 15 h 31"/>
                <a:gd name="T2" fmla="*/ 10 w 21"/>
                <a:gd name="T3" fmla="*/ 31 h 31"/>
                <a:gd name="T4" fmla="*/ 0 w 21"/>
                <a:gd name="T5" fmla="*/ 15 h 31"/>
                <a:gd name="T6" fmla="*/ 10 w 21"/>
                <a:gd name="T7" fmla="*/ 0 h 31"/>
                <a:gd name="T8" fmla="*/ 21 w 21"/>
                <a:gd name="T9" fmla="*/ 15 h 31"/>
                <a:gd name="T10" fmla="*/ 5 w 21"/>
                <a:gd name="T11" fmla="*/ 15 h 31"/>
                <a:gd name="T12" fmla="*/ 10 w 21"/>
                <a:gd name="T13" fmla="*/ 27 h 31"/>
                <a:gd name="T14" fmla="*/ 16 w 21"/>
                <a:gd name="T15" fmla="*/ 15 h 31"/>
                <a:gd name="T16" fmla="*/ 10 w 21"/>
                <a:gd name="T17" fmla="*/ 4 h 31"/>
                <a:gd name="T18" fmla="*/ 5 w 21"/>
                <a:gd name="T1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1">
                  <a:moveTo>
                    <a:pt x="21" y="15"/>
                  </a:moveTo>
                  <a:cubicBezTo>
                    <a:pt x="21" y="26"/>
                    <a:pt x="18" y="31"/>
                    <a:pt x="10" y="31"/>
                  </a:cubicBezTo>
                  <a:cubicBezTo>
                    <a:pt x="3" y="31"/>
                    <a:pt x="0" y="26"/>
                    <a:pt x="0" y="15"/>
                  </a:cubicBezTo>
                  <a:cubicBezTo>
                    <a:pt x="0" y="5"/>
                    <a:pt x="3" y="0"/>
                    <a:pt x="10" y="0"/>
                  </a:cubicBezTo>
                  <a:cubicBezTo>
                    <a:pt x="18" y="0"/>
                    <a:pt x="21" y="5"/>
                    <a:pt x="21" y="15"/>
                  </a:cubicBezTo>
                  <a:close/>
                  <a:moveTo>
                    <a:pt x="5" y="15"/>
                  </a:moveTo>
                  <a:cubicBezTo>
                    <a:pt x="5" y="23"/>
                    <a:pt x="7" y="27"/>
                    <a:pt x="10" y="27"/>
                  </a:cubicBezTo>
                  <a:cubicBezTo>
                    <a:pt x="14" y="27"/>
                    <a:pt x="16" y="23"/>
                    <a:pt x="16" y="15"/>
                  </a:cubicBezTo>
                  <a:cubicBezTo>
                    <a:pt x="16" y="8"/>
                    <a:pt x="14" y="4"/>
                    <a:pt x="10" y="4"/>
                  </a:cubicBezTo>
                  <a:cubicBezTo>
                    <a:pt x="7" y="4"/>
                    <a:pt x="5" y="8"/>
                    <a:pt x="5" y="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92" name="Freeform 143">
              <a:extLst>
                <a:ext uri="{FF2B5EF4-FFF2-40B4-BE49-F238E27FC236}">
                  <a16:creationId xmlns:a16="http://schemas.microsoft.com/office/drawing/2014/main" id="{18031DE5-32F9-4D09-99AB-616FE0CC0E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64097" y="5431238"/>
              <a:ext cx="75537" cy="114816"/>
            </a:xfrm>
            <a:custGeom>
              <a:avLst/>
              <a:gdLst>
                <a:gd name="T0" fmla="*/ 21 w 21"/>
                <a:gd name="T1" fmla="*/ 16 h 32"/>
                <a:gd name="T2" fmla="*/ 10 w 21"/>
                <a:gd name="T3" fmla="*/ 32 h 32"/>
                <a:gd name="T4" fmla="*/ 0 w 21"/>
                <a:gd name="T5" fmla="*/ 16 h 32"/>
                <a:gd name="T6" fmla="*/ 10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0 w 21"/>
                <a:gd name="T13" fmla="*/ 27 h 32"/>
                <a:gd name="T14" fmla="*/ 16 w 21"/>
                <a:gd name="T15" fmla="*/ 16 h 32"/>
                <a:gd name="T16" fmla="*/ 10 w 21"/>
                <a:gd name="T17" fmla="*/ 4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7"/>
                    <a:pt x="18" y="32"/>
                    <a:pt x="10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0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7"/>
                    <a:pt x="10" y="27"/>
                  </a:cubicBezTo>
                  <a:cubicBezTo>
                    <a:pt x="14" y="27"/>
                    <a:pt x="16" y="24"/>
                    <a:pt x="16" y="16"/>
                  </a:cubicBezTo>
                  <a:cubicBezTo>
                    <a:pt x="16" y="8"/>
                    <a:pt x="14" y="4"/>
                    <a:pt x="10" y="4"/>
                  </a:cubicBezTo>
                  <a:cubicBezTo>
                    <a:pt x="7" y="4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93" name="Freeform 144">
              <a:extLst>
                <a:ext uri="{FF2B5EF4-FFF2-40B4-BE49-F238E27FC236}">
                  <a16:creationId xmlns:a16="http://schemas.microsoft.com/office/drawing/2014/main" id="{9462BC3D-5A66-4936-9FAB-256B5156B0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64097" y="6191141"/>
              <a:ext cx="75537" cy="114816"/>
            </a:xfrm>
            <a:custGeom>
              <a:avLst/>
              <a:gdLst>
                <a:gd name="T0" fmla="*/ 21 w 21"/>
                <a:gd name="T1" fmla="*/ 16 h 32"/>
                <a:gd name="T2" fmla="*/ 10 w 21"/>
                <a:gd name="T3" fmla="*/ 32 h 32"/>
                <a:gd name="T4" fmla="*/ 0 w 21"/>
                <a:gd name="T5" fmla="*/ 16 h 32"/>
                <a:gd name="T6" fmla="*/ 10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0 w 21"/>
                <a:gd name="T13" fmla="*/ 28 h 32"/>
                <a:gd name="T14" fmla="*/ 16 w 21"/>
                <a:gd name="T15" fmla="*/ 16 h 32"/>
                <a:gd name="T16" fmla="*/ 10 w 21"/>
                <a:gd name="T17" fmla="*/ 5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7"/>
                    <a:pt x="18" y="32"/>
                    <a:pt x="10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0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8"/>
                    <a:pt x="10" y="28"/>
                  </a:cubicBezTo>
                  <a:cubicBezTo>
                    <a:pt x="14" y="28"/>
                    <a:pt x="16" y="24"/>
                    <a:pt x="16" y="16"/>
                  </a:cubicBezTo>
                  <a:cubicBezTo>
                    <a:pt x="16" y="8"/>
                    <a:pt x="14" y="5"/>
                    <a:pt x="10" y="5"/>
                  </a:cubicBezTo>
                  <a:cubicBezTo>
                    <a:pt x="7" y="5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94" name="Freeform 145">
              <a:extLst>
                <a:ext uri="{FF2B5EF4-FFF2-40B4-BE49-F238E27FC236}">
                  <a16:creationId xmlns:a16="http://schemas.microsoft.com/office/drawing/2014/main" id="{59E6BC83-B5DA-4707-9B55-3218D35536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64097" y="6384516"/>
              <a:ext cx="75537" cy="110285"/>
            </a:xfrm>
            <a:custGeom>
              <a:avLst/>
              <a:gdLst>
                <a:gd name="T0" fmla="*/ 21 w 21"/>
                <a:gd name="T1" fmla="*/ 16 h 31"/>
                <a:gd name="T2" fmla="*/ 10 w 21"/>
                <a:gd name="T3" fmla="*/ 31 h 31"/>
                <a:gd name="T4" fmla="*/ 0 w 21"/>
                <a:gd name="T5" fmla="*/ 15 h 31"/>
                <a:gd name="T6" fmla="*/ 10 w 21"/>
                <a:gd name="T7" fmla="*/ 0 h 31"/>
                <a:gd name="T8" fmla="*/ 21 w 21"/>
                <a:gd name="T9" fmla="*/ 16 h 31"/>
                <a:gd name="T10" fmla="*/ 5 w 21"/>
                <a:gd name="T11" fmla="*/ 15 h 31"/>
                <a:gd name="T12" fmla="*/ 10 w 21"/>
                <a:gd name="T13" fmla="*/ 27 h 31"/>
                <a:gd name="T14" fmla="*/ 16 w 21"/>
                <a:gd name="T15" fmla="*/ 16 h 31"/>
                <a:gd name="T16" fmla="*/ 10 w 21"/>
                <a:gd name="T17" fmla="*/ 4 h 31"/>
                <a:gd name="T18" fmla="*/ 5 w 21"/>
                <a:gd name="T1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1">
                  <a:moveTo>
                    <a:pt x="21" y="16"/>
                  </a:moveTo>
                  <a:cubicBezTo>
                    <a:pt x="21" y="26"/>
                    <a:pt x="18" y="31"/>
                    <a:pt x="10" y="31"/>
                  </a:cubicBezTo>
                  <a:cubicBezTo>
                    <a:pt x="3" y="31"/>
                    <a:pt x="0" y="26"/>
                    <a:pt x="0" y="15"/>
                  </a:cubicBezTo>
                  <a:cubicBezTo>
                    <a:pt x="0" y="5"/>
                    <a:pt x="3" y="0"/>
                    <a:pt x="10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5"/>
                  </a:moveTo>
                  <a:cubicBezTo>
                    <a:pt x="5" y="23"/>
                    <a:pt x="7" y="27"/>
                    <a:pt x="10" y="27"/>
                  </a:cubicBezTo>
                  <a:cubicBezTo>
                    <a:pt x="14" y="27"/>
                    <a:pt x="16" y="23"/>
                    <a:pt x="16" y="16"/>
                  </a:cubicBezTo>
                  <a:cubicBezTo>
                    <a:pt x="16" y="8"/>
                    <a:pt x="14" y="4"/>
                    <a:pt x="10" y="4"/>
                  </a:cubicBezTo>
                  <a:cubicBezTo>
                    <a:pt x="7" y="4"/>
                    <a:pt x="5" y="8"/>
                    <a:pt x="5" y="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95" name="Freeform 146">
              <a:extLst>
                <a:ext uri="{FF2B5EF4-FFF2-40B4-BE49-F238E27FC236}">
                  <a16:creationId xmlns:a16="http://schemas.microsoft.com/office/drawing/2014/main" id="{3111DABD-F212-4E32-B886-D9C9D186B9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64097" y="6573359"/>
              <a:ext cx="75537" cy="114816"/>
            </a:xfrm>
            <a:custGeom>
              <a:avLst/>
              <a:gdLst>
                <a:gd name="T0" fmla="*/ 21 w 21"/>
                <a:gd name="T1" fmla="*/ 16 h 32"/>
                <a:gd name="T2" fmla="*/ 10 w 21"/>
                <a:gd name="T3" fmla="*/ 32 h 32"/>
                <a:gd name="T4" fmla="*/ 0 w 21"/>
                <a:gd name="T5" fmla="*/ 16 h 32"/>
                <a:gd name="T6" fmla="*/ 10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0 w 21"/>
                <a:gd name="T13" fmla="*/ 27 h 32"/>
                <a:gd name="T14" fmla="*/ 16 w 21"/>
                <a:gd name="T15" fmla="*/ 16 h 32"/>
                <a:gd name="T16" fmla="*/ 10 w 21"/>
                <a:gd name="T17" fmla="*/ 4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7"/>
                    <a:pt x="18" y="32"/>
                    <a:pt x="10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0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7"/>
                    <a:pt x="10" y="27"/>
                  </a:cubicBezTo>
                  <a:cubicBezTo>
                    <a:pt x="14" y="27"/>
                    <a:pt x="16" y="24"/>
                    <a:pt x="16" y="16"/>
                  </a:cubicBezTo>
                  <a:cubicBezTo>
                    <a:pt x="16" y="8"/>
                    <a:pt x="14" y="4"/>
                    <a:pt x="10" y="4"/>
                  </a:cubicBezTo>
                  <a:cubicBezTo>
                    <a:pt x="7" y="4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96" name="Freeform 147">
              <a:extLst>
                <a:ext uri="{FF2B5EF4-FFF2-40B4-BE49-F238E27FC236}">
                  <a16:creationId xmlns:a16="http://schemas.microsoft.com/office/drawing/2014/main" id="{B3BF467C-A9F3-4401-923D-A0D04E65355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68629" y="6766734"/>
              <a:ext cx="60430" cy="110285"/>
            </a:xfrm>
            <a:custGeom>
              <a:avLst/>
              <a:gdLst>
                <a:gd name="T0" fmla="*/ 19 w 40"/>
                <a:gd name="T1" fmla="*/ 14 h 73"/>
                <a:gd name="T2" fmla="*/ 4 w 40"/>
                <a:gd name="T3" fmla="*/ 23 h 73"/>
                <a:gd name="T4" fmla="*/ 0 w 40"/>
                <a:gd name="T5" fmla="*/ 12 h 73"/>
                <a:gd name="T6" fmla="*/ 21 w 40"/>
                <a:gd name="T7" fmla="*/ 0 h 73"/>
                <a:gd name="T8" fmla="*/ 30 w 40"/>
                <a:gd name="T9" fmla="*/ 0 h 73"/>
                <a:gd name="T10" fmla="*/ 30 w 40"/>
                <a:gd name="T11" fmla="*/ 63 h 73"/>
                <a:gd name="T12" fmla="*/ 40 w 40"/>
                <a:gd name="T13" fmla="*/ 63 h 73"/>
                <a:gd name="T14" fmla="*/ 40 w 40"/>
                <a:gd name="T15" fmla="*/ 73 h 73"/>
                <a:gd name="T16" fmla="*/ 9 w 40"/>
                <a:gd name="T17" fmla="*/ 73 h 73"/>
                <a:gd name="T18" fmla="*/ 9 w 40"/>
                <a:gd name="T19" fmla="*/ 63 h 73"/>
                <a:gd name="T20" fmla="*/ 19 w 40"/>
                <a:gd name="T21" fmla="*/ 63 h 73"/>
                <a:gd name="T22" fmla="*/ 19 w 40"/>
                <a:gd name="T23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3">
                  <a:moveTo>
                    <a:pt x="19" y="14"/>
                  </a:moveTo>
                  <a:lnTo>
                    <a:pt x="4" y="23"/>
                  </a:lnTo>
                  <a:lnTo>
                    <a:pt x="0" y="12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3"/>
                  </a:lnTo>
                  <a:lnTo>
                    <a:pt x="40" y="63"/>
                  </a:lnTo>
                  <a:lnTo>
                    <a:pt x="40" y="73"/>
                  </a:lnTo>
                  <a:lnTo>
                    <a:pt x="9" y="73"/>
                  </a:lnTo>
                  <a:lnTo>
                    <a:pt x="9" y="63"/>
                  </a:lnTo>
                  <a:lnTo>
                    <a:pt x="19" y="63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97" name="Freeform 149">
              <a:extLst>
                <a:ext uri="{FF2B5EF4-FFF2-40B4-BE49-F238E27FC236}">
                  <a16:creationId xmlns:a16="http://schemas.microsoft.com/office/drawing/2014/main" id="{44EBC2E9-7348-40ED-A637-468E6B934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4929" y="3361522"/>
              <a:ext cx="92156" cy="164671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5 h 109"/>
                <a:gd name="T12" fmla="*/ 61 w 61"/>
                <a:gd name="T13" fmla="*/ 95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5 h 109"/>
                <a:gd name="T20" fmla="*/ 28 w 61"/>
                <a:gd name="T21" fmla="*/ 95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5"/>
                  </a:lnTo>
                  <a:lnTo>
                    <a:pt x="61" y="95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5"/>
                  </a:lnTo>
                  <a:lnTo>
                    <a:pt x="28" y="95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98" name="Freeform 150">
              <a:extLst>
                <a:ext uri="{FF2B5EF4-FFF2-40B4-BE49-F238E27FC236}">
                  <a16:creationId xmlns:a16="http://schemas.microsoft.com/office/drawing/2014/main" id="{1C5B6919-8679-4356-912D-DC0DF882C0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17375" y="3644030"/>
              <a:ext cx="114816" cy="170714"/>
            </a:xfrm>
            <a:custGeom>
              <a:avLst/>
              <a:gdLst>
                <a:gd name="T0" fmla="*/ 32 w 32"/>
                <a:gd name="T1" fmla="*/ 24 h 48"/>
                <a:gd name="T2" fmla="*/ 16 w 32"/>
                <a:gd name="T3" fmla="*/ 48 h 48"/>
                <a:gd name="T4" fmla="*/ 0 w 32"/>
                <a:gd name="T5" fmla="*/ 24 h 48"/>
                <a:gd name="T6" fmla="*/ 16 w 32"/>
                <a:gd name="T7" fmla="*/ 0 h 48"/>
                <a:gd name="T8" fmla="*/ 32 w 32"/>
                <a:gd name="T9" fmla="*/ 24 h 48"/>
                <a:gd name="T10" fmla="*/ 8 w 32"/>
                <a:gd name="T11" fmla="*/ 24 h 48"/>
                <a:gd name="T12" fmla="*/ 16 w 32"/>
                <a:gd name="T13" fmla="*/ 41 h 48"/>
                <a:gd name="T14" fmla="*/ 24 w 32"/>
                <a:gd name="T15" fmla="*/ 24 h 48"/>
                <a:gd name="T16" fmla="*/ 16 w 32"/>
                <a:gd name="T17" fmla="*/ 7 h 48"/>
                <a:gd name="T18" fmla="*/ 8 w 32"/>
                <a:gd name="T19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8">
                  <a:moveTo>
                    <a:pt x="32" y="24"/>
                  </a:moveTo>
                  <a:cubicBezTo>
                    <a:pt x="32" y="40"/>
                    <a:pt x="27" y="48"/>
                    <a:pt x="16" y="48"/>
                  </a:cubicBezTo>
                  <a:cubicBezTo>
                    <a:pt x="5" y="48"/>
                    <a:pt x="0" y="40"/>
                    <a:pt x="0" y="24"/>
                  </a:cubicBezTo>
                  <a:cubicBezTo>
                    <a:pt x="0" y="8"/>
                    <a:pt x="5" y="0"/>
                    <a:pt x="16" y="0"/>
                  </a:cubicBezTo>
                  <a:cubicBezTo>
                    <a:pt x="27" y="0"/>
                    <a:pt x="32" y="8"/>
                    <a:pt x="32" y="24"/>
                  </a:cubicBezTo>
                  <a:close/>
                  <a:moveTo>
                    <a:pt x="8" y="24"/>
                  </a:moveTo>
                  <a:cubicBezTo>
                    <a:pt x="8" y="36"/>
                    <a:pt x="11" y="41"/>
                    <a:pt x="16" y="41"/>
                  </a:cubicBezTo>
                  <a:cubicBezTo>
                    <a:pt x="22" y="41"/>
                    <a:pt x="24" y="36"/>
                    <a:pt x="24" y="24"/>
                  </a:cubicBezTo>
                  <a:cubicBezTo>
                    <a:pt x="24" y="12"/>
                    <a:pt x="22" y="7"/>
                    <a:pt x="16" y="7"/>
                  </a:cubicBezTo>
                  <a:cubicBezTo>
                    <a:pt x="11" y="7"/>
                    <a:pt x="8" y="12"/>
                    <a:pt x="8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99" name="Freeform 151">
              <a:extLst>
                <a:ext uri="{FF2B5EF4-FFF2-40B4-BE49-F238E27FC236}">
                  <a16:creationId xmlns:a16="http://schemas.microsoft.com/office/drawing/2014/main" id="{C8032E73-5076-4126-A74C-55291FA72B5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4929" y="3932582"/>
              <a:ext cx="92156" cy="164671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5 h 109"/>
                <a:gd name="T12" fmla="*/ 61 w 61"/>
                <a:gd name="T13" fmla="*/ 95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5 h 109"/>
                <a:gd name="T20" fmla="*/ 28 w 61"/>
                <a:gd name="T21" fmla="*/ 95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5"/>
                  </a:lnTo>
                  <a:lnTo>
                    <a:pt x="61" y="95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5"/>
                  </a:lnTo>
                  <a:lnTo>
                    <a:pt x="28" y="95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00" name="Freeform 152">
              <a:extLst>
                <a:ext uri="{FF2B5EF4-FFF2-40B4-BE49-F238E27FC236}">
                  <a16:creationId xmlns:a16="http://schemas.microsoft.com/office/drawing/2014/main" id="{97D97954-3CD8-4FFD-B00B-AB2F47B61F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17375" y="4215090"/>
              <a:ext cx="114816" cy="170714"/>
            </a:xfrm>
            <a:custGeom>
              <a:avLst/>
              <a:gdLst>
                <a:gd name="T0" fmla="*/ 32 w 32"/>
                <a:gd name="T1" fmla="*/ 24 h 48"/>
                <a:gd name="T2" fmla="*/ 16 w 32"/>
                <a:gd name="T3" fmla="*/ 48 h 48"/>
                <a:gd name="T4" fmla="*/ 0 w 32"/>
                <a:gd name="T5" fmla="*/ 24 h 48"/>
                <a:gd name="T6" fmla="*/ 16 w 32"/>
                <a:gd name="T7" fmla="*/ 0 h 48"/>
                <a:gd name="T8" fmla="*/ 32 w 32"/>
                <a:gd name="T9" fmla="*/ 24 h 48"/>
                <a:gd name="T10" fmla="*/ 8 w 32"/>
                <a:gd name="T11" fmla="*/ 24 h 48"/>
                <a:gd name="T12" fmla="*/ 16 w 32"/>
                <a:gd name="T13" fmla="*/ 41 h 48"/>
                <a:gd name="T14" fmla="*/ 24 w 32"/>
                <a:gd name="T15" fmla="*/ 24 h 48"/>
                <a:gd name="T16" fmla="*/ 16 w 32"/>
                <a:gd name="T17" fmla="*/ 7 h 48"/>
                <a:gd name="T18" fmla="*/ 8 w 32"/>
                <a:gd name="T19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8">
                  <a:moveTo>
                    <a:pt x="32" y="24"/>
                  </a:moveTo>
                  <a:cubicBezTo>
                    <a:pt x="32" y="40"/>
                    <a:pt x="27" y="48"/>
                    <a:pt x="16" y="48"/>
                  </a:cubicBezTo>
                  <a:cubicBezTo>
                    <a:pt x="5" y="48"/>
                    <a:pt x="0" y="40"/>
                    <a:pt x="0" y="24"/>
                  </a:cubicBezTo>
                  <a:cubicBezTo>
                    <a:pt x="0" y="8"/>
                    <a:pt x="5" y="0"/>
                    <a:pt x="16" y="0"/>
                  </a:cubicBezTo>
                  <a:cubicBezTo>
                    <a:pt x="27" y="0"/>
                    <a:pt x="32" y="8"/>
                    <a:pt x="32" y="24"/>
                  </a:cubicBezTo>
                  <a:close/>
                  <a:moveTo>
                    <a:pt x="8" y="24"/>
                  </a:moveTo>
                  <a:cubicBezTo>
                    <a:pt x="8" y="36"/>
                    <a:pt x="11" y="41"/>
                    <a:pt x="16" y="41"/>
                  </a:cubicBezTo>
                  <a:cubicBezTo>
                    <a:pt x="22" y="41"/>
                    <a:pt x="24" y="36"/>
                    <a:pt x="24" y="24"/>
                  </a:cubicBezTo>
                  <a:cubicBezTo>
                    <a:pt x="24" y="12"/>
                    <a:pt x="22" y="7"/>
                    <a:pt x="16" y="7"/>
                  </a:cubicBezTo>
                  <a:cubicBezTo>
                    <a:pt x="11" y="7"/>
                    <a:pt x="8" y="12"/>
                    <a:pt x="8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01" name="Freeform 153">
              <a:extLst>
                <a:ext uri="{FF2B5EF4-FFF2-40B4-BE49-F238E27FC236}">
                  <a16:creationId xmlns:a16="http://schemas.microsoft.com/office/drawing/2014/main" id="{8245BA51-DCA7-4121-8C29-AC1089B27D36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4929" y="4503643"/>
              <a:ext cx="92156" cy="164671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4 h 109"/>
                <a:gd name="T12" fmla="*/ 61 w 61"/>
                <a:gd name="T13" fmla="*/ 94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4 h 109"/>
                <a:gd name="T20" fmla="*/ 28 w 61"/>
                <a:gd name="T21" fmla="*/ 94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4"/>
                  </a:lnTo>
                  <a:lnTo>
                    <a:pt x="61" y="94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4"/>
                  </a:lnTo>
                  <a:lnTo>
                    <a:pt x="28" y="94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02" name="Freeform 154">
              <a:extLst>
                <a:ext uri="{FF2B5EF4-FFF2-40B4-BE49-F238E27FC236}">
                  <a16:creationId xmlns:a16="http://schemas.microsoft.com/office/drawing/2014/main" id="{E2069CA0-FC1F-40A9-9FCE-DC62AE90B7E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4929" y="4789172"/>
              <a:ext cx="92156" cy="164671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4 h 109"/>
                <a:gd name="T12" fmla="*/ 61 w 61"/>
                <a:gd name="T13" fmla="*/ 94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4 h 109"/>
                <a:gd name="T20" fmla="*/ 28 w 61"/>
                <a:gd name="T21" fmla="*/ 94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4"/>
                  </a:lnTo>
                  <a:lnTo>
                    <a:pt x="61" y="94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4"/>
                  </a:lnTo>
                  <a:lnTo>
                    <a:pt x="28" y="94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03" name="Freeform 155">
              <a:extLst>
                <a:ext uri="{FF2B5EF4-FFF2-40B4-BE49-F238E27FC236}">
                  <a16:creationId xmlns:a16="http://schemas.microsoft.com/office/drawing/2014/main" id="{4E503B78-5A09-4B09-A6FE-BFDFDF5A7047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4929" y="5074703"/>
              <a:ext cx="92156" cy="164671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4 h 109"/>
                <a:gd name="T12" fmla="*/ 61 w 61"/>
                <a:gd name="T13" fmla="*/ 97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7 h 109"/>
                <a:gd name="T20" fmla="*/ 28 w 61"/>
                <a:gd name="T21" fmla="*/ 94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4"/>
                  </a:lnTo>
                  <a:lnTo>
                    <a:pt x="61" y="97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7"/>
                  </a:lnTo>
                  <a:lnTo>
                    <a:pt x="28" y="94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04" name="Freeform 156">
              <a:extLst>
                <a:ext uri="{FF2B5EF4-FFF2-40B4-BE49-F238E27FC236}">
                  <a16:creationId xmlns:a16="http://schemas.microsoft.com/office/drawing/2014/main" id="{530459EF-F1B6-4C62-87C6-2747ECD4CDD6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4929" y="5360233"/>
              <a:ext cx="92156" cy="164671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5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4 h 109"/>
                <a:gd name="T12" fmla="*/ 61 w 61"/>
                <a:gd name="T13" fmla="*/ 97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7 h 109"/>
                <a:gd name="T20" fmla="*/ 28 w 61"/>
                <a:gd name="T21" fmla="*/ 94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5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4"/>
                  </a:lnTo>
                  <a:lnTo>
                    <a:pt x="61" y="97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7"/>
                  </a:lnTo>
                  <a:lnTo>
                    <a:pt x="28" y="94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05" name="Freeform 157">
              <a:extLst>
                <a:ext uri="{FF2B5EF4-FFF2-40B4-BE49-F238E27FC236}">
                  <a16:creationId xmlns:a16="http://schemas.microsoft.com/office/drawing/2014/main" id="{A99328CB-581B-4DA4-B360-24FD033DF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17375" y="5642742"/>
              <a:ext cx="114816" cy="170714"/>
            </a:xfrm>
            <a:custGeom>
              <a:avLst/>
              <a:gdLst>
                <a:gd name="T0" fmla="*/ 32 w 32"/>
                <a:gd name="T1" fmla="*/ 24 h 48"/>
                <a:gd name="T2" fmla="*/ 16 w 32"/>
                <a:gd name="T3" fmla="*/ 48 h 48"/>
                <a:gd name="T4" fmla="*/ 0 w 32"/>
                <a:gd name="T5" fmla="*/ 24 h 48"/>
                <a:gd name="T6" fmla="*/ 16 w 32"/>
                <a:gd name="T7" fmla="*/ 0 h 48"/>
                <a:gd name="T8" fmla="*/ 32 w 32"/>
                <a:gd name="T9" fmla="*/ 24 h 48"/>
                <a:gd name="T10" fmla="*/ 8 w 32"/>
                <a:gd name="T11" fmla="*/ 24 h 48"/>
                <a:gd name="T12" fmla="*/ 16 w 32"/>
                <a:gd name="T13" fmla="*/ 41 h 48"/>
                <a:gd name="T14" fmla="*/ 24 w 32"/>
                <a:gd name="T15" fmla="*/ 24 h 48"/>
                <a:gd name="T16" fmla="*/ 16 w 32"/>
                <a:gd name="T17" fmla="*/ 7 h 48"/>
                <a:gd name="T18" fmla="*/ 8 w 32"/>
                <a:gd name="T19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8">
                  <a:moveTo>
                    <a:pt x="32" y="24"/>
                  </a:moveTo>
                  <a:cubicBezTo>
                    <a:pt x="32" y="40"/>
                    <a:pt x="27" y="48"/>
                    <a:pt x="16" y="48"/>
                  </a:cubicBezTo>
                  <a:cubicBezTo>
                    <a:pt x="5" y="48"/>
                    <a:pt x="0" y="40"/>
                    <a:pt x="0" y="24"/>
                  </a:cubicBezTo>
                  <a:cubicBezTo>
                    <a:pt x="0" y="8"/>
                    <a:pt x="5" y="0"/>
                    <a:pt x="16" y="0"/>
                  </a:cubicBezTo>
                  <a:cubicBezTo>
                    <a:pt x="27" y="0"/>
                    <a:pt x="32" y="8"/>
                    <a:pt x="32" y="24"/>
                  </a:cubicBezTo>
                  <a:close/>
                  <a:moveTo>
                    <a:pt x="8" y="24"/>
                  </a:moveTo>
                  <a:cubicBezTo>
                    <a:pt x="8" y="36"/>
                    <a:pt x="11" y="41"/>
                    <a:pt x="16" y="41"/>
                  </a:cubicBezTo>
                  <a:cubicBezTo>
                    <a:pt x="22" y="41"/>
                    <a:pt x="24" y="36"/>
                    <a:pt x="24" y="24"/>
                  </a:cubicBezTo>
                  <a:cubicBezTo>
                    <a:pt x="24" y="12"/>
                    <a:pt x="22" y="7"/>
                    <a:pt x="16" y="7"/>
                  </a:cubicBezTo>
                  <a:cubicBezTo>
                    <a:pt x="11" y="7"/>
                    <a:pt x="8" y="12"/>
                    <a:pt x="8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06" name="Freeform 158">
              <a:extLst>
                <a:ext uri="{FF2B5EF4-FFF2-40B4-BE49-F238E27FC236}">
                  <a16:creationId xmlns:a16="http://schemas.microsoft.com/office/drawing/2014/main" id="{91D8731D-0679-4774-8625-B558910620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17375" y="5928272"/>
              <a:ext cx="114816" cy="170714"/>
            </a:xfrm>
            <a:custGeom>
              <a:avLst/>
              <a:gdLst>
                <a:gd name="T0" fmla="*/ 32 w 32"/>
                <a:gd name="T1" fmla="*/ 24 h 48"/>
                <a:gd name="T2" fmla="*/ 16 w 32"/>
                <a:gd name="T3" fmla="*/ 48 h 48"/>
                <a:gd name="T4" fmla="*/ 0 w 32"/>
                <a:gd name="T5" fmla="*/ 24 h 48"/>
                <a:gd name="T6" fmla="*/ 16 w 32"/>
                <a:gd name="T7" fmla="*/ 0 h 48"/>
                <a:gd name="T8" fmla="*/ 32 w 32"/>
                <a:gd name="T9" fmla="*/ 24 h 48"/>
                <a:gd name="T10" fmla="*/ 8 w 32"/>
                <a:gd name="T11" fmla="*/ 24 h 48"/>
                <a:gd name="T12" fmla="*/ 16 w 32"/>
                <a:gd name="T13" fmla="*/ 42 h 48"/>
                <a:gd name="T14" fmla="*/ 24 w 32"/>
                <a:gd name="T15" fmla="*/ 24 h 48"/>
                <a:gd name="T16" fmla="*/ 16 w 32"/>
                <a:gd name="T17" fmla="*/ 7 h 48"/>
                <a:gd name="T18" fmla="*/ 8 w 32"/>
                <a:gd name="T19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8">
                  <a:moveTo>
                    <a:pt x="32" y="24"/>
                  </a:moveTo>
                  <a:cubicBezTo>
                    <a:pt x="32" y="40"/>
                    <a:pt x="27" y="48"/>
                    <a:pt x="16" y="48"/>
                  </a:cubicBezTo>
                  <a:cubicBezTo>
                    <a:pt x="5" y="48"/>
                    <a:pt x="0" y="40"/>
                    <a:pt x="0" y="24"/>
                  </a:cubicBezTo>
                  <a:cubicBezTo>
                    <a:pt x="0" y="8"/>
                    <a:pt x="5" y="0"/>
                    <a:pt x="16" y="0"/>
                  </a:cubicBezTo>
                  <a:cubicBezTo>
                    <a:pt x="27" y="0"/>
                    <a:pt x="32" y="8"/>
                    <a:pt x="32" y="24"/>
                  </a:cubicBezTo>
                  <a:close/>
                  <a:moveTo>
                    <a:pt x="8" y="24"/>
                  </a:moveTo>
                  <a:cubicBezTo>
                    <a:pt x="8" y="36"/>
                    <a:pt x="11" y="42"/>
                    <a:pt x="16" y="42"/>
                  </a:cubicBezTo>
                  <a:cubicBezTo>
                    <a:pt x="22" y="42"/>
                    <a:pt x="24" y="36"/>
                    <a:pt x="24" y="24"/>
                  </a:cubicBezTo>
                  <a:cubicBezTo>
                    <a:pt x="24" y="13"/>
                    <a:pt x="22" y="7"/>
                    <a:pt x="16" y="7"/>
                  </a:cubicBezTo>
                  <a:cubicBezTo>
                    <a:pt x="11" y="7"/>
                    <a:pt x="8" y="13"/>
                    <a:pt x="8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07" name="Freeform 159">
              <a:extLst>
                <a:ext uri="{FF2B5EF4-FFF2-40B4-BE49-F238E27FC236}">
                  <a16:creationId xmlns:a16="http://schemas.microsoft.com/office/drawing/2014/main" id="{5135C239-3D4F-4752-9D7B-C2227CDD2D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17375" y="6213803"/>
              <a:ext cx="114816" cy="170714"/>
            </a:xfrm>
            <a:custGeom>
              <a:avLst/>
              <a:gdLst>
                <a:gd name="T0" fmla="*/ 32 w 32"/>
                <a:gd name="T1" fmla="*/ 24 h 48"/>
                <a:gd name="T2" fmla="*/ 16 w 32"/>
                <a:gd name="T3" fmla="*/ 48 h 48"/>
                <a:gd name="T4" fmla="*/ 0 w 32"/>
                <a:gd name="T5" fmla="*/ 24 h 48"/>
                <a:gd name="T6" fmla="*/ 16 w 32"/>
                <a:gd name="T7" fmla="*/ 0 h 48"/>
                <a:gd name="T8" fmla="*/ 32 w 32"/>
                <a:gd name="T9" fmla="*/ 24 h 48"/>
                <a:gd name="T10" fmla="*/ 8 w 32"/>
                <a:gd name="T11" fmla="*/ 24 h 48"/>
                <a:gd name="T12" fmla="*/ 16 w 32"/>
                <a:gd name="T13" fmla="*/ 42 h 48"/>
                <a:gd name="T14" fmla="*/ 24 w 32"/>
                <a:gd name="T15" fmla="*/ 24 h 48"/>
                <a:gd name="T16" fmla="*/ 16 w 32"/>
                <a:gd name="T17" fmla="*/ 7 h 48"/>
                <a:gd name="T18" fmla="*/ 8 w 32"/>
                <a:gd name="T19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8">
                  <a:moveTo>
                    <a:pt x="32" y="24"/>
                  </a:moveTo>
                  <a:cubicBezTo>
                    <a:pt x="32" y="40"/>
                    <a:pt x="27" y="48"/>
                    <a:pt x="16" y="48"/>
                  </a:cubicBezTo>
                  <a:cubicBezTo>
                    <a:pt x="5" y="48"/>
                    <a:pt x="0" y="40"/>
                    <a:pt x="0" y="24"/>
                  </a:cubicBezTo>
                  <a:cubicBezTo>
                    <a:pt x="0" y="8"/>
                    <a:pt x="5" y="0"/>
                    <a:pt x="16" y="0"/>
                  </a:cubicBezTo>
                  <a:cubicBezTo>
                    <a:pt x="27" y="0"/>
                    <a:pt x="32" y="8"/>
                    <a:pt x="32" y="24"/>
                  </a:cubicBezTo>
                  <a:close/>
                  <a:moveTo>
                    <a:pt x="8" y="24"/>
                  </a:moveTo>
                  <a:cubicBezTo>
                    <a:pt x="8" y="36"/>
                    <a:pt x="11" y="42"/>
                    <a:pt x="16" y="42"/>
                  </a:cubicBezTo>
                  <a:cubicBezTo>
                    <a:pt x="22" y="42"/>
                    <a:pt x="24" y="36"/>
                    <a:pt x="24" y="24"/>
                  </a:cubicBezTo>
                  <a:cubicBezTo>
                    <a:pt x="24" y="13"/>
                    <a:pt x="22" y="7"/>
                    <a:pt x="16" y="7"/>
                  </a:cubicBezTo>
                  <a:cubicBezTo>
                    <a:pt x="11" y="7"/>
                    <a:pt x="8" y="13"/>
                    <a:pt x="8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08" name="Freeform 160">
              <a:extLst>
                <a:ext uri="{FF2B5EF4-FFF2-40B4-BE49-F238E27FC236}">
                  <a16:creationId xmlns:a16="http://schemas.microsoft.com/office/drawing/2014/main" id="{63F5AF2B-8B35-45C7-9A78-5AEDD6F978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17375" y="6499332"/>
              <a:ext cx="114816" cy="170714"/>
            </a:xfrm>
            <a:custGeom>
              <a:avLst/>
              <a:gdLst>
                <a:gd name="T0" fmla="*/ 32 w 32"/>
                <a:gd name="T1" fmla="*/ 24 h 48"/>
                <a:gd name="T2" fmla="*/ 16 w 32"/>
                <a:gd name="T3" fmla="*/ 48 h 48"/>
                <a:gd name="T4" fmla="*/ 0 w 32"/>
                <a:gd name="T5" fmla="*/ 24 h 48"/>
                <a:gd name="T6" fmla="*/ 16 w 32"/>
                <a:gd name="T7" fmla="*/ 0 h 48"/>
                <a:gd name="T8" fmla="*/ 32 w 32"/>
                <a:gd name="T9" fmla="*/ 24 h 48"/>
                <a:gd name="T10" fmla="*/ 8 w 32"/>
                <a:gd name="T11" fmla="*/ 24 h 48"/>
                <a:gd name="T12" fmla="*/ 16 w 32"/>
                <a:gd name="T13" fmla="*/ 42 h 48"/>
                <a:gd name="T14" fmla="*/ 24 w 32"/>
                <a:gd name="T15" fmla="*/ 24 h 48"/>
                <a:gd name="T16" fmla="*/ 16 w 32"/>
                <a:gd name="T17" fmla="*/ 7 h 48"/>
                <a:gd name="T18" fmla="*/ 8 w 32"/>
                <a:gd name="T19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8">
                  <a:moveTo>
                    <a:pt x="32" y="24"/>
                  </a:moveTo>
                  <a:cubicBezTo>
                    <a:pt x="32" y="40"/>
                    <a:pt x="27" y="48"/>
                    <a:pt x="16" y="48"/>
                  </a:cubicBezTo>
                  <a:cubicBezTo>
                    <a:pt x="5" y="48"/>
                    <a:pt x="0" y="41"/>
                    <a:pt x="0" y="24"/>
                  </a:cubicBezTo>
                  <a:cubicBezTo>
                    <a:pt x="0" y="8"/>
                    <a:pt x="5" y="0"/>
                    <a:pt x="16" y="0"/>
                  </a:cubicBezTo>
                  <a:cubicBezTo>
                    <a:pt x="27" y="0"/>
                    <a:pt x="32" y="8"/>
                    <a:pt x="32" y="24"/>
                  </a:cubicBezTo>
                  <a:close/>
                  <a:moveTo>
                    <a:pt x="8" y="24"/>
                  </a:moveTo>
                  <a:cubicBezTo>
                    <a:pt x="8" y="36"/>
                    <a:pt x="11" y="42"/>
                    <a:pt x="16" y="42"/>
                  </a:cubicBezTo>
                  <a:cubicBezTo>
                    <a:pt x="22" y="42"/>
                    <a:pt x="24" y="36"/>
                    <a:pt x="24" y="24"/>
                  </a:cubicBezTo>
                  <a:cubicBezTo>
                    <a:pt x="24" y="13"/>
                    <a:pt x="22" y="7"/>
                    <a:pt x="16" y="7"/>
                  </a:cubicBezTo>
                  <a:cubicBezTo>
                    <a:pt x="11" y="7"/>
                    <a:pt x="8" y="13"/>
                    <a:pt x="8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09" name="Freeform 161">
              <a:extLst>
                <a:ext uri="{FF2B5EF4-FFF2-40B4-BE49-F238E27FC236}">
                  <a16:creationId xmlns:a16="http://schemas.microsoft.com/office/drawing/2014/main" id="{58D8CF31-ED20-4E08-9DE0-D9E0A85DFE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17375" y="6787885"/>
              <a:ext cx="114816" cy="167693"/>
            </a:xfrm>
            <a:custGeom>
              <a:avLst/>
              <a:gdLst>
                <a:gd name="T0" fmla="*/ 32 w 32"/>
                <a:gd name="T1" fmla="*/ 23 h 47"/>
                <a:gd name="T2" fmla="*/ 16 w 32"/>
                <a:gd name="T3" fmla="*/ 47 h 47"/>
                <a:gd name="T4" fmla="*/ 0 w 32"/>
                <a:gd name="T5" fmla="*/ 23 h 47"/>
                <a:gd name="T6" fmla="*/ 16 w 32"/>
                <a:gd name="T7" fmla="*/ 0 h 47"/>
                <a:gd name="T8" fmla="*/ 32 w 32"/>
                <a:gd name="T9" fmla="*/ 23 h 47"/>
                <a:gd name="T10" fmla="*/ 8 w 32"/>
                <a:gd name="T11" fmla="*/ 23 h 47"/>
                <a:gd name="T12" fmla="*/ 16 w 32"/>
                <a:gd name="T13" fmla="*/ 41 h 47"/>
                <a:gd name="T14" fmla="*/ 24 w 32"/>
                <a:gd name="T15" fmla="*/ 23 h 47"/>
                <a:gd name="T16" fmla="*/ 16 w 32"/>
                <a:gd name="T17" fmla="*/ 6 h 47"/>
                <a:gd name="T18" fmla="*/ 8 w 32"/>
                <a:gd name="T19" fmla="*/ 2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7">
                  <a:moveTo>
                    <a:pt x="32" y="23"/>
                  </a:moveTo>
                  <a:cubicBezTo>
                    <a:pt x="32" y="39"/>
                    <a:pt x="27" y="47"/>
                    <a:pt x="16" y="47"/>
                  </a:cubicBezTo>
                  <a:cubicBezTo>
                    <a:pt x="5" y="47"/>
                    <a:pt x="0" y="40"/>
                    <a:pt x="0" y="23"/>
                  </a:cubicBezTo>
                  <a:cubicBezTo>
                    <a:pt x="0" y="7"/>
                    <a:pt x="5" y="0"/>
                    <a:pt x="16" y="0"/>
                  </a:cubicBezTo>
                  <a:cubicBezTo>
                    <a:pt x="27" y="0"/>
                    <a:pt x="32" y="7"/>
                    <a:pt x="32" y="23"/>
                  </a:cubicBezTo>
                  <a:close/>
                  <a:moveTo>
                    <a:pt x="8" y="23"/>
                  </a:moveTo>
                  <a:cubicBezTo>
                    <a:pt x="8" y="35"/>
                    <a:pt x="11" y="41"/>
                    <a:pt x="16" y="41"/>
                  </a:cubicBezTo>
                  <a:cubicBezTo>
                    <a:pt x="22" y="41"/>
                    <a:pt x="24" y="35"/>
                    <a:pt x="24" y="23"/>
                  </a:cubicBezTo>
                  <a:cubicBezTo>
                    <a:pt x="24" y="12"/>
                    <a:pt x="22" y="6"/>
                    <a:pt x="16" y="6"/>
                  </a:cubicBezTo>
                  <a:cubicBezTo>
                    <a:pt x="11" y="6"/>
                    <a:pt x="8" y="12"/>
                    <a:pt x="8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10" name="Line 8">
              <a:extLst>
                <a:ext uri="{FF2B5EF4-FFF2-40B4-BE49-F238E27FC236}">
                  <a16:creationId xmlns:a16="http://schemas.microsoft.com/office/drawing/2014/main" id="{B89EA7BB-932F-42A8-B0C8-4CA3DA83920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282436" y="5576274"/>
              <a:ext cx="0" cy="0"/>
            </a:xfrm>
            <a:prstGeom prst="line">
              <a:avLst/>
            </a:pr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11" name="Line 9">
              <a:extLst>
                <a:ext uri="{FF2B5EF4-FFF2-40B4-BE49-F238E27FC236}">
                  <a16:creationId xmlns:a16="http://schemas.microsoft.com/office/drawing/2014/main" id="{3B7015ED-CFB7-4D55-8FEC-CC2271A7A05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282436" y="5576274"/>
              <a:ext cx="0" cy="0"/>
            </a:xfrm>
            <a:prstGeom prst="line">
              <a:avLst/>
            </a:pr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12" name="Freeform 10">
              <a:extLst>
                <a:ext uri="{FF2B5EF4-FFF2-40B4-BE49-F238E27FC236}">
                  <a16:creationId xmlns:a16="http://schemas.microsoft.com/office/drawing/2014/main" id="{212F22B6-172C-4FB3-8445-B097DF46B5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49546" y="6647390"/>
              <a:ext cx="99709" cy="157117"/>
            </a:xfrm>
            <a:custGeom>
              <a:avLst/>
              <a:gdLst>
                <a:gd name="T0" fmla="*/ 30 w 66"/>
                <a:gd name="T1" fmla="*/ 24 h 104"/>
                <a:gd name="T2" fmla="*/ 9 w 66"/>
                <a:gd name="T3" fmla="*/ 38 h 104"/>
                <a:gd name="T4" fmla="*/ 0 w 66"/>
                <a:gd name="T5" fmla="*/ 19 h 104"/>
                <a:gd name="T6" fmla="*/ 33 w 66"/>
                <a:gd name="T7" fmla="*/ 0 h 104"/>
                <a:gd name="T8" fmla="*/ 52 w 66"/>
                <a:gd name="T9" fmla="*/ 0 h 104"/>
                <a:gd name="T10" fmla="*/ 52 w 66"/>
                <a:gd name="T11" fmla="*/ 87 h 104"/>
                <a:gd name="T12" fmla="*/ 66 w 66"/>
                <a:gd name="T13" fmla="*/ 87 h 104"/>
                <a:gd name="T14" fmla="*/ 66 w 66"/>
                <a:gd name="T15" fmla="*/ 104 h 104"/>
                <a:gd name="T16" fmla="*/ 16 w 66"/>
                <a:gd name="T17" fmla="*/ 104 h 104"/>
                <a:gd name="T18" fmla="*/ 16 w 66"/>
                <a:gd name="T19" fmla="*/ 87 h 104"/>
                <a:gd name="T20" fmla="*/ 30 w 66"/>
                <a:gd name="T21" fmla="*/ 87 h 104"/>
                <a:gd name="T22" fmla="*/ 30 w 66"/>
                <a:gd name="T23" fmla="*/ 2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6" h="104">
                  <a:moveTo>
                    <a:pt x="30" y="24"/>
                  </a:moveTo>
                  <a:lnTo>
                    <a:pt x="9" y="38"/>
                  </a:lnTo>
                  <a:lnTo>
                    <a:pt x="0" y="19"/>
                  </a:lnTo>
                  <a:lnTo>
                    <a:pt x="33" y="0"/>
                  </a:lnTo>
                  <a:lnTo>
                    <a:pt x="52" y="0"/>
                  </a:lnTo>
                  <a:lnTo>
                    <a:pt x="52" y="87"/>
                  </a:lnTo>
                  <a:lnTo>
                    <a:pt x="66" y="87"/>
                  </a:lnTo>
                  <a:lnTo>
                    <a:pt x="66" y="104"/>
                  </a:lnTo>
                  <a:lnTo>
                    <a:pt x="16" y="104"/>
                  </a:lnTo>
                  <a:lnTo>
                    <a:pt x="16" y="87"/>
                  </a:lnTo>
                  <a:lnTo>
                    <a:pt x="30" y="87"/>
                  </a:lnTo>
                  <a:lnTo>
                    <a:pt x="30" y="2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13" name="Freeform 11">
              <a:extLst>
                <a:ext uri="{FF2B5EF4-FFF2-40B4-BE49-F238E27FC236}">
                  <a16:creationId xmlns:a16="http://schemas.microsoft.com/office/drawing/2014/main" id="{BEAACE3F-13C1-4C38-8D49-A74B6C2A89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635950" y="6914792"/>
              <a:ext cx="120859" cy="164671"/>
            </a:xfrm>
            <a:custGeom>
              <a:avLst/>
              <a:gdLst>
                <a:gd name="T0" fmla="*/ 32 w 34"/>
                <a:gd name="T1" fmla="*/ 8 h 46"/>
                <a:gd name="T2" fmla="*/ 34 w 34"/>
                <a:gd name="T3" fmla="*/ 23 h 46"/>
                <a:gd name="T4" fmla="*/ 31 w 34"/>
                <a:gd name="T5" fmla="*/ 39 h 46"/>
                <a:gd name="T6" fmla="*/ 17 w 34"/>
                <a:gd name="T7" fmla="*/ 46 h 46"/>
                <a:gd name="T8" fmla="*/ 3 w 34"/>
                <a:gd name="T9" fmla="*/ 37 h 46"/>
                <a:gd name="T10" fmla="*/ 0 w 34"/>
                <a:gd name="T11" fmla="*/ 23 h 46"/>
                <a:gd name="T12" fmla="*/ 17 w 34"/>
                <a:gd name="T13" fmla="*/ 0 h 46"/>
                <a:gd name="T14" fmla="*/ 32 w 34"/>
                <a:gd name="T15" fmla="*/ 8 h 46"/>
                <a:gd name="T16" fmla="*/ 10 w 34"/>
                <a:gd name="T17" fmla="*/ 23 h 46"/>
                <a:gd name="T18" fmla="*/ 17 w 34"/>
                <a:gd name="T19" fmla="*/ 38 h 46"/>
                <a:gd name="T20" fmla="*/ 25 w 34"/>
                <a:gd name="T21" fmla="*/ 23 h 46"/>
                <a:gd name="T22" fmla="*/ 17 w 34"/>
                <a:gd name="T23" fmla="*/ 8 h 46"/>
                <a:gd name="T24" fmla="*/ 10 w 34"/>
                <a:gd name="T25" fmla="*/ 2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" h="46">
                  <a:moveTo>
                    <a:pt x="32" y="8"/>
                  </a:moveTo>
                  <a:cubicBezTo>
                    <a:pt x="34" y="12"/>
                    <a:pt x="34" y="16"/>
                    <a:pt x="34" y="23"/>
                  </a:cubicBezTo>
                  <a:cubicBezTo>
                    <a:pt x="34" y="31"/>
                    <a:pt x="33" y="36"/>
                    <a:pt x="31" y="39"/>
                  </a:cubicBezTo>
                  <a:cubicBezTo>
                    <a:pt x="28" y="43"/>
                    <a:pt x="23" y="46"/>
                    <a:pt x="17" y="46"/>
                  </a:cubicBezTo>
                  <a:cubicBezTo>
                    <a:pt x="11" y="46"/>
                    <a:pt x="6" y="43"/>
                    <a:pt x="3" y="37"/>
                  </a:cubicBezTo>
                  <a:cubicBezTo>
                    <a:pt x="1" y="34"/>
                    <a:pt x="0" y="29"/>
                    <a:pt x="0" y="23"/>
                  </a:cubicBezTo>
                  <a:cubicBezTo>
                    <a:pt x="0" y="8"/>
                    <a:pt x="6" y="0"/>
                    <a:pt x="17" y="0"/>
                  </a:cubicBezTo>
                  <a:cubicBezTo>
                    <a:pt x="24" y="0"/>
                    <a:pt x="29" y="3"/>
                    <a:pt x="32" y="8"/>
                  </a:cubicBezTo>
                  <a:close/>
                  <a:moveTo>
                    <a:pt x="10" y="23"/>
                  </a:moveTo>
                  <a:cubicBezTo>
                    <a:pt x="10" y="33"/>
                    <a:pt x="12" y="38"/>
                    <a:pt x="17" y="38"/>
                  </a:cubicBezTo>
                  <a:cubicBezTo>
                    <a:pt x="22" y="38"/>
                    <a:pt x="25" y="33"/>
                    <a:pt x="25" y="23"/>
                  </a:cubicBezTo>
                  <a:cubicBezTo>
                    <a:pt x="25" y="13"/>
                    <a:pt x="22" y="8"/>
                    <a:pt x="17" y="8"/>
                  </a:cubicBezTo>
                  <a:cubicBezTo>
                    <a:pt x="12" y="8"/>
                    <a:pt x="10" y="13"/>
                    <a:pt x="10" y="2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14" name="Freeform 23">
              <a:extLst>
                <a:ext uri="{FF2B5EF4-FFF2-40B4-BE49-F238E27FC236}">
                  <a16:creationId xmlns:a16="http://schemas.microsoft.com/office/drawing/2014/main" id="{D8517DE7-2614-4AB3-827F-EDECABEB82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56227" y="5926766"/>
              <a:ext cx="75537" cy="113306"/>
            </a:xfrm>
            <a:custGeom>
              <a:avLst/>
              <a:gdLst>
                <a:gd name="T0" fmla="*/ 21 w 21"/>
                <a:gd name="T1" fmla="*/ 16 h 32"/>
                <a:gd name="T2" fmla="*/ 11 w 21"/>
                <a:gd name="T3" fmla="*/ 32 h 32"/>
                <a:gd name="T4" fmla="*/ 0 w 21"/>
                <a:gd name="T5" fmla="*/ 16 h 32"/>
                <a:gd name="T6" fmla="*/ 11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1 w 21"/>
                <a:gd name="T13" fmla="*/ 28 h 32"/>
                <a:gd name="T14" fmla="*/ 16 w 21"/>
                <a:gd name="T15" fmla="*/ 16 h 32"/>
                <a:gd name="T16" fmla="*/ 11 w 21"/>
                <a:gd name="T17" fmla="*/ 5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7"/>
                    <a:pt x="18" y="32"/>
                    <a:pt x="11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1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8"/>
                    <a:pt x="11" y="28"/>
                  </a:cubicBezTo>
                  <a:cubicBezTo>
                    <a:pt x="14" y="28"/>
                    <a:pt x="16" y="24"/>
                    <a:pt x="16" y="16"/>
                  </a:cubicBezTo>
                  <a:cubicBezTo>
                    <a:pt x="16" y="8"/>
                    <a:pt x="14" y="5"/>
                    <a:pt x="11" y="5"/>
                  </a:cubicBezTo>
                  <a:cubicBezTo>
                    <a:pt x="7" y="5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15" name="Freeform 24">
              <a:extLst>
                <a:ext uri="{FF2B5EF4-FFF2-40B4-BE49-F238E27FC236}">
                  <a16:creationId xmlns:a16="http://schemas.microsoft.com/office/drawing/2014/main" id="{8D9AE26B-4899-4D96-BB0A-CD489C7F34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56227" y="6118630"/>
              <a:ext cx="75537" cy="111795"/>
            </a:xfrm>
            <a:custGeom>
              <a:avLst/>
              <a:gdLst>
                <a:gd name="T0" fmla="*/ 21 w 21"/>
                <a:gd name="T1" fmla="*/ 16 h 31"/>
                <a:gd name="T2" fmla="*/ 11 w 21"/>
                <a:gd name="T3" fmla="*/ 31 h 31"/>
                <a:gd name="T4" fmla="*/ 0 w 21"/>
                <a:gd name="T5" fmla="*/ 15 h 31"/>
                <a:gd name="T6" fmla="*/ 11 w 21"/>
                <a:gd name="T7" fmla="*/ 0 h 31"/>
                <a:gd name="T8" fmla="*/ 21 w 21"/>
                <a:gd name="T9" fmla="*/ 16 h 31"/>
                <a:gd name="T10" fmla="*/ 5 w 21"/>
                <a:gd name="T11" fmla="*/ 15 h 31"/>
                <a:gd name="T12" fmla="*/ 11 w 21"/>
                <a:gd name="T13" fmla="*/ 27 h 31"/>
                <a:gd name="T14" fmla="*/ 16 w 21"/>
                <a:gd name="T15" fmla="*/ 16 h 31"/>
                <a:gd name="T16" fmla="*/ 11 w 21"/>
                <a:gd name="T17" fmla="*/ 4 h 31"/>
                <a:gd name="T18" fmla="*/ 5 w 21"/>
                <a:gd name="T1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1">
                  <a:moveTo>
                    <a:pt x="21" y="16"/>
                  </a:moveTo>
                  <a:cubicBezTo>
                    <a:pt x="21" y="26"/>
                    <a:pt x="18" y="31"/>
                    <a:pt x="11" y="31"/>
                  </a:cubicBezTo>
                  <a:cubicBezTo>
                    <a:pt x="3" y="31"/>
                    <a:pt x="0" y="26"/>
                    <a:pt x="0" y="15"/>
                  </a:cubicBezTo>
                  <a:cubicBezTo>
                    <a:pt x="0" y="5"/>
                    <a:pt x="3" y="0"/>
                    <a:pt x="11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5"/>
                  </a:moveTo>
                  <a:cubicBezTo>
                    <a:pt x="5" y="23"/>
                    <a:pt x="7" y="27"/>
                    <a:pt x="11" y="27"/>
                  </a:cubicBezTo>
                  <a:cubicBezTo>
                    <a:pt x="14" y="27"/>
                    <a:pt x="16" y="23"/>
                    <a:pt x="16" y="16"/>
                  </a:cubicBezTo>
                  <a:cubicBezTo>
                    <a:pt x="16" y="8"/>
                    <a:pt x="14" y="4"/>
                    <a:pt x="11" y="4"/>
                  </a:cubicBezTo>
                  <a:cubicBezTo>
                    <a:pt x="7" y="4"/>
                    <a:pt x="5" y="8"/>
                    <a:pt x="5" y="15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16" name="Freeform 25">
              <a:extLst>
                <a:ext uri="{FF2B5EF4-FFF2-40B4-BE49-F238E27FC236}">
                  <a16:creationId xmlns:a16="http://schemas.microsoft.com/office/drawing/2014/main" id="{F3085BB7-3155-40F9-900B-9E49844476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63781" y="6500848"/>
              <a:ext cx="64962" cy="110285"/>
            </a:xfrm>
            <a:custGeom>
              <a:avLst/>
              <a:gdLst>
                <a:gd name="T0" fmla="*/ 19 w 43"/>
                <a:gd name="T1" fmla="*/ 14 h 73"/>
                <a:gd name="T2" fmla="*/ 5 w 43"/>
                <a:gd name="T3" fmla="*/ 24 h 73"/>
                <a:gd name="T4" fmla="*/ 0 w 43"/>
                <a:gd name="T5" fmla="*/ 12 h 73"/>
                <a:gd name="T6" fmla="*/ 22 w 43"/>
                <a:gd name="T7" fmla="*/ 0 h 73"/>
                <a:gd name="T8" fmla="*/ 34 w 43"/>
                <a:gd name="T9" fmla="*/ 0 h 73"/>
                <a:gd name="T10" fmla="*/ 34 w 43"/>
                <a:gd name="T11" fmla="*/ 64 h 73"/>
                <a:gd name="T12" fmla="*/ 43 w 43"/>
                <a:gd name="T13" fmla="*/ 64 h 73"/>
                <a:gd name="T14" fmla="*/ 43 w 43"/>
                <a:gd name="T15" fmla="*/ 73 h 73"/>
                <a:gd name="T16" fmla="*/ 10 w 43"/>
                <a:gd name="T17" fmla="*/ 73 h 73"/>
                <a:gd name="T18" fmla="*/ 10 w 43"/>
                <a:gd name="T19" fmla="*/ 64 h 73"/>
                <a:gd name="T20" fmla="*/ 19 w 43"/>
                <a:gd name="T21" fmla="*/ 64 h 73"/>
                <a:gd name="T22" fmla="*/ 19 w 43"/>
                <a:gd name="T23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73">
                  <a:moveTo>
                    <a:pt x="19" y="14"/>
                  </a:moveTo>
                  <a:lnTo>
                    <a:pt x="5" y="24"/>
                  </a:lnTo>
                  <a:lnTo>
                    <a:pt x="0" y="12"/>
                  </a:lnTo>
                  <a:lnTo>
                    <a:pt x="22" y="0"/>
                  </a:lnTo>
                  <a:lnTo>
                    <a:pt x="34" y="0"/>
                  </a:lnTo>
                  <a:lnTo>
                    <a:pt x="34" y="64"/>
                  </a:lnTo>
                  <a:lnTo>
                    <a:pt x="43" y="64"/>
                  </a:lnTo>
                  <a:lnTo>
                    <a:pt x="43" y="73"/>
                  </a:lnTo>
                  <a:lnTo>
                    <a:pt x="10" y="73"/>
                  </a:lnTo>
                  <a:lnTo>
                    <a:pt x="10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17" name="Freeform 26">
              <a:extLst>
                <a:ext uri="{FF2B5EF4-FFF2-40B4-BE49-F238E27FC236}">
                  <a16:creationId xmlns:a16="http://schemas.microsoft.com/office/drawing/2014/main" id="{AD23DEF6-ECAA-4C3B-A950-8CD3ACFED6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56227" y="6689691"/>
              <a:ext cx="75537" cy="111795"/>
            </a:xfrm>
            <a:custGeom>
              <a:avLst/>
              <a:gdLst>
                <a:gd name="T0" fmla="*/ 21 w 21"/>
                <a:gd name="T1" fmla="*/ 16 h 31"/>
                <a:gd name="T2" fmla="*/ 11 w 21"/>
                <a:gd name="T3" fmla="*/ 31 h 31"/>
                <a:gd name="T4" fmla="*/ 0 w 21"/>
                <a:gd name="T5" fmla="*/ 15 h 31"/>
                <a:gd name="T6" fmla="*/ 11 w 21"/>
                <a:gd name="T7" fmla="*/ 0 h 31"/>
                <a:gd name="T8" fmla="*/ 21 w 21"/>
                <a:gd name="T9" fmla="*/ 16 h 31"/>
                <a:gd name="T10" fmla="*/ 5 w 21"/>
                <a:gd name="T11" fmla="*/ 16 h 31"/>
                <a:gd name="T12" fmla="*/ 11 w 21"/>
                <a:gd name="T13" fmla="*/ 27 h 31"/>
                <a:gd name="T14" fmla="*/ 16 w 21"/>
                <a:gd name="T15" fmla="*/ 16 h 31"/>
                <a:gd name="T16" fmla="*/ 11 w 21"/>
                <a:gd name="T17" fmla="*/ 4 h 31"/>
                <a:gd name="T18" fmla="*/ 5 w 21"/>
                <a:gd name="T19" fmla="*/ 1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1">
                  <a:moveTo>
                    <a:pt x="21" y="16"/>
                  </a:moveTo>
                  <a:cubicBezTo>
                    <a:pt x="21" y="26"/>
                    <a:pt x="18" y="31"/>
                    <a:pt x="11" y="31"/>
                  </a:cubicBezTo>
                  <a:cubicBezTo>
                    <a:pt x="3" y="31"/>
                    <a:pt x="0" y="26"/>
                    <a:pt x="0" y="15"/>
                  </a:cubicBezTo>
                  <a:cubicBezTo>
                    <a:pt x="0" y="5"/>
                    <a:pt x="3" y="0"/>
                    <a:pt x="11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3"/>
                    <a:pt x="7" y="27"/>
                    <a:pt x="11" y="27"/>
                  </a:cubicBezTo>
                  <a:cubicBezTo>
                    <a:pt x="14" y="27"/>
                    <a:pt x="16" y="23"/>
                    <a:pt x="16" y="16"/>
                  </a:cubicBezTo>
                  <a:cubicBezTo>
                    <a:pt x="16" y="8"/>
                    <a:pt x="14" y="4"/>
                    <a:pt x="11" y="4"/>
                  </a:cubicBezTo>
                  <a:cubicBezTo>
                    <a:pt x="7" y="4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18" name="Freeform 27">
              <a:extLst>
                <a:ext uri="{FF2B5EF4-FFF2-40B4-BE49-F238E27FC236}">
                  <a16:creationId xmlns:a16="http://schemas.microsoft.com/office/drawing/2014/main" id="{70B68700-61DF-4418-9A3D-AEE6E2C177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56227" y="6880044"/>
              <a:ext cx="75537" cy="113306"/>
            </a:xfrm>
            <a:custGeom>
              <a:avLst/>
              <a:gdLst>
                <a:gd name="T0" fmla="*/ 21 w 21"/>
                <a:gd name="T1" fmla="*/ 16 h 32"/>
                <a:gd name="T2" fmla="*/ 11 w 21"/>
                <a:gd name="T3" fmla="*/ 32 h 32"/>
                <a:gd name="T4" fmla="*/ 0 w 21"/>
                <a:gd name="T5" fmla="*/ 16 h 32"/>
                <a:gd name="T6" fmla="*/ 11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1 w 21"/>
                <a:gd name="T13" fmla="*/ 27 h 32"/>
                <a:gd name="T14" fmla="*/ 16 w 21"/>
                <a:gd name="T15" fmla="*/ 16 h 32"/>
                <a:gd name="T16" fmla="*/ 11 w 21"/>
                <a:gd name="T17" fmla="*/ 4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7"/>
                    <a:pt x="18" y="32"/>
                    <a:pt x="11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1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7"/>
                    <a:pt x="11" y="27"/>
                  </a:cubicBezTo>
                  <a:cubicBezTo>
                    <a:pt x="14" y="27"/>
                    <a:pt x="16" y="24"/>
                    <a:pt x="16" y="16"/>
                  </a:cubicBezTo>
                  <a:cubicBezTo>
                    <a:pt x="16" y="8"/>
                    <a:pt x="14" y="4"/>
                    <a:pt x="11" y="4"/>
                  </a:cubicBezTo>
                  <a:cubicBezTo>
                    <a:pt x="7" y="4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19" name="Freeform 43">
              <a:extLst>
                <a:ext uri="{FF2B5EF4-FFF2-40B4-BE49-F238E27FC236}">
                  <a16:creationId xmlns:a16="http://schemas.microsoft.com/office/drawing/2014/main" id="{8A631586-2416-4532-B6FE-6793BEB33C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196435" y="6126184"/>
              <a:ext cx="63451" cy="93666"/>
            </a:xfrm>
            <a:custGeom>
              <a:avLst/>
              <a:gdLst>
                <a:gd name="T0" fmla="*/ 18 w 18"/>
                <a:gd name="T1" fmla="*/ 13 h 26"/>
                <a:gd name="T2" fmla="*/ 9 w 18"/>
                <a:gd name="T3" fmla="*/ 26 h 26"/>
                <a:gd name="T4" fmla="*/ 0 w 18"/>
                <a:gd name="T5" fmla="*/ 13 h 26"/>
                <a:gd name="T6" fmla="*/ 9 w 18"/>
                <a:gd name="T7" fmla="*/ 0 h 26"/>
                <a:gd name="T8" fmla="*/ 18 w 18"/>
                <a:gd name="T9" fmla="*/ 13 h 26"/>
                <a:gd name="T10" fmla="*/ 5 w 18"/>
                <a:gd name="T11" fmla="*/ 13 h 26"/>
                <a:gd name="T12" fmla="*/ 9 w 18"/>
                <a:gd name="T13" fmla="*/ 22 h 26"/>
                <a:gd name="T14" fmla="*/ 13 w 18"/>
                <a:gd name="T15" fmla="*/ 13 h 26"/>
                <a:gd name="T16" fmla="*/ 9 w 18"/>
                <a:gd name="T17" fmla="*/ 4 h 26"/>
                <a:gd name="T18" fmla="*/ 5 w 18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6">
                  <a:moveTo>
                    <a:pt x="18" y="13"/>
                  </a:moveTo>
                  <a:cubicBezTo>
                    <a:pt x="18" y="22"/>
                    <a:pt x="15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5"/>
                    <a:pt x="3" y="0"/>
                    <a:pt x="9" y="0"/>
                  </a:cubicBezTo>
                  <a:cubicBezTo>
                    <a:pt x="15" y="0"/>
                    <a:pt x="18" y="5"/>
                    <a:pt x="18" y="13"/>
                  </a:cubicBezTo>
                  <a:close/>
                  <a:moveTo>
                    <a:pt x="5" y="13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7"/>
                    <a:pt x="12" y="4"/>
                    <a:pt x="9" y="4"/>
                  </a:cubicBezTo>
                  <a:cubicBezTo>
                    <a:pt x="6" y="4"/>
                    <a:pt x="5" y="7"/>
                    <a:pt x="5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20" name="Freeform 44">
              <a:extLst>
                <a:ext uri="{FF2B5EF4-FFF2-40B4-BE49-F238E27FC236}">
                  <a16:creationId xmlns:a16="http://schemas.microsoft.com/office/drawing/2014/main" id="{407AC584-FB24-4886-AA9A-8FF902C6D5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196435" y="6280280"/>
              <a:ext cx="63451" cy="92156"/>
            </a:xfrm>
            <a:custGeom>
              <a:avLst/>
              <a:gdLst>
                <a:gd name="T0" fmla="*/ 18 w 18"/>
                <a:gd name="T1" fmla="*/ 13 h 26"/>
                <a:gd name="T2" fmla="*/ 9 w 18"/>
                <a:gd name="T3" fmla="*/ 26 h 26"/>
                <a:gd name="T4" fmla="*/ 0 w 18"/>
                <a:gd name="T5" fmla="*/ 13 h 26"/>
                <a:gd name="T6" fmla="*/ 9 w 18"/>
                <a:gd name="T7" fmla="*/ 0 h 26"/>
                <a:gd name="T8" fmla="*/ 18 w 18"/>
                <a:gd name="T9" fmla="*/ 13 h 26"/>
                <a:gd name="T10" fmla="*/ 5 w 18"/>
                <a:gd name="T11" fmla="*/ 13 h 26"/>
                <a:gd name="T12" fmla="*/ 9 w 18"/>
                <a:gd name="T13" fmla="*/ 22 h 26"/>
                <a:gd name="T14" fmla="*/ 13 w 18"/>
                <a:gd name="T15" fmla="*/ 13 h 26"/>
                <a:gd name="T16" fmla="*/ 9 w 18"/>
                <a:gd name="T17" fmla="*/ 4 h 26"/>
                <a:gd name="T18" fmla="*/ 5 w 18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6">
                  <a:moveTo>
                    <a:pt x="18" y="13"/>
                  </a:moveTo>
                  <a:cubicBezTo>
                    <a:pt x="18" y="21"/>
                    <a:pt x="15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5" y="0"/>
                    <a:pt x="18" y="4"/>
                    <a:pt x="18" y="13"/>
                  </a:cubicBezTo>
                  <a:close/>
                  <a:moveTo>
                    <a:pt x="5" y="13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7"/>
                    <a:pt x="12" y="4"/>
                    <a:pt x="9" y="4"/>
                  </a:cubicBezTo>
                  <a:cubicBezTo>
                    <a:pt x="6" y="4"/>
                    <a:pt x="5" y="7"/>
                    <a:pt x="5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21" name="Freeform 45">
              <a:extLst>
                <a:ext uri="{FF2B5EF4-FFF2-40B4-BE49-F238E27FC236}">
                  <a16:creationId xmlns:a16="http://schemas.microsoft.com/office/drawing/2014/main" id="{BCB42DD9-398D-4C97-A9F1-B09E143CC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07010" y="6586960"/>
              <a:ext cx="49855" cy="89134"/>
            </a:xfrm>
            <a:custGeom>
              <a:avLst/>
              <a:gdLst>
                <a:gd name="T0" fmla="*/ 17 w 33"/>
                <a:gd name="T1" fmla="*/ 12 h 59"/>
                <a:gd name="T2" fmla="*/ 5 w 33"/>
                <a:gd name="T3" fmla="*/ 19 h 59"/>
                <a:gd name="T4" fmla="*/ 0 w 33"/>
                <a:gd name="T5" fmla="*/ 9 h 59"/>
                <a:gd name="T6" fmla="*/ 19 w 33"/>
                <a:gd name="T7" fmla="*/ 0 h 59"/>
                <a:gd name="T8" fmla="*/ 26 w 33"/>
                <a:gd name="T9" fmla="*/ 0 h 59"/>
                <a:gd name="T10" fmla="*/ 26 w 33"/>
                <a:gd name="T11" fmla="*/ 49 h 59"/>
                <a:gd name="T12" fmla="*/ 33 w 33"/>
                <a:gd name="T13" fmla="*/ 49 h 59"/>
                <a:gd name="T14" fmla="*/ 33 w 33"/>
                <a:gd name="T15" fmla="*/ 59 h 59"/>
                <a:gd name="T16" fmla="*/ 10 w 33"/>
                <a:gd name="T17" fmla="*/ 59 h 59"/>
                <a:gd name="T18" fmla="*/ 10 w 33"/>
                <a:gd name="T19" fmla="*/ 49 h 59"/>
                <a:gd name="T20" fmla="*/ 17 w 33"/>
                <a:gd name="T21" fmla="*/ 49 h 59"/>
                <a:gd name="T22" fmla="*/ 17 w 33"/>
                <a:gd name="T23" fmla="*/ 1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9">
                  <a:moveTo>
                    <a:pt x="17" y="12"/>
                  </a:moveTo>
                  <a:lnTo>
                    <a:pt x="5" y="19"/>
                  </a:lnTo>
                  <a:lnTo>
                    <a:pt x="0" y="9"/>
                  </a:lnTo>
                  <a:lnTo>
                    <a:pt x="19" y="0"/>
                  </a:lnTo>
                  <a:lnTo>
                    <a:pt x="26" y="0"/>
                  </a:lnTo>
                  <a:lnTo>
                    <a:pt x="26" y="49"/>
                  </a:lnTo>
                  <a:lnTo>
                    <a:pt x="33" y="49"/>
                  </a:lnTo>
                  <a:lnTo>
                    <a:pt x="33" y="59"/>
                  </a:lnTo>
                  <a:lnTo>
                    <a:pt x="10" y="59"/>
                  </a:lnTo>
                  <a:lnTo>
                    <a:pt x="10" y="49"/>
                  </a:lnTo>
                  <a:lnTo>
                    <a:pt x="17" y="49"/>
                  </a:lnTo>
                  <a:lnTo>
                    <a:pt x="17" y="12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22" name="Freeform 46">
              <a:extLst>
                <a:ext uri="{FF2B5EF4-FFF2-40B4-BE49-F238E27FC236}">
                  <a16:creationId xmlns:a16="http://schemas.microsoft.com/office/drawing/2014/main" id="{2931019F-BE1B-471D-8C8D-A489234277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196435" y="6736524"/>
              <a:ext cx="63451" cy="92156"/>
            </a:xfrm>
            <a:custGeom>
              <a:avLst/>
              <a:gdLst>
                <a:gd name="T0" fmla="*/ 18 w 18"/>
                <a:gd name="T1" fmla="*/ 13 h 26"/>
                <a:gd name="T2" fmla="*/ 9 w 18"/>
                <a:gd name="T3" fmla="*/ 26 h 26"/>
                <a:gd name="T4" fmla="*/ 0 w 18"/>
                <a:gd name="T5" fmla="*/ 13 h 26"/>
                <a:gd name="T6" fmla="*/ 9 w 18"/>
                <a:gd name="T7" fmla="*/ 0 h 26"/>
                <a:gd name="T8" fmla="*/ 18 w 18"/>
                <a:gd name="T9" fmla="*/ 13 h 26"/>
                <a:gd name="T10" fmla="*/ 5 w 18"/>
                <a:gd name="T11" fmla="*/ 13 h 26"/>
                <a:gd name="T12" fmla="*/ 9 w 18"/>
                <a:gd name="T13" fmla="*/ 22 h 26"/>
                <a:gd name="T14" fmla="*/ 13 w 18"/>
                <a:gd name="T15" fmla="*/ 13 h 26"/>
                <a:gd name="T16" fmla="*/ 9 w 18"/>
                <a:gd name="T17" fmla="*/ 4 h 26"/>
                <a:gd name="T18" fmla="*/ 5 w 18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6">
                  <a:moveTo>
                    <a:pt x="18" y="13"/>
                  </a:moveTo>
                  <a:cubicBezTo>
                    <a:pt x="18" y="22"/>
                    <a:pt x="15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5" y="0"/>
                    <a:pt x="18" y="4"/>
                    <a:pt x="18" y="13"/>
                  </a:cubicBezTo>
                  <a:close/>
                  <a:moveTo>
                    <a:pt x="5" y="13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7"/>
                    <a:pt x="12" y="4"/>
                    <a:pt x="9" y="4"/>
                  </a:cubicBezTo>
                  <a:cubicBezTo>
                    <a:pt x="6" y="4"/>
                    <a:pt x="5" y="7"/>
                    <a:pt x="5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23" name="Freeform 47">
              <a:extLst>
                <a:ext uri="{FF2B5EF4-FFF2-40B4-BE49-F238E27FC236}">
                  <a16:creationId xmlns:a16="http://schemas.microsoft.com/office/drawing/2014/main" id="{B31D4525-6656-43B1-84C5-FDA573E58A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196435" y="6890620"/>
              <a:ext cx="63451" cy="89134"/>
            </a:xfrm>
            <a:custGeom>
              <a:avLst/>
              <a:gdLst>
                <a:gd name="T0" fmla="*/ 18 w 18"/>
                <a:gd name="T1" fmla="*/ 13 h 25"/>
                <a:gd name="T2" fmla="*/ 9 w 18"/>
                <a:gd name="T3" fmla="*/ 25 h 25"/>
                <a:gd name="T4" fmla="*/ 0 w 18"/>
                <a:gd name="T5" fmla="*/ 12 h 25"/>
                <a:gd name="T6" fmla="*/ 9 w 18"/>
                <a:gd name="T7" fmla="*/ 0 h 25"/>
                <a:gd name="T8" fmla="*/ 18 w 18"/>
                <a:gd name="T9" fmla="*/ 13 h 25"/>
                <a:gd name="T10" fmla="*/ 5 w 18"/>
                <a:gd name="T11" fmla="*/ 12 h 25"/>
                <a:gd name="T12" fmla="*/ 9 w 18"/>
                <a:gd name="T13" fmla="*/ 22 h 25"/>
                <a:gd name="T14" fmla="*/ 13 w 18"/>
                <a:gd name="T15" fmla="*/ 13 h 25"/>
                <a:gd name="T16" fmla="*/ 9 w 18"/>
                <a:gd name="T17" fmla="*/ 3 h 25"/>
                <a:gd name="T18" fmla="*/ 5 w 18"/>
                <a:gd name="T1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5">
                  <a:moveTo>
                    <a:pt x="18" y="13"/>
                  </a:moveTo>
                  <a:cubicBezTo>
                    <a:pt x="18" y="21"/>
                    <a:pt x="15" y="25"/>
                    <a:pt x="9" y="25"/>
                  </a:cubicBezTo>
                  <a:cubicBezTo>
                    <a:pt x="3" y="25"/>
                    <a:pt x="0" y="21"/>
                    <a:pt x="0" y="12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5" y="0"/>
                    <a:pt x="18" y="4"/>
                    <a:pt x="18" y="13"/>
                  </a:cubicBezTo>
                  <a:close/>
                  <a:moveTo>
                    <a:pt x="5" y="12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6"/>
                    <a:pt x="12" y="3"/>
                    <a:pt x="9" y="3"/>
                  </a:cubicBezTo>
                  <a:cubicBezTo>
                    <a:pt x="6" y="3"/>
                    <a:pt x="5" y="6"/>
                    <a:pt x="5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24" name="Freeform 63">
              <a:extLst>
                <a:ext uri="{FF2B5EF4-FFF2-40B4-BE49-F238E27FC236}">
                  <a16:creationId xmlns:a16="http://schemas.microsoft.com/office/drawing/2014/main" id="{CE73B87D-D03E-460F-AA40-65470FC0E6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69019" y="6126184"/>
              <a:ext cx="60430" cy="93666"/>
            </a:xfrm>
            <a:custGeom>
              <a:avLst/>
              <a:gdLst>
                <a:gd name="T0" fmla="*/ 17 w 17"/>
                <a:gd name="T1" fmla="*/ 13 h 26"/>
                <a:gd name="T2" fmla="*/ 9 w 17"/>
                <a:gd name="T3" fmla="*/ 26 h 26"/>
                <a:gd name="T4" fmla="*/ 0 w 17"/>
                <a:gd name="T5" fmla="*/ 13 h 26"/>
                <a:gd name="T6" fmla="*/ 9 w 17"/>
                <a:gd name="T7" fmla="*/ 0 h 26"/>
                <a:gd name="T8" fmla="*/ 17 w 17"/>
                <a:gd name="T9" fmla="*/ 13 h 26"/>
                <a:gd name="T10" fmla="*/ 4 w 17"/>
                <a:gd name="T11" fmla="*/ 13 h 26"/>
                <a:gd name="T12" fmla="*/ 9 w 17"/>
                <a:gd name="T13" fmla="*/ 22 h 26"/>
                <a:gd name="T14" fmla="*/ 13 w 17"/>
                <a:gd name="T15" fmla="*/ 13 h 26"/>
                <a:gd name="T16" fmla="*/ 9 w 17"/>
                <a:gd name="T17" fmla="*/ 4 h 26"/>
                <a:gd name="T18" fmla="*/ 4 w 17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6">
                  <a:moveTo>
                    <a:pt x="17" y="13"/>
                  </a:moveTo>
                  <a:cubicBezTo>
                    <a:pt x="17" y="22"/>
                    <a:pt x="14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5"/>
                    <a:pt x="3" y="0"/>
                    <a:pt x="9" y="0"/>
                  </a:cubicBezTo>
                  <a:cubicBezTo>
                    <a:pt x="14" y="0"/>
                    <a:pt x="17" y="5"/>
                    <a:pt x="17" y="13"/>
                  </a:cubicBezTo>
                  <a:close/>
                  <a:moveTo>
                    <a:pt x="4" y="13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7"/>
                    <a:pt x="11" y="4"/>
                    <a:pt x="9" y="4"/>
                  </a:cubicBezTo>
                  <a:cubicBezTo>
                    <a:pt x="6" y="4"/>
                    <a:pt x="4" y="7"/>
                    <a:pt x="4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25" name="Freeform 64">
              <a:extLst>
                <a:ext uri="{FF2B5EF4-FFF2-40B4-BE49-F238E27FC236}">
                  <a16:creationId xmlns:a16="http://schemas.microsoft.com/office/drawing/2014/main" id="{BA43EAC1-8BF5-4245-B939-23217C67D6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69019" y="6280280"/>
              <a:ext cx="60430" cy="92156"/>
            </a:xfrm>
            <a:custGeom>
              <a:avLst/>
              <a:gdLst>
                <a:gd name="T0" fmla="*/ 17 w 17"/>
                <a:gd name="T1" fmla="*/ 13 h 26"/>
                <a:gd name="T2" fmla="*/ 9 w 17"/>
                <a:gd name="T3" fmla="*/ 26 h 26"/>
                <a:gd name="T4" fmla="*/ 0 w 17"/>
                <a:gd name="T5" fmla="*/ 13 h 26"/>
                <a:gd name="T6" fmla="*/ 9 w 17"/>
                <a:gd name="T7" fmla="*/ 0 h 26"/>
                <a:gd name="T8" fmla="*/ 17 w 17"/>
                <a:gd name="T9" fmla="*/ 13 h 26"/>
                <a:gd name="T10" fmla="*/ 4 w 17"/>
                <a:gd name="T11" fmla="*/ 13 h 26"/>
                <a:gd name="T12" fmla="*/ 9 w 17"/>
                <a:gd name="T13" fmla="*/ 22 h 26"/>
                <a:gd name="T14" fmla="*/ 13 w 17"/>
                <a:gd name="T15" fmla="*/ 13 h 26"/>
                <a:gd name="T16" fmla="*/ 9 w 17"/>
                <a:gd name="T17" fmla="*/ 4 h 26"/>
                <a:gd name="T18" fmla="*/ 4 w 17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6">
                  <a:moveTo>
                    <a:pt x="17" y="13"/>
                  </a:moveTo>
                  <a:cubicBezTo>
                    <a:pt x="17" y="21"/>
                    <a:pt x="14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4" y="0"/>
                    <a:pt x="17" y="4"/>
                    <a:pt x="17" y="13"/>
                  </a:cubicBezTo>
                  <a:close/>
                  <a:moveTo>
                    <a:pt x="4" y="13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7"/>
                    <a:pt x="11" y="4"/>
                    <a:pt x="9" y="4"/>
                  </a:cubicBezTo>
                  <a:cubicBezTo>
                    <a:pt x="6" y="4"/>
                    <a:pt x="4" y="7"/>
                    <a:pt x="4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26" name="Freeform 65">
              <a:extLst>
                <a:ext uri="{FF2B5EF4-FFF2-40B4-BE49-F238E27FC236}">
                  <a16:creationId xmlns:a16="http://schemas.microsoft.com/office/drawing/2014/main" id="{EE537CCF-04C0-4F72-8B93-05F8FD676D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75062" y="6586960"/>
              <a:ext cx="49855" cy="89134"/>
            </a:xfrm>
            <a:custGeom>
              <a:avLst/>
              <a:gdLst>
                <a:gd name="T0" fmla="*/ 16 w 33"/>
                <a:gd name="T1" fmla="*/ 12 h 59"/>
                <a:gd name="T2" fmla="*/ 4 w 33"/>
                <a:gd name="T3" fmla="*/ 19 h 59"/>
                <a:gd name="T4" fmla="*/ 0 w 33"/>
                <a:gd name="T5" fmla="*/ 9 h 59"/>
                <a:gd name="T6" fmla="*/ 16 w 33"/>
                <a:gd name="T7" fmla="*/ 0 h 59"/>
                <a:gd name="T8" fmla="*/ 26 w 33"/>
                <a:gd name="T9" fmla="*/ 0 h 59"/>
                <a:gd name="T10" fmla="*/ 26 w 33"/>
                <a:gd name="T11" fmla="*/ 49 h 59"/>
                <a:gd name="T12" fmla="*/ 33 w 33"/>
                <a:gd name="T13" fmla="*/ 49 h 59"/>
                <a:gd name="T14" fmla="*/ 33 w 33"/>
                <a:gd name="T15" fmla="*/ 59 h 59"/>
                <a:gd name="T16" fmla="*/ 7 w 33"/>
                <a:gd name="T17" fmla="*/ 59 h 59"/>
                <a:gd name="T18" fmla="*/ 7 w 33"/>
                <a:gd name="T19" fmla="*/ 49 h 59"/>
                <a:gd name="T20" fmla="*/ 16 w 33"/>
                <a:gd name="T21" fmla="*/ 49 h 59"/>
                <a:gd name="T22" fmla="*/ 16 w 33"/>
                <a:gd name="T23" fmla="*/ 1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9">
                  <a:moveTo>
                    <a:pt x="16" y="12"/>
                  </a:moveTo>
                  <a:lnTo>
                    <a:pt x="4" y="19"/>
                  </a:lnTo>
                  <a:lnTo>
                    <a:pt x="0" y="9"/>
                  </a:lnTo>
                  <a:lnTo>
                    <a:pt x="16" y="0"/>
                  </a:lnTo>
                  <a:lnTo>
                    <a:pt x="26" y="0"/>
                  </a:lnTo>
                  <a:lnTo>
                    <a:pt x="26" y="49"/>
                  </a:lnTo>
                  <a:lnTo>
                    <a:pt x="33" y="49"/>
                  </a:lnTo>
                  <a:lnTo>
                    <a:pt x="33" y="59"/>
                  </a:lnTo>
                  <a:lnTo>
                    <a:pt x="7" y="59"/>
                  </a:lnTo>
                  <a:lnTo>
                    <a:pt x="7" y="49"/>
                  </a:lnTo>
                  <a:lnTo>
                    <a:pt x="16" y="49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27" name="Freeform 66">
              <a:extLst>
                <a:ext uri="{FF2B5EF4-FFF2-40B4-BE49-F238E27FC236}">
                  <a16:creationId xmlns:a16="http://schemas.microsoft.com/office/drawing/2014/main" id="{48F1280B-F775-44B2-8C4C-1EE5AC26F0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69019" y="6736524"/>
              <a:ext cx="60430" cy="92156"/>
            </a:xfrm>
            <a:custGeom>
              <a:avLst/>
              <a:gdLst>
                <a:gd name="T0" fmla="*/ 17 w 17"/>
                <a:gd name="T1" fmla="*/ 13 h 26"/>
                <a:gd name="T2" fmla="*/ 9 w 17"/>
                <a:gd name="T3" fmla="*/ 26 h 26"/>
                <a:gd name="T4" fmla="*/ 0 w 17"/>
                <a:gd name="T5" fmla="*/ 13 h 26"/>
                <a:gd name="T6" fmla="*/ 9 w 17"/>
                <a:gd name="T7" fmla="*/ 0 h 26"/>
                <a:gd name="T8" fmla="*/ 17 w 17"/>
                <a:gd name="T9" fmla="*/ 13 h 26"/>
                <a:gd name="T10" fmla="*/ 4 w 17"/>
                <a:gd name="T11" fmla="*/ 13 h 26"/>
                <a:gd name="T12" fmla="*/ 9 w 17"/>
                <a:gd name="T13" fmla="*/ 22 h 26"/>
                <a:gd name="T14" fmla="*/ 13 w 17"/>
                <a:gd name="T15" fmla="*/ 13 h 26"/>
                <a:gd name="T16" fmla="*/ 9 w 17"/>
                <a:gd name="T17" fmla="*/ 4 h 26"/>
                <a:gd name="T18" fmla="*/ 4 w 17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6">
                  <a:moveTo>
                    <a:pt x="17" y="13"/>
                  </a:moveTo>
                  <a:cubicBezTo>
                    <a:pt x="17" y="22"/>
                    <a:pt x="14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4" y="0"/>
                    <a:pt x="17" y="4"/>
                    <a:pt x="17" y="13"/>
                  </a:cubicBezTo>
                  <a:close/>
                  <a:moveTo>
                    <a:pt x="4" y="13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7"/>
                    <a:pt x="11" y="4"/>
                    <a:pt x="9" y="4"/>
                  </a:cubicBezTo>
                  <a:cubicBezTo>
                    <a:pt x="6" y="4"/>
                    <a:pt x="4" y="7"/>
                    <a:pt x="4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28" name="Freeform 67">
              <a:extLst>
                <a:ext uri="{FF2B5EF4-FFF2-40B4-BE49-F238E27FC236}">
                  <a16:creationId xmlns:a16="http://schemas.microsoft.com/office/drawing/2014/main" id="{57213917-CE68-4563-B591-257F9FD7FF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69019" y="6890620"/>
              <a:ext cx="60430" cy="89134"/>
            </a:xfrm>
            <a:custGeom>
              <a:avLst/>
              <a:gdLst>
                <a:gd name="T0" fmla="*/ 17 w 17"/>
                <a:gd name="T1" fmla="*/ 13 h 25"/>
                <a:gd name="T2" fmla="*/ 9 w 17"/>
                <a:gd name="T3" fmla="*/ 25 h 25"/>
                <a:gd name="T4" fmla="*/ 0 w 17"/>
                <a:gd name="T5" fmla="*/ 12 h 25"/>
                <a:gd name="T6" fmla="*/ 9 w 17"/>
                <a:gd name="T7" fmla="*/ 0 h 25"/>
                <a:gd name="T8" fmla="*/ 17 w 17"/>
                <a:gd name="T9" fmla="*/ 13 h 25"/>
                <a:gd name="T10" fmla="*/ 4 w 17"/>
                <a:gd name="T11" fmla="*/ 12 h 25"/>
                <a:gd name="T12" fmla="*/ 9 w 17"/>
                <a:gd name="T13" fmla="*/ 22 h 25"/>
                <a:gd name="T14" fmla="*/ 13 w 17"/>
                <a:gd name="T15" fmla="*/ 13 h 25"/>
                <a:gd name="T16" fmla="*/ 9 w 17"/>
                <a:gd name="T17" fmla="*/ 3 h 25"/>
                <a:gd name="T18" fmla="*/ 4 w 17"/>
                <a:gd name="T1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5">
                  <a:moveTo>
                    <a:pt x="17" y="13"/>
                  </a:moveTo>
                  <a:cubicBezTo>
                    <a:pt x="17" y="21"/>
                    <a:pt x="14" y="25"/>
                    <a:pt x="9" y="25"/>
                  </a:cubicBezTo>
                  <a:cubicBezTo>
                    <a:pt x="3" y="25"/>
                    <a:pt x="0" y="21"/>
                    <a:pt x="0" y="12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4" y="0"/>
                    <a:pt x="17" y="4"/>
                    <a:pt x="17" y="13"/>
                  </a:cubicBezTo>
                  <a:close/>
                  <a:moveTo>
                    <a:pt x="4" y="12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6"/>
                    <a:pt x="11" y="3"/>
                    <a:pt x="9" y="3"/>
                  </a:cubicBezTo>
                  <a:cubicBezTo>
                    <a:pt x="6" y="3"/>
                    <a:pt x="4" y="6"/>
                    <a:pt x="4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29" name="Freeform 83">
              <a:extLst>
                <a:ext uri="{FF2B5EF4-FFF2-40B4-BE49-F238E27FC236}">
                  <a16:creationId xmlns:a16="http://schemas.microsoft.com/office/drawing/2014/main" id="{49323BC2-E9C6-4FEF-9CBF-A481ECF4FB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93593" y="6133738"/>
              <a:ext cx="92156" cy="157117"/>
            </a:xfrm>
            <a:custGeom>
              <a:avLst/>
              <a:gdLst>
                <a:gd name="T0" fmla="*/ 31 w 61"/>
                <a:gd name="T1" fmla="*/ 19 h 104"/>
                <a:gd name="T2" fmla="*/ 10 w 61"/>
                <a:gd name="T3" fmla="*/ 33 h 104"/>
                <a:gd name="T4" fmla="*/ 0 w 61"/>
                <a:gd name="T5" fmla="*/ 19 h 104"/>
                <a:gd name="T6" fmla="*/ 31 w 61"/>
                <a:gd name="T7" fmla="*/ 0 h 104"/>
                <a:gd name="T8" fmla="*/ 47 w 61"/>
                <a:gd name="T9" fmla="*/ 0 h 104"/>
                <a:gd name="T10" fmla="*/ 47 w 61"/>
                <a:gd name="T11" fmla="*/ 90 h 104"/>
                <a:gd name="T12" fmla="*/ 61 w 61"/>
                <a:gd name="T13" fmla="*/ 90 h 104"/>
                <a:gd name="T14" fmla="*/ 61 w 61"/>
                <a:gd name="T15" fmla="*/ 104 h 104"/>
                <a:gd name="T16" fmla="*/ 17 w 61"/>
                <a:gd name="T17" fmla="*/ 104 h 104"/>
                <a:gd name="T18" fmla="*/ 17 w 61"/>
                <a:gd name="T19" fmla="*/ 90 h 104"/>
                <a:gd name="T20" fmla="*/ 31 w 61"/>
                <a:gd name="T21" fmla="*/ 90 h 104"/>
                <a:gd name="T22" fmla="*/ 31 w 61"/>
                <a:gd name="T23" fmla="*/ 19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4">
                  <a:moveTo>
                    <a:pt x="31" y="19"/>
                  </a:moveTo>
                  <a:lnTo>
                    <a:pt x="10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0"/>
                  </a:lnTo>
                  <a:lnTo>
                    <a:pt x="61" y="90"/>
                  </a:lnTo>
                  <a:lnTo>
                    <a:pt x="61" y="104"/>
                  </a:lnTo>
                  <a:lnTo>
                    <a:pt x="17" y="104"/>
                  </a:lnTo>
                  <a:lnTo>
                    <a:pt x="17" y="90"/>
                  </a:lnTo>
                  <a:lnTo>
                    <a:pt x="31" y="90"/>
                  </a:lnTo>
                  <a:lnTo>
                    <a:pt x="31" y="19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30" name="Freeform 84">
              <a:extLst>
                <a:ext uri="{FF2B5EF4-FFF2-40B4-BE49-F238E27FC236}">
                  <a16:creationId xmlns:a16="http://schemas.microsoft.com/office/drawing/2014/main" id="{800EB319-80A2-4DD5-9E3E-05C21594FF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78486" y="6401139"/>
              <a:ext cx="110285" cy="164671"/>
            </a:xfrm>
            <a:custGeom>
              <a:avLst/>
              <a:gdLst>
                <a:gd name="T0" fmla="*/ 31 w 31"/>
                <a:gd name="T1" fmla="*/ 23 h 46"/>
                <a:gd name="T2" fmla="*/ 15 w 31"/>
                <a:gd name="T3" fmla="*/ 46 h 46"/>
                <a:gd name="T4" fmla="*/ 0 w 31"/>
                <a:gd name="T5" fmla="*/ 23 h 46"/>
                <a:gd name="T6" fmla="*/ 15 w 31"/>
                <a:gd name="T7" fmla="*/ 0 h 46"/>
                <a:gd name="T8" fmla="*/ 31 w 31"/>
                <a:gd name="T9" fmla="*/ 23 h 46"/>
                <a:gd name="T10" fmla="*/ 8 w 31"/>
                <a:gd name="T11" fmla="*/ 23 h 46"/>
                <a:gd name="T12" fmla="*/ 15 w 31"/>
                <a:gd name="T13" fmla="*/ 39 h 46"/>
                <a:gd name="T14" fmla="*/ 23 w 31"/>
                <a:gd name="T15" fmla="*/ 23 h 46"/>
                <a:gd name="T16" fmla="*/ 15 w 31"/>
                <a:gd name="T17" fmla="*/ 7 h 46"/>
                <a:gd name="T18" fmla="*/ 8 w 31"/>
                <a:gd name="T19" fmla="*/ 2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46">
                  <a:moveTo>
                    <a:pt x="31" y="23"/>
                  </a:moveTo>
                  <a:cubicBezTo>
                    <a:pt x="31" y="38"/>
                    <a:pt x="26" y="46"/>
                    <a:pt x="15" y="46"/>
                  </a:cubicBezTo>
                  <a:cubicBezTo>
                    <a:pt x="5" y="46"/>
                    <a:pt x="0" y="38"/>
                    <a:pt x="0" y="23"/>
                  </a:cubicBezTo>
                  <a:cubicBezTo>
                    <a:pt x="0" y="8"/>
                    <a:pt x="5" y="0"/>
                    <a:pt x="15" y="0"/>
                  </a:cubicBezTo>
                  <a:cubicBezTo>
                    <a:pt x="26" y="0"/>
                    <a:pt x="31" y="8"/>
                    <a:pt x="31" y="23"/>
                  </a:cubicBezTo>
                  <a:close/>
                  <a:moveTo>
                    <a:pt x="8" y="23"/>
                  </a:moveTo>
                  <a:cubicBezTo>
                    <a:pt x="8" y="34"/>
                    <a:pt x="10" y="39"/>
                    <a:pt x="15" y="39"/>
                  </a:cubicBezTo>
                  <a:cubicBezTo>
                    <a:pt x="20" y="39"/>
                    <a:pt x="23" y="34"/>
                    <a:pt x="23" y="23"/>
                  </a:cubicBezTo>
                  <a:cubicBezTo>
                    <a:pt x="23" y="12"/>
                    <a:pt x="20" y="7"/>
                    <a:pt x="15" y="7"/>
                  </a:cubicBezTo>
                  <a:cubicBezTo>
                    <a:pt x="10" y="7"/>
                    <a:pt x="8" y="12"/>
                    <a:pt x="8" y="2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31" name="Freeform 85">
              <a:extLst>
                <a:ext uri="{FF2B5EF4-FFF2-40B4-BE49-F238E27FC236}">
                  <a16:creationId xmlns:a16="http://schemas.microsoft.com/office/drawing/2014/main" id="{6791615D-D5BA-4A97-B1E8-0B66768299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78486" y="6673073"/>
              <a:ext cx="110285" cy="160139"/>
            </a:xfrm>
            <a:custGeom>
              <a:avLst/>
              <a:gdLst>
                <a:gd name="T0" fmla="*/ 31 w 31"/>
                <a:gd name="T1" fmla="*/ 23 h 45"/>
                <a:gd name="T2" fmla="*/ 15 w 31"/>
                <a:gd name="T3" fmla="*/ 45 h 45"/>
                <a:gd name="T4" fmla="*/ 0 w 31"/>
                <a:gd name="T5" fmla="*/ 23 h 45"/>
                <a:gd name="T6" fmla="*/ 15 w 31"/>
                <a:gd name="T7" fmla="*/ 0 h 45"/>
                <a:gd name="T8" fmla="*/ 31 w 31"/>
                <a:gd name="T9" fmla="*/ 23 h 45"/>
                <a:gd name="T10" fmla="*/ 8 w 31"/>
                <a:gd name="T11" fmla="*/ 23 h 45"/>
                <a:gd name="T12" fmla="*/ 15 w 31"/>
                <a:gd name="T13" fmla="*/ 39 h 45"/>
                <a:gd name="T14" fmla="*/ 23 w 31"/>
                <a:gd name="T15" fmla="*/ 23 h 45"/>
                <a:gd name="T16" fmla="*/ 15 w 31"/>
                <a:gd name="T17" fmla="*/ 6 h 45"/>
                <a:gd name="T18" fmla="*/ 8 w 31"/>
                <a:gd name="T19" fmla="*/ 2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45">
                  <a:moveTo>
                    <a:pt x="31" y="23"/>
                  </a:moveTo>
                  <a:cubicBezTo>
                    <a:pt x="31" y="38"/>
                    <a:pt x="26" y="45"/>
                    <a:pt x="15" y="45"/>
                  </a:cubicBezTo>
                  <a:cubicBezTo>
                    <a:pt x="5" y="45"/>
                    <a:pt x="0" y="38"/>
                    <a:pt x="0" y="23"/>
                  </a:cubicBezTo>
                  <a:cubicBezTo>
                    <a:pt x="0" y="8"/>
                    <a:pt x="5" y="0"/>
                    <a:pt x="15" y="0"/>
                  </a:cubicBezTo>
                  <a:cubicBezTo>
                    <a:pt x="26" y="0"/>
                    <a:pt x="31" y="8"/>
                    <a:pt x="31" y="23"/>
                  </a:cubicBezTo>
                  <a:close/>
                  <a:moveTo>
                    <a:pt x="8" y="23"/>
                  </a:moveTo>
                  <a:cubicBezTo>
                    <a:pt x="8" y="34"/>
                    <a:pt x="10" y="39"/>
                    <a:pt x="15" y="39"/>
                  </a:cubicBezTo>
                  <a:cubicBezTo>
                    <a:pt x="20" y="39"/>
                    <a:pt x="23" y="34"/>
                    <a:pt x="23" y="23"/>
                  </a:cubicBezTo>
                  <a:cubicBezTo>
                    <a:pt x="23" y="12"/>
                    <a:pt x="20" y="6"/>
                    <a:pt x="15" y="6"/>
                  </a:cubicBezTo>
                  <a:cubicBezTo>
                    <a:pt x="10" y="6"/>
                    <a:pt x="8" y="12"/>
                    <a:pt x="8" y="2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32" name="Freeform 95">
              <a:extLst>
                <a:ext uri="{FF2B5EF4-FFF2-40B4-BE49-F238E27FC236}">
                  <a16:creationId xmlns:a16="http://schemas.microsoft.com/office/drawing/2014/main" id="{9CDB66C7-724A-468B-AE6F-A44CB1AE1C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60939" y="5248443"/>
              <a:ext cx="52876" cy="86113"/>
            </a:xfrm>
            <a:custGeom>
              <a:avLst/>
              <a:gdLst>
                <a:gd name="T0" fmla="*/ 16 w 35"/>
                <a:gd name="T1" fmla="*/ 14 h 57"/>
                <a:gd name="T2" fmla="*/ 7 w 35"/>
                <a:gd name="T3" fmla="*/ 21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7 h 57"/>
                <a:gd name="T12" fmla="*/ 35 w 35"/>
                <a:gd name="T13" fmla="*/ 47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7 h 57"/>
                <a:gd name="T20" fmla="*/ 16 w 35"/>
                <a:gd name="T21" fmla="*/ 47 h 57"/>
                <a:gd name="T22" fmla="*/ 16 w 35"/>
                <a:gd name="T23" fmla="*/ 1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4"/>
                  </a:moveTo>
                  <a:lnTo>
                    <a:pt x="7" y="21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33" name="Freeform 96">
              <a:extLst>
                <a:ext uri="{FF2B5EF4-FFF2-40B4-BE49-F238E27FC236}">
                  <a16:creationId xmlns:a16="http://schemas.microsoft.com/office/drawing/2014/main" id="{6F2C29BB-3969-4F57-B36F-6C6DA6980E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50363" y="5394985"/>
              <a:ext cx="67984" cy="86113"/>
            </a:xfrm>
            <a:custGeom>
              <a:avLst/>
              <a:gdLst>
                <a:gd name="T0" fmla="*/ 17 w 19"/>
                <a:gd name="T1" fmla="*/ 4 h 24"/>
                <a:gd name="T2" fmla="*/ 19 w 19"/>
                <a:gd name="T3" fmla="*/ 12 h 24"/>
                <a:gd name="T4" fmla="*/ 17 w 19"/>
                <a:gd name="T5" fmla="*/ 21 h 24"/>
                <a:gd name="T6" fmla="*/ 10 w 19"/>
                <a:gd name="T7" fmla="*/ 24 h 24"/>
                <a:gd name="T8" fmla="*/ 2 w 19"/>
                <a:gd name="T9" fmla="*/ 20 h 24"/>
                <a:gd name="T10" fmla="*/ 0 w 19"/>
                <a:gd name="T11" fmla="*/ 12 h 24"/>
                <a:gd name="T12" fmla="*/ 10 w 19"/>
                <a:gd name="T13" fmla="*/ 0 h 24"/>
                <a:gd name="T14" fmla="*/ 17 w 19"/>
                <a:gd name="T15" fmla="*/ 4 h 24"/>
                <a:gd name="T16" fmla="*/ 6 w 19"/>
                <a:gd name="T17" fmla="*/ 12 h 24"/>
                <a:gd name="T18" fmla="*/ 10 w 19"/>
                <a:gd name="T19" fmla="*/ 20 h 24"/>
                <a:gd name="T20" fmla="*/ 14 w 19"/>
                <a:gd name="T21" fmla="*/ 12 h 24"/>
                <a:gd name="T22" fmla="*/ 10 w 19"/>
                <a:gd name="T23" fmla="*/ 4 h 24"/>
                <a:gd name="T24" fmla="*/ 6 w 19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4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6"/>
                    <a:pt x="18" y="19"/>
                    <a:pt x="17" y="21"/>
                  </a:cubicBezTo>
                  <a:cubicBezTo>
                    <a:pt x="15" y="23"/>
                    <a:pt x="13" y="24"/>
                    <a:pt x="10" y="24"/>
                  </a:cubicBezTo>
                  <a:cubicBezTo>
                    <a:pt x="6" y="24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1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34" name="Freeform 97">
              <a:extLst>
                <a:ext uri="{FF2B5EF4-FFF2-40B4-BE49-F238E27FC236}">
                  <a16:creationId xmlns:a16="http://schemas.microsoft.com/office/drawing/2014/main" id="{77FE925A-DFB9-47AD-AE81-13C6509BC5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60939" y="5541527"/>
              <a:ext cx="52876" cy="84602"/>
            </a:xfrm>
            <a:custGeom>
              <a:avLst/>
              <a:gdLst>
                <a:gd name="T0" fmla="*/ 16 w 35"/>
                <a:gd name="T1" fmla="*/ 14 h 56"/>
                <a:gd name="T2" fmla="*/ 7 w 35"/>
                <a:gd name="T3" fmla="*/ 21 h 56"/>
                <a:gd name="T4" fmla="*/ 0 w 35"/>
                <a:gd name="T5" fmla="*/ 11 h 56"/>
                <a:gd name="T6" fmla="*/ 19 w 35"/>
                <a:gd name="T7" fmla="*/ 0 h 56"/>
                <a:gd name="T8" fmla="*/ 28 w 35"/>
                <a:gd name="T9" fmla="*/ 0 h 56"/>
                <a:gd name="T10" fmla="*/ 28 w 35"/>
                <a:gd name="T11" fmla="*/ 47 h 56"/>
                <a:gd name="T12" fmla="*/ 35 w 35"/>
                <a:gd name="T13" fmla="*/ 47 h 56"/>
                <a:gd name="T14" fmla="*/ 35 w 35"/>
                <a:gd name="T15" fmla="*/ 56 h 56"/>
                <a:gd name="T16" fmla="*/ 9 w 35"/>
                <a:gd name="T17" fmla="*/ 56 h 56"/>
                <a:gd name="T18" fmla="*/ 9 w 35"/>
                <a:gd name="T19" fmla="*/ 47 h 56"/>
                <a:gd name="T20" fmla="*/ 16 w 35"/>
                <a:gd name="T21" fmla="*/ 47 h 56"/>
                <a:gd name="T22" fmla="*/ 16 w 35"/>
                <a:gd name="T23" fmla="*/ 1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6">
                  <a:moveTo>
                    <a:pt x="16" y="14"/>
                  </a:moveTo>
                  <a:lnTo>
                    <a:pt x="7" y="21"/>
                  </a:lnTo>
                  <a:lnTo>
                    <a:pt x="0" y="11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6"/>
                  </a:lnTo>
                  <a:lnTo>
                    <a:pt x="9" y="56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35" name="Freeform 98">
              <a:extLst>
                <a:ext uri="{FF2B5EF4-FFF2-40B4-BE49-F238E27FC236}">
                  <a16:creationId xmlns:a16="http://schemas.microsoft.com/office/drawing/2014/main" id="{6F175D22-A47D-40C1-9F0E-EFEA237A07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50363" y="5688069"/>
              <a:ext cx="67984" cy="84602"/>
            </a:xfrm>
            <a:custGeom>
              <a:avLst/>
              <a:gdLst>
                <a:gd name="T0" fmla="*/ 17 w 19"/>
                <a:gd name="T1" fmla="*/ 4 h 24"/>
                <a:gd name="T2" fmla="*/ 19 w 19"/>
                <a:gd name="T3" fmla="*/ 12 h 24"/>
                <a:gd name="T4" fmla="*/ 17 w 19"/>
                <a:gd name="T5" fmla="*/ 21 h 24"/>
                <a:gd name="T6" fmla="*/ 10 w 19"/>
                <a:gd name="T7" fmla="*/ 24 h 24"/>
                <a:gd name="T8" fmla="*/ 2 w 19"/>
                <a:gd name="T9" fmla="*/ 20 h 24"/>
                <a:gd name="T10" fmla="*/ 0 w 19"/>
                <a:gd name="T11" fmla="*/ 12 h 24"/>
                <a:gd name="T12" fmla="*/ 10 w 19"/>
                <a:gd name="T13" fmla="*/ 0 h 24"/>
                <a:gd name="T14" fmla="*/ 17 w 19"/>
                <a:gd name="T15" fmla="*/ 4 h 24"/>
                <a:gd name="T16" fmla="*/ 6 w 19"/>
                <a:gd name="T17" fmla="*/ 12 h 24"/>
                <a:gd name="T18" fmla="*/ 10 w 19"/>
                <a:gd name="T19" fmla="*/ 20 h 24"/>
                <a:gd name="T20" fmla="*/ 14 w 19"/>
                <a:gd name="T21" fmla="*/ 12 h 24"/>
                <a:gd name="T22" fmla="*/ 10 w 19"/>
                <a:gd name="T23" fmla="*/ 4 h 24"/>
                <a:gd name="T24" fmla="*/ 6 w 19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4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6"/>
                    <a:pt x="18" y="19"/>
                    <a:pt x="17" y="21"/>
                  </a:cubicBezTo>
                  <a:cubicBezTo>
                    <a:pt x="15" y="23"/>
                    <a:pt x="13" y="24"/>
                    <a:pt x="10" y="24"/>
                  </a:cubicBezTo>
                  <a:cubicBezTo>
                    <a:pt x="6" y="24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1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36" name="Freeform 99">
              <a:extLst>
                <a:ext uri="{FF2B5EF4-FFF2-40B4-BE49-F238E27FC236}">
                  <a16:creationId xmlns:a16="http://schemas.microsoft.com/office/drawing/2014/main" id="{C7DC45E7-5056-4D4D-89CB-5C8D62C5A1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60939" y="5833100"/>
              <a:ext cx="52876" cy="86113"/>
            </a:xfrm>
            <a:custGeom>
              <a:avLst/>
              <a:gdLst>
                <a:gd name="T0" fmla="*/ 16 w 35"/>
                <a:gd name="T1" fmla="*/ 15 h 57"/>
                <a:gd name="T2" fmla="*/ 7 w 35"/>
                <a:gd name="T3" fmla="*/ 22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8 h 57"/>
                <a:gd name="T12" fmla="*/ 35 w 35"/>
                <a:gd name="T13" fmla="*/ 48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8 h 57"/>
                <a:gd name="T20" fmla="*/ 16 w 35"/>
                <a:gd name="T21" fmla="*/ 48 h 57"/>
                <a:gd name="T22" fmla="*/ 16 w 35"/>
                <a:gd name="T23" fmla="*/ 1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5"/>
                  </a:moveTo>
                  <a:lnTo>
                    <a:pt x="7" y="22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8"/>
                  </a:lnTo>
                  <a:lnTo>
                    <a:pt x="35" y="48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8"/>
                  </a:lnTo>
                  <a:lnTo>
                    <a:pt x="16" y="48"/>
                  </a:lnTo>
                  <a:lnTo>
                    <a:pt x="16" y="15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37" name="Freeform 100">
              <a:extLst>
                <a:ext uri="{FF2B5EF4-FFF2-40B4-BE49-F238E27FC236}">
                  <a16:creationId xmlns:a16="http://schemas.microsoft.com/office/drawing/2014/main" id="{45CFB164-A2BB-4DFA-8569-A4DE56D04D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50363" y="5979642"/>
              <a:ext cx="67984" cy="86113"/>
            </a:xfrm>
            <a:custGeom>
              <a:avLst/>
              <a:gdLst>
                <a:gd name="T0" fmla="*/ 17 w 19"/>
                <a:gd name="T1" fmla="*/ 4 h 24"/>
                <a:gd name="T2" fmla="*/ 19 w 19"/>
                <a:gd name="T3" fmla="*/ 12 h 24"/>
                <a:gd name="T4" fmla="*/ 17 w 19"/>
                <a:gd name="T5" fmla="*/ 21 h 24"/>
                <a:gd name="T6" fmla="*/ 10 w 19"/>
                <a:gd name="T7" fmla="*/ 24 h 24"/>
                <a:gd name="T8" fmla="*/ 2 w 19"/>
                <a:gd name="T9" fmla="*/ 20 h 24"/>
                <a:gd name="T10" fmla="*/ 0 w 19"/>
                <a:gd name="T11" fmla="*/ 12 h 24"/>
                <a:gd name="T12" fmla="*/ 10 w 19"/>
                <a:gd name="T13" fmla="*/ 0 h 24"/>
                <a:gd name="T14" fmla="*/ 17 w 19"/>
                <a:gd name="T15" fmla="*/ 4 h 24"/>
                <a:gd name="T16" fmla="*/ 6 w 19"/>
                <a:gd name="T17" fmla="*/ 12 h 24"/>
                <a:gd name="T18" fmla="*/ 10 w 19"/>
                <a:gd name="T19" fmla="*/ 20 h 24"/>
                <a:gd name="T20" fmla="*/ 14 w 19"/>
                <a:gd name="T21" fmla="*/ 12 h 24"/>
                <a:gd name="T22" fmla="*/ 10 w 19"/>
                <a:gd name="T23" fmla="*/ 4 h 24"/>
                <a:gd name="T24" fmla="*/ 6 w 19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4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6"/>
                    <a:pt x="18" y="19"/>
                    <a:pt x="17" y="21"/>
                  </a:cubicBezTo>
                  <a:cubicBezTo>
                    <a:pt x="15" y="23"/>
                    <a:pt x="13" y="24"/>
                    <a:pt x="10" y="24"/>
                  </a:cubicBezTo>
                  <a:cubicBezTo>
                    <a:pt x="6" y="24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1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38" name="Freeform 101">
              <a:extLst>
                <a:ext uri="{FF2B5EF4-FFF2-40B4-BE49-F238E27FC236}">
                  <a16:creationId xmlns:a16="http://schemas.microsoft.com/office/drawing/2014/main" id="{1EB70724-326B-4CF3-9E3A-466E2AF236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60939" y="6126184"/>
              <a:ext cx="52876" cy="86113"/>
            </a:xfrm>
            <a:custGeom>
              <a:avLst/>
              <a:gdLst>
                <a:gd name="T0" fmla="*/ 16 w 35"/>
                <a:gd name="T1" fmla="*/ 14 h 57"/>
                <a:gd name="T2" fmla="*/ 7 w 35"/>
                <a:gd name="T3" fmla="*/ 21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7 h 57"/>
                <a:gd name="T12" fmla="*/ 35 w 35"/>
                <a:gd name="T13" fmla="*/ 47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7 h 57"/>
                <a:gd name="T20" fmla="*/ 16 w 35"/>
                <a:gd name="T21" fmla="*/ 47 h 57"/>
                <a:gd name="T22" fmla="*/ 16 w 35"/>
                <a:gd name="T23" fmla="*/ 1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4"/>
                  </a:moveTo>
                  <a:lnTo>
                    <a:pt x="7" y="21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39" name="Freeform 102">
              <a:extLst>
                <a:ext uri="{FF2B5EF4-FFF2-40B4-BE49-F238E27FC236}">
                  <a16:creationId xmlns:a16="http://schemas.microsoft.com/office/drawing/2014/main" id="{5DCC015E-82CB-462F-99FD-5D101F8305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60939" y="6272726"/>
              <a:ext cx="52876" cy="86113"/>
            </a:xfrm>
            <a:custGeom>
              <a:avLst/>
              <a:gdLst>
                <a:gd name="T0" fmla="*/ 16 w 35"/>
                <a:gd name="T1" fmla="*/ 14 h 57"/>
                <a:gd name="T2" fmla="*/ 7 w 35"/>
                <a:gd name="T3" fmla="*/ 21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7 h 57"/>
                <a:gd name="T12" fmla="*/ 35 w 35"/>
                <a:gd name="T13" fmla="*/ 47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7 h 57"/>
                <a:gd name="T20" fmla="*/ 16 w 35"/>
                <a:gd name="T21" fmla="*/ 47 h 57"/>
                <a:gd name="T22" fmla="*/ 16 w 35"/>
                <a:gd name="T23" fmla="*/ 1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4"/>
                  </a:moveTo>
                  <a:lnTo>
                    <a:pt x="7" y="21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40" name="Freeform 103">
              <a:extLst>
                <a:ext uri="{FF2B5EF4-FFF2-40B4-BE49-F238E27FC236}">
                  <a16:creationId xmlns:a16="http://schemas.microsoft.com/office/drawing/2014/main" id="{FCB71D79-3FF5-467C-A07D-D13082721F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60939" y="6422290"/>
              <a:ext cx="52876" cy="83091"/>
            </a:xfrm>
            <a:custGeom>
              <a:avLst/>
              <a:gdLst>
                <a:gd name="T0" fmla="*/ 16 w 35"/>
                <a:gd name="T1" fmla="*/ 12 h 55"/>
                <a:gd name="T2" fmla="*/ 7 w 35"/>
                <a:gd name="T3" fmla="*/ 19 h 55"/>
                <a:gd name="T4" fmla="*/ 0 w 35"/>
                <a:gd name="T5" fmla="*/ 10 h 55"/>
                <a:gd name="T6" fmla="*/ 19 w 35"/>
                <a:gd name="T7" fmla="*/ 0 h 55"/>
                <a:gd name="T8" fmla="*/ 28 w 35"/>
                <a:gd name="T9" fmla="*/ 0 h 55"/>
                <a:gd name="T10" fmla="*/ 28 w 35"/>
                <a:gd name="T11" fmla="*/ 45 h 55"/>
                <a:gd name="T12" fmla="*/ 35 w 35"/>
                <a:gd name="T13" fmla="*/ 45 h 55"/>
                <a:gd name="T14" fmla="*/ 35 w 35"/>
                <a:gd name="T15" fmla="*/ 55 h 55"/>
                <a:gd name="T16" fmla="*/ 9 w 35"/>
                <a:gd name="T17" fmla="*/ 55 h 55"/>
                <a:gd name="T18" fmla="*/ 9 w 35"/>
                <a:gd name="T19" fmla="*/ 45 h 55"/>
                <a:gd name="T20" fmla="*/ 16 w 35"/>
                <a:gd name="T21" fmla="*/ 45 h 55"/>
                <a:gd name="T22" fmla="*/ 16 w 35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5">
                  <a:moveTo>
                    <a:pt x="16" y="12"/>
                  </a:moveTo>
                  <a:lnTo>
                    <a:pt x="7" y="19"/>
                  </a:lnTo>
                  <a:lnTo>
                    <a:pt x="0" y="10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5"/>
                  </a:lnTo>
                  <a:lnTo>
                    <a:pt x="35" y="45"/>
                  </a:lnTo>
                  <a:lnTo>
                    <a:pt x="35" y="55"/>
                  </a:lnTo>
                  <a:lnTo>
                    <a:pt x="9" y="55"/>
                  </a:lnTo>
                  <a:lnTo>
                    <a:pt x="9" y="45"/>
                  </a:lnTo>
                  <a:lnTo>
                    <a:pt x="16" y="45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41" name="Freeform 104">
              <a:extLst>
                <a:ext uri="{FF2B5EF4-FFF2-40B4-BE49-F238E27FC236}">
                  <a16:creationId xmlns:a16="http://schemas.microsoft.com/office/drawing/2014/main" id="{CD8A7093-A84E-4946-8244-5EEE54315B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50363" y="6565810"/>
              <a:ext cx="67984" cy="89134"/>
            </a:xfrm>
            <a:custGeom>
              <a:avLst/>
              <a:gdLst>
                <a:gd name="T0" fmla="*/ 17 w 19"/>
                <a:gd name="T1" fmla="*/ 4 h 25"/>
                <a:gd name="T2" fmla="*/ 19 w 19"/>
                <a:gd name="T3" fmla="*/ 12 h 25"/>
                <a:gd name="T4" fmla="*/ 17 w 19"/>
                <a:gd name="T5" fmla="*/ 21 h 25"/>
                <a:gd name="T6" fmla="*/ 10 w 19"/>
                <a:gd name="T7" fmla="*/ 25 h 25"/>
                <a:gd name="T8" fmla="*/ 2 w 19"/>
                <a:gd name="T9" fmla="*/ 20 h 25"/>
                <a:gd name="T10" fmla="*/ 0 w 19"/>
                <a:gd name="T11" fmla="*/ 12 h 25"/>
                <a:gd name="T12" fmla="*/ 10 w 19"/>
                <a:gd name="T13" fmla="*/ 0 h 25"/>
                <a:gd name="T14" fmla="*/ 17 w 19"/>
                <a:gd name="T15" fmla="*/ 4 h 25"/>
                <a:gd name="T16" fmla="*/ 6 w 19"/>
                <a:gd name="T17" fmla="*/ 12 h 25"/>
                <a:gd name="T18" fmla="*/ 10 w 19"/>
                <a:gd name="T19" fmla="*/ 20 h 25"/>
                <a:gd name="T20" fmla="*/ 14 w 19"/>
                <a:gd name="T21" fmla="*/ 12 h 25"/>
                <a:gd name="T22" fmla="*/ 10 w 19"/>
                <a:gd name="T23" fmla="*/ 4 h 25"/>
                <a:gd name="T24" fmla="*/ 6 w 19"/>
                <a:gd name="T25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5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7"/>
                    <a:pt x="18" y="19"/>
                    <a:pt x="17" y="21"/>
                  </a:cubicBezTo>
                  <a:cubicBezTo>
                    <a:pt x="15" y="23"/>
                    <a:pt x="13" y="25"/>
                    <a:pt x="10" y="25"/>
                  </a:cubicBezTo>
                  <a:cubicBezTo>
                    <a:pt x="6" y="25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2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42" name="Freeform 105">
              <a:extLst>
                <a:ext uri="{FF2B5EF4-FFF2-40B4-BE49-F238E27FC236}">
                  <a16:creationId xmlns:a16="http://schemas.microsoft.com/office/drawing/2014/main" id="{5F76BB96-BC6E-4156-A153-86E6BC896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60939" y="6715374"/>
              <a:ext cx="52876" cy="81580"/>
            </a:xfrm>
            <a:custGeom>
              <a:avLst/>
              <a:gdLst>
                <a:gd name="T0" fmla="*/ 16 w 35"/>
                <a:gd name="T1" fmla="*/ 12 h 54"/>
                <a:gd name="T2" fmla="*/ 7 w 35"/>
                <a:gd name="T3" fmla="*/ 19 h 54"/>
                <a:gd name="T4" fmla="*/ 0 w 35"/>
                <a:gd name="T5" fmla="*/ 9 h 54"/>
                <a:gd name="T6" fmla="*/ 19 w 35"/>
                <a:gd name="T7" fmla="*/ 0 h 54"/>
                <a:gd name="T8" fmla="*/ 28 w 35"/>
                <a:gd name="T9" fmla="*/ 0 h 54"/>
                <a:gd name="T10" fmla="*/ 28 w 35"/>
                <a:gd name="T11" fmla="*/ 45 h 54"/>
                <a:gd name="T12" fmla="*/ 35 w 35"/>
                <a:gd name="T13" fmla="*/ 45 h 54"/>
                <a:gd name="T14" fmla="*/ 35 w 35"/>
                <a:gd name="T15" fmla="*/ 54 h 54"/>
                <a:gd name="T16" fmla="*/ 9 w 35"/>
                <a:gd name="T17" fmla="*/ 54 h 54"/>
                <a:gd name="T18" fmla="*/ 9 w 35"/>
                <a:gd name="T19" fmla="*/ 45 h 54"/>
                <a:gd name="T20" fmla="*/ 16 w 35"/>
                <a:gd name="T21" fmla="*/ 45 h 54"/>
                <a:gd name="T22" fmla="*/ 16 w 35"/>
                <a:gd name="T23" fmla="*/ 1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4">
                  <a:moveTo>
                    <a:pt x="16" y="12"/>
                  </a:moveTo>
                  <a:lnTo>
                    <a:pt x="7" y="19"/>
                  </a:lnTo>
                  <a:lnTo>
                    <a:pt x="0" y="9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5"/>
                  </a:lnTo>
                  <a:lnTo>
                    <a:pt x="35" y="45"/>
                  </a:lnTo>
                  <a:lnTo>
                    <a:pt x="35" y="54"/>
                  </a:lnTo>
                  <a:lnTo>
                    <a:pt x="9" y="54"/>
                  </a:lnTo>
                  <a:lnTo>
                    <a:pt x="9" y="45"/>
                  </a:lnTo>
                  <a:lnTo>
                    <a:pt x="16" y="45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43" name="Freeform 106">
              <a:extLst>
                <a:ext uri="{FF2B5EF4-FFF2-40B4-BE49-F238E27FC236}">
                  <a16:creationId xmlns:a16="http://schemas.microsoft.com/office/drawing/2014/main" id="{4210F80C-1323-4BF2-820D-8B9E81196D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50363" y="6857383"/>
              <a:ext cx="67984" cy="89134"/>
            </a:xfrm>
            <a:custGeom>
              <a:avLst/>
              <a:gdLst>
                <a:gd name="T0" fmla="*/ 17 w 19"/>
                <a:gd name="T1" fmla="*/ 5 h 25"/>
                <a:gd name="T2" fmla="*/ 19 w 19"/>
                <a:gd name="T3" fmla="*/ 12 h 25"/>
                <a:gd name="T4" fmla="*/ 17 w 19"/>
                <a:gd name="T5" fmla="*/ 21 h 25"/>
                <a:gd name="T6" fmla="*/ 10 w 19"/>
                <a:gd name="T7" fmla="*/ 25 h 25"/>
                <a:gd name="T8" fmla="*/ 2 w 19"/>
                <a:gd name="T9" fmla="*/ 20 h 25"/>
                <a:gd name="T10" fmla="*/ 0 w 19"/>
                <a:gd name="T11" fmla="*/ 12 h 25"/>
                <a:gd name="T12" fmla="*/ 10 w 19"/>
                <a:gd name="T13" fmla="*/ 0 h 25"/>
                <a:gd name="T14" fmla="*/ 17 w 19"/>
                <a:gd name="T15" fmla="*/ 5 h 25"/>
                <a:gd name="T16" fmla="*/ 6 w 19"/>
                <a:gd name="T17" fmla="*/ 12 h 25"/>
                <a:gd name="T18" fmla="*/ 10 w 19"/>
                <a:gd name="T19" fmla="*/ 21 h 25"/>
                <a:gd name="T20" fmla="*/ 14 w 19"/>
                <a:gd name="T21" fmla="*/ 12 h 25"/>
                <a:gd name="T22" fmla="*/ 10 w 19"/>
                <a:gd name="T23" fmla="*/ 4 h 25"/>
                <a:gd name="T24" fmla="*/ 6 w 19"/>
                <a:gd name="T25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5">
                  <a:moveTo>
                    <a:pt x="17" y="5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7"/>
                    <a:pt x="18" y="19"/>
                    <a:pt x="17" y="21"/>
                  </a:cubicBezTo>
                  <a:cubicBezTo>
                    <a:pt x="15" y="24"/>
                    <a:pt x="13" y="25"/>
                    <a:pt x="10" y="25"/>
                  </a:cubicBezTo>
                  <a:cubicBezTo>
                    <a:pt x="6" y="25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2"/>
                    <a:pt x="17" y="5"/>
                  </a:cubicBezTo>
                  <a:close/>
                  <a:moveTo>
                    <a:pt x="6" y="12"/>
                  </a:moveTo>
                  <a:cubicBezTo>
                    <a:pt x="6" y="18"/>
                    <a:pt x="7" y="21"/>
                    <a:pt x="10" y="21"/>
                  </a:cubicBezTo>
                  <a:cubicBezTo>
                    <a:pt x="12" y="21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44" name="Freeform 135">
              <a:extLst>
                <a:ext uri="{FF2B5EF4-FFF2-40B4-BE49-F238E27FC236}">
                  <a16:creationId xmlns:a16="http://schemas.microsoft.com/office/drawing/2014/main" id="{74C0170C-25BB-443C-AED7-B236B0894B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3296" y="5615554"/>
              <a:ext cx="60430" cy="111795"/>
            </a:xfrm>
            <a:custGeom>
              <a:avLst/>
              <a:gdLst>
                <a:gd name="T0" fmla="*/ 19 w 40"/>
                <a:gd name="T1" fmla="*/ 14 h 74"/>
                <a:gd name="T2" fmla="*/ 4 w 40"/>
                <a:gd name="T3" fmla="*/ 24 h 74"/>
                <a:gd name="T4" fmla="*/ 0 w 40"/>
                <a:gd name="T5" fmla="*/ 14 h 74"/>
                <a:gd name="T6" fmla="*/ 21 w 40"/>
                <a:gd name="T7" fmla="*/ 0 h 74"/>
                <a:gd name="T8" fmla="*/ 30 w 40"/>
                <a:gd name="T9" fmla="*/ 0 h 74"/>
                <a:gd name="T10" fmla="*/ 30 w 40"/>
                <a:gd name="T11" fmla="*/ 64 h 74"/>
                <a:gd name="T12" fmla="*/ 40 w 40"/>
                <a:gd name="T13" fmla="*/ 64 h 74"/>
                <a:gd name="T14" fmla="*/ 40 w 40"/>
                <a:gd name="T15" fmla="*/ 74 h 74"/>
                <a:gd name="T16" fmla="*/ 9 w 40"/>
                <a:gd name="T17" fmla="*/ 74 h 74"/>
                <a:gd name="T18" fmla="*/ 9 w 40"/>
                <a:gd name="T19" fmla="*/ 64 h 74"/>
                <a:gd name="T20" fmla="*/ 19 w 40"/>
                <a:gd name="T21" fmla="*/ 64 h 74"/>
                <a:gd name="T22" fmla="*/ 19 w 40"/>
                <a:gd name="T23" fmla="*/ 1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4">
                  <a:moveTo>
                    <a:pt x="19" y="14"/>
                  </a:moveTo>
                  <a:lnTo>
                    <a:pt x="4" y="24"/>
                  </a:lnTo>
                  <a:lnTo>
                    <a:pt x="0" y="14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4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9" y="74"/>
                  </a:lnTo>
                  <a:lnTo>
                    <a:pt x="9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45" name="Freeform 136">
              <a:extLst>
                <a:ext uri="{FF2B5EF4-FFF2-40B4-BE49-F238E27FC236}">
                  <a16:creationId xmlns:a16="http://schemas.microsoft.com/office/drawing/2014/main" id="{36751F83-A37A-4293-83C2-304A700543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92720" y="5804396"/>
              <a:ext cx="75537" cy="114816"/>
            </a:xfrm>
            <a:custGeom>
              <a:avLst/>
              <a:gdLst>
                <a:gd name="T0" fmla="*/ 21 w 21"/>
                <a:gd name="T1" fmla="*/ 16 h 32"/>
                <a:gd name="T2" fmla="*/ 10 w 21"/>
                <a:gd name="T3" fmla="*/ 32 h 32"/>
                <a:gd name="T4" fmla="*/ 0 w 21"/>
                <a:gd name="T5" fmla="*/ 16 h 32"/>
                <a:gd name="T6" fmla="*/ 10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0 w 21"/>
                <a:gd name="T13" fmla="*/ 28 h 32"/>
                <a:gd name="T14" fmla="*/ 16 w 21"/>
                <a:gd name="T15" fmla="*/ 16 h 32"/>
                <a:gd name="T16" fmla="*/ 10 w 21"/>
                <a:gd name="T17" fmla="*/ 5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7"/>
                    <a:pt x="18" y="32"/>
                    <a:pt x="10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0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8"/>
                    <a:pt x="10" y="28"/>
                  </a:cubicBezTo>
                  <a:cubicBezTo>
                    <a:pt x="14" y="28"/>
                    <a:pt x="16" y="24"/>
                    <a:pt x="16" y="16"/>
                  </a:cubicBezTo>
                  <a:cubicBezTo>
                    <a:pt x="16" y="8"/>
                    <a:pt x="14" y="5"/>
                    <a:pt x="10" y="5"/>
                  </a:cubicBezTo>
                  <a:cubicBezTo>
                    <a:pt x="7" y="5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46" name="Freeform 137">
              <a:extLst>
                <a:ext uri="{FF2B5EF4-FFF2-40B4-BE49-F238E27FC236}">
                  <a16:creationId xmlns:a16="http://schemas.microsoft.com/office/drawing/2014/main" id="{E9963ADA-BE45-4E6C-B955-018CF44F89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92720" y="6186614"/>
              <a:ext cx="75537" cy="114816"/>
            </a:xfrm>
            <a:custGeom>
              <a:avLst/>
              <a:gdLst>
                <a:gd name="T0" fmla="*/ 21 w 21"/>
                <a:gd name="T1" fmla="*/ 16 h 32"/>
                <a:gd name="T2" fmla="*/ 10 w 21"/>
                <a:gd name="T3" fmla="*/ 32 h 32"/>
                <a:gd name="T4" fmla="*/ 0 w 21"/>
                <a:gd name="T5" fmla="*/ 16 h 32"/>
                <a:gd name="T6" fmla="*/ 10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0 w 21"/>
                <a:gd name="T13" fmla="*/ 27 h 32"/>
                <a:gd name="T14" fmla="*/ 16 w 21"/>
                <a:gd name="T15" fmla="*/ 16 h 32"/>
                <a:gd name="T16" fmla="*/ 10 w 21"/>
                <a:gd name="T17" fmla="*/ 4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6"/>
                    <a:pt x="18" y="32"/>
                    <a:pt x="10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0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7"/>
                    <a:pt x="10" y="27"/>
                  </a:cubicBezTo>
                  <a:cubicBezTo>
                    <a:pt x="14" y="27"/>
                    <a:pt x="16" y="24"/>
                    <a:pt x="16" y="16"/>
                  </a:cubicBezTo>
                  <a:cubicBezTo>
                    <a:pt x="16" y="8"/>
                    <a:pt x="14" y="4"/>
                    <a:pt x="10" y="4"/>
                  </a:cubicBezTo>
                  <a:cubicBezTo>
                    <a:pt x="7" y="4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47" name="Freeform 138">
              <a:extLst>
                <a:ext uri="{FF2B5EF4-FFF2-40B4-BE49-F238E27FC236}">
                  <a16:creationId xmlns:a16="http://schemas.microsoft.com/office/drawing/2014/main" id="{5BC4709C-6103-4DFB-BC4A-2876CEE0F3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3296" y="6379989"/>
              <a:ext cx="60430" cy="107263"/>
            </a:xfrm>
            <a:custGeom>
              <a:avLst/>
              <a:gdLst>
                <a:gd name="T0" fmla="*/ 19 w 40"/>
                <a:gd name="T1" fmla="*/ 12 h 71"/>
                <a:gd name="T2" fmla="*/ 4 w 40"/>
                <a:gd name="T3" fmla="*/ 21 h 71"/>
                <a:gd name="T4" fmla="*/ 0 w 40"/>
                <a:gd name="T5" fmla="*/ 12 h 71"/>
                <a:gd name="T6" fmla="*/ 21 w 40"/>
                <a:gd name="T7" fmla="*/ 0 h 71"/>
                <a:gd name="T8" fmla="*/ 30 w 40"/>
                <a:gd name="T9" fmla="*/ 0 h 71"/>
                <a:gd name="T10" fmla="*/ 30 w 40"/>
                <a:gd name="T11" fmla="*/ 64 h 71"/>
                <a:gd name="T12" fmla="*/ 40 w 40"/>
                <a:gd name="T13" fmla="*/ 64 h 71"/>
                <a:gd name="T14" fmla="*/ 40 w 40"/>
                <a:gd name="T15" fmla="*/ 71 h 71"/>
                <a:gd name="T16" fmla="*/ 9 w 40"/>
                <a:gd name="T17" fmla="*/ 71 h 71"/>
                <a:gd name="T18" fmla="*/ 9 w 40"/>
                <a:gd name="T19" fmla="*/ 64 h 71"/>
                <a:gd name="T20" fmla="*/ 19 w 40"/>
                <a:gd name="T21" fmla="*/ 64 h 71"/>
                <a:gd name="T22" fmla="*/ 19 w 40"/>
                <a:gd name="T23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1">
                  <a:moveTo>
                    <a:pt x="19" y="12"/>
                  </a:moveTo>
                  <a:lnTo>
                    <a:pt x="4" y="21"/>
                  </a:lnTo>
                  <a:lnTo>
                    <a:pt x="0" y="12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4"/>
                  </a:lnTo>
                  <a:lnTo>
                    <a:pt x="40" y="64"/>
                  </a:lnTo>
                  <a:lnTo>
                    <a:pt x="40" y="71"/>
                  </a:lnTo>
                  <a:lnTo>
                    <a:pt x="9" y="71"/>
                  </a:lnTo>
                  <a:lnTo>
                    <a:pt x="9" y="64"/>
                  </a:lnTo>
                  <a:lnTo>
                    <a:pt x="19" y="64"/>
                  </a:lnTo>
                  <a:lnTo>
                    <a:pt x="19" y="12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48" name="Freeform 139">
              <a:extLst>
                <a:ext uri="{FF2B5EF4-FFF2-40B4-BE49-F238E27FC236}">
                  <a16:creationId xmlns:a16="http://schemas.microsoft.com/office/drawing/2014/main" id="{C58478ED-43B2-431F-98BA-20CF5E7DC4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3296" y="6568831"/>
              <a:ext cx="60430" cy="110285"/>
            </a:xfrm>
            <a:custGeom>
              <a:avLst/>
              <a:gdLst>
                <a:gd name="T0" fmla="*/ 19 w 40"/>
                <a:gd name="T1" fmla="*/ 14 h 73"/>
                <a:gd name="T2" fmla="*/ 4 w 40"/>
                <a:gd name="T3" fmla="*/ 24 h 73"/>
                <a:gd name="T4" fmla="*/ 0 w 40"/>
                <a:gd name="T5" fmla="*/ 14 h 73"/>
                <a:gd name="T6" fmla="*/ 21 w 40"/>
                <a:gd name="T7" fmla="*/ 0 h 73"/>
                <a:gd name="T8" fmla="*/ 30 w 40"/>
                <a:gd name="T9" fmla="*/ 0 h 73"/>
                <a:gd name="T10" fmla="*/ 30 w 40"/>
                <a:gd name="T11" fmla="*/ 64 h 73"/>
                <a:gd name="T12" fmla="*/ 40 w 40"/>
                <a:gd name="T13" fmla="*/ 64 h 73"/>
                <a:gd name="T14" fmla="*/ 40 w 40"/>
                <a:gd name="T15" fmla="*/ 73 h 73"/>
                <a:gd name="T16" fmla="*/ 9 w 40"/>
                <a:gd name="T17" fmla="*/ 73 h 73"/>
                <a:gd name="T18" fmla="*/ 9 w 40"/>
                <a:gd name="T19" fmla="*/ 64 h 73"/>
                <a:gd name="T20" fmla="*/ 19 w 40"/>
                <a:gd name="T21" fmla="*/ 64 h 73"/>
                <a:gd name="T22" fmla="*/ 19 w 40"/>
                <a:gd name="T23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3">
                  <a:moveTo>
                    <a:pt x="19" y="14"/>
                  </a:moveTo>
                  <a:lnTo>
                    <a:pt x="4" y="24"/>
                  </a:lnTo>
                  <a:lnTo>
                    <a:pt x="0" y="14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4"/>
                  </a:lnTo>
                  <a:lnTo>
                    <a:pt x="40" y="64"/>
                  </a:lnTo>
                  <a:lnTo>
                    <a:pt x="40" y="73"/>
                  </a:lnTo>
                  <a:lnTo>
                    <a:pt x="9" y="73"/>
                  </a:lnTo>
                  <a:lnTo>
                    <a:pt x="9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49" name="Freeform 140">
              <a:extLst>
                <a:ext uri="{FF2B5EF4-FFF2-40B4-BE49-F238E27FC236}">
                  <a16:creationId xmlns:a16="http://schemas.microsoft.com/office/drawing/2014/main" id="{FBF04B6A-082B-4010-AF0B-ED91FC14E11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3296" y="6757674"/>
              <a:ext cx="60430" cy="110285"/>
            </a:xfrm>
            <a:custGeom>
              <a:avLst/>
              <a:gdLst>
                <a:gd name="T0" fmla="*/ 19 w 40"/>
                <a:gd name="T1" fmla="*/ 14 h 73"/>
                <a:gd name="T2" fmla="*/ 4 w 40"/>
                <a:gd name="T3" fmla="*/ 24 h 73"/>
                <a:gd name="T4" fmla="*/ 0 w 40"/>
                <a:gd name="T5" fmla="*/ 14 h 73"/>
                <a:gd name="T6" fmla="*/ 21 w 40"/>
                <a:gd name="T7" fmla="*/ 0 h 73"/>
                <a:gd name="T8" fmla="*/ 30 w 40"/>
                <a:gd name="T9" fmla="*/ 0 h 73"/>
                <a:gd name="T10" fmla="*/ 30 w 40"/>
                <a:gd name="T11" fmla="*/ 64 h 73"/>
                <a:gd name="T12" fmla="*/ 40 w 40"/>
                <a:gd name="T13" fmla="*/ 64 h 73"/>
                <a:gd name="T14" fmla="*/ 40 w 40"/>
                <a:gd name="T15" fmla="*/ 73 h 73"/>
                <a:gd name="T16" fmla="*/ 9 w 40"/>
                <a:gd name="T17" fmla="*/ 73 h 73"/>
                <a:gd name="T18" fmla="*/ 9 w 40"/>
                <a:gd name="T19" fmla="*/ 64 h 73"/>
                <a:gd name="T20" fmla="*/ 19 w 40"/>
                <a:gd name="T21" fmla="*/ 64 h 73"/>
                <a:gd name="T22" fmla="*/ 19 w 40"/>
                <a:gd name="T23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3">
                  <a:moveTo>
                    <a:pt x="19" y="14"/>
                  </a:moveTo>
                  <a:lnTo>
                    <a:pt x="4" y="24"/>
                  </a:lnTo>
                  <a:lnTo>
                    <a:pt x="0" y="14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4"/>
                  </a:lnTo>
                  <a:lnTo>
                    <a:pt x="40" y="64"/>
                  </a:lnTo>
                  <a:lnTo>
                    <a:pt x="40" y="73"/>
                  </a:lnTo>
                  <a:lnTo>
                    <a:pt x="9" y="73"/>
                  </a:lnTo>
                  <a:lnTo>
                    <a:pt x="9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50" name="Freeform 149">
              <a:extLst>
                <a:ext uri="{FF2B5EF4-FFF2-40B4-BE49-F238E27FC236}">
                  <a16:creationId xmlns:a16="http://schemas.microsoft.com/office/drawing/2014/main" id="{39BC3C19-3D89-46E2-9446-E7E9576EE5E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15269" y="5259018"/>
              <a:ext cx="92156" cy="164671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5 h 109"/>
                <a:gd name="T12" fmla="*/ 61 w 61"/>
                <a:gd name="T13" fmla="*/ 95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5 h 109"/>
                <a:gd name="T20" fmla="*/ 28 w 61"/>
                <a:gd name="T21" fmla="*/ 95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5"/>
                  </a:lnTo>
                  <a:lnTo>
                    <a:pt x="61" y="95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5"/>
                  </a:lnTo>
                  <a:lnTo>
                    <a:pt x="28" y="95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51" name="Freeform 150">
              <a:extLst>
                <a:ext uri="{FF2B5EF4-FFF2-40B4-BE49-F238E27FC236}">
                  <a16:creationId xmlns:a16="http://schemas.microsoft.com/office/drawing/2014/main" id="{E983476E-69CF-4A28-8D85-2572DB1799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400163" y="5541527"/>
              <a:ext cx="114816" cy="170714"/>
            </a:xfrm>
            <a:custGeom>
              <a:avLst/>
              <a:gdLst>
                <a:gd name="T0" fmla="*/ 32 w 32"/>
                <a:gd name="T1" fmla="*/ 24 h 48"/>
                <a:gd name="T2" fmla="*/ 16 w 32"/>
                <a:gd name="T3" fmla="*/ 48 h 48"/>
                <a:gd name="T4" fmla="*/ 0 w 32"/>
                <a:gd name="T5" fmla="*/ 24 h 48"/>
                <a:gd name="T6" fmla="*/ 16 w 32"/>
                <a:gd name="T7" fmla="*/ 0 h 48"/>
                <a:gd name="T8" fmla="*/ 32 w 32"/>
                <a:gd name="T9" fmla="*/ 24 h 48"/>
                <a:gd name="T10" fmla="*/ 8 w 32"/>
                <a:gd name="T11" fmla="*/ 24 h 48"/>
                <a:gd name="T12" fmla="*/ 16 w 32"/>
                <a:gd name="T13" fmla="*/ 41 h 48"/>
                <a:gd name="T14" fmla="*/ 24 w 32"/>
                <a:gd name="T15" fmla="*/ 24 h 48"/>
                <a:gd name="T16" fmla="*/ 16 w 32"/>
                <a:gd name="T17" fmla="*/ 7 h 48"/>
                <a:gd name="T18" fmla="*/ 8 w 32"/>
                <a:gd name="T19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8">
                  <a:moveTo>
                    <a:pt x="32" y="24"/>
                  </a:moveTo>
                  <a:cubicBezTo>
                    <a:pt x="32" y="40"/>
                    <a:pt x="27" y="48"/>
                    <a:pt x="16" y="48"/>
                  </a:cubicBezTo>
                  <a:cubicBezTo>
                    <a:pt x="5" y="48"/>
                    <a:pt x="0" y="40"/>
                    <a:pt x="0" y="24"/>
                  </a:cubicBezTo>
                  <a:cubicBezTo>
                    <a:pt x="0" y="8"/>
                    <a:pt x="5" y="0"/>
                    <a:pt x="16" y="0"/>
                  </a:cubicBezTo>
                  <a:cubicBezTo>
                    <a:pt x="27" y="0"/>
                    <a:pt x="32" y="8"/>
                    <a:pt x="32" y="24"/>
                  </a:cubicBezTo>
                  <a:close/>
                  <a:moveTo>
                    <a:pt x="8" y="24"/>
                  </a:moveTo>
                  <a:cubicBezTo>
                    <a:pt x="8" y="36"/>
                    <a:pt x="11" y="41"/>
                    <a:pt x="16" y="41"/>
                  </a:cubicBezTo>
                  <a:cubicBezTo>
                    <a:pt x="22" y="41"/>
                    <a:pt x="24" y="36"/>
                    <a:pt x="24" y="24"/>
                  </a:cubicBezTo>
                  <a:cubicBezTo>
                    <a:pt x="24" y="12"/>
                    <a:pt x="22" y="7"/>
                    <a:pt x="16" y="7"/>
                  </a:cubicBezTo>
                  <a:cubicBezTo>
                    <a:pt x="11" y="7"/>
                    <a:pt x="8" y="12"/>
                    <a:pt x="8" y="24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52" name="Freeform 151">
              <a:extLst>
                <a:ext uri="{FF2B5EF4-FFF2-40B4-BE49-F238E27FC236}">
                  <a16:creationId xmlns:a16="http://schemas.microsoft.com/office/drawing/2014/main" id="{762BA930-88EF-4F41-9174-292EE37981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15269" y="5830079"/>
              <a:ext cx="92156" cy="164671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5 h 109"/>
                <a:gd name="T12" fmla="*/ 61 w 61"/>
                <a:gd name="T13" fmla="*/ 95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5 h 109"/>
                <a:gd name="T20" fmla="*/ 28 w 61"/>
                <a:gd name="T21" fmla="*/ 95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5"/>
                  </a:lnTo>
                  <a:lnTo>
                    <a:pt x="61" y="95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5"/>
                  </a:lnTo>
                  <a:lnTo>
                    <a:pt x="28" y="95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53" name="Freeform 152">
              <a:extLst>
                <a:ext uri="{FF2B5EF4-FFF2-40B4-BE49-F238E27FC236}">
                  <a16:creationId xmlns:a16="http://schemas.microsoft.com/office/drawing/2014/main" id="{B1EE4886-BD41-4D7A-BE59-B138D61493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400163" y="6112587"/>
              <a:ext cx="114816" cy="170714"/>
            </a:xfrm>
            <a:custGeom>
              <a:avLst/>
              <a:gdLst>
                <a:gd name="T0" fmla="*/ 32 w 32"/>
                <a:gd name="T1" fmla="*/ 24 h 48"/>
                <a:gd name="T2" fmla="*/ 16 w 32"/>
                <a:gd name="T3" fmla="*/ 48 h 48"/>
                <a:gd name="T4" fmla="*/ 0 w 32"/>
                <a:gd name="T5" fmla="*/ 24 h 48"/>
                <a:gd name="T6" fmla="*/ 16 w 32"/>
                <a:gd name="T7" fmla="*/ 0 h 48"/>
                <a:gd name="T8" fmla="*/ 32 w 32"/>
                <a:gd name="T9" fmla="*/ 24 h 48"/>
                <a:gd name="T10" fmla="*/ 8 w 32"/>
                <a:gd name="T11" fmla="*/ 24 h 48"/>
                <a:gd name="T12" fmla="*/ 16 w 32"/>
                <a:gd name="T13" fmla="*/ 41 h 48"/>
                <a:gd name="T14" fmla="*/ 24 w 32"/>
                <a:gd name="T15" fmla="*/ 24 h 48"/>
                <a:gd name="T16" fmla="*/ 16 w 32"/>
                <a:gd name="T17" fmla="*/ 7 h 48"/>
                <a:gd name="T18" fmla="*/ 8 w 32"/>
                <a:gd name="T19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8">
                  <a:moveTo>
                    <a:pt x="32" y="24"/>
                  </a:moveTo>
                  <a:cubicBezTo>
                    <a:pt x="32" y="40"/>
                    <a:pt x="27" y="48"/>
                    <a:pt x="16" y="48"/>
                  </a:cubicBezTo>
                  <a:cubicBezTo>
                    <a:pt x="5" y="48"/>
                    <a:pt x="0" y="40"/>
                    <a:pt x="0" y="24"/>
                  </a:cubicBezTo>
                  <a:cubicBezTo>
                    <a:pt x="0" y="8"/>
                    <a:pt x="5" y="0"/>
                    <a:pt x="16" y="0"/>
                  </a:cubicBezTo>
                  <a:cubicBezTo>
                    <a:pt x="27" y="0"/>
                    <a:pt x="32" y="8"/>
                    <a:pt x="32" y="24"/>
                  </a:cubicBezTo>
                  <a:close/>
                  <a:moveTo>
                    <a:pt x="8" y="24"/>
                  </a:moveTo>
                  <a:cubicBezTo>
                    <a:pt x="8" y="36"/>
                    <a:pt x="11" y="41"/>
                    <a:pt x="16" y="41"/>
                  </a:cubicBezTo>
                  <a:cubicBezTo>
                    <a:pt x="22" y="41"/>
                    <a:pt x="24" y="36"/>
                    <a:pt x="24" y="24"/>
                  </a:cubicBezTo>
                  <a:cubicBezTo>
                    <a:pt x="24" y="12"/>
                    <a:pt x="22" y="7"/>
                    <a:pt x="16" y="7"/>
                  </a:cubicBezTo>
                  <a:cubicBezTo>
                    <a:pt x="11" y="7"/>
                    <a:pt x="8" y="12"/>
                    <a:pt x="8" y="24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54" name="Freeform 153">
              <a:extLst>
                <a:ext uri="{FF2B5EF4-FFF2-40B4-BE49-F238E27FC236}">
                  <a16:creationId xmlns:a16="http://schemas.microsoft.com/office/drawing/2014/main" id="{F2F9441C-641D-419D-A131-A8B0E11DF9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15269" y="6401139"/>
              <a:ext cx="92156" cy="164671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4 h 109"/>
                <a:gd name="T12" fmla="*/ 61 w 61"/>
                <a:gd name="T13" fmla="*/ 94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4 h 109"/>
                <a:gd name="T20" fmla="*/ 28 w 61"/>
                <a:gd name="T21" fmla="*/ 94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4"/>
                  </a:lnTo>
                  <a:lnTo>
                    <a:pt x="61" y="94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4"/>
                  </a:lnTo>
                  <a:lnTo>
                    <a:pt x="28" y="94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55" name="Freeform 154">
              <a:extLst>
                <a:ext uri="{FF2B5EF4-FFF2-40B4-BE49-F238E27FC236}">
                  <a16:creationId xmlns:a16="http://schemas.microsoft.com/office/drawing/2014/main" id="{4E220C95-65FE-4410-A0E8-B777E65EDDC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15269" y="6686669"/>
              <a:ext cx="92156" cy="164671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4 h 109"/>
                <a:gd name="T12" fmla="*/ 61 w 61"/>
                <a:gd name="T13" fmla="*/ 94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4 h 109"/>
                <a:gd name="T20" fmla="*/ 28 w 61"/>
                <a:gd name="T21" fmla="*/ 94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4"/>
                  </a:lnTo>
                  <a:lnTo>
                    <a:pt x="61" y="94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4"/>
                  </a:lnTo>
                  <a:lnTo>
                    <a:pt x="28" y="94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56" name="Line 8">
              <a:extLst>
                <a:ext uri="{FF2B5EF4-FFF2-40B4-BE49-F238E27FC236}">
                  <a16:creationId xmlns:a16="http://schemas.microsoft.com/office/drawing/2014/main" id="{1467D44E-55FE-4D46-ACDE-48D9FA8B7AB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703374" y="5783246"/>
              <a:ext cx="0" cy="0"/>
            </a:xfrm>
            <a:prstGeom prst="line">
              <a:avLst/>
            </a:pr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57" name="Line 9">
              <a:extLst>
                <a:ext uri="{FF2B5EF4-FFF2-40B4-BE49-F238E27FC236}">
                  <a16:creationId xmlns:a16="http://schemas.microsoft.com/office/drawing/2014/main" id="{8931C3F6-165F-4C7C-8122-06AF0CDDDF6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703374" y="5783246"/>
              <a:ext cx="0" cy="0"/>
            </a:xfrm>
            <a:prstGeom prst="line">
              <a:avLst/>
            </a:pr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58" name="Freeform 10">
              <a:extLst>
                <a:ext uri="{FF2B5EF4-FFF2-40B4-BE49-F238E27FC236}">
                  <a16:creationId xmlns:a16="http://schemas.microsoft.com/office/drawing/2014/main" id="{9E4C8940-7011-4952-BD33-30FA74688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6556" y="6854362"/>
              <a:ext cx="99709" cy="157117"/>
            </a:xfrm>
            <a:custGeom>
              <a:avLst/>
              <a:gdLst>
                <a:gd name="T0" fmla="*/ 30 w 66"/>
                <a:gd name="T1" fmla="*/ 24 h 104"/>
                <a:gd name="T2" fmla="*/ 9 w 66"/>
                <a:gd name="T3" fmla="*/ 38 h 104"/>
                <a:gd name="T4" fmla="*/ 0 w 66"/>
                <a:gd name="T5" fmla="*/ 19 h 104"/>
                <a:gd name="T6" fmla="*/ 33 w 66"/>
                <a:gd name="T7" fmla="*/ 0 h 104"/>
                <a:gd name="T8" fmla="*/ 52 w 66"/>
                <a:gd name="T9" fmla="*/ 0 h 104"/>
                <a:gd name="T10" fmla="*/ 52 w 66"/>
                <a:gd name="T11" fmla="*/ 87 h 104"/>
                <a:gd name="T12" fmla="*/ 66 w 66"/>
                <a:gd name="T13" fmla="*/ 87 h 104"/>
                <a:gd name="T14" fmla="*/ 66 w 66"/>
                <a:gd name="T15" fmla="*/ 104 h 104"/>
                <a:gd name="T16" fmla="*/ 16 w 66"/>
                <a:gd name="T17" fmla="*/ 104 h 104"/>
                <a:gd name="T18" fmla="*/ 16 w 66"/>
                <a:gd name="T19" fmla="*/ 87 h 104"/>
                <a:gd name="T20" fmla="*/ 30 w 66"/>
                <a:gd name="T21" fmla="*/ 87 h 104"/>
                <a:gd name="T22" fmla="*/ 30 w 66"/>
                <a:gd name="T23" fmla="*/ 2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6" h="104">
                  <a:moveTo>
                    <a:pt x="30" y="24"/>
                  </a:moveTo>
                  <a:lnTo>
                    <a:pt x="9" y="38"/>
                  </a:lnTo>
                  <a:lnTo>
                    <a:pt x="0" y="19"/>
                  </a:lnTo>
                  <a:lnTo>
                    <a:pt x="33" y="0"/>
                  </a:lnTo>
                  <a:lnTo>
                    <a:pt x="52" y="0"/>
                  </a:lnTo>
                  <a:lnTo>
                    <a:pt x="52" y="87"/>
                  </a:lnTo>
                  <a:lnTo>
                    <a:pt x="66" y="87"/>
                  </a:lnTo>
                  <a:lnTo>
                    <a:pt x="66" y="104"/>
                  </a:lnTo>
                  <a:lnTo>
                    <a:pt x="16" y="104"/>
                  </a:lnTo>
                  <a:lnTo>
                    <a:pt x="16" y="87"/>
                  </a:lnTo>
                  <a:lnTo>
                    <a:pt x="30" y="87"/>
                  </a:lnTo>
                  <a:lnTo>
                    <a:pt x="30" y="2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59" name="Freeform 23">
              <a:extLst>
                <a:ext uri="{FF2B5EF4-FFF2-40B4-BE49-F238E27FC236}">
                  <a16:creationId xmlns:a16="http://schemas.microsoft.com/office/drawing/2014/main" id="{5C831386-332C-4329-A0EB-7C463DFDB0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54046" y="6133738"/>
              <a:ext cx="75537" cy="113306"/>
            </a:xfrm>
            <a:custGeom>
              <a:avLst/>
              <a:gdLst>
                <a:gd name="T0" fmla="*/ 21 w 21"/>
                <a:gd name="T1" fmla="*/ 16 h 32"/>
                <a:gd name="T2" fmla="*/ 11 w 21"/>
                <a:gd name="T3" fmla="*/ 32 h 32"/>
                <a:gd name="T4" fmla="*/ 0 w 21"/>
                <a:gd name="T5" fmla="*/ 16 h 32"/>
                <a:gd name="T6" fmla="*/ 11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1 w 21"/>
                <a:gd name="T13" fmla="*/ 28 h 32"/>
                <a:gd name="T14" fmla="*/ 16 w 21"/>
                <a:gd name="T15" fmla="*/ 16 h 32"/>
                <a:gd name="T16" fmla="*/ 11 w 21"/>
                <a:gd name="T17" fmla="*/ 5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7"/>
                    <a:pt x="18" y="32"/>
                    <a:pt x="11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1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8"/>
                    <a:pt x="11" y="28"/>
                  </a:cubicBezTo>
                  <a:cubicBezTo>
                    <a:pt x="14" y="28"/>
                    <a:pt x="16" y="24"/>
                    <a:pt x="16" y="16"/>
                  </a:cubicBezTo>
                  <a:cubicBezTo>
                    <a:pt x="16" y="8"/>
                    <a:pt x="14" y="5"/>
                    <a:pt x="11" y="5"/>
                  </a:cubicBezTo>
                  <a:cubicBezTo>
                    <a:pt x="7" y="5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60" name="Freeform 24">
              <a:extLst>
                <a:ext uri="{FF2B5EF4-FFF2-40B4-BE49-F238E27FC236}">
                  <a16:creationId xmlns:a16="http://schemas.microsoft.com/office/drawing/2014/main" id="{4DE30D7D-0B7A-4B19-B86A-B0DECC5842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54046" y="6325602"/>
              <a:ext cx="75537" cy="111795"/>
            </a:xfrm>
            <a:custGeom>
              <a:avLst/>
              <a:gdLst>
                <a:gd name="T0" fmla="*/ 21 w 21"/>
                <a:gd name="T1" fmla="*/ 16 h 31"/>
                <a:gd name="T2" fmla="*/ 11 w 21"/>
                <a:gd name="T3" fmla="*/ 31 h 31"/>
                <a:gd name="T4" fmla="*/ 0 w 21"/>
                <a:gd name="T5" fmla="*/ 15 h 31"/>
                <a:gd name="T6" fmla="*/ 11 w 21"/>
                <a:gd name="T7" fmla="*/ 0 h 31"/>
                <a:gd name="T8" fmla="*/ 21 w 21"/>
                <a:gd name="T9" fmla="*/ 16 h 31"/>
                <a:gd name="T10" fmla="*/ 5 w 21"/>
                <a:gd name="T11" fmla="*/ 15 h 31"/>
                <a:gd name="T12" fmla="*/ 11 w 21"/>
                <a:gd name="T13" fmla="*/ 27 h 31"/>
                <a:gd name="T14" fmla="*/ 16 w 21"/>
                <a:gd name="T15" fmla="*/ 16 h 31"/>
                <a:gd name="T16" fmla="*/ 11 w 21"/>
                <a:gd name="T17" fmla="*/ 4 h 31"/>
                <a:gd name="T18" fmla="*/ 5 w 21"/>
                <a:gd name="T1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1">
                  <a:moveTo>
                    <a:pt x="21" y="16"/>
                  </a:moveTo>
                  <a:cubicBezTo>
                    <a:pt x="21" y="26"/>
                    <a:pt x="18" y="31"/>
                    <a:pt x="11" y="31"/>
                  </a:cubicBezTo>
                  <a:cubicBezTo>
                    <a:pt x="3" y="31"/>
                    <a:pt x="0" y="26"/>
                    <a:pt x="0" y="15"/>
                  </a:cubicBezTo>
                  <a:cubicBezTo>
                    <a:pt x="0" y="5"/>
                    <a:pt x="3" y="0"/>
                    <a:pt x="11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5"/>
                  </a:moveTo>
                  <a:cubicBezTo>
                    <a:pt x="5" y="23"/>
                    <a:pt x="7" y="27"/>
                    <a:pt x="11" y="27"/>
                  </a:cubicBezTo>
                  <a:cubicBezTo>
                    <a:pt x="14" y="27"/>
                    <a:pt x="16" y="23"/>
                    <a:pt x="16" y="16"/>
                  </a:cubicBezTo>
                  <a:cubicBezTo>
                    <a:pt x="16" y="8"/>
                    <a:pt x="14" y="4"/>
                    <a:pt x="11" y="4"/>
                  </a:cubicBezTo>
                  <a:cubicBezTo>
                    <a:pt x="7" y="4"/>
                    <a:pt x="5" y="8"/>
                    <a:pt x="5" y="15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61" name="Freeform 25">
              <a:extLst>
                <a:ext uri="{FF2B5EF4-FFF2-40B4-BE49-F238E27FC236}">
                  <a16:creationId xmlns:a16="http://schemas.microsoft.com/office/drawing/2014/main" id="{F54D923D-A485-4B3F-AE70-E646A0437C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7068" y="6707820"/>
              <a:ext cx="64962" cy="110285"/>
            </a:xfrm>
            <a:custGeom>
              <a:avLst/>
              <a:gdLst>
                <a:gd name="T0" fmla="*/ 19 w 43"/>
                <a:gd name="T1" fmla="*/ 14 h 73"/>
                <a:gd name="T2" fmla="*/ 5 w 43"/>
                <a:gd name="T3" fmla="*/ 24 h 73"/>
                <a:gd name="T4" fmla="*/ 0 w 43"/>
                <a:gd name="T5" fmla="*/ 12 h 73"/>
                <a:gd name="T6" fmla="*/ 22 w 43"/>
                <a:gd name="T7" fmla="*/ 0 h 73"/>
                <a:gd name="T8" fmla="*/ 34 w 43"/>
                <a:gd name="T9" fmla="*/ 0 h 73"/>
                <a:gd name="T10" fmla="*/ 34 w 43"/>
                <a:gd name="T11" fmla="*/ 64 h 73"/>
                <a:gd name="T12" fmla="*/ 43 w 43"/>
                <a:gd name="T13" fmla="*/ 64 h 73"/>
                <a:gd name="T14" fmla="*/ 43 w 43"/>
                <a:gd name="T15" fmla="*/ 73 h 73"/>
                <a:gd name="T16" fmla="*/ 10 w 43"/>
                <a:gd name="T17" fmla="*/ 73 h 73"/>
                <a:gd name="T18" fmla="*/ 10 w 43"/>
                <a:gd name="T19" fmla="*/ 64 h 73"/>
                <a:gd name="T20" fmla="*/ 19 w 43"/>
                <a:gd name="T21" fmla="*/ 64 h 73"/>
                <a:gd name="T22" fmla="*/ 19 w 43"/>
                <a:gd name="T23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73">
                  <a:moveTo>
                    <a:pt x="19" y="14"/>
                  </a:moveTo>
                  <a:lnTo>
                    <a:pt x="5" y="24"/>
                  </a:lnTo>
                  <a:lnTo>
                    <a:pt x="0" y="12"/>
                  </a:lnTo>
                  <a:lnTo>
                    <a:pt x="22" y="0"/>
                  </a:lnTo>
                  <a:lnTo>
                    <a:pt x="34" y="0"/>
                  </a:lnTo>
                  <a:lnTo>
                    <a:pt x="34" y="64"/>
                  </a:lnTo>
                  <a:lnTo>
                    <a:pt x="43" y="64"/>
                  </a:lnTo>
                  <a:lnTo>
                    <a:pt x="43" y="73"/>
                  </a:lnTo>
                  <a:lnTo>
                    <a:pt x="10" y="73"/>
                  </a:lnTo>
                  <a:lnTo>
                    <a:pt x="10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62" name="Freeform 26">
              <a:extLst>
                <a:ext uri="{FF2B5EF4-FFF2-40B4-BE49-F238E27FC236}">
                  <a16:creationId xmlns:a16="http://schemas.microsoft.com/office/drawing/2014/main" id="{1FA9C07B-7365-4633-8F15-DBF0CA531E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54046" y="6896663"/>
              <a:ext cx="75537" cy="111795"/>
            </a:xfrm>
            <a:custGeom>
              <a:avLst/>
              <a:gdLst>
                <a:gd name="T0" fmla="*/ 21 w 21"/>
                <a:gd name="T1" fmla="*/ 16 h 31"/>
                <a:gd name="T2" fmla="*/ 11 w 21"/>
                <a:gd name="T3" fmla="*/ 31 h 31"/>
                <a:gd name="T4" fmla="*/ 0 w 21"/>
                <a:gd name="T5" fmla="*/ 15 h 31"/>
                <a:gd name="T6" fmla="*/ 11 w 21"/>
                <a:gd name="T7" fmla="*/ 0 h 31"/>
                <a:gd name="T8" fmla="*/ 21 w 21"/>
                <a:gd name="T9" fmla="*/ 16 h 31"/>
                <a:gd name="T10" fmla="*/ 5 w 21"/>
                <a:gd name="T11" fmla="*/ 16 h 31"/>
                <a:gd name="T12" fmla="*/ 11 w 21"/>
                <a:gd name="T13" fmla="*/ 27 h 31"/>
                <a:gd name="T14" fmla="*/ 16 w 21"/>
                <a:gd name="T15" fmla="*/ 16 h 31"/>
                <a:gd name="T16" fmla="*/ 11 w 21"/>
                <a:gd name="T17" fmla="*/ 4 h 31"/>
                <a:gd name="T18" fmla="*/ 5 w 21"/>
                <a:gd name="T19" fmla="*/ 1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1">
                  <a:moveTo>
                    <a:pt x="21" y="16"/>
                  </a:moveTo>
                  <a:cubicBezTo>
                    <a:pt x="21" y="26"/>
                    <a:pt x="18" y="31"/>
                    <a:pt x="11" y="31"/>
                  </a:cubicBezTo>
                  <a:cubicBezTo>
                    <a:pt x="3" y="31"/>
                    <a:pt x="0" y="26"/>
                    <a:pt x="0" y="15"/>
                  </a:cubicBezTo>
                  <a:cubicBezTo>
                    <a:pt x="0" y="5"/>
                    <a:pt x="3" y="0"/>
                    <a:pt x="11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3"/>
                    <a:pt x="7" y="27"/>
                    <a:pt x="11" y="27"/>
                  </a:cubicBezTo>
                  <a:cubicBezTo>
                    <a:pt x="14" y="27"/>
                    <a:pt x="16" y="23"/>
                    <a:pt x="16" y="16"/>
                  </a:cubicBezTo>
                  <a:cubicBezTo>
                    <a:pt x="16" y="8"/>
                    <a:pt x="14" y="4"/>
                    <a:pt x="11" y="4"/>
                  </a:cubicBezTo>
                  <a:cubicBezTo>
                    <a:pt x="7" y="4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63" name="Freeform 43">
              <a:extLst>
                <a:ext uri="{FF2B5EF4-FFF2-40B4-BE49-F238E27FC236}">
                  <a16:creationId xmlns:a16="http://schemas.microsoft.com/office/drawing/2014/main" id="{1A55B0B5-6BFA-4735-8CA9-C5FF6CC974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25925" y="6333156"/>
              <a:ext cx="63451" cy="93666"/>
            </a:xfrm>
            <a:custGeom>
              <a:avLst/>
              <a:gdLst>
                <a:gd name="T0" fmla="*/ 18 w 18"/>
                <a:gd name="T1" fmla="*/ 13 h 26"/>
                <a:gd name="T2" fmla="*/ 9 w 18"/>
                <a:gd name="T3" fmla="*/ 26 h 26"/>
                <a:gd name="T4" fmla="*/ 0 w 18"/>
                <a:gd name="T5" fmla="*/ 13 h 26"/>
                <a:gd name="T6" fmla="*/ 9 w 18"/>
                <a:gd name="T7" fmla="*/ 0 h 26"/>
                <a:gd name="T8" fmla="*/ 18 w 18"/>
                <a:gd name="T9" fmla="*/ 13 h 26"/>
                <a:gd name="T10" fmla="*/ 5 w 18"/>
                <a:gd name="T11" fmla="*/ 13 h 26"/>
                <a:gd name="T12" fmla="*/ 9 w 18"/>
                <a:gd name="T13" fmla="*/ 22 h 26"/>
                <a:gd name="T14" fmla="*/ 13 w 18"/>
                <a:gd name="T15" fmla="*/ 13 h 26"/>
                <a:gd name="T16" fmla="*/ 9 w 18"/>
                <a:gd name="T17" fmla="*/ 4 h 26"/>
                <a:gd name="T18" fmla="*/ 5 w 18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6">
                  <a:moveTo>
                    <a:pt x="18" y="13"/>
                  </a:moveTo>
                  <a:cubicBezTo>
                    <a:pt x="18" y="22"/>
                    <a:pt x="15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5"/>
                    <a:pt x="3" y="0"/>
                    <a:pt x="9" y="0"/>
                  </a:cubicBezTo>
                  <a:cubicBezTo>
                    <a:pt x="15" y="0"/>
                    <a:pt x="18" y="5"/>
                    <a:pt x="18" y="13"/>
                  </a:cubicBezTo>
                  <a:close/>
                  <a:moveTo>
                    <a:pt x="5" y="13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7"/>
                    <a:pt x="12" y="4"/>
                    <a:pt x="9" y="4"/>
                  </a:cubicBezTo>
                  <a:cubicBezTo>
                    <a:pt x="6" y="4"/>
                    <a:pt x="5" y="7"/>
                    <a:pt x="5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64" name="Freeform 44">
              <a:extLst>
                <a:ext uri="{FF2B5EF4-FFF2-40B4-BE49-F238E27FC236}">
                  <a16:creationId xmlns:a16="http://schemas.microsoft.com/office/drawing/2014/main" id="{F04B7AA7-7D8D-4616-BD17-C4E1EDE217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25925" y="6487252"/>
              <a:ext cx="63451" cy="92156"/>
            </a:xfrm>
            <a:custGeom>
              <a:avLst/>
              <a:gdLst>
                <a:gd name="T0" fmla="*/ 18 w 18"/>
                <a:gd name="T1" fmla="*/ 13 h 26"/>
                <a:gd name="T2" fmla="*/ 9 w 18"/>
                <a:gd name="T3" fmla="*/ 26 h 26"/>
                <a:gd name="T4" fmla="*/ 0 w 18"/>
                <a:gd name="T5" fmla="*/ 13 h 26"/>
                <a:gd name="T6" fmla="*/ 9 w 18"/>
                <a:gd name="T7" fmla="*/ 0 h 26"/>
                <a:gd name="T8" fmla="*/ 18 w 18"/>
                <a:gd name="T9" fmla="*/ 13 h 26"/>
                <a:gd name="T10" fmla="*/ 5 w 18"/>
                <a:gd name="T11" fmla="*/ 13 h 26"/>
                <a:gd name="T12" fmla="*/ 9 w 18"/>
                <a:gd name="T13" fmla="*/ 22 h 26"/>
                <a:gd name="T14" fmla="*/ 13 w 18"/>
                <a:gd name="T15" fmla="*/ 13 h 26"/>
                <a:gd name="T16" fmla="*/ 9 w 18"/>
                <a:gd name="T17" fmla="*/ 4 h 26"/>
                <a:gd name="T18" fmla="*/ 5 w 18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6">
                  <a:moveTo>
                    <a:pt x="18" y="13"/>
                  </a:moveTo>
                  <a:cubicBezTo>
                    <a:pt x="18" y="21"/>
                    <a:pt x="15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5" y="0"/>
                    <a:pt x="18" y="4"/>
                    <a:pt x="18" y="13"/>
                  </a:cubicBezTo>
                  <a:close/>
                  <a:moveTo>
                    <a:pt x="5" y="13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7"/>
                    <a:pt x="12" y="4"/>
                    <a:pt x="9" y="4"/>
                  </a:cubicBezTo>
                  <a:cubicBezTo>
                    <a:pt x="6" y="4"/>
                    <a:pt x="5" y="7"/>
                    <a:pt x="5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65" name="Freeform 45">
              <a:extLst>
                <a:ext uri="{FF2B5EF4-FFF2-40B4-BE49-F238E27FC236}">
                  <a16:creationId xmlns:a16="http://schemas.microsoft.com/office/drawing/2014/main" id="{785B1235-FA8C-44F2-B50F-A3C833A96A2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8946" y="6793932"/>
              <a:ext cx="49855" cy="89134"/>
            </a:xfrm>
            <a:custGeom>
              <a:avLst/>
              <a:gdLst>
                <a:gd name="T0" fmla="*/ 17 w 33"/>
                <a:gd name="T1" fmla="*/ 12 h 59"/>
                <a:gd name="T2" fmla="*/ 5 w 33"/>
                <a:gd name="T3" fmla="*/ 19 h 59"/>
                <a:gd name="T4" fmla="*/ 0 w 33"/>
                <a:gd name="T5" fmla="*/ 9 h 59"/>
                <a:gd name="T6" fmla="*/ 19 w 33"/>
                <a:gd name="T7" fmla="*/ 0 h 59"/>
                <a:gd name="T8" fmla="*/ 26 w 33"/>
                <a:gd name="T9" fmla="*/ 0 h 59"/>
                <a:gd name="T10" fmla="*/ 26 w 33"/>
                <a:gd name="T11" fmla="*/ 49 h 59"/>
                <a:gd name="T12" fmla="*/ 33 w 33"/>
                <a:gd name="T13" fmla="*/ 49 h 59"/>
                <a:gd name="T14" fmla="*/ 33 w 33"/>
                <a:gd name="T15" fmla="*/ 59 h 59"/>
                <a:gd name="T16" fmla="*/ 10 w 33"/>
                <a:gd name="T17" fmla="*/ 59 h 59"/>
                <a:gd name="T18" fmla="*/ 10 w 33"/>
                <a:gd name="T19" fmla="*/ 49 h 59"/>
                <a:gd name="T20" fmla="*/ 17 w 33"/>
                <a:gd name="T21" fmla="*/ 49 h 59"/>
                <a:gd name="T22" fmla="*/ 17 w 33"/>
                <a:gd name="T23" fmla="*/ 1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9">
                  <a:moveTo>
                    <a:pt x="17" y="12"/>
                  </a:moveTo>
                  <a:lnTo>
                    <a:pt x="5" y="19"/>
                  </a:lnTo>
                  <a:lnTo>
                    <a:pt x="0" y="9"/>
                  </a:lnTo>
                  <a:lnTo>
                    <a:pt x="19" y="0"/>
                  </a:lnTo>
                  <a:lnTo>
                    <a:pt x="26" y="0"/>
                  </a:lnTo>
                  <a:lnTo>
                    <a:pt x="26" y="49"/>
                  </a:lnTo>
                  <a:lnTo>
                    <a:pt x="33" y="49"/>
                  </a:lnTo>
                  <a:lnTo>
                    <a:pt x="33" y="59"/>
                  </a:lnTo>
                  <a:lnTo>
                    <a:pt x="10" y="59"/>
                  </a:lnTo>
                  <a:lnTo>
                    <a:pt x="10" y="49"/>
                  </a:lnTo>
                  <a:lnTo>
                    <a:pt x="17" y="49"/>
                  </a:lnTo>
                  <a:lnTo>
                    <a:pt x="17" y="12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66" name="Freeform 63">
              <a:extLst>
                <a:ext uri="{FF2B5EF4-FFF2-40B4-BE49-F238E27FC236}">
                  <a16:creationId xmlns:a16="http://schemas.microsoft.com/office/drawing/2014/main" id="{E94932A7-7B92-4DA8-91A6-636305484A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56362" y="6333156"/>
              <a:ext cx="60430" cy="93666"/>
            </a:xfrm>
            <a:custGeom>
              <a:avLst/>
              <a:gdLst>
                <a:gd name="T0" fmla="*/ 17 w 17"/>
                <a:gd name="T1" fmla="*/ 13 h 26"/>
                <a:gd name="T2" fmla="*/ 9 w 17"/>
                <a:gd name="T3" fmla="*/ 26 h 26"/>
                <a:gd name="T4" fmla="*/ 0 w 17"/>
                <a:gd name="T5" fmla="*/ 13 h 26"/>
                <a:gd name="T6" fmla="*/ 9 w 17"/>
                <a:gd name="T7" fmla="*/ 0 h 26"/>
                <a:gd name="T8" fmla="*/ 17 w 17"/>
                <a:gd name="T9" fmla="*/ 13 h 26"/>
                <a:gd name="T10" fmla="*/ 4 w 17"/>
                <a:gd name="T11" fmla="*/ 13 h 26"/>
                <a:gd name="T12" fmla="*/ 9 w 17"/>
                <a:gd name="T13" fmla="*/ 22 h 26"/>
                <a:gd name="T14" fmla="*/ 13 w 17"/>
                <a:gd name="T15" fmla="*/ 13 h 26"/>
                <a:gd name="T16" fmla="*/ 9 w 17"/>
                <a:gd name="T17" fmla="*/ 4 h 26"/>
                <a:gd name="T18" fmla="*/ 4 w 17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6">
                  <a:moveTo>
                    <a:pt x="17" y="13"/>
                  </a:moveTo>
                  <a:cubicBezTo>
                    <a:pt x="17" y="22"/>
                    <a:pt x="14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5"/>
                    <a:pt x="3" y="0"/>
                    <a:pt x="9" y="0"/>
                  </a:cubicBezTo>
                  <a:cubicBezTo>
                    <a:pt x="14" y="0"/>
                    <a:pt x="17" y="5"/>
                    <a:pt x="17" y="13"/>
                  </a:cubicBezTo>
                  <a:close/>
                  <a:moveTo>
                    <a:pt x="4" y="13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7"/>
                    <a:pt x="11" y="4"/>
                    <a:pt x="9" y="4"/>
                  </a:cubicBezTo>
                  <a:cubicBezTo>
                    <a:pt x="6" y="4"/>
                    <a:pt x="4" y="7"/>
                    <a:pt x="4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67" name="Freeform 64">
              <a:extLst>
                <a:ext uri="{FF2B5EF4-FFF2-40B4-BE49-F238E27FC236}">
                  <a16:creationId xmlns:a16="http://schemas.microsoft.com/office/drawing/2014/main" id="{5AEB7138-2742-490D-806D-6AA362F595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56362" y="6487252"/>
              <a:ext cx="60430" cy="92156"/>
            </a:xfrm>
            <a:custGeom>
              <a:avLst/>
              <a:gdLst>
                <a:gd name="T0" fmla="*/ 17 w 17"/>
                <a:gd name="T1" fmla="*/ 13 h 26"/>
                <a:gd name="T2" fmla="*/ 9 w 17"/>
                <a:gd name="T3" fmla="*/ 26 h 26"/>
                <a:gd name="T4" fmla="*/ 0 w 17"/>
                <a:gd name="T5" fmla="*/ 13 h 26"/>
                <a:gd name="T6" fmla="*/ 9 w 17"/>
                <a:gd name="T7" fmla="*/ 0 h 26"/>
                <a:gd name="T8" fmla="*/ 17 w 17"/>
                <a:gd name="T9" fmla="*/ 13 h 26"/>
                <a:gd name="T10" fmla="*/ 4 w 17"/>
                <a:gd name="T11" fmla="*/ 13 h 26"/>
                <a:gd name="T12" fmla="*/ 9 w 17"/>
                <a:gd name="T13" fmla="*/ 22 h 26"/>
                <a:gd name="T14" fmla="*/ 13 w 17"/>
                <a:gd name="T15" fmla="*/ 13 h 26"/>
                <a:gd name="T16" fmla="*/ 9 w 17"/>
                <a:gd name="T17" fmla="*/ 4 h 26"/>
                <a:gd name="T18" fmla="*/ 4 w 17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6">
                  <a:moveTo>
                    <a:pt x="17" y="13"/>
                  </a:moveTo>
                  <a:cubicBezTo>
                    <a:pt x="17" y="21"/>
                    <a:pt x="14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4" y="0"/>
                    <a:pt x="17" y="4"/>
                    <a:pt x="17" y="13"/>
                  </a:cubicBezTo>
                  <a:close/>
                  <a:moveTo>
                    <a:pt x="4" y="13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7"/>
                    <a:pt x="11" y="4"/>
                    <a:pt x="9" y="4"/>
                  </a:cubicBezTo>
                  <a:cubicBezTo>
                    <a:pt x="6" y="4"/>
                    <a:pt x="4" y="7"/>
                    <a:pt x="4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68" name="Freeform 65">
              <a:extLst>
                <a:ext uri="{FF2B5EF4-FFF2-40B4-BE49-F238E27FC236}">
                  <a16:creationId xmlns:a16="http://schemas.microsoft.com/office/drawing/2014/main" id="{BE40DC3B-69E9-403B-BBFA-C45E27243F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60894" y="6793932"/>
              <a:ext cx="49855" cy="89134"/>
            </a:xfrm>
            <a:custGeom>
              <a:avLst/>
              <a:gdLst>
                <a:gd name="T0" fmla="*/ 16 w 33"/>
                <a:gd name="T1" fmla="*/ 12 h 59"/>
                <a:gd name="T2" fmla="*/ 4 w 33"/>
                <a:gd name="T3" fmla="*/ 19 h 59"/>
                <a:gd name="T4" fmla="*/ 0 w 33"/>
                <a:gd name="T5" fmla="*/ 9 h 59"/>
                <a:gd name="T6" fmla="*/ 16 w 33"/>
                <a:gd name="T7" fmla="*/ 0 h 59"/>
                <a:gd name="T8" fmla="*/ 26 w 33"/>
                <a:gd name="T9" fmla="*/ 0 h 59"/>
                <a:gd name="T10" fmla="*/ 26 w 33"/>
                <a:gd name="T11" fmla="*/ 49 h 59"/>
                <a:gd name="T12" fmla="*/ 33 w 33"/>
                <a:gd name="T13" fmla="*/ 49 h 59"/>
                <a:gd name="T14" fmla="*/ 33 w 33"/>
                <a:gd name="T15" fmla="*/ 59 h 59"/>
                <a:gd name="T16" fmla="*/ 7 w 33"/>
                <a:gd name="T17" fmla="*/ 59 h 59"/>
                <a:gd name="T18" fmla="*/ 7 w 33"/>
                <a:gd name="T19" fmla="*/ 49 h 59"/>
                <a:gd name="T20" fmla="*/ 16 w 33"/>
                <a:gd name="T21" fmla="*/ 49 h 59"/>
                <a:gd name="T22" fmla="*/ 16 w 33"/>
                <a:gd name="T23" fmla="*/ 1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9">
                  <a:moveTo>
                    <a:pt x="16" y="12"/>
                  </a:moveTo>
                  <a:lnTo>
                    <a:pt x="4" y="19"/>
                  </a:lnTo>
                  <a:lnTo>
                    <a:pt x="0" y="9"/>
                  </a:lnTo>
                  <a:lnTo>
                    <a:pt x="16" y="0"/>
                  </a:lnTo>
                  <a:lnTo>
                    <a:pt x="26" y="0"/>
                  </a:lnTo>
                  <a:lnTo>
                    <a:pt x="26" y="49"/>
                  </a:lnTo>
                  <a:lnTo>
                    <a:pt x="33" y="49"/>
                  </a:lnTo>
                  <a:lnTo>
                    <a:pt x="33" y="59"/>
                  </a:lnTo>
                  <a:lnTo>
                    <a:pt x="7" y="59"/>
                  </a:lnTo>
                  <a:lnTo>
                    <a:pt x="7" y="49"/>
                  </a:lnTo>
                  <a:lnTo>
                    <a:pt x="16" y="49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69" name="Freeform 83">
              <a:extLst>
                <a:ext uri="{FF2B5EF4-FFF2-40B4-BE49-F238E27FC236}">
                  <a16:creationId xmlns:a16="http://schemas.microsoft.com/office/drawing/2014/main" id="{F6A4E693-EF52-4DF1-BA0A-41F518DE7749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0062" y="6340710"/>
              <a:ext cx="92156" cy="157117"/>
            </a:xfrm>
            <a:custGeom>
              <a:avLst/>
              <a:gdLst>
                <a:gd name="T0" fmla="*/ 31 w 61"/>
                <a:gd name="T1" fmla="*/ 19 h 104"/>
                <a:gd name="T2" fmla="*/ 10 w 61"/>
                <a:gd name="T3" fmla="*/ 33 h 104"/>
                <a:gd name="T4" fmla="*/ 0 w 61"/>
                <a:gd name="T5" fmla="*/ 19 h 104"/>
                <a:gd name="T6" fmla="*/ 31 w 61"/>
                <a:gd name="T7" fmla="*/ 0 h 104"/>
                <a:gd name="T8" fmla="*/ 47 w 61"/>
                <a:gd name="T9" fmla="*/ 0 h 104"/>
                <a:gd name="T10" fmla="*/ 47 w 61"/>
                <a:gd name="T11" fmla="*/ 90 h 104"/>
                <a:gd name="T12" fmla="*/ 61 w 61"/>
                <a:gd name="T13" fmla="*/ 90 h 104"/>
                <a:gd name="T14" fmla="*/ 61 w 61"/>
                <a:gd name="T15" fmla="*/ 104 h 104"/>
                <a:gd name="T16" fmla="*/ 17 w 61"/>
                <a:gd name="T17" fmla="*/ 104 h 104"/>
                <a:gd name="T18" fmla="*/ 17 w 61"/>
                <a:gd name="T19" fmla="*/ 90 h 104"/>
                <a:gd name="T20" fmla="*/ 31 w 61"/>
                <a:gd name="T21" fmla="*/ 90 h 104"/>
                <a:gd name="T22" fmla="*/ 31 w 61"/>
                <a:gd name="T23" fmla="*/ 19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4">
                  <a:moveTo>
                    <a:pt x="31" y="19"/>
                  </a:moveTo>
                  <a:lnTo>
                    <a:pt x="10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0"/>
                  </a:lnTo>
                  <a:lnTo>
                    <a:pt x="61" y="90"/>
                  </a:lnTo>
                  <a:lnTo>
                    <a:pt x="61" y="104"/>
                  </a:lnTo>
                  <a:lnTo>
                    <a:pt x="17" y="104"/>
                  </a:lnTo>
                  <a:lnTo>
                    <a:pt x="17" y="90"/>
                  </a:lnTo>
                  <a:lnTo>
                    <a:pt x="31" y="90"/>
                  </a:lnTo>
                  <a:lnTo>
                    <a:pt x="31" y="19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70" name="Freeform 84">
              <a:extLst>
                <a:ext uri="{FF2B5EF4-FFF2-40B4-BE49-F238E27FC236}">
                  <a16:creationId xmlns:a16="http://schemas.microsoft.com/office/drawing/2014/main" id="{9882B5A1-8D76-4FD7-91C3-28907BF777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97040" y="6608111"/>
              <a:ext cx="110285" cy="164671"/>
            </a:xfrm>
            <a:custGeom>
              <a:avLst/>
              <a:gdLst>
                <a:gd name="T0" fmla="*/ 31 w 31"/>
                <a:gd name="T1" fmla="*/ 23 h 46"/>
                <a:gd name="T2" fmla="*/ 15 w 31"/>
                <a:gd name="T3" fmla="*/ 46 h 46"/>
                <a:gd name="T4" fmla="*/ 0 w 31"/>
                <a:gd name="T5" fmla="*/ 23 h 46"/>
                <a:gd name="T6" fmla="*/ 15 w 31"/>
                <a:gd name="T7" fmla="*/ 0 h 46"/>
                <a:gd name="T8" fmla="*/ 31 w 31"/>
                <a:gd name="T9" fmla="*/ 23 h 46"/>
                <a:gd name="T10" fmla="*/ 8 w 31"/>
                <a:gd name="T11" fmla="*/ 23 h 46"/>
                <a:gd name="T12" fmla="*/ 15 w 31"/>
                <a:gd name="T13" fmla="*/ 39 h 46"/>
                <a:gd name="T14" fmla="*/ 23 w 31"/>
                <a:gd name="T15" fmla="*/ 23 h 46"/>
                <a:gd name="T16" fmla="*/ 15 w 31"/>
                <a:gd name="T17" fmla="*/ 7 h 46"/>
                <a:gd name="T18" fmla="*/ 8 w 31"/>
                <a:gd name="T19" fmla="*/ 2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46">
                  <a:moveTo>
                    <a:pt x="31" y="23"/>
                  </a:moveTo>
                  <a:cubicBezTo>
                    <a:pt x="31" y="38"/>
                    <a:pt x="26" y="46"/>
                    <a:pt x="15" y="46"/>
                  </a:cubicBezTo>
                  <a:cubicBezTo>
                    <a:pt x="5" y="46"/>
                    <a:pt x="0" y="38"/>
                    <a:pt x="0" y="23"/>
                  </a:cubicBezTo>
                  <a:cubicBezTo>
                    <a:pt x="0" y="8"/>
                    <a:pt x="5" y="0"/>
                    <a:pt x="15" y="0"/>
                  </a:cubicBezTo>
                  <a:cubicBezTo>
                    <a:pt x="26" y="0"/>
                    <a:pt x="31" y="8"/>
                    <a:pt x="31" y="23"/>
                  </a:cubicBezTo>
                  <a:close/>
                  <a:moveTo>
                    <a:pt x="8" y="23"/>
                  </a:moveTo>
                  <a:cubicBezTo>
                    <a:pt x="8" y="34"/>
                    <a:pt x="10" y="39"/>
                    <a:pt x="15" y="39"/>
                  </a:cubicBezTo>
                  <a:cubicBezTo>
                    <a:pt x="20" y="39"/>
                    <a:pt x="23" y="34"/>
                    <a:pt x="23" y="23"/>
                  </a:cubicBezTo>
                  <a:cubicBezTo>
                    <a:pt x="23" y="12"/>
                    <a:pt x="20" y="7"/>
                    <a:pt x="15" y="7"/>
                  </a:cubicBezTo>
                  <a:cubicBezTo>
                    <a:pt x="10" y="7"/>
                    <a:pt x="8" y="12"/>
                    <a:pt x="8" y="2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71" name="Freeform 85">
              <a:extLst>
                <a:ext uri="{FF2B5EF4-FFF2-40B4-BE49-F238E27FC236}">
                  <a16:creationId xmlns:a16="http://schemas.microsoft.com/office/drawing/2014/main" id="{5EB47013-3B61-483B-91D7-5DD2CC05D3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97040" y="6880045"/>
              <a:ext cx="110285" cy="160139"/>
            </a:xfrm>
            <a:custGeom>
              <a:avLst/>
              <a:gdLst>
                <a:gd name="T0" fmla="*/ 31 w 31"/>
                <a:gd name="T1" fmla="*/ 23 h 45"/>
                <a:gd name="T2" fmla="*/ 15 w 31"/>
                <a:gd name="T3" fmla="*/ 45 h 45"/>
                <a:gd name="T4" fmla="*/ 0 w 31"/>
                <a:gd name="T5" fmla="*/ 23 h 45"/>
                <a:gd name="T6" fmla="*/ 15 w 31"/>
                <a:gd name="T7" fmla="*/ 0 h 45"/>
                <a:gd name="T8" fmla="*/ 31 w 31"/>
                <a:gd name="T9" fmla="*/ 23 h 45"/>
                <a:gd name="T10" fmla="*/ 8 w 31"/>
                <a:gd name="T11" fmla="*/ 23 h 45"/>
                <a:gd name="T12" fmla="*/ 15 w 31"/>
                <a:gd name="T13" fmla="*/ 39 h 45"/>
                <a:gd name="T14" fmla="*/ 23 w 31"/>
                <a:gd name="T15" fmla="*/ 23 h 45"/>
                <a:gd name="T16" fmla="*/ 15 w 31"/>
                <a:gd name="T17" fmla="*/ 6 h 45"/>
                <a:gd name="T18" fmla="*/ 8 w 31"/>
                <a:gd name="T19" fmla="*/ 2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45">
                  <a:moveTo>
                    <a:pt x="31" y="23"/>
                  </a:moveTo>
                  <a:cubicBezTo>
                    <a:pt x="31" y="38"/>
                    <a:pt x="26" y="45"/>
                    <a:pt x="15" y="45"/>
                  </a:cubicBezTo>
                  <a:cubicBezTo>
                    <a:pt x="5" y="45"/>
                    <a:pt x="0" y="38"/>
                    <a:pt x="0" y="23"/>
                  </a:cubicBezTo>
                  <a:cubicBezTo>
                    <a:pt x="0" y="8"/>
                    <a:pt x="5" y="0"/>
                    <a:pt x="15" y="0"/>
                  </a:cubicBezTo>
                  <a:cubicBezTo>
                    <a:pt x="26" y="0"/>
                    <a:pt x="31" y="8"/>
                    <a:pt x="31" y="23"/>
                  </a:cubicBezTo>
                  <a:close/>
                  <a:moveTo>
                    <a:pt x="8" y="23"/>
                  </a:moveTo>
                  <a:cubicBezTo>
                    <a:pt x="8" y="34"/>
                    <a:pt x="10" y="39"/>
                    <a:pt x="15" y="39"/>
                  </a:cubicBezTo>
                  <a:cubicBezTo>
                    <a:pt x="20" y="39"/>
                    <a:pt x="23" y="34"/>
                    <a:pt x="23" y="23"/>
                  </a:cubicBezTo>
                  <a:cubicBezTo>
                    <a:pt x="23" y="12"/>
                    <a:pt x="20" y="6"/>
                    <a:pt x="15" y="6"/>
                  </a:cubicBezTo>
                  <a:cubicBezTo>
                    <a:pt x="10" y="6"/>
                    <a:pt x="8" y="12"/>
                    <a:pt x="8" y="2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72" name="Freeform 95">
              <a:extLst>
                <a:ext uri="{FF2B5EF4-FFF2-40B4-BE49-F238E27FC236}">
                  <a16:creationId xmlns:a16="http://schemas.microsoft.com/office/drawing/2014/main" id="{E54E29FC-1D39-4C70-BF1A-3199A9C6419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1996" y="5455415"/>
              <a:ext cx="52876" cy="86113"/>
            </a:xfrm>
            <a:custGeom>
              <a:avLst/>
              <a:gdLst>
                <a:gd name="T0" fmla="*/ 16 w 35"/>
                <a:gd name="T1" fmla="*/ 14 h 57"/>
                <a:gd name="T2" fmla="*/ 7 w 35"/>
                <a:gd name="T3" fmla="*/ 21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7 h 57"/>
                <a:gd name="T12" fmla="*/ 35 w 35"/>
                <a:gd name="T13" fmla="*/ 47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7 h 57"/>
                <a:gd name="T20" fmla="*/ 16 w 35"/>
                <a:gd name="T21" fmla="*/ 47 h 57"/>
                <a:gd name="T22" fmla="*/ 16 w 35"/>
                <a:gd name="T23" fmla="*/ 1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4"/>
                  </a:moveTo>
                  <a:lnTo>
                    <a:pt x="7" y="21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73" name="Freeform 96">
              <a:extLst>
                <a:ext uri="{FF2B5EF4-FFF2-40B4-BE49-F238E27FC236}">
                  <a16:creationId xmlns:a16="http://schemas.microsoft.com/office/drawing/2014/main" id="{437EC6C7-F2DA-4C3C-A7CA-FF9007B57A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67464" y="5601957"/>
              <a:ext cx="67984" cy="86113"/>
            </a:xfrm>
            <a:custGeom>
              <a:avLst/>
              <a:gdLst>
                <a:gd name="T0" fmla="*/ 17 w 19"/>
                <a:gd name="T1" fmla="*/ 4 h 24"/>
                <a:gd name="T2" fmla="*/ 19 w 19"/>
                <a:gd name="T3" fmla="*/ 12 h 24"/>
                <a:gd name="T4" fmla="*/ 17 w 19"/>
                <a:gd name="T5" fmla="*/ 21 h 24"/>
                <a:gd name="T6" fmla="*/ 10 w 19"/>
                <a:gd name="T7" fmla="*/ 24 h 24"/>
                <a:gd name="T8" fmla="*/ 2 w 19"/>
                <a:gd name="T9" fmla="*/ 20 h 24"/>
                <a:gd name="T10" fmla="*/ 0 w 19"/>
                <a:gd name="T11" fmla="*/ 12 h 24"/>
                <a:gd name="T12" fmla="*/ 10 w 19"/>
                <a:gd name="T13" fmla="*/ 0 h 24"/>
                <a:gd name="T14" fmla="*/ 17 w 19"/>
                <a:gd name="T15" fmla="*/ 4 h 24"/>
                <a:gd name="T16" fmla="*/ 6 w 19"/>
                <a:gd name="T17" fmla="*/ 12 h 24"/>
                <a:gd name="T18" fmla="*/ 10 w 19"/>
                <a:gd name="T19" fmla="*/ 20 h 24"/>
                <a:gd name="T20" fmla="*/ 14 w 19"/>
                <a:gd name="T21" fmla="*/ 12 h 24"/>
                <a:gd name="T22" fmla="*/ 10 w 19"/>
                <a:gd name="T23" fmla="*/ 4 h 24"/>
                <a:gd name="T24" fmla="*/ 6 w 19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4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6"/>
                    <a:pt x="18" y="19"/>
                    <a:pt x="17" y="21"/>
                  </a:cubicBezTo>
                  <a:cubicBezTo>
                    <a:pt x="15" y="23"/>
                    <a:pt x="13" y="24"/>
                    <a:pt x="10" y="24"/>
                  </a:cubicBezTo>
                  <a:cubicBezTo>
                    <a:pt x="6" y="24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1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74" name="Freeform 97">
              <a:extLst>
                <a:ext uri="{FF2B5EF4-FFF2-40B4-BE49-F238E27FC236}">
                  <a16:creationId xmlns:a16="http://schemas.microsoft.com/office/drawing/2014/main" id="{AF453618-78A3-49A8-809F-D105851A945D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1996" y="5748499"/>
              <a:ext cx="52876" cy="84602"/>
            </a:xfrm>
            <a:custGeom>
              <a:avLst/>
              <a:gdLst>
                <a:gd name="T0" fmla="*/ 16 w 35"/>
                <a:gd name="T1" fmla="*/ 14 h 56"/>
                <a:gd name="T2" fmla="*/ 7 w 35"/>
                <a:gd name="T3" fmla="*/ 21 h 56"/>
                <a:gd name="T4" fmla="*/ 0 w 35"/>
                <a:gd name="T5" fmla="*/ 11 h 56"/>
                <a:gd name="T6" fmla="*/ 19 w 35"/>
                <a:gd name="T7" fmla="*/ 0 h 56"/>
                <a:gd name="T8" fmla="*/ 28 w 35"/>
                <a:gd name="T9" fmla="*/ 0 h 56"/>
                <a:gd name="T10" fmla="*/ 28 w 35"/>
                <a:gd name="T11" fmla="*/ 47 h 56"/>
                <a:gd name="T12" fmla="*/ 35 w 35"/>
                <a:gd name="T13" fmla="*/ 47 h 56"/>
                <a:gd name="T14" fmla="*/ 35 w 35"/>
                <a:gd name="T15" fmla="*/ 56 h 56"/>
                <a:gd name="T16" fmla="*/ 9 w 35"/>
                <a:gd name="T17" fmla="*/ 56 h 56"/>
                <a:gd name="T18" fmla="*/ 9 w 35"/>
                <a:gd name="T19" fmla="*/ 47 h 56"/>
                <a:gd name="T20" fmla="*/ 16 w 35"/>
                <a:gd name="T21" fmla="*/ 47 h 56"/>
                <a:gd name="T22" fmla="*/ 16 w 35"/>
                <a:gd name="T23" fmla="*/ 1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6">
                  <a:moveTo>
                    <a:pt x="16" y="14"/>
                  </a:moveTo>
                  <a:lnTo>
                    <a:pt x="7" y="21"/>
                  </a:lnTo>
                  <a:lnTo>
                    <a:pt x="0" y="11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6"/>
                  </a:lnTo>
                  <a:lnTo>
                    <a:pt x="9" y="56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75" name="Freeform 98">
              <a:extLst>
                <a:ext uri="{FF2B5EF4-FFF2-40B4-BE49-F238E27FC236}">
                  <a16:creationId xmlns:a16="http://schemas.microsoft.com/office/drawing/2014/main" id="{FC0813DB-0810-4AA5-8849-2417116AA2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67464" y="5895041"/>
              <a:ext cx="67984" cy="84602"/>
            </a:xfrm>
            <a:custGeom>
              <a:avLst/>
              <a:gdLst>
                <a:gd name="T0" fmla="*/ 17 w 19"/>
                <a:gd name="T1" fmla="*/ 4 h 24"/>
                <a:gd name="T2" fmla="*/ 19 w 19"/>
                <a:gd name="T3" fmla="*/ 12 h 24"/>
                <a:gd name="T4" fmla="*/ 17 w 19"/>
                <a:gd name="T5" fmla="*/ 21 h 24"/>
                <a:gd name="T6" fmla="*/ 10 w 19"/>
                <a:gd name="T7" fmla="*/ 24 h 24"/>
                <a:gd name="T8" fmla="*/ 2 w 19"/>
                <a:gd name="T9" fmla="*/ 20 h 24"/>
                <a:gd name="T10" fmla="*/ 0 w 19"/>
                <a:gd name="T11" fmla="*/ 12 h 24"/>
                <a:gd name="T12" fmla="*/ 10 w 19"/>
                <a:gd name="T13" fmla="*/ 0 h 24"/>
                <a:gd name="T14" fmla="*/ 17 w 19"/>
                <a:gd name="T15" fmla="*/ 4 h 24"/>
                <a:gd name="T16" fmla="*/ 6 w 19"/>
                <a:gd name="T17" fmla="*/ 12 h 24"/>
                <a:gd name="T18" fmla="*/ 10 w 19"/>
                <a:gd name="T19" fmla="*/ 20 h 24"/>
                <a:gd name="T20" fmla="*/ 14 w 19"/>
                <a:gd name="T21" fmla="*/ 12 h 24"/>
                <a:gd name="T22" fmla="*/ 10 w 19"/>
                <a:gd name="T23" fmla="*/ 4 h 24"/>
                <a:gd name="T24" fmla="*/ 6 w 19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4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6"/>
                    <a:pt x="18" y="19"/>
                    <a:pt x="17" y="21"/>
                  </a:cubicBezTo>
                  <a:cubicBezTo>
                    <a:pt x="15" y="23"/>
                    <a:pt x="13" y="24"/>
                    <a:pt x="10" y="24"/>
                  </a:cubicBezTo>
                  <a:cubicBezTo>
                    <a:pt x="6" y="24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1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76" name="Freeform 99">
              <a:extLst>
                <a:ext uri="{FF2B5EF4-FFF2-40B4-BE49-F238E27FC236}">
                  <a16:creationId xmlns:a16="http://schemas.microsoft.com/office/drawing/2014/main" id="{0A472C32-EF51-4D29-AA71-7CAE27E6FCB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1996" y="6040072"/>
              <a:ext cx="52876" cy="86113"/>
            </a:xfrm>
            <a:custGeom>
              <a:avLst/>
              <a:gdLst>
                <a:gd name="T0" fmla="*/ 16 w 35"/>
                <a:gd name="T1" fmla="*/ 15 h 57"/>
                <a:gd name="T2" fmla="*/ 7 w 35"/>
                <a:gd name="T3" fmla="*/ 22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8 h 57"/>
                <a:gd name="T12" fmla="*/ 35 w 35"/>
                <a:gd name="T13" fmla="*/ 48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8 h 57"/>
                <a:gd name="T20" fmla="*/ 16 w 35"/>
                <a:gd name="T21" fmla="*/ 48 h 57"/>
                <a:gd name="T22" fmla="*/ 16 w 35"/>
                <a:gd name="T23" fmla="*/ 1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5"/>
                  </a:moveTo>
                  <a:lnTo>
                    <a:pt x="7" y="22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8"/>
                  </a:lnTo>
                  <a:lnTo>
                    <a:pt x="35" y="48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8"/>
                  </a:lnTo>
                  <a:lnTo>
                    <a:pt x="16" y="48"/>
                  </a:lnTo>
                  <a:lnTo>
                    <a:pt x="16" y="15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77" name="Freeform 100">
              <a:extLst>
                <a:ext uri="{FF2B5EF4-FFF2-40B4-BE49-F238E27FC236}">
                  <a16:creationId xmlns:a16="http://schemas.microsoft.com/office/drawing/2014/main" id="{198ECE87-DAC1-4262-A4B7-BB055819F6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67464" y="6186614"/>
              <a:ext cx="67984" cy="86113"/>
            </a:xfrm>
            <a:custGeom>
              <a:avLst/>
              <a:gdLst>
                <a:gd name="T0" fmla="*/ 17 w 19"/>
                <a:gd name="T1" fmla="*/ 4 h 24"/>
                <a:gd name="T2" fmla="*/ 19 w 19"/>
                <a:gd name="T3" fmla="*/ 12 h 24"/>
                <a:gd name="T4" fmla="*/ 17 w 19"/>
                <a:gd name="T5" fmla="*/ 21 h 24"/>
                <a:gd name="T6" fmla="*/ 10 w 19"/>
                <a:gd name="T7" fmla="*/ 24 h 24"/>
                <a:gd name="T8" fmla="*/ 2 w 19"/>
                <a:gd name="T9" fmla="*/ 20 h 24"/>
                <a:gd name="T10" fmla="*/ 0 w 19"/>
                <a:gd name="T11" fmla="*/ 12 h 24"/>
                <a:gd name="T12" fmla="*/ 10 w 19"/>
                <a:gd name="T13" fmla="*/ 0 h 24"/>
                <a:gd name="T14" fmla="*/ 17 w 19"/>
                <a:gd name="T15" fmla="*/ 4 h 24"/>
                <a:gd name="T16" fmla="*/ 6 w 19"/>
                <a:gd name="T17" fmla="*/ 12 h 24"/>
                <a:gd name="T18" fmla="*/ 10 w 19"/>
                <a:gd name="T19" fmla="*/ 20 h 24"/>
                <a:gd name="T20" fmla="*/ 14 w 19"/>
                <a:gd name="T21" fmla="*/ 12 h 24"/>
                <a:gd name="T22" fmla="*/ 10 w 19"/>
                <a:gd name="T23" fmla="*/ 4 h 24"/>
                <a:gd name="T24" fmla="*/ 6 w 19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4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6"/>
                    <a:pt x="18" y="19"/>
                    <a:pt x="17" y="21"/>
                  </a:cubicBezTo>
                  <a:cubicBezTo>
                    <a:pt x="15" y="23"/>
                    <a:pt x="13" y="24"/>
                    <a:pt x="10" y="24"/>
                  </a:cubicBezTo>
                  <a:cubicBezTo>
                    <a:pt x="6" y="24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1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78" name="Freeform 101">
              <a:extLst>
                <a:ext uri="{FF2B5EF4-FFF2-40B4-BE49-F238E27FC236}">
                  <a16:creationId xmlns:a16="http://schemas.microsoft.com/office/drawing/2014/main" id="{237C6D2D-8111-4F45-B54F-9BA3F4DFD5FF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1996" y="6333156"/>
              <a:ext cx="52876" cy="86113"/>
            </a:xfrm>
            <a:custGeom>
              <a:avLst/>
              <a:gdLst>
                <a:gd name="T0" fmla="*/ 16 w 35"/>
                <a:gd name="T1" fmla="*/ 14 h 57"/>
                <a:gd name="T2" fmla="*/ 7 w 35"/>
                <a:gd name="T3" fmla="*/ 21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7 h 57"/>
                <a:gd name="T12" fmla="*/ 35 w 35"/>
                <a:gd name="T13" fmla="*/ 47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7 h 57"/>
                <a:gd name="T20" fmla="*/ 16 w 35"/>
                <a:gd name="T21" fmla="*/ 47 h 57"/>
                <a:gd name="T22" fmla="*/ 16 w 35"/>
                <a:gd name="T23" fmla="*/ 1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4"/>
                  </a:moveTo>
                  <a:lnTo>
                    <a:pt x="7" y="21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79" name="Freeform 102">
              <a:extLst>
                <a:ext uri="{FF2B5EF4-FFF2-40B4-BE49-F238E27FC236}">
                  <a16:creationId xmlns:a16="http://schemas.microsoft.com/office/drawing/2014/main" id="{755E0E9F-368D-478E-86C0-73AB27B09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1996" y="6479698"/>
              <a:ext cx="52876" cy="86113"/>
            </a:xfrm>
            <a:custGeom>
              <a:avLst/>
              <a:gdLst>
                <a:gd name="T0" fmla="*/ 16 w 35"/>
                <a:gd name="T1" fmla="*/ 14 h 57"/>
                <a:gd name="T2" fmla="*/ 7 w 35"/>
                <a:gd name="T3" fmla="*/ 21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7 h 57"/>
                <a:gd name="T12" fmla="*/ 35 w 35"/>
                <a:gd name="T13" fmla="*/ 47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7 h 57"/>
                <a:gd name="T20" fmla="*/ 16 w 35"/>
                <a:gd name="T21" fmla="*/ 47 h 57"/>
                <a:gd name="T22" fmla="*/ 16 w 35"/>
                <a:gd name="T23" fmla="*/ 1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4"/>
                  </a:moveTo>
                  <a:lnTo>
                    <a:pt x="7" y="21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80" name="Freeform 103">
              <a:extLst>
                <a:ext uri="{FF2B5EF4-FFF2-40B4-BE49-F238E27FC236}">
                  <a16:creationId xmlns:a16="http://schemas.microsoft.com/office/drawing/2014/main" id="{84D25DF6-42AB-43B7-AA2A-EB96652FE0E1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1996" y="6629262"/>
              <a:ext cx="52876" cy="83091"/>
            </a:xfrm>
            <a:custGeom>
              <a:avLst/>
              <a:gdLst>
                <a:gd name="T0" fmla="*/ 16 w 35"/>
                <a:gd name="T1" fmla="*/ 12 h 55"/>
                <a:gd name="T2" fmla="*/ 7 w 35"/>
                <a:gd name="T3" fmla="*/ 19 h 55"/>
                <a:gd name="T4" fmla="*/ 0 w 35"/>
                <a:gd name="T5" fmla="*/ 10 h 55"/>
                <a:gd name="T6" fmla="*/ 19 w 35"/>
                <a:gd name="T7" fmla="*/ 0 h 55"/>
                <a:gd name="T8" fmla="*/ 28 w 35"/>
                <a:gd name="T9" fmla="*/ 0 h 55"/>
                <a:gd name="T10" fmla="*/ 28 w 35"/>
                <a:gd name="T11" fmla="*/ 45 h 55"/>
                <a:gd name="T12" fmla="*/ 35 w 35"/>
                <a:gd name="T13" fmla="*/ 45 h 55"/>
                <a:gd name="T14" fmla="*/ 35 w 35"/>
                <a:gd name="T15" fmla="*/ 55 h 55"/>
                <a:gd name="T16" fmla="*/ 9 w 35"/>
                <a:gd name="T17" fmla="*/ 55 h 55"/>
                <a:gd name="T18" fmla="*/ 9 w 35"/>
                <a:gd name="T19" fmla="*/ 45 h 55"/>
                <a:gd name="T20" fmla="*/ 16 w 35"/>
                <a:gd name="T21" fmla="*/ 45 h 55"/>
                <a:gd name="T22" fmla="*/ 16 w 35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5">
                  <a:moveTo>
                    <a:pt x="16" y="12"/>
                  </a:moveTo>
                  <a:lnTo>
                    <a:pt x="7" y="19"/>
                  </a:lnTo>
                  <a:lnTo>
                    <a:pt x="0" y="10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5"/>
                  </a:lnTo>
                  <a:lnTo>
                    <a:pt x="35" y="45"/>
                  </a:lnTo>
                  <a:lnTo>
                    <a:pt x="35" y="55"/>
                  </a:lnTo>
                  <a:lnTo>
                    <a:pt x="9" y="55"/>
                  </a:lnTo>
                  <a:lnTo>
                    <a:pt x="9" y="45"/>
                  </a:lnTo>
                  <a:lnTo>
                    <a:pt x="16" y="45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81" name="Freeform 104">
              <a:extLst>
                <a:ext uri="{FF2B5EF4-FFF2-40B4-BE49-F238E27FC236}">
                  <a16:creationId xmlns:a16="http://schemas.microsoft.com/office/drawing/2014/main" id="{E235CC2B-52AB-40D4-8331-BFB7F8DA86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67464" y="6772782"/>
              <a:ext cx="67984" cy="89134"/>
            </a:xfrm>
            <a:custGeom>
              <a:avLst/>
              <a:gdLst>
                <a:gd name="T0" fmla="*/ 17 w 19"/>
                <a:gd name="T1" fmla="*/ 4 h 25"/>
                <a:gd name="T2" fmla="*/ 19 w 19"/>
                <a:gd name="T3" fmla="*/ 12 h 25"/>
                <a:gd name="T4" fmla="*/ 17 w 19"/>
                <a:gd name="T5" fmla="*/ 21 h 25"/>
                <a:gd name="T6" fmla="*/ 10 w 19"/>
                <a:gd name="T7" fmla="*/ 25 h 25"/>
                <a:gd name="T8" fmla="*/ 2 w 19"/>
                <a:gd name="T9" fmla="*/ 20 h 25"/>
                <a:gd name="T10" fmla="*/ 0 w 19"/>
                <a:gd name="T11" fmla="*/ 12 h 25"/>
                <a:gd name="T12" fmla="*/ 10 w 19"/>
                <a:gd name="T13" fmla="*/ 0 h 25"/>
                <a:gd name="T14" fmla="*/ 17 w 19"/>
                <a:gd name="T15" fmla="*/ 4 h 25"/>
                <a:gd name="T16" fmla="*/ 6 w 19"/>
                <a:gd name="T17" fmla="*/ 12 h 25"/>
                <a:gd name="T18" fmla="*/ 10 w 19"/>
                <a:gd name="T19" fmla="*/ 20 h 25"/>
                <a:gd name="T20" fmla="*/ 14 w 19"/>
                <a:gd name="T21" fmla="*/ 12 h 25"/>
                <a:gd name="T22" fmla="*/ 10 w 19"/>
                <a:gd name="T23" fmla="*/ 4 h 25"/>
                <a:gd name="T24" fmla="*/ 6 w 19"/>
                <a:gd name="T25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5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7"/>
                    <a:pt x="18" y="19"/>
                    <a:pt x="17" y="21"/>
                  </a:cubicBezTo>
                  <a:cubicBezTo>
                    <a:pt x="15" y="23"/>
                    <a:pt x="13" y="25"/>
                    <a:pt x="10" y="25"/>
                  </a:cubicBezTo>
                  <a:cubicBezTo>
                    <a:pt x="6" y="25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2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82" name="Freeform 105">
              <a:extLst>
                <a:ext uri="{FF2B5EF4-FFF2-40B4-BE49-F238E27FC236}">
                  <a16:creationId xmlns:a16="http://schemas.microsoft.com/office/drawing/2014/main" id="{E23A9CC9-DD53-4929-BAC8-ED4B59F48A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1996" y="6922346"/>
              <a:ext cx="52876" cy="81580"/>
            </a:xfrm>
            <a:custGeom>
              <a:avLst/>
              <a:gdLst>
                <a:gd name="T0" fmla="*/ 16 w 35"/>
                <a:gd name="T1" fmla="*/ 12 h 54"/>
                <a:gd name="T2" fmla="*/ 7 w 35"/>
                <a:gd name="T3" fmla="*/ 19 h 54"/>
                <a:gd name="T4" fmla="*/ 0 w 35"/>
                <a:gd name="T5" fmla="*/ 9 h 54"/>
                <a:gd name="T6" fmla="*/ 19 w 35"/>
                <a:gd name="T7" fmla="*/ 0 h 54"/>
                <a:gd name="T8" fmla="*/ 28 w 35"/>
                <a:gd name="T9" fmla="*/ 0 h 54"/>
                <a:gd name="T10" fmla="*/ 28 w 35"/>
                <a:gd name="T11" fmla="*/ 45 h 54"/>
                <a:gd name="T12" fmla="*/ 35 w 35"/>
                <a:gd name="T13" fmla="*/ 45 h 54"/>
                <a:gd name="T14" fmla="*/ 35 w 35"/>
                <a:gd name="T15" fmla="*/ 54 h 54"/>
                <a:gd name="T16" fmla="*/ 9 w 35"/>
                <a:gd name="T17" fmla="*/ 54 h 54"/>
                <a:gd name="T18" fmla="*/ 9 w 35"/>
                <a:gd name="T19" fmla="*/ 45 h 54"/>
                <a:gd name="T20" fmla="*/ 16 w 35"/>
                <a:gd name="T21" fmla="*/ 45 h 54"/>
                <a:gd name="T22" fmla="*/ 16 w 35"/>
                <a:gd name="T23" fmla="*/ 1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4">
                  <a:moveTo>
                    <a:pt x="16" y="12"/>
                  </a:moveTo>
                  <a:lnTo>
                    <a:pt x="7" y="19"/>
                  </a:lnTo>
                  <a:lnTo>
                    <a:pt x="0" y="9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5"/>
                  </a:lnTo>
                  <a:lnTo>
                    <a:pt x="35" y="45"/>
                  </a:lnTo>
                  <a:lnTo>
                    <a:pt x="35" y="54"/>
                  </a:lnTo>
                  <a:lnTo>
                    <a:pt x="9" y="54"/>
                  </a:lnTo>
                  <a:lnTo>
                    <a:pt x="9" y="45"/>
                  </a:lnTo>
                  <a:lnTo>
                    <a:pt x="16" y="45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83" name="Freeform 135">
              <a:extLst>
                <a:ext uri="{FF2B5EF4-FFF2-40B4-BE49-F238E27FC236}">
                  <a16:creationId xmlns:a16="http://schemas.microsoft.com/office/drawing/2014/main" id="{A193FC90-C5FC-443E-BDAB-20BDCB115CF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2085" y="5822526"/>
              <a:ext cx="60430" cy="111795"/>
            </a:xfrm>
            <a:custGeom>
              <a:avLst/>
              <a:gdLst>
                <a:gd name="T0" fmla="*/ 19 w 40"/>
                <a:gd name="T1" fmla="*/ 14 h 74"/>
                <a:gd name="T2" fmla="*/ 4 w 40"/>
                <a:gd name="T3" fmla="*/ 24 h 74"/>
                <a:gd name="T4" fmla="*/ 0 w 40"/>
                <a:gd name="T5" fmla="*/ 14 h 74"/>
                <a:gd name="T6" fmla="*/ 21 w 40"/>
                <a:gd name="T7" fmla="*/ 0 h 74"/>
                <a:gd name="T8" fmla="*/ 30 w 40"/>
                <a:gd name="T9" fmla="*/ 0 h 74"/>
                <a:gd name="T10" fmla="*/ 30 w 40"/>
                <a:gd name="T11" fmla="*/ 64 h 74"/>
                <a:gd name="T12" fmla="*/ 40 w 40"/>
                <a:gd name="T13" fmla="*/ 64 h 74"/>
                <a:gd name="T14" fmla="*/ 40 w 40"/>
                <a:gd name="T15" fmla="*/ 74 h 74"/>
                <a:gd name="T16" fmla="*/ 9 w 40"/>
                <a:gd name="T17" fmla="*/ 74 h 74"/>
                <a:gd name="T18" fmla="*/ 9 w 40"/>
                <a:gd name="T19" fmla="*/ 64 h 74"/>
                <a:gd name="T20" fmla="*/ 19 w 40"/>
                <a:gd name="T21" fmla="*/ 64 h 74"/>
                <a:gd name="T22" fmla="*/ 19 w 40"/>
                <a:gd name="T23" fmla="*/ 1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4">
                  <a:moveTo>
                    <a:pt x="19" y="14"/>
                  </a:moveTo>
                  <a:lnTo>
                    <a:pt x="4" y="24"/>
                  </a:lnTo>
                  <a:lnTo>
                    <a:pt x="0" y="14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4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9" y="74"/>
                  </a:lnTo>
                  <a:lnTo>
                    <a:pt x="9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84" name="Freeform 136">
              <a:extLst>
                <a:ext uri="{FF2B5EF4-FFF2-40B4-BE49-F238E27FC236}">
                  <a16:creationId xmlns:a16="http://schemas.microsoft.com/office/drawing/2014/main" id="{B27BF75C-784C-4E67-8739-B75472B537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17554" y="6011368"/>
              <a:ext cx="75537" cy="114816"/>
            </a:xfrm>
            <a:custGeom>
              <a:avLst/>
              <a:gdLst>
                <a:gd name="T0" fmla="*/ 21 w 21"/>
                <a:gd name="T1" fmla="*/ 16 h 32"/>
                <a:gd name="T2" fmla="*/ 10 w 21"/>
                <a:gd name="T3" fmla="*/ 32 h 32"/>
                <a:gd name="T4" fmla="*/ 0 w 21"/>
                <a:gd name="T5" fmla="*/ 16 h 32"/>
                <a:gd name="T6" fmla="*/ 10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0 w 21"/>
                <a:gd name="T13" fmla="*/ 28 h 32"/>
                <a:gd name="T14" fmla="*/ 16 w 21"/>
                <a:gd name="T15" fmla="*/ 16 h 32"/>
                <a:gd name="T16" fmla="*/ 10 w 21"/>
                <a:gd name="T17" fmla="*/ 5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7"/>
                    <a:pt x="18" y="32"/>
                    <a:pt x="10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0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8"/>
                    <a:pt x="10" y="28"/>
                  </a:cubicBezTo>
                  <a:cubicBezTo>
                    <a:pt x="14" y="28"/>
                    <a:pt x="16" y="24"/>
                    <a:pt x="16" y="16"/>
                  </a:cubicBezTo>
                  <a:cubicBezTo>
                    <a:pt x="16" y="8"/>
                    <a:pt x="14" y="5"/>
                    <a:pt x="10" y="5"/>
                  </a:cubicBezTo>
                  <a:cubicBezTo>
                    <a:pt x="7" y="5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85" name="Freeform 137">
              <a:extLst>
                <a:ext uri="{FF2B5EF4-FFF2-40B4-BE49-F238E27FC236}">
                  <a16:creationId xmlns:a16="http://schemas.microsoft.com/office/drawing/2014/main" id="{26227BA7-96DF-4F65-9630-DB38E21D2A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17554" y="6393586"/>
              <a:ext cx="75537" cy="114816"/>
            </a:xfrm>
            <a:custGeom>
              <a:avLst/>
              <a:gdLst>
                <a:gd name="T0" fmla="*/ 21 w 21"/>
                <a:gd name="T1" fmla="*/ 16 h 32"/>
                <a:gd name="T2" fmla="*/ 10 w 21"/>
                <a:gd name="T3" fmla="*/ 32 h 32"/>
                <a:gd name="T4" fmla="*/ 0 w 21"/>
                <a:gd name="T5" fmla="*/ 16 h 32"/>
                <a:gd name="T6" fmla="*/ 10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0 w 21"/>
                <a:gd name="T13" fmla="*/ 27 h 32"/>
                <a:gd name="T14" fmla="*/ 16 w 21"/>
                <a:gd name="T15" fmla="*/ 16 h 32"/>
                <a:gd name="T16" fmla="*/ 10 w 21"/>
                <a:gd name="T17" fmla="*/ 4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6"/>
                    <a:pt x="18" y="32"/>
                    <a:pt x="10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0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7"/>
                    <a:pt x="10" y="27"/>
                  </a:cubicBezTo>
                  <a:cubicBezTo>
                    <a:pt x="14" y="27"/>
                    <a:pt x="16" y="24"/>
                    <a:pt x="16" y="16"/>
                  </a:cubicBezTo>
                  <a:cubicBezTo>
                    <a:pt x="16" y="8"/>
                    <a:pt x="14" y="4"/>
                    <a:pt x="10" y="4"/>
                  </a:cubicBezTo>
                  <a:cubicBezTo>
                    <a:pt x="7" y="4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86" name="Freeform 138">
              <a:extLst>
                <a:ext uri="{FF2B5EF4-FFF2-40B4-BE49-F238E27FC236}">
                  <a16:creationId xmlns:a16="http://schemas.microsoft.com/office/drawing/2014/main" id="{2B204262-1D7D-4C57-A50A-477D4A06A2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2085" y="6586961"/>
              <a:ext cx="60430" cy="107263"/>
            </a:xfrm>
            <a:custGeom>
              <a:avLst/>
              <a:gdLst>
                <a:gd name="T0" fmla="*/ 19 w 40"/>
                <a:gd name="T1" fmla="*/ 12 h 71"/>
                <a:gd name="T2" fmla="*/ 4 w 40"/>
                <a:gd name="T3" fmla="*/ 21 h 71"/>
                <a:gd name="T4" fmla="*/ 0 w 40"/>
                <a:gd name="T5" fmla="*/ 12 h 71"/>
                <a:gd name="T6" fmla="*/ 21 w 40"/>
                <a:gd name="T7" fmla="*/ 0 h 71"/>
                <a:gd name="T8" fmla="*/ 30 w 40"/>
                <a:gd name="T9" fmla="*/ 0 h 71"/>
                <a:gd name="T10" fmla="*/ 30 w 40"/>
                <a:gd name="T11" fmla="*/ 64 h 71"/>
                <a:gd name="T12" fmla="*/ 40 w 40"/>
                <a:gd name="T13" fmla="*/ 64 h 71"/>
                <a:gd name="T14" fmla="*/ 40 w 40"/>
                <a:gd name="T15" fmla="*/ 71 h 71"/>
                <a:gd name="T16" fmla="*/ 9 w 40"/>
                <a:gd name="T17" fmla="*/ 71 h 71"/>
                <a:gd name="T18" fmla="*/ 9 w 40"/>
                <a:gd name="T19" fmla="*/ 64 h 71"/>
                <a:gd name="T20" fmla="*/ 19 w 40"/>
                <a:gd name="T21" fmla="*/ 64 h 71"/>
                <a:gd name="T22" fmla="*/ 19 w 40"/>
                <a:gd name="T23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1">
                  <a:moveTo>
                    <a:pt x="19" y="12"/>
                  </a:moveTo>
                  <a:lnTo>
                    <a:pt x="4" y="21"/>
                  </a:lnTo>
                  <a:lnTo>
                    <a:pt x="0" y="12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4"/>
                  </a:lnTo>
                  <a:lnTo>
                    <a:pt x="40" y="64"/>
                  </a:lnTo>
                  <a:lnTo>
                    <a:pt x="40" y="71"/>
                  </a:lnTo>
                  <a:lnTo>
                    <a:pt x="9" y="71"/>
                  </a:lnTo>
                  <a:lnTo>
                    <a:pt x="9" y="64"/>
                  </a:lnTo>
                  <a:lnTo>
                    <a:pt x="19" y="64"/>
                  </a:lnTo>
                  <a:lnTo>
                    <a:pt x="19" y="12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87" name="Freeform 139">
              <a:extLst>
                <a:ext uri="{FF2B5EF4-FFF2-40B4-BE49-F238E27FC236}">
                  <a16:creationId xmlns:a16="http://schemas.microsoft.com/office/drawing/2014/main" id="{FA4352C1-EC58-4B85-9464-F68E15DC1EB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2085" y="6775803"/>
              <a:ext cx="60430" cy="110285"/>
            </a:xfrm>
            <a:custGeom>
              <a:avLst/>
              <a:gdLst>
                <a:gd name="T0" fmla="*/ 19 w 40"/>
                <a:gd name="T1" fmla="*/ 14 h 73"/>
                <a:gd name="T2" fmla="*/ 4 w 40"/>
                <a:gd name="T3" fmla="*/ 24 h 73"/>
                <a:gd name="T4" fmla="*/ 0 w 40"/>
                <a:gd name="T5" fmla="*/ 14 h 73"/>
                <a:gd name="T6" fmla="*/ 21 w 40"/>
                <a:gd name="T7" fmla="*/ 0 h 73"/>
                <a:gd name="T8" fmla="*/ 30 w 40"/>
                <a:gd name="T9" fmla="*/ 0 h 73"/>
                <a:gd name="T10" fmla="*/ 30 w 40"/>
                <a:gd name="T11" fmla="*/ 64 h 73"/>
                <a:gd name="T12" fmla="*/ 40 w 40"/>
                <a:gd name="T13" fmla="*/ 64 h 73"/>
                <a:gd name="T14" fmla="*/ 40 w 40"/>
                <a:gd name="T15" fmla="*/ 73 h 73"/>
                <a:gd name="T16" fmla="*/ 9 w 40"/>
                <a:gd name="T17" fmla="*/ 73 h 73"/>
                <a:gd name="T18" fmla="*/ 9 w 40"/>
                <a:gd name="T19" fmla="*/ 64 h 73"/>
                <a:gd name="T20" fmla="*/ 19 w 40"/>
                <a:gd name="T21" fmla="*/ 64 h 73"/>
                <a:gd name="T22" fmla="*/ 19 w 40"/>
                <a:gd name="T23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3">
                  <a:moveTo>
                    <a:pt x="19" y="14"/>
                  </a:moveTo>
                  <a:lnTo>
                    <a:pt x="4" y="24"/>
                  </a:lnTo>
                  <a:lnTo>
                    <a:pt x="0" y="14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4"/>
                  </a:lnTo>
                  <a:lnTo>
                    <a:pt x="40" y="64"/>
                  </a:lnTo>
                  <a:lnTo>
                    <a:pt x="40" y="73"/>
                  </a:lnTo>
                  <a:lnTo>
                    <a:pt x="9" y="73"/>
                  </a:lnTo>
                  <a:lnTo>
                    <a:pt x="9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88" name="Freeform 149">
              <a:extLst>
                <a:ext uri="{FF2B5EF4-FFF2-40B4-BE49-F238E27FC236}">
                  <a16:creationId xmlns:a16="http://schemas.microsoft.com/office/drawing/2014/main" id="{170BFC86-1910-4A9A-ADB1-AB714AB710F4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8386" y="5465991"/>
              <a:ext cx="92156" cy="164671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5 h 109"/>
                <a:gd name="T12" fmla="*/ 61 w 61"/>
                <a:gd name="T13" fmla="*/ 95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5 h 109"/>
                <a:gd name="T20" fmla="*/ 28 w 61"/>
                <a:gd name="T21" fmla="*/ 95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5"/>
                  </a:lnTo>
                  <a:lnTo>
                    <a:pt x="61" y="95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5"/>
                  </a:lnTo>
                  <a:lnTo>
                    <a:pt x="28" y="95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89" name="Freeform 150">
              <a:extLst>
                <a:ext uri="{FF2B5EF4-FFF2-40B4-BE49-F238E27FC236}">
                  <a16:creationId xmlns:a16="http://schemas.microsoft.com/office/drawing/2014/main" id="{E0CD7E2F-0CFE-4FD2-82CB-9B6AD1513A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70831" y="5748499"/>
              <a:ext cx="114816" cy="170714"/>
            </a:xfrm>
            <a:custGeom>
              <a:avLst/>
              <a:gdLst>
                <a:gd name="T0" fmla="*/ 32 w 32"/>
                <a:gd name="T1" fmla="*/ 24 h 48"/>
                <a:gd name="T2" fmla="*/ 16 w 32"/>
                <a:gd name="T3" fmla="*/ 48 h 48"/>
                <a:gd name="T4" fmla="*/ 0 w 32"/>
                <a:gd name="T5" fmla="*/ 24 h 48"/>
                <a:gd name="T6" fmla="*/ 16 w 32"/>
                <a:gd name="T7" fmla="*/ 0 h 48"/>
                <a:gd name="T8" fmla="*/ 32 w 32"/>
                <a:gd name="T9" fmla="*/ 24 h 48"/>
                <a:gd name="T10" fmla="*/ 8 w 32"/>
                <a:gd name="T11" fmla="*/ 24 h 48"/>
                <a:gd name="T12" fmla="*/ 16 w 32"/>
                <a:gd name="T13" fmla="*/ 41 h 48"/>
                <a:gd name="T14" fmla="*/ 24 w 32"/>
                <a:gd name="T15" fmla="*/ 24 h 48"/>
                <a:gd name="T16" fmla="*/ 16 w 32"/>
                <a:gd name="T17" fmla="*/ 7 h 48"/>
                <a:gd name="T18" fmla="*/ 8 w 32"/>
                <a:gd name="T19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8">
                  <a:moveTo>
                    <a:pt x="32" y="24"/>
                  </a:moveTo>
                  <a:cubicBezTo>
                    <a:pt x="32" y="40"/>
                    <a:pt x="27" y="48"/>
                    <a:pt x="16" y="48"/>
                  </a:cubicBezTo>
                  <a:cubicBezTo>
                    <a:pt x="5" y="48"/>
                    <a:pt x="0" y="40"/>
                    <a:pt x="0" y="24"/>
                  </a:cubicBezTo>
                  <a:cubicBezTo>
                    <a:pt x="0" y="8"/>
                    <a:pt x="5" y="0"/>
                    <a:pt x="16" y="0"/>
                  </a:cubicBezTo>
                  <a:cubicBezTo>
                    <a:pt x="27" y="0"/>
                    <a:pt x="32" y="8"/>
                    <a:pt x="32" y="24"/>
                  </a:cubicBezTo>
                  <a:close/>
                  <a:moveTo>
                    <a:pt x="8" y="24"/>
                  </a:moveTo>
                  <a:cubicBezTo>
                    <a:pt x="8" y="36"/>
                    <a:pt x="11" y="41"/>
                    <a:pt x="16" y="41"/>
                  </a:cubicBezTo>
                  <a:cubicBezTo>
                    <a:pt x="22" y="41"/>
                    <a:pt x="24" y="36"/>
                    <a:pt x="24" y="24"/>
                  </a:cubicBezTo>
                  <a:cubicBezTo>
                    <a:pt x="24" y="12"/>
                    <a:pt x="22" y="7"/>
                    <a:pt x="16" y="7"/>
                  </a:cubicBezTo>
                  <a:cubicBezTo>
                    <a:pt x="11" y="7"/>
                    <a:pt x="8" y="12"/>
                    <a:pt x="8" y="24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90" name="Freeform 151">
              <a:extLst>
                <a:ext uri="{FF2B5EF4-FFF2-40B4-BE49-F238E27FC236}">
                  <a16:creationId xmlns:a16="http://schemas.microsoft.com/office/drawing/2014/main" id="{24A33D2D-3EA2-4BBD-B752-2BCAF9354AB8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8386" y="6037051"/>
              <a:ext cx="92156" cy="164671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5 h 109"/>
                <a:gd name="T12" fmla="*/ 61 w 61"/>
                <a:gd name="T13" fmla="*/ 95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5 h 109"/>
                <a:gd name="T20" fmla="*/ 28 w 61"/>
                <a:gd name="T21" fmla="*/ 95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5"/>
                  </a:lnTo>
                  <a:lnTo>
                    <a:pt x="61" y="95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5"/>
                  </a:lnTo>
                  <a:lnTo>
                    <a:pt x="28" y="95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91" name="Freeform 152">
              <a:extLst>
                <a:ext uri="{FF2B5EF4-FFF2-40B4-BE49-F238E27FC236}">
                  <a16:creationId xmlns:a16="http://schemas.microsoft.com/office/drawing/2014/main" id="{1FFB7A10-1DB5-4C5D-93D3-271E2EDE25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70831" y="6319559"/>
              <a:ext cx="114816" cy="170714"/>
            </a:xfrm>
            <a:custGeom>
              <a:avLst/>
              <a:gdLst>
                <a:gd name="T0" fmla="*/ 32 w 32"/>
                <a:gd name="T1" fmla="*/ 24 h 48"/>
                <a:gd name="T2" fmla="*/ 16 w 32"/>
                <a:gd name="T3" fmla="*/ 48 h 48"/>
                <a:gd name="T4" fmla="*/ 0 w 32"/>
                <a:gd name="T5" fmla="*/ 24 h 48"/>
                <a:gd name="T6" fmla="*/ 16 w 32"/>
                <a:gd name="T7" fmla="*/ 0 h 48"/>
                <a:gd name="T8" fmla="*/ 32 w 32"/>
                <a:gd name="T9" fmla="*/ 24 h 48"/>
                <a:gd name="T10" fmla="*/ 8 w 32"/>
                <a:gd name="T11" fmla="*/ 24 h 48"/>
                <a:gd name="T12" fmla="*/ 16 w 32"/>
                <a:gd name="T13" fmla="*/ 41 h 48"/>
                <a:gd name="T14" fmla="*/ 24 w 32"/>
                <a:gd name="T15" fmla="*/ 24 h 48"/>
                <a:gd name="T16" fmla="*/ 16 w 32"/>
                <a:gd name="T17" fmla="*/ 7 h 48"/>
                <a:gd name="T18" fmla="*/ 8 w 32"/>
                <a:gd name="T19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8">
                  <a:moveTo>
                    <a:pt x="32" y="24"/>
                  </a:moveTo>
                  <a:cubicBezTo>
                    <a:pt x="32" y="40"/>
                    <a:pt x="27" y="48"/>
                    <a:pt x="16" y="48"/>
                  </a:cubicBezTo>
                  <a:cubicBezTo>
                    <a:pt x="5" y="48"/>
                    <a:pt x="0" y="40"/>
                    <a:pt x="0" y="24"/>
                  </a:cubicBezTo>
                  <a:cubicBezTo>
                    <a:pt x="0" y="8"/>
                    <a:pt x="5" y="0"/>
                    <a:pt x="16" y="0"/>
                  </a:cubicBezTo>
                  <a:cubicBezTo>
                    <a:pt x="27" y="0"/>
                    <a:pt x="32" y="8"/>
                    <a:pt x="32" y="24"/>
                  </a:cubicBezTo>
                  <a:close/>
                  <a:moveTo>
                    <a:pt x="8" y="24"/>
                  </a:moveTo>
                  <a:cubicBezTo>
                    <a:pt x="8" y="36"/>
                    <a:pt x="11" y="41"/>
                    <a:pt x="16" y="41"/>
                  </a:cubicBezTo>
                  <a:cubicBezTo>
                    <a:pt x="22" y="41"/>
                    <a:pt x="24" y="36"/>
                    <a:pt x="24" y="24"/>
                  </a:cubicBezTo>
                  <a:cubicBezTo>
                    <a:pt x="24" y="12"/>
                    <a:pt x="22" y="7"/>
                    <a:pt x="16" y="7"/>
                  </a:cubicBezTo>
                  <a:cubicBezTo>
                    <a:pt x="11" y="7"/>
                    <a:pt x="8" y="12"/>
                    <a:pt x="8" y="24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92" name="Freeform 153">
              <a:extLst>
                <a:ext uri="{FF2B5EF4-FFF2-40B4-BE49-F238E27FC236}">
                  <a16:creationId xmlns:a16="http://schemas.microsoft.com/office/drawing/2014/main" id="{EC04FCBB-BF48-49AD-98C6-90112AF61C28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8386" y="6608111"/>
              <a:ext cx="92156" cy="164671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4 h 109"/>
                <a:gd name="T12" fmla="*/ 61 w 61"/>
                <a:gd name="T13" fmla="*/ 94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4 h 109"/>
                <a:gd name="T20" fmla="*/ 28 w 61"/>
                <a:gd name="T21" fmla="*/ 94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4"/>
                  </a:lnTo>
                  <a:lnTo>
                    <a:pt x="61" y="94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4"/>
                  </a:lnTo>
                  <a:lnTo>
                    <a:pt x="28" y="94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93" name="Freeform 154">
              <a:extLst>
                <a:ext uri="{FF2B5EF4-FFF2-40B4-BE49-F238E27FC236}">
                  <a16:creationId xmlns:a16="http://schemas.microsoft.com/office/drawing/2014/main" id="{5DBF9F2D-5966-433A-8EBB-F27FF81B4063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8386" y="6893641"/>
              <a:ext cx="92156" cy="164671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4 h 109"/>
                <a:gd name="T12" fmla="*/ 61 w 61"/>
                <a:gd name="T13" fmla="*/ 94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4 h 109"/>
                <a:gd name="T20" fmla="*/ 28 w 61"/>
                <a:gd name="T21" fmla="*/ 94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4"/>
                  </a:lnTo>
                  <a:lnTo>
                    <a:pt x="61" y="94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4"/>
                  </a:lnTo>
                  <a:lnTo>
                    <a:pt x="28" y="94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grpSp>
        <p:nvGrpSpPr>
          <p:cNvPr id="294" name="Group 293">
            <a:extLst>
              <a:ext uri="{FF2B5EF4-FFF2-40B4-BE49-F238E27FC236}">
                <a16:creationId xmlns:a16="http://schemas.microsoft.com/office/drawing/2014/main" id="{293BC7A7-A9B5-416A-9C9C-D9254626D2AC}"/>
              </a:ext>
            </a:extLst>
          </p:cNvPr>
          <p:cNvGrpSpPr/>
          <p:nvPr/>
        </p:nvGrpSpPr>
        <p:grpSpPr>
          <a:xfrm>
            <a:off x="5294449" y="5513701"/>
            <a:ext cx="1941807" cy="1394352"/>
            <a:chOff x="5046015" y="3147135"/>
            <a:chExt cx="1942818" cy="1395078"/>
          </a:xfrm>
        </p:grpSpPr>
        <p:sp>
          <p:nvSpPr>
            <p:cNvPr id="295" name="Line 8">
              <a:extLst>
                <a:ext uri="{FF2B5EF4-FFF2-40B4-BE49-F238E27FC236}">
                  <a16:creationId xmlns:a16="http://schemas.microsoft.com/office/drawing/2014/main" id="{46FFE807-FEF6-40F3-BEFF-8C77EA2F5A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87777" y="3269798"/>
              <a:ext cx="0" cy="0"/>
            </a:xfrm>
            <a:prstGeom prst="lin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96" name="Line 9">
              <a:extLst>
                <a:ext uri="{FF2B5EF4-FFF2-40B4-BE49-F238E27FC236}">
                  <a16:creationId xmlns:a16="http://schemas.microsoft.com/office/drawing/2014/main" id="{D619FECC-D5EF-4F8C-8A7C-FB2DC5C7DB3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87777" y="3269798"/>
              <a:ext cx="0" cy="0"/>
            </a:xfrm>
            <a:prstGeom prst="lin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97" name="Freeform 10">
              <a:extLst>
                <a:ext uri="{FF2B5EF4-FFF2-40B4-BE49-F238E27FC236}">
                  <a16:creationId xmlns:a16="http://schemas.microsoft.com/office/drawing/2014/main" id="{077F1BA3-3434-4C41-B424-DD2020D7FDE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3110" y="3670571"/>
              <a:ext cx="37308" cy="58788"/>
            </a:xfrm>
            <a:custGeom>
              <a:avLst/>
              <a:gdLst>
                <a:gd name="T0" fmla="*/ 30 w 66"/>
                <a:gd name="T1" fmla="*/ 24 h 104"/>
                <a:gd name="T2" fmla="*/ 9 w 66"/>
                <a:gd name="T3" fmla="*/ 38 h 104"/>
                <a:gd name="T4" fmla="*/ 0 w 66"/>
                <a:gd name="T5" fmla="*/ 19 h 104"/>
                <a:gd name="T6" fmla="*/ 33 w 66"/>
                <a:gd name="T7" fmla="*/ 0 h 104"/>
                <a:gd name="T8" fmla="*/ 52 w 66"/>
                <a:gd name="T9" fmla="*/ 0 h 104"/>
                <a:gd name="T10" fmla="*/ 52 w 66"/>
                <a:gd name="T11" fmla="*/ 87 h 104"/>
                <a:gd name="T12" fmla="*/ 66 w 66"/>
                <a:gd name="T13" fmla="*/ 87 h 104"/>
                <a:gd name="T14" fmla="*/ 66 w 66"/>
                <a:gd name="T15" fmla="*/ 104 h 104"/>
                <a:gd name="T16" fmla="*/ 16 w 66"/>
                <a:gd name="T17" fmla="*/ 104 h 104"/>
                <a:gd name="T18" fmla="*/ 16 w 66"/>
                <a:gd name="T19" fmla="*/ 87 h 104"/>
                <a:gd name="T20" fmla="*/ 30 w 66"/>
                <a:gd name="T21" fmla="*/ 87 h 104"/>
                <a:gd name="T22" fmla="*/ 30 w 66"/>
                <a:gd name="T23" fmla="*/ 2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6" h="104">
                  <a:moveTo>
                    <a:pt x="30" y="24"/>
                  </a:moveTo>
                  <a:lnTo>
                    <a:pt x="9" y="38"/>
                  </a:lnTo>
                  <a:lnTo>
                    <a:pt x="0" y="19"/>
                  </a:lnTo>
                  <a:lnTo>
                    <a:pt x="33" y="0"/>
                  </a:lnTo>
                  <a:lnTo>
                    <a:pt x="52" y="0"/>
                  </a:lnTo>
                  <a:lnTo>
                    <a:pt x="52" y="87"/>
                  </a:lnTo>
                  <a:lnTo>
                    <a:pt x="66" y="87"/>
                  </a:lnTo>
                  <a:lnTo>
                    <a:pt x="66" y="104"/>
                  </a:lnTo>
                  <a:lnTo>
                    <a:pt x="16" y="104"/>
                  </a:lnTo>
                  <a:lnTo>
                    <a:pt x="16" y="87"/>
                  </a:lnTo>
                  <a:lnTo>
                    <a:pt x="30" y="87"/>
                  </a:lnTo>
                  <a:lnTo>
                    <a:pt x="30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98" name="Freeform 11">
              <a:extLst>
                <a:ext uri="{FF2B5EF4-FFF2-40B4-BE49-F238E27FC236}">
                  <a16:creationId xmlns:a16="http://schemas.microsoft.com/office/drawing/2014/main" id="{C3A2AE71-F3D5-4FA7-8E2A-08D63F7756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10284" y="3770623"/>
              <a:ext cx="45221" cy="61614"/>
            </a:xfrm>
            <a:custGeom>
              <a:avLst/>
              <a:gdLst>
                <a:gd name="T0" fmla="*/ 32 w 34"/>
                <a:gd name="T1" fmla="*/ 8 h 46"/>
                <a:gd name="T2" fmla="*/ 34 w 34"/>
                <a:gd name="T3" fmla="*/ 23 h 46"/>
                <a:gd name="T4" fmla="*/ 31 w 34"/>
                <a:gd name="T5" fmla="*/ 39 h 46"/>
                <a:gd name="T6" fmla="*/ 17 w 34"/>
                <a:gd name="T7" fmla="*/ 46 h 46"/>
                <a:gd name="T8" fmla="*/ 3 w 34"/>
                <a:gd name="T9" fmla="*/ 37 h 46"/>
                <a:gd name="T10" fmla="*/ 0 w 34"/>
                <a:gd name="T11" fmla="*/ 23 h 46"/>
                <a:gd name="T12" fmla="*/ 17 w 34"/>
                <a:gd name="T13" fmla="*/ 0 h 46"/>
                <a:gd name="T14" fmla="*/ 32 w 34"/>
                <a:gd name="T15" fmla="*/ 8 h 46"/>
                <a:gd name="T16" fmla="*/ 10 w 34"/>
                <a:gd name="T17" fmla="*/ 23 h 46"/>
                <a:gd name="T18" fmla="*/ 17 w 34"/>
                <a:gd name="T19" fmla="*/ 38 h 46"/>
                <a:gd name="T20" fmla="*/ 25 w 34"/>
                <a:gd name="T21" fmla="*/ 23 h 46"/>
                <a:gd name="T22" fmla="*/ 17 w 34"/>
                <a:gd name="T23" fmla="*/ 8 h 46"/>
                <a:gd name="T24" fmla="*/ 10 w 34"/>
                <a:gd name="T25" fmla="*/ 2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" h="46">
                  <a:moveTo>
                    <a:pt x="32" y="8"/>
                  </a:moveTo>
                  <a:cubicBezTo>
                    <a:pt x="34" y="12"/>
                    <a:pt x="34" y="16"/>
                    <a:pt x="34" y="23"/>
                  </a:cubicBezTo>
                  <a:cubicBezTo>
                    <a:pt x="34" y="31"/>
                    <a:pt x="33" y="36"/>
                    <a:pt x="31" y="39"/>
                  </a:cubicBezTo>
                  <a:cubicBezTo>
                    <a:pt x="28" y="43"/>
                    <a:pt x="23" y="46"/>
                    <a:pt x="17" y="46"/>
                  </a:cubicBezTo>
                  <a:cubicBezTo>
                    <a:pt x="11" y="46"/>
                    <a:pt x="6" y="43"/>
                    <a:pt x="3" y="37"/>
                  </a:cubicBezTo>
                  <a:cubicBezTo>
                    <a:pt x="1" y="34"/>
                    <a:pt x="0" y="29"/>
                    <a:pt x="0" y="23"/>
                  </a:cubicBezTo>
                  <a:cubicBezTo>
                    <a:pt x="0" y="8"/>
                    <a:pt x="6" y="0"/>
                    <a:pt x="17" y="0"/>
                  </a:cubicBezTo>
                  <a:cubicBezTo>
                    <a:pt x="24" y="0"/>
                    <a:pt x="29" y="3"/>
                    <a:pt x="32" y="8"/>
                  </a:cubicBezTo>
                  <a:close/>
                  <a:moveTo>
                    <a:pt x="10" y="23"/>
                  </a:moveTo>
                  <a:cubicBezTo>
                    <a:pt x="10" y="33"/>
                    <a:pt x="12" y="38"/>
                    <a:pt x="17" y="38"/>
                  </a:cubicBezTo>
                  <a:cubicBezTo>
                    <a:pt x="22" y="38"/>
                    <a:pt x="25" y="33"/>
                    <a:pt x="25" y="23"/>
                  </a:cubicBezTo>
                  <a:cubicBezTo>
                    <a:pt x="25" y="13"/>
                    <a:pt x="22" y="8"/>
                    <a:pt x="17" y="8"/>
                  </a:cubicBezTo>
                  <a:cubicBezTo>
                    <a:pt x="12" y="8"/>
                    <a:pt x="10" y="13"/>
                    <a:pt x="10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99" name="Freeform 12">
              <a:extLst>
                <a:ext uri="{FF2B5EF4-FFF2-40B4-BE49-F238E27FC236}">
                  <a16:creationId xmlns:a16="http://schemas.microsoft.com/office/drawing/2014/main" id="{DBE2DEF3-2509-4BBC-9975-3587D024B78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3110" y="3873502"/>
              <a:ext cx="37308" cy="58788"/>
            </a:xfrm>
            <a:custGeom>
              <a:avLst/>
              <a:gdLst>
                <a:gd name="T0" fmla="*/ 30 w 66"/>
                <a:gd name="T1" fmla="*/ 24 h 104"/>
                <a:gd name="T2" fmla="*/ 9 w 66"/>
                <a:gd name="T3" fmla="*/ 36 h 104"/>
                <a:gd name="T4" fmla="*/ 0 w 66"/>
                <a:gd name="T5" fmla="*/ 19 h 104"/>
                <a:gd name="T6" fmla="*/ 33 w 66"/>
                <a:gd name="T7" fmla="*/ 0 h 104"/>
                <a:gd name="T8" fmla="*/ 52 w 66"/>
                <a:gd name="T9" fmla="*/ 0 h 104"/>
                <a:gd name="T10" fmla="*/ 52 w 66"/>
                <a:gd name="T11" fmla="*/ 87 h 104"/>
                <a:gd name="T12" fmla="*/ 66 w 66"/>
                <a:gd name="T13" fmla="*/ 87 h 104"/>
                <a:gd name="T14" fmla="*/ 66 w 66"/>
                <a:gd name="T15" fmla="*/ 104 h 104"/>
                <a:gd name="T16" fmla="*/ 16 w 66"/>
                <a:gd name="T17" fmla="*/ 104 h 104"/>
                <a:gd name="T18" fmla="*/ 16 w 66"/>
                <a:gd name="T19" fmla="*/ 87 h 104"/>
                <a:gd name="T20" fmla="*/ 30 w 66"/>
                <a:gd name="T21" fmla="*/ 87 h 104"/>
                <a:gd name="T22" fmla="*/ 30 w 66"/>
                <a:gd name="T23" fmla="*/ 2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6" h="104">
                  <a:moveTo>
                    <a:pt x="30" y="24"/>
                  </a:moveTo>
                  <a:lnTo>
                    <a:pt x="9" y="36"/>
                  </a:lnTo>
                  <a:lnTo>
                    <a:pt x="0" y="19"/>
                  </a:lnTo>
                  <a:lnTo>
                    <a:pt x="33" y="0"/>
                  </a:lnTo>
                  <a:lnTo>
                    <a:pt x="52" y="0"/>
                  </a:lnTo>
                  <a:lnTo>
                    <a:pt x="52" y="87"/>
                  </a:lnTo>
                  <a:lnTo>
                    <a:pt x="66" y="87"/>
                  </a:lnTo>
                  <a:lnTo>
                    <a:pt x="66" y="104"/>
                  </a:lnTo>
                  <a:lnTo>
                    <a:pt x="16" y="104"/>
                  </a:lnTo>
                  <a:lnTo>
                    <a:pt x="16" y="87"/>
                  </a:lnTo>
                  <a:lnTo>
                    <a:pt x="30" y="87"/>
                  </a:lnTo>
                  <a:lnTo>
                    <a:pt x="30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00" name="Freeform 13">
              <a:extLst>
                <a:ext uri="{FF2B5EF4-FFF2-40B4-BE49-F238E27FC236}">
                  <a16:creationId xmlns:a16="http://schemas.microsoft.com/office/drawing/2014/main" id="{9F764450-BCC6-4440-83E8-95D9AA90D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3110" y="3975250"/>
              <a:ext cx="37308" cy="58788"/>
            </a:xfrm>
            <a:custGeom>
              <a:avLst/>
              <a:gdLst>
                <a:gd name="T0" fmla="*/ 30 w 66"/>
                <a:gd name="T1" fmla="*/ 23 h 104"/>
                <a:gd name="T2" fmla="*/ 9 w 66"/>
                <a:gd name="T3" fmla="*/ 35 h 104"/>
                <a:gd name="T4" fmla="*/ 0 w 66"/>
                <a:gd name="T5" fmla="*/ 19 h 104"/>
                <a:gd name="T6" fmla="*/ 33 w 66"/>
                <a:gd name="T7" fmla="*/ 0 h 104"/>
                <a:gd name="T8" fmla="*/ 52 w 66"/>
                <a:gd name="T9" fmla="*/ 0 h 104"/>
                <a:gd name="T10" fmla="*/ 52 w 66"/>
                <a:gd name="T11" fmla="*/ 85 h 104"/>
                <a:gd name="T12" fmla="*/ 66 w 66"/>
                <a:gd name="T13" fmla="*/ 87 h 104"/>
                <a:gd name="T14" fmla="*/ 66 w 66"/>
                <a:gd name="T15" fmla="*/ 104 h 104"/>
                <a:gd name="T16" fmla="*/ 16 w 66"/>
                <a:gd name="T17" fmla="*/ 104 h 104"/>
                <a:gd name="T18" fmla="*/ 16 w 66"/>
                <a:gd name="T19" fmla="*/ 87 h 104"/>
                <a:gd name="T20" fmla="*/ 30 w 66"/>
                <a:gd name="T21" fmla="*/ 85 h 104"/>
                <a:gd name="T22" fmla="*/ 30 w 66"/>
                <a:gd name="T23" fmla="*/ 23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6" h="104">
                  <a:moveTo>
                    <a:pt x="30" y="23"/>
                  </a:moveTo>
                  <a:lnTo>
                    <a:pt x="9" y="35"/>
                  </a:lnTo>
                  <a:lnTo>
                    <a:pt x="0" y="19"/>
                  </a:lnTo>
                  <a:lnTo>
                    <a:pt x="33" y="0"/>
                  </a:lnTo>
                  <a:lnTo>
                    <a:pt x="52" y="0"/>
                  </a:lnTo>
                  <a:lnTo>
                    <a:pt x="52" y="85"/>
                  </a:lnTo>
                  <a:lnTo>
                    <a:pt x="66" y="87"/>
                  </a:lnTo>
                  <a:lnTo>
                    <a:pt x="66" y="104"/>
                  </a:lnTo>
                  <a:lnTo>
                    <a:pt x="16" y="104"/>
                  </a:lnTo>
                  <a:lnTo>
                    <a:pt x="16" y="87"/>
                  </a:lnTo>
                  <a:lnTo>
                    <a:pt x="30" y="85"/>
                  </a:lnTo>
                  <a:lnTo>
                    <a:pt x="30" y="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01" name="Freeform 14">
              <a:extLst>
                <a:ext uri="{FF2B5EF4-FFF2-40B4-BE49-F238E27FC236}">
                  <a16:creationId xmlns:a16="http://schemas.microsoft.com/office/drawing/2014/main" id="{1CCECDD9-47B3-49C3-AEA6-7BEEBC576D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3110" y="4076432"/>
              <a:ext cx="37308" cy="58788"/>
            </a:xfrm>
            <a:custGeom>
              <a:avLst/>
              <a:gdLst>
                <a:gd name="T0" fmla="*/ 30 w 66"/>
                <a:gd name="T1" fmla="*/ 24 h 104"/>
                <a:gd name="T2" fmla="*/ 9 w 66"/>
                <a:gd name="T3" fmla="*/ 36 h 104"/>
                <a:gd name="T4" fmla="*/ 0 w 66"/>
                <a:gd name="T5" fmla="*/ 19 h 104"/>
                <a:gd name="T6" fmla="*/ 33 w 66"/>
                <a:gd name="T7" fmla="*/ 0 h 104"/>
                <a:gd name="T8" fmla="*/ 52 w 66"/>
                <a:gd name="T9" fmla="*/ 0 h 104"/>
                <a:gd name="T10" fmla="*/ 52 w 66"/>
                <a:gd name="T11" fmla="*/ 85 h 104"/>
                <a:gd name="T12" fmla="*/ 66 w 66"/>
                <a:gd name="T13" fmla="*/ 88 h 104"/>
                <a:gd name="T14" fmla="*/ 66 w 66"/>
                <a:gd name="T15" fmla="*/ 104 h 104"/>
                <a:gd name="T16" fmla="*/ 16 w 66"/>
                <a:gd name="T17" fmla="*/ 104 h 104"/>
                <a:gd name="T18" fmla="*/ 16 w 66"/>
                <a:gd name="T19" fmla="*/ 88 h 104"/>
                <a:gd name="T20" fmla="*/ 30 w 66"/>
                <a:gd name="T21" fmla="*/ 85 h 104"/>
                <a:gd name="T22" fmla="*/ 30 w 66"/>
                <a:gd name="T23" fmla="*/ 2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6" h="104">
                  <a:moveTo>
                    <a:pt x="30" y="24"/>
                  </a:moveTo>
                  <a:lnTo>
                    <a:pt x="9" y="36"/>
                  </a:lnTo>
                  <a:lnTo>
                    <a:pt x="0" y="19"/>
                  </a:lnTo>
                  <a:lnTo>
                    <a:pt x="33" y="0"/>
                  </a:lnTo>
                  <a:lnTo>
                    <a:pt x="52" y="0"/>
                  </a:lnTo>
                  <a:lnTo>
                    <a:pt x="52" y="85"/>
                  </a:lnTo>
                  <a:lnTo>
                    <a:pt x="66" y="88"/>
                  </a:lnTo>
                  <a:lnTo>
                    <a:pt x="66" y="104"/>
                  </a:lnTo>
                  <a:lnTo>
                    <a:pt x="16" y="104"/>
                  </a:lnTo>
                  <a:lnTo>
                    <a:pt x="16" y="88"/>
                  </a:lnTo>
                  <a:lnTo>
                    <a:pt x="30" y="85"/>
                  </a:lnTo>
                  <a:lnTo>
                    <a:pt x="30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02" name="Freeform 15">
              <a:extLst>
                <a:ext uri="{FF2B5EF4-FFF2-40B4-BE49-F238E27FC236}">
                  <a16:creationId xmlns:a16="http://schemas.microsoft.com/office/drawing/2014/main" id="{542A10F7-0774-4350-A5AA-9275C7B3D552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3110" y="4178180"/>
              <a:ext cx="37308" cy="57092"/>
            </a:xfrm>
            <a:custGeom>
              <a:avLst/>
              <a:gdLst>
                <a:gd name="T0" fmla="*/ 30 w 66"/>
                <a:gd name="T1" fmla="*/ 23 h 101"/>
                <a:gd name="T2" fmla="*/ 9 w 66"/>
                <a:gd name="T3" fmla="*/ 35 h 101"/>
                <a:gd name="T4" fmla="*/ 0 w 66"/>
                <a:gd name="T5" fmla="*/ 19 h 101"/>
                <a:gd name="T6" fmla="*/ 33 w 66"/>
                <a:gd name="T7" fmla="*/ 0 h 101"/>
                <a:gd name="T8" fmla="*/ 52 w 66"/>
                <a:gd name="T9" fmla="*/ 0 h 101"/>
                <a:gd name="T10" fmla="*/ 52 w 66"/>
                <a:gd name="T11" fmla="*/ 85 h 101"/>
                <a:gd name="T12" fmla="*/ 66 w 66"/>
                <a:gd name="T13" fmla="*/ 85 h 101"/>
                <a:gd name="T14" fmla="*/ 66 w 66"/>
                <a:gd name="T15" fmla="*/ 101 h 101"/>
                <a:gd name="T16" fmla="*/ 16 w 66"/>
                <a:gd name="T17" fmla="*/ 101 h 101"/>
                <a:gd name="T18" fmla="*/ 16 w 66"/>
                <a:gd name="T19" fmla="*/ 85 h 101"/>
                <a:gd name="T20" fmla="*/ 30 w 66"/>
                <a:gd name="T21" fmla="*/ 85 h 101"/>
                <a:gd name="T22" fmla="*/ 30 w 66"/>
                <a:gd name="T23" fmla="*/ 23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6" h="101">
                  <a:moveTo>
                    <a:pt x="30" y="23"/>
                  </a:moveTo>
                  <a:lnTo>
                    <a:pt x="9" y="35"/>
                  </a:lnTo>
                  <a:lnTo>
                    <a:pt x="0" y="19"/>
                  </a:lnTo>
                  <a:lnTo>
                    <a:pt x="33" y="0"/>
                  </a:lnTo>
                  <a:lnTo>
                    <a:pt x="52" y="0"/>
                  </a:lnTo>
                  <a:lnTo>
                    <a:pt x="52" y="85"/>
                  </a:lnTo>
                  <a:lnTo>
                    <a:pt x="66" y="85"/>
                  </a:lnTo>
                  <a:lnTo>
                    <a:pt x="66" y="101"/>
                  </a:lnTo>
                  <a:lnTo>
                    <a:pt x="16" y="101"/>
                  </a:lnTo>
                  <a:lnTo>
                    <a:pt x="16" y="85"/>
                  </a:lnTo>
                  <a:lnTo>
                    <a:pt x="30" y="85"/>
                  </a:lnTo>
                  <a:lnTo>
                    <a:pt x="30" y="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03" name="Freeform 16">
              <a:extLst>
                <a:ext uri="{FF2B5EF4-FFF2-40B4-BE49-F238E27FC236}">
                  <a16:creationId xmlns:a16="http://schemas.microsoft.com/office/drawing/2014/main" id="{41135AAA-EC96-4B1F-8A45-616914F8E6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10284" y="4379414"/>
              <a:ext cx="45221" cy="60484"/>
            </a:xfrm>
            <a:custGeom>
              <a:avLst/>
              <a:gdLst>
                <a:gd name="T0" fmla="*/ 32 w 34"/>
                <a:gd name="T1" fmla="*/ 8 h 45"/>
                <a:gd name="T2" fmla="*/ 34 w 34"/>
                <a:gd name="T3" fmla="*/ 22 h 45"/>
                <a:gd name="T4" fmla="*/ 31 w 34"/>
                <a:gd name="T5" fmla="*/ 39 h 45"/>
                <a:gd name="T6" fmla="*/ 17 w 34"/>
                <a:gd name="T7" fmla="*/ 45 h 45"/>
                <a:gd name="T8" fmla="*/ 3 w 34"/>
                <a:gd name="T9" fmla="*/ 37 h 45"/>
                <a:gd name="T10" fmla="*/ 0 w 34"/>
                <a:gd name="T11" fmla="*/ 22 h 45"/>
                <a:gd name="T12" fmla="*/ 17 w 34"/>
                <a:gd name="T13" fmla="*/ 0 h 45"/>
                <a:gd name="T14" fmla="*/ 32 w 34"/>
                <a:gd name="T15" fmla="*/ 8 h 45"/>
                <a:gd name="T16" fmla="*/ 10 w 34"/>
                <a:gd name="T17" fmla="*/ 22 h 45"/>
                <a:gd name="T18" fmla="*/ 17 w 34"/>
                <a:gd name="T19" fmla="*/ 37 h 45"/>
                <a:gd name="T20" fmla="*/ 25 w 34"/>
                <a:gd name="T21" fmla="*/ 22 h 45"/>
                <a:gd name="T22" fmla="*/ 17 w 34"/>
                <a:gd name="T23" fmla="*/ 7 h 45"/>
                <a:gd name="T24" fmla="*/ 10 w 34"/>
                <a:gd name="T25" fmla="*/ 2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" h="45">
                  <a:moveTo>
                    <a:pt x="32" y="8"/>
                  </a:moveTo>
                  <a:cubicBezTo>
                    <a:pt x="34" y="11"/>
                    <a:pt x="34" y="16"/>
                    <a:pt x="34" y="22"/>
                  </a:cubicBezTo>
                  <a:cubicBezTo>
                    <a:pt x="34" y="30"/>
                    <a:pt x="33" y="35"/>
                    <a:pt x="31" y="39"/>
                  </a:cubicBezTo>
                  <a:cubicBezTo>
                    <a:pt x="28" y="43"/>
                    <a:pt x="23" y="45"/>
                    <a:pt x="17" y="45"/>
                  </a:cubicBezTo>
                  <a:cubicBezTo>
                    <a:pt x="11" y="45"/>
                    <a:pt x="6" y="42"/>
                    <a:pt x="3" y="37"/>
                  </a:cubicBezTo>
                  <a:cubicBezTo>
                    <a:pt x="1" y="33"/>
                    <a:pt x="0" y="29"/>
                    <a:pt x="0" y="22"/>
                  </a:cubicBezTo>
                  <a:cubicBezTo>
                    <a:pt x="0" y="7"/>
                    <a:pt x="6" y="0"/>
                    <a:pt x="17" y="0"/>
                  </a:cubicBezTo>
                  <a:cubicBezTo>
                    <a:pt x="24" y="0"/>
                    <a:pt x="29" y="2"/>
                    <a:pt x="32" y="8"/>
                  </a:cubicBezTo>
                  <a:close/>
                  <a:moveTo>
                    <a:pt x="10" y="22"/>
                  </a:moveTo>
                  <a:cubicBezTo>
                    <a:pt x="10" y="33"/>
                    <a:pt x="12" y="37"/>
                    <a:pt x="17" y="37"/>
                  </a:cubicBezTo>
                  <a:cubicBezTo>
                    <a:pt x="22" y="37"/>
                    <a:pt x="25" y="33"/>
                    <a:pt x="25" y="22"/>
                  </a:cubicBezTo>
                  <a:cubicBezTo>
                    <a:pt x="25" y="12"/>
                    <a:pt x="22" y="7"/>
                    <a:pt x="17" y="7"/>
                  </a:cubicBezTo>
                  <a:cubicBezTo>
                    <a:pt x="12" y="7"/>
                    <a:pt x="10" y="12"/>
                    <a:pt x="10" y="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04" name="Freeform 17">
              <a:extLst>
                <a:ext uri="{FF2B5EF4-FFF2-40B4-BE49-F238E27FC236}">
                  <a16:creationId xmlns:a16="http://schemas.microsoft.com/office/drawing/2014/main" id="{EA93A816-CE6E-494D-AD2B-A07CD76155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10284" y="4481162"/>
              <a:ext cx="45221" cy="59918"/>
            </a:xfrm>
            <a:custGeom>
              <a:avLst/>
              <a:gdLst>
                <a:gd name="T0" fmla="*/ 32 w 34"/>
                <a:gd name="T1" fmla="*/ 8 h 45"/>
                <a:gd name="T2" fmla="*/ 34 w 34"/>
                <a:gd name="T3" fmla="*/ 22 h 45"/>
                <a:gd name="T4" fmla="*/ 31 w 34"/>
                <a:gd name="T5" fmla="*/ 39 h 45"/>
                <a:gd name="T6" fmla="*/ 17 w 34"/>
                <a:gd name="T7" fmla="*/ 45 h 45"/>
                <a:gd name="T8" fmla="*/ 3 w 34"/>
                <a:gd name="T9" fmla="*/ 37 h 45"/>
                <a:gd name="T10" fmla="*/ 0 w 34"/>
                <a:gd name="T11" fmla="*/ 22 h 45"/>
                <a:gd name="T12" fmla="*/ 17 w 34"/>
                <a:gd name="T13" fmla="*/ 0 h 45"/>
                <a:gd name="T14" fmla="*/ 32 w 34"/>
                <a:gd name="T15" fmla="*/ 8 h 45"/>
                <a:gd name="T16" fmla="*/ 10 w 34"/>
                <a:gd name="T17" fmla="*/ 22 h 45"/>
                <a:gd name="T18" fmla="*/ 17 w 34"/>
                <a:gd name="T19" fmla="*/ 37 h 45"/>
                <a:gd name="T20" fmla="*/ 25 w 34"/>
                <a:gd name="T21" fmla="*/ 22 h 45"/>
                <a:gd name="T22" fmla="*/ 17 w 34"/>
                <a:gd name="T23" fmla="*/ 7 h 45"/>
                <a:gd name="T24" fmla="*/ 10 w 34"/>
                <a:gd name="T25" fmla="*/ 2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" h="45">
                  <a:moveTo>
                    <a:pt x="32" y="8"/>
                  </a:moveTo>
                  <a:cubicBezTo>
                    <a:pt x="34" y="11"/>
                    <a:pt x="34" y="16"/>
                    <a:pt x="34" y="22"/>
                  </a:cubicBezTo>
                  <a:cubicBezTo>
                    <a:pt x="34" y="30"/>
                    <a:pt x="33" y="35"/>
                    <a:pt x="31" y="39"/>
                  </a:cubicBezTo>
                  <a:cubicBezTo>
                    <a:pt x="28" y="43"/>
                    <a:pt x="23" y="45"/>
                    <a:pt x="17" y="45"/>
                  </a:cubicBezTo>
                  <a:cubicBezTo>
                    <a:pt x="11" y="45"/>
                    <a:pt x="6" y="42"/>
                    <a:pt x="3" y="37"/>
                  </a:cubicBezTo>
                  <a:cubicBezTo>
                    <a:pt x="1" y="33"/>
                    <a:pt x="0" y="29"/>
                    <a:pt x="0" y="22"/>
                  </a:cubicBezTo>
                  <a:cubicBezTo>
                    <a:pt x="0" y="7"/>
                    <a:pt x="6" y="0"/>
                    <a:pt x="17" y="0"/>
                  </a:cubicBezTo>
                  <a:cubicBezTo>
                    <a:pt x="24" y="0"/>
                    <a:pt x="29" y="2"/>
                    <a:pt x="32" y="8"/>
                  </a:cubicBezTo>
                  <a:close/>
                  <a:moveTo>
                    <a:pt x="10" y="22"/>
                  </a:moveTo>
                  <a:cubicBezTo>
                    <a:pt x="10" y="33"/>
                    <a:pt x="12" y="37"/>
                    <a:pt x="17" y="37"/>
                  </a:cubicBezTo>
                  <a:cubicBezTo>
                    <a:pt x="22" y="37"/>
                    <a:pt x="25" y="33"/>
                    <a:pt x="25" y="22"/>
                  </a:cubicBezTo>
                  <a:cubicBezTo>
                    <a:pt x="25" y="12"/>
                    <a:pt x="22" y="7"/>
                    <a:pt x="17" y="7"/>
                  </a:cubicBezTo>
                  <a:cubicBezTo>
                    <a:pt x="12" y="7"/>
                    <a:pt x="10" y="12"/>
                    <a:pt x="10" y="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05" name="Freeform 23">
              <a:extLst>
                <a:ext uri="{FF2B5EF4-FFF2-40B4-BE49-F238E27FC236}">
                  <a16:creationId xmlns:a16="http://schemas.microsoft.com/office/drawing/2014/main" id="{A93AB4B1-AE19-472C-B901-64E75CC4E6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07405" y="3400940"/>
              <a:ext cx="28263" cy="42395"/>
            </a:xfrm>
            <a:custGeom>
              <a:avLst/>
              <a:gdLst>
                <a:gd name="T0" fmla="*/ 21 w 21"/>
                <a:gd name="T1" fmla="*/ 16 h 32"/>
                <a:gd name="T2" fmla="*/ 11 w 21"/>
                <a:gd name="T3" fmla="*/ 32 h 32"/>
                <a:gd name="T4" fmla="*/ 0 w 21"/>
                <a:gd name="T5" fmla="*/ 16 h 32"/>
                <a:gd name="T6" fmla="*/ 11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1 w 21"/>
                <a:gd name="T13" fmla="*/ 28 h 32"/>
                <a:gd name="T14" fmla="*/ 16 w 21"/>
                <a:gd name="T15" fmla="*/ 16 h 32"/>
                <a:gd name="T16" fmla="*/ 11 w 21"/>
                <a:gd name="T17" fmla="*/ 5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7"/>
                    <a:pt x="18" y="32"/>
                    <a:pt x="11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1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8"/>
                    <a:pt x="11" y="28"/>
                  </a:cubicBezTo>
                  <a:cubicBezTo>
                    <a:pt x="14" y="28"/>
                    <a:pt x="16" y="24"/>
                    <a:pt x="16" y="16"/>
                  </a:cubicBezTo>
                  <a:cubicBezTo>
                    <a:pt x="16" y="8"/>
                    <a:pt x="14" y="5"/>
                    <a:pt x="11" y="5"/>
                  </a:cubicBezTo>
                  <a:cubicBezTo>
                    <a:pt x="7" y="5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06" name="Freeform 24">
              <a:extLst>
                <a:ext uri="{FF2B5EF4-FFF2-40B4-BE49-F238E27FC236}">
                  <a16:creationId xmlns:a16="http://schemas.microsoft.com/office/drawing/2014/main" id="{DDBD4F6E-46D6-49A8-8C00-03FC1C1903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07405" y="3472728"/>
              <a:ext cx="28263" cy="41830"/>
            </a:xfrm>
            <a:custGeom>
              <a:avLst/>
              <a:gdLst>
                <a:gd name="T0" fmla="*/ 21 w 21"/>
                <a:gd name="T1" fmla="*/ 16 h 31"/>
                <a:gd name="T2" fmla="*/ 11 w 21"/>
                <a:gd name="T3" fmla="*/ 31 h 31"/>
                <a:gd name="T4" fmla="*/ 0 w 21"/>
                <a:gd name="T5" fmla="*/ 15 h 31"/>
                <a:gd name="T6" fmla="*/ 11 w 21"/>
                <a:gd name="T7" fmla="*/ 0 h 31"/>
                <a:gd name="T8" fmla="*/ 21 w 21"/>
                <a:gd name="T9" fmla="*/ 16 h 31"/>
                <a:gd name="T10" fmla="*/ 5 w 21"/>
                <a:gd name="T11" fmla="*/ 15 h 31"/>
                <a:gd name="T12" fmla="*/ 11 w 21"/>
                <a:gd name="T13" fmla="*/ 27 h 31"/>
                <a:gd name="T14" fmla="*/ 16 w 21"/>
                <a:gd name="T15" fmla="*/ 16 h 31"/>
                <a:gd name="T16" fmla="*/ 11 w 21"/>
                <a:gd name="T17" fmla="*/ 4 h 31"/>
                <a:gd name="T18" fmla="*/ 5 w 21"/>
                <a:gd name="T1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1">
                  <a:moveTo>
                    <a:pt x="21" y="16"/>
                  </a:moveTo>
                  <a:cubicBezTo>
                    <a:pt x="21" y="26"/>
                    <a:pt x="18" y="31"/>
                    <a:pt x="11" y="31"/>
                  </a:cubicBezTo>
                  <a:cubicBezTo>
                    <a:pt x="3" y="31"/>
                    <a:pt x="0" y="26"/>
                    <a:pt x="0" y="15"/>
                  </a:cubicBezTo>
                  <a:cubicBezTo>
                    <a:pt x="0" y="5"/>
                    <a:pt x="3" y="0"/>
                    <a:pt x="11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5"/>
                  </a:moveTo>
                  <a:cubicBezTo>
                    <a:pt x="5" y="23"/>
                    <a:pt x="7" y="27"/>
                    <a:pt x="11" y="27"/>
                  </a:cubicBezTo>
                  <a:cubicBezTo>
                    <a:pt x="14" y="27"/>
                    <a:pt x="16" y="23"/>
                    <a:pt x="16" y="16"/>
                  </a:cubicBezTo>
                  <a:cubicBezTo>
                    <a:pt x="16" y="8"/>
                    <a:pt x="14" y="4"/>
                    <a:pt x="11" y="4"/>
                  </a:cubicBezTo>
                  <a:cubicBezTo>
                    <a:pt x="7" y="4"/>
                    <a:pt x="5" y="8"/>
                    <a:pt x="5" y="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07" name="Freeform 25">
              <a:extLst>
                <a:ext uri="{FF2B5EF4-FFF2-40B4-BE49-F238E27FC236}">
                  <a16:creationId xmlns:a16="http://schemas.microsoft.com/office/drawing/2014/main" id="{D61C1857-6CAE-4E5D-8CEE-EB148E67919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8536" y="3615741"/>
              <a:ext cx="24306" cy="41265"/>
            </a:xfrm>
            <a:custGeom>
              <a:avLst/>
              <a:gdLst>
                <a:gd name="T0" fmla="*/ 19 w 43"/>
                <a:gd name="T1" fmla="*/ 14 h 73"/>
                <a:gd name="T2" fmla="*/ 5 w 43"/>
                <a:gd name="T3" fmla="*/ 24 h 73"/>
                <a:gd name="T4" fmla="*/ 0 w 43"/>
                <a:gd name="T5" fmla="*/ 12 h 73"/>
                <a:gd name="T6" fmla="*/ 22 w 43"/>
                <a:gd name="T7" fmla="*/ 0 h 73"/>
                <a:gd name="T8" fmla="*/ 34 w 43"/>
                <a:gd name="T9" fmla="*/ 0 h 73"/>
                <a:gd name="T10" fmla="*/ 34 w 43"/>
                <a:gd name="T11" fmla="*/ 64 h 73"/>
                <a:gd name="T12" fmla="*/ 43 w 43"/>
                <a:gd name="T13" fmla="*/ 64 h 73"/>
                <a:gd name="T14" fmla="*/ 43 w 43"/>
                <a:gd name="T15" fmla="*/ 73 h 73"/>
                <a:gd name="T16" fmla="*/ 10 w 43"/>
                <a:gd name="T17" fmla="*/ 73 h 73"/>
                <a:gd name="T18" fmla="*/ 10 w 43"/>
                <a:gd name="T19" fmla="*/ 64 h 73"/>
                <a:gd name="T20" fmla="*/ 19 w 43"/>
                <a:gd name="T21" fmla="*/ 64 h 73"/>
                <a:gd name="T22" fmla="*/ 19 w 43"/>
                <a:gd name="T23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73">
                  <a:moveTo>
                    <a:pt x="19" y="14"/>
                  </a:moveTo>
                  <a:lnTo>
                    <a:pt x="5" y="24"/>
                  </a:lnTo>
                  <a:lnTo>
                    <a:pt x="0" y="12"/>
                  </a:lnTo>
                  <a:lnTo>
                    <a:pt x="22" y="0"/>
                  </a:lnTo>
                  <a:lnTo>
                    <a:pt x="34" y="0"/>
                  </a:lnTo>
                  <a:lnTo>
                    <a:pt x="34" y="64"/>
                  </a:lnTo>
                  <a:lnTo>
                    <a:pt x="43" y="64"/>
                  </a:lnTo>
                  <a:lnTo>
                    <a:pt x="43" y="73"/>
                  </a:lnTo>
                  <a:lnTo>
                    <a:pt x="10" y="73"/>
                  </a:lnTo>
                  <a:lnTo>
                    <a:pt x="10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08" name="Freeform 26">
              <a:extLst>
                <a:ext uri="{FF2B5EF4-FFF2-40B4-BE49-F238E27FC236}">
                  <a16:creationId xmlns:a16="http://schemas.microsoft.com/office/drawing/2014/main" id="{4F6BBAE2-397B-465B-B23C-A59FDD35BA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07405" y="3686399"/>
              <a:ext cx="28263" cy="41830"/>
            </a:xfrm>
            <a:custGeom>
              <a:avLst/>
              <a:gdLst>
                <a:gd name="T0" fmla="*/ 21 w 21"/>
                <a:gd name="T1" fmla="*/ 16 h 31"/>
                <a:gd name="T2" fmla="*/ 11 w 21"/>
                <a:gd name="T3" fmla="*/ 31 h 31"/>
                <a:gd name="T4" fmla="*/ 0 w 21"/>
                <a:gd name="T5" fmla="*/ 15 h 31"/>
                <a:gd name="T6" fmla="*/ 11 w 21"/>
                <a:gd name="T7" fmla="*/ 0 h 31"/>
                <a:gd name="T8" fmla="*/ 21 w 21"/>
                <a:gd name="T9" fmla="*/ 16 h 31"/>
                <a:gd name="T10" fmla="*/ 5 w 21"/>
                <a:gd name="T11" fmla="*/ 16 h 31"/>
                <a:gd name="T12" fmla="*/ 11 w 21"/>
                <a:gd name="T13" fmla="*/ 27 h 31"/>
                <a:gd name="T14" fmla="*/ 16 w 21"/>
                <a:gd name="T15" fmla="*/ 16 h 31"/>
                <a:gd name="T16" fmla="*/ 11 w 21"/>
                <a:gd name="T17" fmla="*/ 4 h 31"/>
                <a:gd name="T18" fmla="*/ 5 w 21"/>
                <a:gd name="T19" fmla="*/ 1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1">
                  <a:moveTo>
                    <a:pt x="21" y="16"/>
                  </a:moveTo>
                  <a:cubicBezTo>
                    <a:pt x="21" y="26"/>
                    <a:pt x="18" y="31"/>
                    <a:pt x="11" y="31"/>
                  </a:cubicBezTo>
                  <a:cubicBezTo>
                    <a:pt x="3" y="31"/>
                    <a:pt x="0" y="26"/>
                    <a:pt x="0" y="15"/>
                  </a:cubicBezTo>
                  <a:cubicBezTo>
                    <a:pt x="0" y="5"/>
                    <a:pt x="3" y="0"/>
                    <a:pt x="11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3"/>
                    <a:pt x="7" y="27"/>
                    <a:pt x="11" y="27"/>
                  </a:cubicBezTo>
                  <a:cubicBezTo>
                    <a:pt x="14" y="27"/>
                    <a:pt x="16" y="23"/>
                    <a:pt x="16" y="16"/>
                  </a:cubicBezTo>
                  <a:cubicBezTo>
                    <a:pt x="16" y="8"/>
                    <a:pt x="14" y="4"/>
                    <a:pt x="11" y="4"/>
                  </a:cubicBezTo>
                  <a:cubicBezTo>
                    <a:pt x="7" y="4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09" name="Freeform 27">
              <a:extLst>
                <a:ext uri="{FF2B5EF4-FFF2-40B4-BE49-F238E27FC236}">
                  <a16:creationId xmlns:a16="http://schemas.microsoft.com/office/drawing/2014/main" id="{81A908B8-3074-4829-AC7F-C29C0F4817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07405" y="3757622"/>
              <a:ext cx="28263" cy="42395"/>
            </a:xfrm>
            <a:custGeom>
              <a:avLst/>
              <a:gdLst>
                <a:gd name="T0" fmla="*/ 21 w 21"/>
                <a:gd name="T1" fmla="*/ 16 h 32"/>
                <a:gd name="T2" fmla="*/ 11 w 21"/>
                <a:gd name="T3" fmla="*/ 32 h 32"/>
                <a:gd name="T4" fmla="*/ 0 w 21"/>
                <a:gd name="T5" fmla="*/ 16 h 32"/>
                <a:gd name="T6" fmla="*/ 11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1 w 21"/>
                <a:gd name="T13" fmla="*/ 27 h 32"/>
                <a:gd name="T14" fmla="*/ 16 w 21"/>
                <a:gd name="T15" fmla="*/ 16 h 32"/>
                <a:gd name="T16" fmla="*/ 11 w 21"/>
                <a:gd name="T17" fmla="*/ 4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7"/>
                    <a:pt x="18" y="32"/>
                    <a:pt x="11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1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7"/>
                    <a:pt x="11" y="27"/>
                  </a:cubicBezTo>
                  <a:cubicBezTo>
                    <a:pt x="14" y="27"/>
                    <a:pt x="16" y="24"/>
                    <a:pt x="16" y="16"/>
                  </a:cubicBezTo>
                  <a:cubicBezTo>
                    <a:pt x="16" y="8"/>
                    <a:pt x="14" y="4"/>
                    <a:pt x="11" y="4"/>
                  </a:cubicBezTo>
                  <a:cubicBezTo>
                    <a:pt x="7" y="4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10" name="Freeform 28">
              <a:extLst>
                <a:ext uri="{FF2B5EF4-FFF2-40B4-BE49-F238E27FC236}">
                  <a16:creationId xmlns:a16="http://schemas.microsoft.com/office/drawing/2014/main" id="{A413B98B-B2E0-4EC3-A77C-AB9108EB81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8536" y="3900069"/>
              <a:ext cx="24306" cy="41830"/>
            </a:xfrm>
            <a:custGeom>
              <a:avLst/>
              <a:gdLst>
                <a:gd name="T0" fmla="*/ 19 w 43"/>
                <a:gd name="T1" fmla="*/ 14 h 74"/>
                <a:gd name="T2" fmla="*/ 5 w 43"/>
                <a:gd name="T3" fmla="*/ 24 h 74"/>
                <a:gd name="T4" fmla="*/ 0 w 43"/>
                <a:gd name="T5" fmla="*/ 14 h 74"/>
                <a:gd name="T6" fmla="*/ 22 w 43"/>
                <a:gd name="T7" fmla="*/ 0 h 74"/>
                <a:gd name="T8" fmla="*/ 34 w 43"/>
                <a:gd name="T9" fmla="*/ 0 h 74"/>
                <a:gd name="T10" fmla="*/ 34 w 43"/>
                <a:gd name="T11" fmla="*/ 64 h 74"/>
                <a:gd name="T12" fmla="*/ 43 w 43"/>
                <a:gd name="T13" fmla="*/ 64 h 74"/>
                <a:gd name="T14" fmla="*/ 43 w 43"/>
                <a:gd name="T15" fmla="*/ 74 h 74"/>
                <a:gd name="T16" fmla="*/ 10 w 43"/>
                <a:gd name="T17" fmla="*/ 74 h 74"/>
                <a:gd name="T18" fmla="*/ 10 w 43"/>
                <a:gd name="T19" fmla="*/ 64 h 74"/>
                <a:gd name="T20" fmla="*/ 19 w 43"/>
                <a:gd name="T21" fmla="*/ 64 h 74"/>
                <a:gd name="T22" fmla="*/ 19 w 43"/>
                <a:gd name="T23" fmla="*/ 1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74">
                  <a:moveTo>
                    <a:pt x="19" y="14"/>
                  </a:moveTo>
                  <a:lnTo>
                    <a:pt x="5" y="24"/>
                  </a:lnTo>
                  <a:lnTo>
                    <a:pt x="0" y="14"/>
                  </a:lnTo>
                  <a:lnTo>
                    <a:pt x="22" y="0"/>
                  </a:lnTo>
                  <a:lnTo>
                    <a:pt x="34" y="0"/>
                  </a:lnTo>
                  <a:lnTo>
                    <a:pt x="34" y="64"/>
                  </a:lnTo>
                  <a:lnTo>
                    <a:pt x="43" y="64"/>
                  </a:lnTo>
                  <a:lnTo>
                    <a:pt x="43" y="74"/>
                  </a:lnTo>
                  <a:lnTo>
                    <a:pt x="10" y="74"/>
                  </a:lnTo>
                  <a:lnTo>
                    <a:pt x="10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11" name="Freeform 29">
              <a:extLst>
                <a:ext uri="{FF2B5EF4-FFF2-40B4-BE49-F238E27FC236}">
                  <a16:creationId xmlns:a16="http://schemas.microsoft.com/office/drawing/2014/main" id="{DBB72307-EF6C-4B9E-9D40-59EB39BF5C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07405" y="3971293"/>
              <a:ext cx="28263" cy="42395"/>
            </a:xfrm>
            <a:custGeom>
              <a:avLst/>
              <a:gdLst>
                <a:gd name="T0" fmla="*/ 21 w 21"/>
                <a:gd name="T1" fmla="*/ 16 h 32"/>
                <a:gd name="T2" fmla="*/ 11 w 21"/>
                <a:gd name="T3" fmla="*/ 32 h 32"/>
                <a:gd name="T4" fmla="*/ 0 w 21"/>
                <a:gd name="T5" fmla="*/ 16 h 32"/>
                <a:gd name="T6" fmla="*/ 11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1 w 21"/>
                <a:gd name="T13" fmla="*/ 28 h 32"/>
                <a:gd name="T14" fmla="*/ 16 w 21"/>
                <a:gd name="T15" fmla="*/ 16 h 32"/>
                <a:gd name="T16" fmla="*/ 11 w 21"/>
                <a:gd name="T17" fmla="*/ 5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7"/>
                    <a:pt x="18" y="32"/>
                    <a:pt x="11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1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8"/>
                    <a:pt x="11" y="28"/>
                  </a:cubicBezTo>
                  <a:cubicBezTo>
                    <a:pt x="14" y="28"/>
                    <a:pt x="16" y="24"/>
                    <a:pt x="16" y="16"/>
                  </a:cubicBezTo>
                  <a:cubicBezTo>
                    <a:pt x="16" y="8"/>
                    <a:pt x="14" y="5"/>
                    <a:pt x="11" y="5"/>
                  </a:cubicBezTo>
                  <a:cubicBezTo>
                    <a:pt x="7" y="5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12" name="Freeform 30">
              <a:extLst>
                <a:ext uri="{FF2B5EF4-FFF2-40B4-BE49-F238E27FC236}">
                  <a16:creationId xmlns:a16="http://schemas.microsoft.com/office/drawing/2014/main" id="{68B3C116-095E-4BBA-B248-A2F505FF1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8536" y="4043082"/>
              <a:ext cx="24306" cy="41265"/>
            </a:xfrm>
            <a:custGeom>
              <a:avLst/>
              <a:gdLst>
                <a:gd name="T0" fmla="*/ 19 w 43"/>
                <a:gd name="T1" fmla="*/ 14 h 73"/>
                <a:gd name="T2" fmla="*/ 5 w 43"/>
                <a:gd name="T3" fmla="*/ 24 h 73"/>
                <a:gd name="T4" fmla="*/ 0 w 43"/>
                <a:gd name="T5" fmla="*/ 14 h 73"/>
                <a:gd name="T6" fmla="*/ 22 w 43"/>
                <a:gd name="T7" fmla="*/ 0 h 73"/>
                <a:gd name="T8" fmla="*/ 34 w 43"/>
                <a:gd name="T9" fmla="*/ 0 h 73"/>
                <a:gd name="T10" fmla="*/ 34 w 43"/>
                <a:gd name="T11" fmla="*/ 64 h 73"/>
                <a:gd name="T12" fmla="*/ 43 w 43"/>
                <a:gd name="T13" fmla="*/ 64 h 73"/>
                <a:gd name="T14" fmla="*/ 43 w 43"/>
                <a:gd name="T15" fmla="*/ 73 h 73"/>
                <a:gd name="T16" fmla="*/ 10 w 43"/>
                <a:gd name="T17" fmla="*/ 73 h 73"/>
                <a:gd name="T18" fmla="*/ 10 w 43"/>
                <a:gd name="T19" fmla="*/ 64 h 73"/>
                <a:gd name="T20" fmla="*/ 19 w 43"/>
                <a:gd name="T21" fmla="*/ 64 h 73"/>
                <a:gd name="T22" fmla="*/ 19 w 43"/>
                <a:gd name="T23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73">
                  <a:moveTo>
                    <a:pt x="19" y="14"/>
                  </a:moveTo>
                  <a:lnTo>
                    <a:pt x="5" y="24"/>
                  </a:lnTo>
                  <a:lnTo>
                    <a:pt x="0" y="14"/>
                  </a:lnTo>
                  <a:lnTo>
                    <a:pt x="22" y="0"/>
                  </a:lnTo>
                  <a:lnTo>
                    <a:pt x="34" y="0"/>
                  </a:lnTo>
                  <a:lnTo>
                    <a:pt x="34" y="64"/>
                  </a:lnTo>
                  <a:lnTo>
                    <a:pt x="43" y="64"/>
                  </a:lnTo>
                  <a:lnTo>
                    <a:pt x="43" y="73"/>
                  </a:lnTo>
                  <a:lnTo>
                    <a:pt x="10" y="73"/>
                  </a:lnTo>
                  <a:lnTo>
                    <a:pt x="10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13" name="Freeform 31">
              <a:extLst>
                <a:ext uri="{FF2B5EF4-FFF2-40B4-BE49-F238E27FC236}">
                  <a16:creationId xmlns:a16="http://schemas.microsoft.com/office/drawing/2014/main" id="{3089CCF2-8B8E-432A-A9A8-78C81EA870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07405" y="4113739"/>
              <a:ext cx="28263" cy="42960"/>
            </a:xfrm>
            <a:custGeom>
              <a:avLst/>
              <a:gdLst>
                <a:gd name="T0" fmla="*/ 21 w 21"/>
                <a:gd name="T1" fmla="*/ 16 h 32"/>
                <a:gd name="T2" fmla="*/ 11 w 21"/>
                <a:gd name="T3" fmla="*/ 32 h 32"/>
                <a:gd name="T4" fmla="*/ 0 w 21"/>
                <a:gd name="T5" fmla="*/ 16 h 32"/>
                <a:gd name="T6" fmla="*/ 11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1 w 21"/>
                <a:gd name="T13" fmla="*/ 27 h 32"/>
                <a:gd name="T14" fmla="*/ 16 w 21"/>
                <a:gd name="T15" fmla="*/ 16 h 32"/>
                <a:gd name="T16" fmla="*/ 11 w 21"/>
                <a:gd name="T17" fmla="*/ 4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7"/>
                    <a:pt x="18" y="32"/>
                    <a:pt x="11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1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7"/>
                    <a:pt x="11" y="27"/>
                  </a:cubicBezTo>
                  <a:cubicBezTo>
                    <a:pt x="14" y="27"/>
                    <a:pt x="16" y="24"/>
                    <a:pt x="16" y="16"/>
                  </a:cubicBezTo>
                  <a:cubicBezTo>
                    <a:pt x="16" y="8"/>
                    <a:pt x="14" y="4"/>
                    <a:pt x="11" y="4"/>
                  </a:cubicBezTo>
                  <a:cubicBezTo>
                    <a:pt x="7" y="4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14" name="Freeform 32">
              <a:extLst>
                <a:ext uri="{FF2B5EF4-FFF2-40B4-BE49-F238E27FC236}">
                  <a16:creationId xmlns:a16="http://schemas.microsoft.com/office/drawing/2014/main" id="{A9C2FBA3-FB96-4F23-B0E5-663C9A63556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8536" y="4186094"/>
              <a:ext cx="24306" cy="40134"/>
            </a:xfrm>
            <a:custGeom>
              <a:avLst/>
              <a:gdLst>
                <a:gd name="T0" fmla="*/ 19 w 43"/>
                <a:gd name="T1" fmla="*/ 12 h 71"/>
                <a:gd name="T2" fmla="*/ 5 w 43"/>
                <a:gd name="T3" fmla="*/ 21 h 71"/>
                <a:gd name="T4" fmla="*/ 0 w 43"/>
                <a:gd name="T5" fmla="*/ 12 h 71"/>
                <a:gd name="T6" fmla="*/ 22 w 43"/>
                <a:gd name="T7" fmla="*/ 0 h 71"/>
                <a:gd name="T8" fmla="*/ 34 w 43"/>
                <a:gd name="T9" fmla="*/ 0 h 71"/>
                <a:gd name="T10" fmla="*/ 34 w 43"/>
                <a:gd name="T11" fmla="*/ 64 h 71"/>
                <a:gd name="T12" fmla="*/ 43 w 43"/>
                <a:gd name="T13" fmla="*/ 64 h 71"/>
                <a:gd name="T14" fmla="*/ 43 w 43"/>
                <a:gd name="T15" fmla="*/ 71 h 71"/>
                <a:gd name="T16" fmla="*/ 10 w 43"/>
                <a:gd name="T17" fmla="*/ 71 h 71"/>
                <a:gd name="T18" fmla="*/ 10 w 43"/>
                <a:gd name="T19" fmla="*/ 64 h 71"/>
                <a:gd name="T20" fmla="*/ 19 w 43"/>
                <a:gd name="T21" fmla="*/ 64 h 71"/>
                <a:gd name="T22" fmla="*/ 19 w 43"/>
                <a:gd name="T23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71">
                  <a:moveTo>
                    <a:pt x="19" y="12"/>
                  </a:moveTo>
                  <a:lnTo>
                    <a:pt x="5" y="21"/>
                  </a:lnTo>
                  <a:lnTo>
                    <a:pt x="0" y="12"/>
                  </a:lnTo>
                  <a:lnTo>
                    <a:pt x="22" y="0"/>
                  </a:lnTo>
                  <a:lnTo>
                    <a:pt x="34" y="0"/>
                  </a:lnTo>
                  <a:lnTo>
                    <a:pt x="34" y="64"/>
                  </a:lnTo>
                  <a:lnTo>
                    <a:pt x="43" y="64"/>
                  </a:lnTo>
                  <a:lnTo>
                    <a:pt x="43" y="71"/>
                  </a:lnTo>
                  <a:lnTo>
                    <a:pt x="10" y="71"/>
                  </a:lnTo>
                  <a:lnTo>
                    <a:pt x="10" y="64"/>
                  </a:lnTo>
                  <a:lnTo>
                    <a:pt x="19" y="64"/>
                  </a:lnTo>
                  <a:lnTo>
                    <a:pt x="19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15" name="Freeform 33">
              <a:extLst>
                <a:ext uri="{FF2B5EF4-FFF2-40B4-BE49-F238E27FC236}">
                  <a16:creationId xmlns:a16="http://schemas.microsoft.com/office/drawing/2014/main" id="{59272109-245C-4920-AFEC-FB5E5C86F01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8536" y="4256752"/>
              <a:ext cx="24306" cy="41265"/>
            </a:xfrm>
            <a:custGeom>
              <a:avLst/>
              <a:gdLst>
                <a:gd name="T0" fmla="*/ 19 w 43"/>
                <a:gd name="T1" fmla="*/ 14 h 73"/>
                <a:gd name="T2" fmla="*/ 5 w 43"/>
                <a:gd name="T3" fmla="*/ 24 h 73"/>
                <a:gd name="T4" fmla="*/ 0 w 43"/>
                <a:gd name="T5" fmla="*/ 14 h 73"/>
                <a:gd name="T6" fmla="*/ 22 w 43"/>
                <a:gd name="T7" fmla="*/ 0 h 73"/>
                <a:gd name="T8" fmla="*/ 34 w 43"/>
                <a:gd name="T9" fmla="*/ 0 h 73"/>
                <a:gd name="T10" fmla="*/ 34 w 43"/>
                <a:gd name="T11" fmla="*/ 64 h 73"/>
                <a:gd name="T12" fmla="*/ 43 w 43"/>
                <a:gd name="T13" fmla="*/ 64 h 73"/>
                <a:gd name="T14" fmla="*/ 43 w 43"/>
                <a:gd name="T15" fmla="*/ 73 h 73"/>
                <a:gd name="T16" fmla="*/ 10 w 43"/>
                <a:gd name="T17" fmla="*/ 73 h 73"/>
                <a:gd name="T18" fmla="*/ 10 w 43"/>
                <a:gd name="T19" fmla="*/ 64 h 73"/>
                <a:gd name="T20" fmla="*/ 19 w 43"/>
                <a:gd name="T21" fmla="*/ 64 h 73"/>
                <a:gd name="T22" fmla="*/ 19 w 43"/>
                <a:gd name="T23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73">
                  <a:moveTo>
                    <a:pt x="19" y="14"/>
                  </a:moveTo>
                  <a:lnTo>
                    <a:pt x="5" y="24"/>
                  </a:lnTo>
                  <a:lnTo>
                    <a:pt x="0" y="14"/>
                  </a:lnTo>
                  <a:lnTo>
                    <a:pt x="22" y="0"/>
                  </a:lnTo>
                  <a:lnTo>
                    <a:pt x="34" y="0"/>
                  </a:lnTo>
                  <a:lnTo>
                    <a:pt x="34" y="64"/>
                  </a:lnTo>
                  <a:lnTo>
                    <a:pt x="43" y="64"/>
                  </a:lnTo>
                  <a:lnTo>
                    <a:pt x="43" y="73"/>
                  </a:lnTo>
                  <a:lnTo>
                    <a:pt x="10" y="73"/>
                  </a:lnTo>
                  <a:lnTo>
                    <a:pt x="10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16" name="Freeform 34">
              <a:extLst>
                <a:ext uri="{FF2B5EF4-FFF2-40B4-BE49-F238E27FC236}">
                  <a16:creationId xmlns:a16="http://schemas.microsoft.com/office/drawing/2014/main" id="{537F4E84-5AAE-4064-BFB8-81CC7F39D966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8536" y="4327410"/>
              <a:ext cx="24306" cy="41265"/>
            </a:xfrm>
            <a:custGeom>
              <a:avLst/>
              <a:gdLst>
                <a:gd name="T0" fmla="*/ 19 w 43"/>
                <a:gd name="T1" fmla="*/ 14 h 73"/>
                <a:gd name="T2" fmla="*/ 5 w 43"/>
                <a:gd name="T3" fmla="*/ 24 h 73"/>
                <a:gd name="T4" fmla="*/ 0 w 43"/>
                <a:gd name="T5" fmla="*/ 14 h 73"/>
                <a:gd name="T6" fmla="*/ 22 w 43"/>
                <a:gd name="T7" fmla="*/ 0 h 73"/>
                <a:gd name="T8" fmla="*/ 34 w 43"/>
                <a:gd name="T9" fmla="*/ 0 h 73"/>
                <a:gd name="T10" fmla="*/ 34 w 43"/>
                <a:gd name="T11" fmla="*/ 64 h 73"/>
                <a:gd name="T12" fmla="*/ 43 w 43"/>
                <a:gd name="T13" fmla="*/ 64 h 73"/>
                <a:gd name="T14" fmla="*/ 43 w 43"/>
                <a:gd name="T15" fmla="*/ 73 h 73"/>
                <a:gd name="T16" fmla="*/ 10 w 43"/>
                <a:gd name="T17" fmla="*/ 73 h 73"/>
                <a:gd name="T18" fmla="*/ 10 w 43"/>
                <a:gd name="T19" fmla="*/ 64 h 73"/>
                <a:gd name="T20" fmla="*/ 19 w 43"/>
                <a:gd name="T21" fmla="*/ 64 h 73"/>
                <a:gd name="T22" fmla="*/ 19 w 43"/>
                <a:gd name="T23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73">
                  <a:moveTo>
                    <a:pt x="19" y="14"/>
                  </a:moveTo>
                  <a:lnTo>
                    <a:pt x="5" y="24"/>
                  </a:lnTo>
                  <a:lnTo>
                    <a:pt x="0" y="14"/>
                  </a:lnTo>
                  <a:lnTo>
                    <a:pt x="22" y="0"/>
                  </a:lnTo>
                  <a:lnTo>
                    <a:pt x="34" y="0"/>
                  </a:lnTo>
                  <a:lnTo>
                    <a:pt x="34" y="64"/>
                  </a:lnTo>
                  <a:lnTo>
                    <a:pt x="43" y="64"/>
                  </a:lnTo>
                  <a:lnTo>
                    <a:pt x="43" y="73"/>
                  </a:lnTo>
                  <a:lnTo>
                    <a:pt x="10" y="73"/>
                  </a:lnTo>
                  <a:lnTo>
                    <a:pt x="10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17" name="Freeform 43">
              <a:extLst>
                <a:ext uri="{FF2B5EF4-FFF2-40B4-BE49-F238E27FC236}">
                  <a16:creationId xmlns:a16="http://schemas.microsoft.com/office/drawing/2014/main" id="{122E7332-235B-455B-A45F-51A8FD64F3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22050" y="3475555"/>
              <a:ext cx="23741" cy="35046"/>
            </a:xfrm>
            <a:custGeom>
              <a:avLst/>
              <a:gdLst>
                <a:gd name="T0" fmla="*/ 18 w 18"/>
                <a:gd name="T1" fmla="*/ 13 h 26"/>
                <a:gd name="T2" fmla="*/ 9 w 18"/>
                <a:gd name="T3" fmla="*/ 26 h 26"/>
                <a:gd name="T4" fmla="*/ 0 w 18"/>
                <a:gd name="T5" fmla="*/ 13 h 26"/>
                <a:gd name="T6" fmla="*/ 9 w 18"/>
                <a:gd name="T7" fmla="*/ 0 h 26"/>
                <a:gd name="T8" fmla="*/ 18 w 18"/>
                <a:gd name="T9" fmla="*/ 13 h 26"/>
                <a:gd name="T10" fmla="*/ 5 w 18"/>
                <a:gd name="T11" fmla="*/ 13 h 26"/>
                <a:gd name="T12" fmla="*/ 9 w 18"/>
                <a:gd name="T13" fmla="*/ 22 h 26"/>
                <a:gd name="T14" fmla="*/ 13 w 18"/>
                <a:gd name="T15" fmla="*/ 13 h 26"/>
                <a:gd name="T16" fmla="*/ 9 w 18"/>
                <a:gd name="T17" fmla="*/ 4 h 26"/>
                <a:gd name="T18" fmla="*/ 5 w 18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6">
                  <a:moveTo>
                    <a:pt x="18" y="13"/>
                  </a:moveTo>
                  <a:cubicBezTo>
                    <a:pt x="18" y="22"/>
                    <a:pt x="15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5"/>
                    <a:pt x="3" y="0"/>
                    <a:pt x="9" y="0"/>
                  </a:cubicBezTo>
                  <a:cubicBezTo>
                    <a:pt x="15" y="0"/>
                    <a:pt x="18" y="5"/>
                    <a:pt x="18" y="13"/>
                  </a:cubicBezTo>
                  <a:close/>
                  <a:moveTo>
                    <a:pt x="5" y="13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7"/>
                    <a:pt x="12" y="4"/>
                    <a:pt x="9" y="4"/>
                  </a:cubicBezTo>
                  <a:cubicBezTo>
                    <a:pt x="6" y="4"/>
                    <a:pt x="5" y="7"/>
                    <a:pt x="5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18" name="Freeform 44">
              <a:extLst>
                <a:ext uri="{FF2B5EF4-FFF2-40B4-BE49-F238E27FC236}">
                  <a16:creationId xmlns:a16="http://schemas.microsoft.com/office/drawing/2014/main" id="{6D1CB225-F4B0-44E4-9BF4-DEAE9214BA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22050" y="3533212"/>
              <a:ext cx="23741" cy="34481"/>
            </a:xfrm>
            <a:custGeom>
              <a:avLst/>
              <a:gdLst>
                <a:gd name="T0" fmla="*/ 18 w 18"/>
                <a:gd name="T1" fmla="*/ 13 h 26"/>
                <a:gd name="T2" fmla="*/ 9 w 18"/>
                <a:gd name="T3" fmla="*/ 26 h 26"/>
                <a:gd name="T4" fmla="*/ 0 w 18"/>
                <a:gd name="T5" fmla="*/ 13 h 26"/>
                <a:gd name="T6" fmla="*/ 9 w 18"/>
                <a:gd name="T7" fmla="*/ 0 h 26"/>
                <a:gd name="T8" fmla="*/ 18 w 18"/>
                <a:gd name="T9" fmla="*/ 13 h 26"/>
                <a:gd name="T10" fmla="*/ 5 w 18"/>
                <a:gd name="T11" fmla="*/ 13 h 26"/>
                <a:gd name="T12" fmla="*/ 9 w 18"/>
                <a:gd name="T13" fmla="*/ 22 h 26"/>
                <a:gd name="T14" fmla="*/ 13 w 18"/>
                <a:gd name="T15" fmla="*/ 13 h 26"/>
                <a:gd name="T16" fmla="*/ 9 w 18"/>
                <a:gd name="T17" fmla="*/ 4 h 26"/>
                <a:gd name="T18" fmla="*/ 5 w 18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6">
                  <a:moveTo>
                    <a:pt x="18" y="13"/>
                  </a:moveTo>
                  <a:cubicBezTo>
                    <a:pt x="18" y="21"/>
                    <a:pt x="15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5" y="0"/>
                    <a:pt x="18" y="4"/>
                    <a:pt x="18" y="13"/>
                  </a:cubicBezTo>
                  <a:close/>
                  <a:moveTo>
                    <a:pt x="5" y="13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7"/>
                    <a:pt x="12" y="4"/>
                    <a:pt x="9" y="4"/>
                  </a:cubicBezTo>
                  <a:cubicBezTo>
                    <a:pt x="6" y="4"/>
                    <a:pt x="5" y="7"/>
                    <a:pt x="5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19" name="Freeform 45">
              <a:extLst>
                <a:ext uri="{FF2B5EF4-FFF2-40B4-BE49-F238E27FC236}">
                  <a16:creationId xmlns:a16="http://schemas.microsoft.com/office/drawing/2014/main" id="{D14C61B6-1CA9-4260-AB9B-330BBE68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3181" y="3647960"/>
              <a:ext cx="18654" cy="33351"/>
            </a:xfrm>
            <a:custGeom>
              <a:avLst/>
              <a:gdLst>
                <a:gd name="T0" fmla="*/ 17 w 33"/>
                <a:gd name="T1" fmla="*/ 12 h 59"/>
                <a:gd name="T2" fmla="*/ 5 w 33"/>
                <a:gd name="T3" fmla="*/ 19 h 59"/>
                <a:gd name="T4" fmla="*/ 0 w 33"/>
                <a:gd name="T5" fmla="*/ 9 h 59"/>
                <a:gd name="T6" fmla="*/ 19 w 33"/>
                <a:gd name="T7" fmla="*/ 0 h 59"/>
                <a:gd name="T8" fmla="*/ 26 w 33"/>
                <a:gd name="T9" fmla="*/ 0 h 59"/>
                <a:gd name="T10" fmla="*/ 26 w 33"/>
                <a:gd name="T11" fmla="*/ 49 h 59"/>
                <a:gd name="T12" fmla="*/ 33 w 33"/>
                <a:gd name="T13" fmla="*/ 49 h 59"/>
                <a:gd name="T14" fmla="*/ 33 w 33"/>
                <a:gd name="T15" fmla="*/ 59 h 59"/>
                <a:gd name="T16" fmla="*/ 10 w 33"/>
                <a:gd name="T17" fmla="*/ 59 h 59"/>
                <a:gd name="T18" fmla="*/ 10 w 33"/>
                <a:gd name="T19" fmla="*/ 49 h 59"/>
                <a:gd name="T20" fmla="*/ 17 w 33"/>
                <a:gd name="T21" fmla="*/ 49 h 59"/>
                <a:gd name="T22" fmla="*/ 17 w 33"/>
                <a:gd name="T23" fmla="*/ 1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9">
                  <a:moveTo>
                    <a:pt x="17" y="12"/>
                  </a:moveTo>
                  <a:lnTo>
                    <a:pt x="5" y="19"/>
                  </a:lnTo>
                  <a:lnTo>
                    <a:pt x="0" y="9"/>
                  </a:lnTo>
                  <a:lnTo>
                    <a:pt x="19" y="0"/>
                  </a:lnTo>
                  <a:lnTo>
                    <a:pt x="26" y="0"/>
                  </a:lnTo>
                  <a:lnTo>
                    <a:pt x="26" y="49"/>
                  </a:lnTo>
                  <a:lnTo>
                    <a:pt x="33" y="49"/>
                  </a:lnTo>
                  <a:lnTo>
                    <a:pt x="33" y="59"/>
                  </a:lnTo>
                  <a:lnTo>
                    <a:pt x="10" y="59"/>
                  </a:lnTo>
                  <a:lnTo>
                    <a:pt x="10" y="49"/>
                  </a:lnTo>
                  <a:lnTo>
                    <a:pt x="17" y="49"/>
                  </a:lnTo>
                  <a:lnTo>
                    <a:pt x="17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20" name="Freeform 46">
              <a:extLst>
                <a:ext uri="{FF2B5EF4-FFF2-40B4-BE49-F238E27FC236}">
                  <a16:creationId xmlns:a16="http://schemas.microsoft.com/office/drawing/2014/main" id="{831D51C7-35EA-4CD1-A951-C713C06CD7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22050" y="3703922"/>
              <a:ext cx="23741" cy="34481"/>
            </a:xfrm>
            <a:custGeom>
              <a:avLst/>
              <a:gdLst>
                <a:gd name="T0" fmla="*/ 18 w 18"/>
                <a:gd name="T1" fmla="*/ 13 h 26"/>
                <a:gd name="T2" fmla="*/ 9 w 18"/>
                <a:gd name="T3" fmla="*/ 26 h 26"/>
                <a:gd name="T4" fmla="*/ 0 w 18"/>
                <a:gd name="T5" fmla="*/ 13 h 26"/>
                <a:gd name="T6" fmla="*/ 9 w 18"/>
                <a:gd name="T7" fmla="*/ 0 h 26"/>
                <a:gd name="T8" fmla="*/ 18 w 18"/>
                <a:gd name="T9" fmla="*/ 13 h 26"/>
                <a:gd name="T10" fmla="*/ 5 w 18"/>
                <a:gd name="T11" fmla="*/ 13 h 26"/>
                <a:gd name="T12" fmla="*/ 9 w 18"/>
                <a:gd name="T13" fmla="*/ 22 h 26"/>
                <a:gd name="T14" fmla="*/ 13 w 18"/>
                <a:gd name="T15" fmla="*/ 13 h 26"/>
                <a:gd name="T16" fmla="*/ 9 w 18"/>
                <a:gd name="T17" fmla="*/ 4 h 26"/>
                <a:gd name="T18" fmla="*/ 5 w 18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6">
                  <a:moveTo>
                    <a:pt x="18" y="13"/>
                  </a:moveTo>
                  <a:cubicBezTo>
                    <a:pt x="18" y="22"/>
                    <a:pt x="15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5" y="0"/>
                    <a:pt x="18" y="4"/>
                    <a:pt x="18" y="13"/>
                  </a:cubicBezTo>
                  <a:close/>
                  <a:moveTo>
                    <a:pt x="5" y="13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7"/>
                    <a:pt x="12" y="4"/>
                    <a:pt x="9" y="4"/>
                  </a:cubicBezTo>
                  <a:cubicBezTo>
                    <a:pt x="6" y="4"/>
                    <a:pt x="5" y="7"/>
                    <a:pt x="5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21" name="Freeform 47">
              <a:extLst>
                <a:ext uri="{FF2B5EF4-FFF2-40B4-BE49-F238E27FC236}">
                  <a16:creationId xmlns:a16="http://schemas.microsoft.com/office/drawing/2014/main" id="{EA0C6347-5D62-44AB-A081-A65A441F5F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22050" y="3761579"/>
              <a:ext cx="23741" cy="33351"/>
            </a:xfrm>
            <a:custGeom>
              <a:avLst/>
              <a:gdLst>
                <a:gd name="T0" fmla="*/ 18 w 18"/>
                <a:gd name="T1" fmla="*/ 13 h 25"/>
                <a:gd name="T2" fmla="*/ 9 w 18"/>
                <a:gd name="T3" fmla="*/ 25 h 25"/>
                <a:gd name="T4" fmla="*/ 0 w 18"/>
                <a:gd name="T5" fmla="*/ 12 h 25"/>
                <a:gd name="T6" fmla="*/ 9 w 18"/>
                <a:gd name="T7" fmla="*/ 0 h 25"/>
                <a:gd name="T8" fmla="*/ 18 w 18"/>
                <a:gd name="T9" fmla="*/ 13 h 25"/>
                <a:gd name="T10" fmla="*/ 5 w 18"/>
                <a:gd name="T11" fmla="*/ 12 h 25"/>
                <a:gd name="T12" fmla="*/ 9 w 18"/>
                <a:gd name="T13" fmla="*/ 22 h 25"/>
                <a:gd name="T14" fmla="*/ 13 w 18"/>
                <a:gd name="T15" fmla="*/ 13 h 25"/>
                <a:gd name="T16" fmla="*/ 9 w 18"/>
                <a:gd name="T17" fmla="*/ 3 h 25"/>
                <a:gd name="T18" fmla="*/ 5 w 18"/>
                <a:gd name="T1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5">
                  <a:moveTo>
                    <a:pt x="18" y="13"/>
                  </a:moveTo>
                  <a:cubicBezTo>
                    <a:pt x="18" y="21"/>
                    <a:pt x="15" y="25"/>
                    <a:pt x="9" y="25"/>
                  </a:cubicBezTo>
                  <a:cubicBezTo>
                    <a:pt x="3" y="25"/>
                    <a:pt x="0" y="21"/>
                    <a:pt x="0" y="12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5" y="0"/>
                    <a:pt x="18" y="4"/>
                    <a:pt x="18" y="13"/>
                  </a:cubicBezTo>
                  <a:close/>
                  <a:moveTo>
                    <a:pt x="5" y="12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6"/>
                    <a:pt x="12" y="3"/>
                    <a:pt x="9" y="3"/>
                  </a:cubicBezTo>
                  <a:cubicBezTo>
                    <a:pt x="6" y="3"/>
                    <a:pt x="5" y="6"/>
                    <a:pt x="5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22" name="Freeform 48">
              <a:extLst>
                <a:ext uri="{FF2B5EF4-FFF2-40B4-BE49-F238E27FC236}">
                  <a16:creationId xmlns:a16="http://schemas.microsoft.com/office/drawing/2014/main" id="{14FF3641-31CC-4E86-A3DC-53A15DCBF8D9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3181" y="3876328"/>
              <a:ext cx="18654" cy="31655"/>
            </a:xfrm>
            <a:custGeom>
              <a:avLst/>
              <a:gdLst>
                <a:gd name="T0" fmla="*/ 17 w 33"/>
                <a:gd name="T1" fmla="*/ 9 h 56"/>
                <a:gd name="T2" fmla="*/ 5 w 33"/>
                <a:gd name="T3" fmla="*/ 16 h 56"/>
                <a:gd name="T4" fmla="*/ 0 w 33"/>
                <a:gd name="T5" fmla="*/ 9 h 56"/>
                <a:gd name="T6" fmla="*/ 19 w 33"/>
                <a:gd name="T7" fmla="*/ 0 h 56"/>
                <a:gd name="T8" fmla="*/ 26 w 33"/>
                <a:gd name="T9" fmla="*/ 0 h 56"/>
                <a:gd name="T10" fmla="*/ 26 w 33"/>
                <a:gd name="T11" fmla="*/ 49 h 56"/>
                <a:gd name="T12" fmla="*/ 33 w 33"/>
                <a:gd name="T13" fmla="*/ 49 h 56"/>
                <a:gd name="T14" fmla="*/ 33 w 33"/>
                <a:gd name="T15" fmla="*/ 56 h 56"/>
                <a:gd name="T16" fmla="*/ 10 w 33"/>
                <a:gd name="T17" fmla="*/ 56 h 56"/>
                <a:gd name="T18" fmla="*/ 10 w 33"/>
                <a:gd name="T19" fmla="*/ 49 h 56"/>
                <a:gd name="T20" fmla="*/ 17 w 33"/>
                <a:gd name="T21" fmla="*/ 49 h 56"/>
                <a:gd name="T22" fmla="*/ 17 w 33"/>
                <a:gd name="T23" fmla="*/ 9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6">
                  <a:moveTo>
                    <a:pt x="17" y="9"/>
                  </a:moveTo>
                  <a:lnTo>
                    <a:pt x="5" y="16"/>
                  </a:lnTo>
                  <a:lnTo>
                    <a:pt x="0" y="9"/>
                  </a:lnTo>
                  <a:lnTo>
                    <a:pt x="19" y="0"/>
                  </a:lnTo>
                  <a:lnTo>
                    <a:pt x="26" y="0"/>
                  </a:lnTo>
                  <a:lnTo>
                    <a:pt x="26" y="49"/>
                  </a:lnTo>
                  <a:lnTo>
                    <a:pt x="33" y="49"/>
                  </a:lnTo>
                  <a:lnTo>
                    <a:pt x="33" y="56"/>
                  </a:lnTo>
                  <a:lnTo>
                    <a:pt x="10" y="56"/>
                  </a:lnTo>
                  <a:lnTo>
                    <a:pt x="10" y="49"/>
                  </a:lnTo>
                  <a:lnTo>
                    <a:pt x="17" y="49"/>
                  </a:lnTo>
                  <a:lnTo>
                    <a:pt x="17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23" name="Freeform 49">
              <a:extLst>
                <a:ext uri="{FF2B5EF4-FFF2-40B4-BE49-F238E27FC236}">
                  <a16:creationId xmlns:a16="http://schemas.microsoft.com/office/drawing/2014/main" id="{86B5FA44-8D88-4A39-BC49-B735B8645C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22050" y="3932289"/>
              <a:ext cx="23741" cy="33351"/>
            </a:xfrm>
            <a:custGeom>
              <a:avLst/>
              <a:gdLst>
                <a:gd name="T0" fmla="*/ 18 w 18"/>
                <a:gd name="T1" fmla="*/ 13 h 25"/>
                <a:gd name="T2" fmla="*/ 9 w 18"/>
                <a:gd name="T3" fmla="*/ 25 h 25"/>
                <a:gd name="T4" fmla="*/ 0 w 18"/>
                <a:gd name="T5" fmla="*/ 13 h 25"/>
                <a:gd name="T6" fmla="*/ 9 w 18"/>
                <a:gd name="T7" fmla="*/ 0 h 25"/>
                <a:gd name="T8" fmla="*/ 18 w 18"/>
                <a:gd name="T9" fmla="*/ 13 h 25"/>
                <a:gd name="T10" fmla="*/ 5 w 18"/>
                <a:gd name="T11" fmla="*/ 13 h 25"/>
                <a:gd name="T12" fmla="*/ 9 w 18"/>
                <a:gd name="T13" fmla="*/ 22 h 25"/>
                <a:gd name="T14" fmla="*/ 13 w 18"/>
                <a:gd name="T15" fmla="*/ 13 h 25"/>
                <a:gd name="T16" fmla="*/ 9 w 18"/>
                <a:gd name="T17" fmla="*/ 3 h 25"/>
                <a:gd name="T18" fmla="*/ 5 w 18"/>
                <a:gd name="T19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5">
                  <a:moveTo>
                    <a:pt x="18" y="13"/>
                  </a:moveTo>
                  <a:cubicBezTo>
                    <a:pt x="18" y="21"/>
                    <a:pt x="15" y="25"/>
                    <a:pt x="9" y="25"/>
                  </a:cubicBezTo>
                  <a:cubicBezTo>
                    <a:pt x="3" y="25"/>
                    <a:pt x="0" y="21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5" y="0"/>
                    <a:pt x="18" y="4"/>
                    <a:pt x="18" y="13"/>
                  </a:cubicBezTo>
                  <a:close/>
                  <a:moveTo>
                    <a:pt x="5" y="13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6"/>
                    <a:pt x="12" y="3"/>
                    <a:pt x="9" y="3"/>
                  </a:cubicBezTo>
                  <a:cubicBezTo>
                    <a:pt x="6" y="3"/>
                    <a:pt x="5" y="6"/>
                    <a:pt x="5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24" name="Freeform 50">
              <a:extLst>
                <a:ext uri="{FF2B5EF4-FFF2-40B4-BE49-F238E27FC236}">
                  <a16:creationId xmlns:a16="http://schemas.microsoft.com/office/drawing/2014/main" id="{2DC6BF0F-F07D-433C-B493-05C02E74C96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3181" y="3989946"/>
              <a:ext cx="18654" cy="33351"/>
            </a:xfrm>
            <a:custGeom>
              <a:avLst/>
              <a:gdLst>
                <a:gd name="T0" fmla="*/ 17 w 33"/>
                <a:gd name="T1" fmla="*/ 11 h 59"/>
                <a:gd name="T2" fmla="*/ 5 w 33"/>
                <a:gd name="T3" fmla="*/ 18 h 59"/>
                <a:gd name="T4" fmla="*/ 0 w 33"/>
                <a:gd name="T5" fmla="*/ 9 h 59"/>
                <a:gd name="T6" fmla="*/ 19 w 33"/>
                <a:gd name="T7" fmla="*/ 0 h 59"/>
                <a:gd name="T8" fmla="*/ 26 w 33"/>
                <a:gd name="T9" fmla="*/ 0 h 59"/>
                <a:gd name="T10" fmla="*/ 26 w 33"/>
                <a:gd name="T11" fmla="*/ 49 h 59"/>
                <a:gd name="T12" fmla="*/ 33 w 33"/>
                <a:gd name="T13" fmla="*/ 52 h 59"/>
                <a:gd name="T14" fmla="*/ 33 w 33"/>
                <a:gd name="T15" fmla="*/ 59 h 59"/>
                <a:gd name="T16" fmla="*/ 10 w 33"/>
                <a:gd name="T17" fmla="*/ 59 h 59"/>
                <a:gd name="T18" fmla="*/ 10 w 33"/>
                <a:gd name="T19" fmla="*/ 52 h 59"/>
                <a:gd name="T20" fmla="*/ 17 w 33"/>
                <a:gd name="T21" fmla="*/ 49 h 59"/>
                <a:gd name="T22" fmla="*/ 17 w 33"/>
                <a:gd name="T23" fmla="*/ 1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9">
                  <a:moveTo>
                    <a:pt x="17" y="11"/>
                  </a:moveTo>
                  <a:lnTo>
                    <a:pt x="5" y="18"/>
                  </a:lnTo>
                  <a:lnTo>
                    <a:pt x="0" y="9"/>
                  </a:lnTo>
                  <a:lnTo>
                    <a:pt x="19" y="0"/>
                  </a:lnTo>
                  <a:lnTo>
                    <a:pt x="26" y="0"/>
                  </a:lnTo>
                  <a:lnTo>
                    <a:pt x="26" y="49"/>
                  </a:lnTo>
                  <a:lnTo>
                    <a:pt x="33" y="52"/>
                  </a:lnTo>
                  <a:lnTo>
                    <a:pt x="33" y="59"/>
                  </a:lnTo>
                  <a:lnTo>
                    <a:pt x="10" y="59"/>
                  </a:lnTo>
                  <a:lnTo>
                    <a:pt x="10" y="52"/>
                  </a:lnTo>
                  <a:lnTo>
                    <a:pt x="17" y="49"/>
                  </a:lnTo>
                  <a:lnTo>
                    <a:pt x="17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25" name="Freeform 51">
              <a:extLst>
                <a:ext uri="{FF2B5EF4-FFF2-40B4-BE49-F238E27FC236}">
                  <a16:creationId xmlns:a16="http://schemas.microsoft.com/office/drawing/2014/main" id="{86D46D51-0176-49D9-B301-E3A3C52F5D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22050" y="4045908"/>
              <a:ext cx="23741" cy="34481"/>
            </a:xfrm>
            <a:custGeom>
              <a:avLst/>
              <a:gdLst>
                <a:gd name="T0" fmla="*/ 18 w 18"/>
                <a:gd name="T1" fmla="*/ 13 h 26"/>
                <a:gd name="T2" fmla="*/ 9 w 18"/>
                <a:gd name="T3" fmla="*/ 26 h 26"/>
                <a:gd name="T4" fmla="*/ 0 w 18"/>
                <a:gd name="T5" fmla="*/ 13 h 26"/>
                <a:gd name="T6" fmla="*/ 9 w 18"/>
                <a:gd name="T7" fmla="*/ 0 h 26"/>
                <a:gd name="T8" fmla="*/ 18 w 18"/>
                <a:gd name="T9" fmla="*/ 13 h 26"/>
                <a:gd name="T10" fmla="*/ 5 w 18"/>
                <a:gd name="T11" fmla="*/ 13 h 26"/>
                <a:gd name="T12" fmla="*/ 9 w 18"/>
                <a:gd name="T13" fmla="*/ 22 h 26"/>
                <a:gd name="T14" fmla="*/ 13 w 18"/>
                <a:gd name="T15" fmla="*/ 13 h 26"/>
                <a:gd name="T16" fmla="*/ 9 w 18"/>
                <a:gd name="T17" fmla="*/ 4 h 26"/>
                <a:gd name="T18" fmla="*/ 5 w 18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6">
                  <a:moveTo>
                    <a:pt x="18" y="13"/>
                  </a:moveTo>
                  <a:cubicBezTo>
                    <a:pt x="18" y="22"/>
                    <a:pt x="15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5" y="0"/>
                    <a:pt x="18" y="4"/>
                    <a:pt x="18" y="13"/>
                  </a:cubicBezTo>
                  <a:close/>
                  <a:moveTo>
                    <a:pt x="5" y="13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7"/>
                    <a:pt x="12" y="4"/>
                    <a:pt x="9" y="4"/>
                  </a:cubicBezTo>
                  <a:cubicBezTo>
                    <a:pt x="6" y="4"/>
                    <a:pt x="5" y="7"/>
                    <a:pt x="5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26" name="Freeform 52">
              <a:extLst>
                <a:ext uri="{FF2B5EF4-FFF2-40B4-BE49-F238E27FC236}">
                  <a16:creationId xmlns:a16="http://schemas.microsoft.com/office/drawing/2014/main" id="{8D1F0047-523D-4BE1-B11A-DC5E51E218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3181" y="4102999"/>
              <a:ext cx="18654" cy="33351"/>
            </a:xfrm>
            <a:custGeom>
              <a:avLst/>
              <a:gdLst>
                <a:gd name="T0" fmla="*/ 17 w 33"/>
                <a:gd name="T1" fmla="*/ 12 h 59"/>
                <a:gd name="T2" fmla="*/ 5 w 33"/>
                <a:gd name="T3" fmla="*/ 19 h 59"/>
                <a:gd name="T4" fmla="*/ 0 w 33"/>
                <a:gd name="T5" fmla="*/ 12 h 59"/>
                <a:gd name="T6" fmla="*/ 19 w 33"/>
                <a:gd name="T7" fmla="*/ 0 h 59"/>
                <a:gd name="T8" fmla="*/ 26 w 33"/>
                <a:gd name="T9" fmla="*/ 0 h 59"/>
                <a:gd name="T10" fmla="*/ 26 w 33"/>
                <a:gd name="T11" fmla="*/ 52 h 59"/>
                <a:gd name="T12" fmla="*/ 33 w 33"/>
                <a:gd name="T13" fmla="*/ 52 h 59"/>
                <a:gd name="T14" fmla="*/ 33 w 33"/>
                <a:gd name="T15" fmla="*/ 59 h 59"/>
                <a:gd name="T16" fmla="*/ 10 w 33"/>
                <a:gd name="T17" fmla="*/ 59 h 59"/>
                <a:gd name="T18" fmla="*/ 10 w 33"/>
                <a:gd name="T19" fmla="*/ 52 h 59"/>
                <a:gd name="T20" fmla="*/ 17 w 33"/>
                <a:gd name="T21" fmla="*/ 52 h 59"/>
                <a:gd name="T22" fmla="*/ 17 w 33"/>
                <a:gd name="T23" fmla="*/ 1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9">
                  <a:moveTo>
                    <a:pt x="17" y="12"/>
                  </a:moveTo>
                  <a:lnTo>
                    <a:pt x="5" y="19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6" y="0"/>
                  </a:lnTo>
                  <a:lnTo>
                    <a:pt x="26" y="52"/>
                  </a:lnTo>
                  <a:lnTo>
                    <a:pt x="33" y="52"/>
                  </a:lnTo>
                  <a:lnTo>
                    <a:pt x="33" y="59"/>
                  </a:lnTo>
                  <a:lnTo>
                    <a:pt x="10" y="59"/>
                  </a:lnTo>
                  <a:lnTo>
                    <a:pt x="10" y="52"/>
                  </a:lnTo>
                  <a:lnTo>
                    <a:pt x="17" y="52"/>
                  </a:lnTo>
                  <a:lnTo>
                    <a:pt x="17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27" name="Freeform 53">
              <a:extLst>
                <a:ext uri="{FF2B5EF4-FFF2-40B4-BE49-F238E27FC236}">
                  <a16:creationId xmlns:a16="http://schemas.microsoft.com/office/drawing/2014/main" id="{882AADFE-B4BB-4B13-98C6-54B7F639F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3181" y="4160657"/>
              <a:ext cx="18654" cy="33351"/>
            </a:xfrm>
            <a:custGeom>
              <a:avLst/>
              <a:gdLst>
                <a:gd name="T0" fmla="*/ 17 w 33"/>
                <a:gd name="T1" fmla="*/ 12 h 59"/>
                <a:gd name="T2" fmla="*/ 5 w 33"/>
                <a:gd name="T3" fmla="*/ 19 h 59"/>
                <a:gd name="T4" fmla="*/ 0 w 33"/>
                <a:gd name="T5" fmla="*/ 9 h 59"/>
                <a:gd name="T6" fmla="*/ 19 w 33"/>
                <a:gd name="T7" fmla="*/ 0 h 59"/>
                <a:gd name="T8" fmla="*/ 26 w 33"/>
                <a:gd name="T9" fmla="*/ 0 h 59"/>
                <a:gd name="T10" fmla="*/ 26 w 33"/>
                <a:gd name="T11" fmla="*/ 52 h 59"/>
                <a:gd name="T12" fmla="*/ 33 w 33"/>
                <a:gd name="T13" fmla="*/ 52 h 59"/>
                <a:gd name="T14" fmla="*/ 33 w 33"/>
                <a:gd name="T15" fmla="*/ 59 h 59"/>
                <a:gd name="T16" fmla="*/ 10 w 33"/>
                <a:gd name="T17" fmla="*/ 59 h 59"/>
                <a:gd name="T18" fmla="*/ 10 w 33"/>
                <a:gd name="T19" fmla="*/ 52 h 59"/>
                <a:gd name="T20" fmla="*/ 17 w 33"/>
                <a:gd name="T21" fmla="*/ 52 h 59"/>
                <a:gd name="T22" fmla="*/ 17 w 33"/>
                <a:gd name="T23" fmla="*/ 1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9">
                  <a:moveTo>
                    <a:pt x="17" y="12"/>
                  </a:moveTo>
                  <a:lnTo>
                    <a:pt x="5" y="19"/>
                  </a:lnTo>
                  <a:lnTo>
                    <a:pt x="0" y="9"/>
                  </a:lnTo>
                  <a:lnTo>
                    <a:pt x="19" y="0"/>
                  </a:lnTo>
                  <a:lnTo>
                    <a:pt x="26" y="0"/>
                  </a:lnTo>
                  <a:lnTo>
                    <a:pt x="26" y="52"/>
                  </a:lnTo>
                  <a:lnTo>
                    <a:pt x="33" y="52"/>
                  </a:lnTo>
                  <a:lnTo>
                    <a:pt x="33" y="59"/>
                  </a:lnTo>
                  <a:lnTo>
                    <a:pt x="10" y="59"/>
                  </a:lnTo>
                  <a:lnTo>
                    <a:pt x="10" y="52"/>
                  </a:lnTo>
                  <a:lnTo>
                    <a:pt x="17" y="52"/>
                  </a:lnTo>
                  <a:lnTo>
                    <a:pt x="17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28" name="Freeform 54">
              <a:extLst>
                <a:ext uri="{FF2B5EF4-FFF2-40B4-BE49-F238E27FC236}">
                  <a16:creationId xmlns:a16="http://schemas.microsoft.com/office/drawing/2014/main" id="{DB91E97A-39EB-4C73-8AD5-EB01D6DD0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3181" y="4218314"/>
              <a:ext cx="18654" cy="31655"/>
            </a:xfrm>
            <a:custGeom>
              <a:avLst/>
              <a:gdLst>
                <a:gd name="T0" fmla="*/ 17 w 33"/>
                <a:gd name="T1" fmla="*/ 9 h 56"/>
                <a:gd name="T2" fmla="*/ 5 w 33"/>
                <a:gd name="T3" fmla="*/ 16 h 56"/>
                <a:gd name="T4" fmla="*/ 0 w 33"/>
                <a:gd name="T5" fmla="*/ 9 h 56"/>
                <a:gd name="T6" fmla="*/ 19 w 33"/>
                <a:gd name="T7" fmla="*/ 0 h 56"/>
                <a:gd name="T8" fmla="*/ 26 w 33"/>
                <a:gd name="T9" fmla="*/ 0 h 56"/>
                <a:gd name="T10" fmla="*/ 26 w 33"/>
                <a:gd name="T11" fmla="*/ 49 h 56"/>
                <a:gd name="T12" fmla="*/ 33 w 33"/>
                <a:gd name="T13" fmla="*/ 49 h 56"/>
                <a:gd name="T14" fmla="*/ 33 w 33"/>
                <a:gd name="T15" fmla="*/ 56 h 56"/>
                <a:gd name="T16" fmla="*/ 10 w 33"/>
                <a:gd name="T17" fmla="*/ 56 h 56"/>
                <a:gd name="T18" fmla="*/ 10 w 33"/>
                <a:gd name="T19" fmla="*/ 49 h 56"/>
                <a:gd name="T20" fmla="*/ 17 w 33"/>
                <a:gd name="T21" fmla="*/ 49 h 56"/>
                <a:gd name="T22" fmla="*/ 17 w 33"/>
                <a:gd name="T23" fmla="*/ 9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6">
                  <a:moveTo>
                    <a:pt x="17" y="9"/>
                  </a:moveTo>
                  <a:lnTo>
                    <a:pt x="5" y="16"/>
                  </a:lnTo>
                  <a:lnTo>
                    <a:pt x="0" y="9"/>
                  </a:lnTo>
                  <a:lnTo>
                    <a:pt x="19" y="0"/>
                  </a:lnTo>
                  <a:lnTo>
                    <a:pt x="26" y="0"/>
                  </a:lnTo>
                  <a:lnTo>
                    <a:pt x="26" y="49"/>
                  </a:lnTo>
                  <a:lnTo>
                    <a:pt x="33" y="49"/>
                  </a:lnTo>
                  <a:lnTo>
                    <a:pt x="33" y="56"/>
                  </a:lnTo>
                  <a:lnTo>
                    <a:pt x="10" y="56"/>
                  </a:lnTo>
                  <a:lnTo>
                    <a:pt x="10" y="49"/>
                  </a:lnTo>
                  <a:lnTo>
                    <a:pt x="17" y="49"/>
                  </a:lnTo>
                  <a:lnTo>
                    <a:pt x="17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29" name="Freeform 55">
              <a:extLst>
                <a:ext uri="{FF2B5EF4-FFF2-40B4-BE49-F238E27FC236}">
                  <a16:creationId xmlns:a16="http://schemas.microsoft.com/office/drawing/2014/main" id="{BDAA5CA8-C87E-4231-A268-37869B63E8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22050" y="4387893"/>
              <a:ext cx="23741" cy="34481"/>
            </a:xfrm>
            <a:custGeom>
              <a:avLst/>
              <a:gdLst>
                <a:gd name="T0" fmla="*/ 18 w 18"/>
                <a:gd name="T1" fmla="*/ 13 h 26"/>
                <a:gd name="T2" fmla="*/ 9 w 18"/>
                <a:gd name="T3" fmla="*/ 26 h 26"/>
                <a:gd name="T4" fmla="*/ 0 w 18"/>
                <a:gd name="T5" fmla="*/ 13 h 26"/>
                <a:gd name="T6" fmla="*/ 9 w 18"/>
                <a:gd name="T7" fmla="*/ 0 h 26"/>
                <a:gd name="T8" fmla="*/ 18 w 18"/>
                <a:gd name="T9" fmla="*/ 13 h 26"/>
                <a:gd name="T10" fmla="*/ 5 w 18"/>
                <a:gd name="T11" fmla="*/ 13 h 26"/>
                <a:gd name="T12" fmla="*/ 9 w 18"/>
                <a:gd name="T13" fmla="*/ 22 h 26"/>
                <a:gd name="T14" fmla="*/ 13 w 18"/>
                <a:gd name="T15" fmla="*/ 13 h 26"/>
                <a:gd name="T16" fmla="*/ 9 w 18"/>
                <a:gd name="T17" fmla="*/ 4 h 26"/>
                <a:gd name="T18" fmla="*/ 5 w 18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6">
                  <a:moveTo>
                    <a:pt x="18" y="13"/>
                  </a:moveTo>
                  <a:cubicBezTo>
                    <a:pt x="18" y="22"/>
                    <a:pt x="15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5" y="0"/>
                    <a:pt x="18" y="4"/>
                    <a:pt x="18" y="13"/>
                  </a:cubicBezTo>
                  <a:close/>
                  <a:moveTo>
                    <a:pt x="5" y="13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7"/>
                    <a:pt x="12" y="4"/>
                    <a:pt x="9" y="4"/>
                  </a:cubicBezTo>
                  <a:cubicBezTo>
                    <a:pt x="6" y="4"/>
                    <a:pt x="5" y="7"/>
                    <a:pt x="5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30" name="Freeform 56">
              <a:extLst>
                <a:ext uri="{FF2B5EF4-FFF2-40B4-BE49-F238E27FC236}">
                  <a16:creationId xmlns:a16="http://schemas.microsoft.com/office/drawing/2014/main" id="{A13FCD82-76EC-4ADF-AB40-ED617A4CD5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22050" y="4444985"/>
              <a:ext cx="23741" cy="33351"/>
            </a:xfrm>
            <a:custGeom>
              <a:avLst/>
              <a:gdLst>
                <a:gd name="T0" fmla="*/ 18 w 18"/>
                <a:gd name="T1" fmla="*/ 13 h 25"/>
                <a:gd name="T2" fmla="*/ 9 w 18"/>
                <a:gd name="T3" fmla="*/ 25 h 25"/>
                <a:gd name="T4" fmla="*/ 0 w 18"/>
                <a:gd name="T5" fmla="*/ 13 h 25"/>
                <a:gd name="T6" fmla="*/ 9 w 18"/>
                <a:gd name="T7" fmla="*/ 0 h 25"/>
                <a:gd name="T8" fmla="*/ 18 w 18"/>
                <a:gd name="T9" fmla="*/ 13 h 25"/>
                <a:gd name="T10" fmla="*/ 5 w 18"/>
                <a:gd name="T11" fmla="*/ 13 h 25"/>
                <a:gd name="T12" fmla="*/ 9 w 18"/>
                <a:gd name="T13" fmla="*/ 22 h 25"/>
                <a:gd name="T14" fmla="*/ 13 w 18"/>
                <a:gd name="T15" fmla="*/ 13 h 25"/>
                <a:gd name="T16" fmla="*/ 9 w 18"/>
                <a:gd name="T17" fmla="*/ 4 h 25"/>
                <a:gd name="T18" fmla="*/ 5 w 18"/>
                <a:gd name="T19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5">
                  <a:moveTo>
                    <a:pt x="18" y="13"/>
                  </a:moveTo>
                  <a:cubicBezTo>
                    <a:pt x="18" y="21"/>
                    <a:pt x="15" y="25"/>
                    <a:pt x="9" y="25"/>
                  </a:cubicBezTo>
                  <a:cubicBezTo>
                    <a:pt x="3" y="25"/>
                    <a:pt x="0" y="21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5" y="0"/>
                    <a:pt x="18" y="4"/>
                    <a:pt x="18" y="13"/>
                  </a:cubicBezTo>
                  <a:close/>
                  <a:moveTo>
                    <a:pt x="5" y="13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7"/>
                    <a:pt x="12" y="4"/>
                    <a:pt x="9" y="4"/>
                  </a:cubicBezTo>
                  <a:cubicBezTo>
                    <a:pt x="6" y="4"/>
                    <a:pt x="5" y="7"/>
                    <a:pt x="5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31" name="Freeform 63">
              <a:extLst>
                <a:ext uri="{FF2B5EF4-FFF2-40B4-BE49-F238E27FC236}">
                  <a16:creationId xmlns:a16="http://schemas.microsoft.com/office/drawing/2014/main" id="{00C22786-1E7E-41B5-B2C7-E84550FDF5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81768" y="3475555"/>
              <a:ext cx="22611" cy="35046"/>
            </a:xfrm>
            <a:custGeom>
              <a:avLst/>
              <a:gdLst>
                <a:gd name="T0" fmla="*/ 17 w 17"/>
                <a:gd name="T1" fmla="*/ 13 h 26"/>
                <a:gd name="T2" fmla="*/ 9 w 17"/>
                <a:gd name="T3" fmla="*/ 26 h 26"/>
                <a:gd name="T4" fmla="*/ 0 w 17"/>
                <a:gd name="T5" fmla="*/ 13 h 26"/>
                <a:gd name="T6" fmla="*/ 9 w 17"/>
                <a:gd name="T7" fmla="*/ 0 h 26"/>
                <a:gd name="T8" fmla="*/ 17 w 17"/>
                <a:gd name="T9" fmla="*/ 13 h 26"/>
                <a:gd name="T10" fmla="*/ 4 w 17"/>
                <a:gd name="T11" fmla="*/ 13 h 26"/>
                <a:gd name="T12" fmla="*/ 9 w 17"/>
                <a:gd name="T13" fmla="*/ 22 h 26"/>
                <a:gd name="T14" fmla="*/ 13 w 17"/>
                <a:gd name="T15" fmla="*/ 13 h 26"/>
                <a:gd name="T16" fmla="*/ 9 w 17"/>
                <a:gd name="T17" fmla="*/ 4 h 26"/>
                <a:gd name="T18" fmla="*/ 4 w 17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6">
                  <a:moveTo>
                    <a:pt x="17" y="13"/>
                  </a:moveTo>
                  <a:cubicBezTo>
                    <a:pt x="17" y="22"/>
                    <a:pt x="14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5"/>
                    <a:pt x="3" y="0"/>
                    <a:pt x="9" y="0"/>
                  </a:cubicBezTo>
                  <a:cubicBezTo>
                    <a:pt x="14" y="0"/>
                    <a:pt x="17" y="5"/>
                    <a:pt x="17" y="13"/>
                  </a:cubicBezTo>
                  <a:close/>
                  <a:moveTo>
                    <a:pt x="4" y="13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7"/>
                    <a:pt x="11" y="4"/>
                    <a:pt x="9" y="4"/>
                  </a:cubicBezTo>
                  <a:cubicBezTo>
                    <a:pt x="6" y="4"/>
                    <a:pt x="4" y="7"/>
                    <a:pt x="4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32" name="Freeform 64">
              <a:extLst>
                <a:ext uri="{FF2B5EF4-FFF2-40B4-BE49-F238E27FC236}">
                  <a16:creationId xmlns:a16="http://schemas.microsoft.com/office/drawing/2014/main" id="{EE502573-3AE9-4DF6-B79F-E29B04B658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81768" y="3533212"/>
              <a:ext cx="22611" cy="34481"/>
            </a:xfrm>
            <a:custGeom>
              <a:avLst/>
              <a:gdLst>
                <a:gd name="T0" fmla="*/ 17 w 17"/>
                <a:gd name="T1" fmla="*/ 13 h 26"/>
                <a:gd name="T2" fmla="*/ 9 w 17"/>
                <a:gd name="T3" fmla="*/ 26 h 26"/>
                <a:gd name="T4" fmla="*/ 0 w 17"/>
                <a:gd name="T5" fmla="*/ 13 h 26"/>
                <a:gd name="T6" fmla="*/ 9 w 17"/>
                <a:gd name="T7" fmla="*/ 0 h 26"/>
                <a:gd name="T8" fmla="*/ 17 w 17"/>
                <a:gd name="T9" fmla="*/ 13 h 26"/>
                <a:gd name="T10" fmla="*/ 4 w 17"/>
                <a:gd name="T11" fmla="*/ 13 h 26"/>
                <a:gd name="T12" fmla="*/ 9 w 17"/>
                <a:gd name="T13" fmla="*/ 22 h 26"/>
                <a:gd name="T14" fmla="*/ 13 w 17"/>
                <a:gd name="T15" fmla="*/ 13 h 26"/>
                <a:gd name="T16" fmla="*/ 9 w 17"/>
                <a:gd name="T17" fmla="*/ 4 h 26"/>
                <a:gd name="T18" fmla="*/ 4 w 17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6">
                  <a:moveTo>
                    <a:pt x="17" y="13"/>
                  </a:moveTo>
                  <a:cubicBezTo>
                    <a:pt x="17" y="21"/>
                    <a:pt x="14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4" y="0"/>
                    <a:pt x="17" y="4"/>
                    <a:pt x="17" y="13"/>
                  </a:cubicBezTo>
                  <a:close/>
                  <a:moveTo>
                    <a:pt x="4" y="13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7"/>
                    <a:pt x="11" y="4"/>
                    <a:pt x="9" y="4"/>
                  </a:cubicBezTo>
                  <a:cubicBezTo>
                    <a:pt x="6" y="4"/>
                    <a:pt x="4" y="7"/>
                    <a:pt x="4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33" name="Freeform 65">
              <a:extLst>
                <a:ext uri="{FF2B5EF4-FFF2-40B4-BE49-F238E27FC236}">
                  <a16:creationId xmlns:a16="http://schemas.microsoft.com/office/drawing/2014/main" id="{F78076E7-33C2-4F2E-BADC-DAEF21FBBE2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3464" y="3647960"/>
              <a:ext cx="18654" cy="33351"/>
            </a:xfrm>
            <a:custGeom>
              <a:avLst/>
              <a:gdLst>
                <a:gd name="T0" fmla="*/ 16 w 33"/>
                <a:gd name="T1" fmla="*/ 12 h 59"/>
                <a:gd name="T2" fmla="*/ 4 w 33"/>
                <a:gd name="T3" fmla="*/ 19 h 59"/>
                <a:gd name="T4" fmla="*/ 0 w 33"/>
                <a:gd name="T5" fmla="*/ 9 h 59"/>
                <a:gd name="T6" fmla="*/ 16 w 33"/>
                <a:gd name="T7" fmla="*/ 0 h 59"/>
                <a:gd name="T8" fmla="*/ 26 w 33"/>
                <a:gd name="T9" fmla="*/ 0 h 59"/>
                <a:gd name="T10" fmla="*/ 26 w 33"/>
                <a:gd name="T11" fmla="*/ 49 h 59"/>
                <a:gd name="T12" fmla="*/ 33 w 33"/>
                <a:gd name="T13" fmla="*/ 49 h 59"/>
                <a:gd name="T14" fmla="*/ 33 w 33"/>
                <a:gd name="T15" fmla="*/ 59 h 59"/>
                <a:gd name="T16" fmla="*/ 7 w 33"/>
                <a:gd name="T17" fmla="*/ 59 h 59"/>
                <a:gd name="T18" fmla="*/ 7 w 33"/>
                <a:gd name="T19" fmla="*/ 49 h 59"/>
                <a:gd name="T20" fmla="*/ 16 w 33"/>
                <a:gd name="T21" fmla="*/ 49 h 59"/>
                <a:gd name="T22" fmla="*/ 16 w 33"/>
                <a:gd name="T23" fmla="*/ 1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9">
                  <a:moveTo>
                    <a:pt x="16" y="12"/>
                  </a:moveTo>
                  <a:lnTo>
                    <a:pt x="4" y="19"/>
                  </a:lnTo>
                  <a:lnTo>
                    <a:pt x="0" y="9"/>
                  </a:lnTo>
                  <a:lnTo>
                    <a:pt x="16" y="0"/>
                  </a:lnTo>
                  <a:lnTo>
                    <a:pt x="26" y="0"/>
                  </a:lnTo>
                  <a:lnTo>
                    <a:pt x="26" y="49"/>
                  </a:lnTo>
                  <a:lnTo>
                    <a:pt x="33" y="49"/>
                  </a:lnTo>
                  <a:lnTo>
                    <a:pt x="33" y="59"/>
                  </a:lnTo>
                  <a:lnTo>
                    <a:pt x="7" y="59"/>
                  </a:lnTo>
                  <a:lnTo>
                    <a:pt x="7" y="49"/>
                  </a:lnTo>
                  <a:lnTo>
                    <a:pt x="16" y="49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34" name="Freeform 66">
              <a:extLst>
                <a:ext uri="{FF2B5EF4-FFF2-40B4-BE49-F238E27FC236}">
                  <a16:creationId xmlns:a16="http://schemas.microsoft.com/office/drawing/2014/main" id="{5BA5C326-0DE5-4B5B-86EB-CAE26FEF6D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81768" y="3703922"/>
              <a:ext cx="22611" cy="34481"/>
            </a:xfrm>
            <a:custGeom>
              <a:avLst/>
              <a:gdLst>
                <a:gd name="T0" fmla="*/ 17 w 17"/>
                <a:gd name="T1" fmla="*/ 13 h 26"/>
                <a:gd name="T2" fmla="*/ 9 w 17"/>
                <a:gd name="T3" fmla="*/ 26 h 26"/>
                <a:gd name="T4" fmla="*/ 0 w 17"/>
                <a:gd name="T5" fmla="*/ 13 h 26"/>
                <a:gd name="T6" fmla="*/ 9 w 17"/>
                <a:gd name="T7" fmla="*/ 0 h 26"/>
                <a:gd name="T8" fmla="*/ 17 w 17"/>
                <a:gd name="T9" fmla="*/ 13 h 26"/>
                <a:gd name="T10" fmla="*/ 4 w 17"/>
                <a:gd name="T11" fmla="*/ 13 h 26"/>
                <a:gd name="T12" fmla="*/ 9 w 17"/>
                <a:gd name="T13" fmla="*/ 22 h 26"/>
                <a:gd name="T14" fmla="*/ 13 w 17"/>
                <a:gd name="T15" fmla="*/ 13 h 26"/>
                <a:gd name="T16" fmla="*/ 9 w 17"/>
                <a:gd name="T17" fmla="*/ 4 h 26"/>
                <a:gd name="T18" fmla="*/ 4 w 17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6">
                  <a:moveTo>
                    <a:pt x="17" y="13"/>
                  </a:moveTo>
                  <a:cubicBezTo>
                    <a:pt x="17" y="22"/>
                    <a:pt x="14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4" y="0"/>
                    <a:pt x="17" y="4"/>
                    <a:pt x="17" y="13"/>
                  </a:cubicBezTo>
                  <a:close/>
                  <a:moveTo>
                    <a:pt x="4" y="13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7"/>
                    <a:pt x="11" y="4"/>
                    <a:pt x="9" y="4"/>
                  </a:cubicBezTo>
                  <a:cubicBezTo>
                    <a:pt x="6" y="4"/>
                    <a:pt x="4" y="7"/>
                    <a:pt x="4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35" name="Freeform 67">
              <a:extLst>
                <a:ext uri="{FF2B5EF4-FFF2-40B4-BE49-F238E27FC236}">
                  <a16:creationId xmlns:a16="http://schemas.microsoft.com/office/drawing/2014/main" id="{C146046C-EB62-46E6-A2C7-392E204AAF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81768" y="3761579"/>
              <a:ext cx="22611" cy="33351"/>
            </a:xfrm>
            <a:custGeom>
              <a:avLst/>
              <a:gdLst>
                <a:gd name="T0" fmla="*/ 17 w 17"/>
                <a:gd name="T1" fmla="*/ 13 h 25"/>
                <a:gd name="T2" fmla="*/ 9 w 17"/>
                <a:gd name="T3" fmla="*/ 25 h 25"/>
                <a:gd name="T4" fmla="*/ 0 w 17"/>
                <a:gd name="T5" fmla="*/ 12 h 25"/>
                <a:gd name="T6" fmla="*/ 9 w 17"/>
                <a:gd name="T7" fmla="*/ 0 h 25"/>
                <a:gd name="T8" fmla="*/ 17 w 17"/>
                <a:gd name="T9" fmla="*/ 13 h 25"/>
                <a:gd name="T10" fmla="*/ 4 w 17"/>
                <a:gd name="T11" fmla="*/ 12 h 25"/>
                <a:gd name="T12" fmla="*/ 9 w 17"/>
                <a:gd name="T13" fmla="*/ 22 h 25"/>
                <a:gd name="T14" fmla="*/ 13 w 17"/>
                <a:gd name="T15" fmla="*/ 13 h 25"/>
                <a:gd name="T16" fmla="*/ 9 w 17"/>
                <a:gd name="T17" fmla="*/ 3 h 25"/>
                <a:gd name="T18" fmla="*/ 4 w 17"/>
                <a:gd name="T1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5">
                  <a:moveTo>
                    <a:pt x="17" y="13"/>
                  </a:moveTo>
                  <a:cubicBezTo>
                    <a:pt x="17" y="21"/>
                    <a:pt x="14" y="25"/>
                    <a:pt x="9" y="25"/>
                  </a:cubicBezTo>
                  <a:cubicBezTo>
                    <a:pt x="3" y="25"/>
                    <a:pt x="0" y="21"/>
                    <a:pt x="0" y="12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4" y="0"/>
                    <a:pt x="17" y="4"/>
                    <a:pt x="17" y="13"/>
                  </a:cubicBezTo>
                  <a:close/>
                  <a:moveTo>
                    <a:pt x="4" y="12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6"/>
                    <a:pt x="11" y="3"/>
                    <a:pt x="9" y="3"/>
                  </a:cubicBezTo>
                  <a:cubicBezTo>
                    <a:pt x="6" y="3"/>
                    <a:pt x="4" y="6"/>
                    <a:pt x="4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36" name="Freeform 68">
              <a:extLst>
                <a:ext uri="{FF2B5EF4-FFF2-40B4-BE49-F238E27FC236}">
                  <a16:creationId xmlns:a16="http://schemas.microsoft.com/office/drawing/2014/main" id="{C7CD1708-75F9-4231-B43E-78202E215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3464" y="3876328"/>
              <a:ext cx="18654" cy="31655"/>
            </a:xfrm>
            <a:custGeom>
              <a:avLst/>
              <a:gdLst>
                <a:gd name="T0" fmla="*/ 16 w 33"/>
                <a:gd name="T1" fmla="*/ 9 h 56"/>
                <a:gd name="T2" fmla="*/ 4 w 33"/>
                <a:gd name="T3" fmla="*/ 16 h 56"/>
                <a:gd name="T4" fmla="*/ 0 w 33"/>
                <a:gd name="T5" fmla="*/ 9 h 56"/>
                <a:gd name="T6" fmla="*/ 16 w 33"/>
                <a:gd name="T7" fmla="*/ 0 h 56"/>
                <a:gd name="T8" fmla="*/ 26 w 33"/>
                <a:gd name="T9" fmla="*/ 0 h 56"/>
                <a:gd name="T10" fmla="*/ 26 w 33"/>
                <a:gd name="T11" fmla="*/ 49 h 56"/>
                <a:gd name="T12" fmla="*/ 33 w 33"/>
                <a:gd name="T13" fmla="*/ 49 h 56"/>
                <a:gd name="T14" fmla="*/ 33 w 33"/>
                <a:gd name="T15" fmla="*/ 56 h 56"/>
                <a:gd name="T16" fmla="*/ 7 w 33"/>
                <a:gd name="T17" fmla="*/ 56 h 56"/>
                <a:gd name="T18" fmla="*/ 7 w 33"/>
                <a:gd name="T19" fmla="*/ 49 h 56"/>
                <a:gd name="T20" fmla="*/ 16 w 33"/>
                <a:gd name="T21" fmla="*/ 49 h 56"/>
                <a:gd name="T22" fmla="*/ 16 w 33"/>
                <a:gd name="T23" fmla="*/ 9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6">
                  <a:moveTo>
                    <a:pt x="16" y="9"/>
                  </a:moveTo>
                  <a:lnTo>
                    <a:pt x="4" y="16"/>
                  </a:lnTo>
                  <a:lnTo>
                    <a:pt x="0" y="9"/>
                  </a:lnTo>
                  <a:lnTo>
                    <a:pt x="16" y="0"/>
                  </a:lnTo>
                  <a:lnTo>
                    <a:pt x="26" y="0"/>
                  </a:lnTo>
                  <a:lnTo>
                    <a:pt x="26" y="49"/>
                  </a:lnTo>
                  <a:lnTo>
                    <a:pt x="33" y="49"/>
                  </a:lnTo>
                  <a:lnTo>
                    <a:pt x="33" y="56"/>
                  </a:lnTo>
                  <a:lnTo>
                    <a:pt x="7" y="56"/>
                  </a:lnTo>
                  <a:lnTo>
                    <a:pt x="7" y="49"/>
                  </a:lnTo>
                  <a:lnTo>
                    <a:pt x="16" y="4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37" name="Freeform 69">
              <a:extLst>
                <a:ext uri="{FF2B5EF4-FFF2-40B4-BE49-F238E27FC236}">
                  <a16:creationId xmlns:a16="http://schemas.microsoft.com/office/drawing/2014/main" id="{DB4FDEEB-D365-4378-8DE6-5C4473F603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81768" y="3932289"/>
              <a:ext cx="22611" cy="33351"/>
            </a:xfrm>
            <a:custGeom>
              <a:avLst/>
              <a:gdLst>
                <a:gd name="T0" fmla="*/ 17 w 17"/>
                <a:gd name="T1" fmla="*/ 13 h 25"/>
                <a:gd name="T2" fmla="*/ 9 w 17"/>
                <a:gd name="T3" fmla="*/ 25 h 25"/>
                <a:gd name="T4" fmla="*/ 0 w 17"/>
                <a:gd name="T5" fmla="*/ 13 h 25"/>
                <a:gd name="T6" fmla="*/ 9 w 17"/>
                <a:gd name="T7" fmla="*/ 0 h 25"/>
                <a:gd name="T8" fmla="*/ 17 w 17"/>
                <a:gd name="T9" fmla="*/ 13 h 25"/>
                <a:gd name="T10" fmla="*/ 4 w 17"/>
                <a:gd name="T11" fmla="*/ 13 h 25"/>
                <a:gd name="T12" fmla="*/ 9 w 17"/>
                <a:gd name="T13" fmla="*/ 22 h 25"/>
                <a:gd name="T14" fmla="*/ 13 w 17"/>
                <a:gd name="T15" fmla="*/ 13 h 25"/>
                <a:gd name="T16" fmla="*/ 9 w 17"/>
                <a:gd name="T17" fmla="*/ 3 h 25"/>
                <a:gd name="T18" fmla="*/ 4 w 17"/>
                <a:gd name="T19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5">
                  <a:moveTo>
                    <a:pt x="17" y="13"/>
                  </a:moveTo>
                  <a:cubicBezTo>
                    <a:pt x="17" y="21"/>
                    <a:pt x="14" y="25"/>
                    <a:pt x="9" y="25"/>
                  </a:cubicBezTo>
                  <a:cubicBezTo>
                    <a:pt x="3" y="25"/>
                    <a:pt x="0" y="21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4" y="0"/>
                    <a:pt x="17" y="4"/>
                    <a:pt x="17" y="13"/>
                  </a:cubicBezTo>
                  <a:close/>
                  <a:moveTo>
                    <a:pt x="4" y="13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6"/>
                    <a:pt x="11" y="3"/>
                    <a:pt x="9" y="3"/>
                  </a:cubicBezTo>
                  <a:cubicBezTo>
                    <a:pt x="6" y="3"/>
                    <a:pt x="4" y="6"/>
                    <a:pt x="4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38" name="Freeform 70">
              <a:extLst>
                <a:ext uri="{FF2B5EF4-FFF2-40B4-BE49-F238E27FC236}">
                  <a16:creationId xmlns:a16="http://schemas.microsoft.com/office/drawing/2014/main" id="{C6B139E3-6A1A-40B2-B492-13388B9B4E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3464" y="3989946"/>
              <a:ext cx="18654" cy="33351"/>
            </a:xfrm>
            <a:custGeom>
              <a:avLst/>
              <a:gdLst>
                <a:gd name="T0" fmla="*/ 16 w 33"/>
                <a:gd name="T1" fmla="*/ 11 h 59"/>
                <a:gd name="T2" fmla="*/ 4 w 33"/>
                <a:gd name="T3" fmla="*/ 18 h 59"/>
                <a:gd name="T4" fmla="*/ 0 w 33"/>
                <a:gd name="T5" fmla="*/ 9 h 59"/>
                <a:gd name="T6" fmla="*/ 16 w 33"/>
                <a:gd name="T7" fmla="*/ 0 h 59"/>
                <a:gd name="T8" fmla="*/ 26 w 33"/>
                <a:gd name="T9" fmla="*/ 0 h 59"/>
                <a:gd name="T10" fmla="*/ 26 w 33"/>
                <a:gd name="T11" fmla="*/ 49 h 59"/>
                <a:gd name="T12" fmla="*/ 33 w 33"/>
                <a:gd name="T13" fmla="*/ 52 h 59"/>
                <a:gd name="T14" fmla="*/ 33 w 33"/>
                <a:gd name="T15" fmla="*/ 59 h 59"/>
                <a:gd name="T16" fmla="*/ 7 w 33"/>
                <a:gd name="T17" fmla="*/ 59 h 59"/>
                <a:gd name="T18" fmla="*/ 7 w 33"/>
                <a:gd name="T19" fmla="*/ 52 h 59"/>
                <a:gd name="T20" fmla="*/ 16 w 33"/>
                <a:gd name="T21" fmla="*/ 49 h 59"/>
                <a:gd name="T22" fmla="*/ 16 w 33"/>
                <a:gd name="T23" fmla="*/ 1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9">
                  <a:moveTo>
                    <a:pt x="16" y="11"/>
                  </a:moveTo>
                  <a:lnTo>
                    <a:pt x="4" y="18"/>
                  </a:lnTo>
                  <a:lnTo>
                    <a:pt x="0" y="9"/>
                  </a:lnTo>
                  <a:lnTo>
                    <a:pt x="16" y="0"/>
                  </a:lnTo>
                  <a:lnTo>
                    <a:pt x="26" y="0"/>
                  </a:lnTo>
                  <a:lnTo>
                    <a:pt x="26" y="49"/>
                  </a:lnTo>
                  <a:lnTo>
                    <a:pt x="33" y="52"/>
                  </a:lnTo>
                  <a:lnTo>
                    <a:pt x="33" y="59"/>
                  </a:lnTo>
                  <a:lnTo>
                    <a:pt x="7" y="59"/>
                  </a:lnTo>
                  <a:lnTo>
                    <a:pt x="7" y="52"/>
                  </a:lnTo>
                  <a:lnTo>
                    <a:pt x="16" y="49"/>
                  </a:lnTo>
                  <a:lnTo>
                    <a:pt x="16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39" name="Freeform 71">
              <a:extLst>
                <a:ext uri="{FF2B5EF4-FFF2-40B4-BE49-F238E27FC236}">
                  <a16:creationId xmlns:a16="http://schemas.microsoft.com/office/drawing/2014/main" id="{AD2AAA0E-3596-412C-A60D-0C3CED2328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81768" y="4045908"/>
              <a:ext cx="22611" cy="34481"/>
            </a:xfrm>
            <a:custGeom>
              <a:avLst/>
              <a:gdLst>
                <a:gd name="T0" fmla="*/ 17 w 17"/>
                <a:gd name="T1" fmla="*/ 13 h 26"/>
                <a:gd name="T2" fmla="*/ 9 w 17"/>
                <a:gd name="T3" fmla="*/ 26 h 26"/>
                <a:gd name="T4" fmla="*/ 0 w 17"/>
                <a:gd name="T5" fmla="*/ 13 h 26"/>
                <a:gd name="T6" fmla="*/ 9 w 17"/>
                <a:gd name="T7" fmla="*/ 0 h 26"/>
                <a:gd name="T8" fmla="*/ 17 w 17"/>
                <a:gd name="T9" fmla="*/ 13 h 26"/>
                <a:gd name="T10" fmla="*/ 4 w 17"/>
                <a:gd name="T11" fmla="*/ 13 h 26"/>
                <a:gd name="T12" fmla="*/ 9 w 17"/>
                <a:gd name="T13" fmla="*/ 22 h 26"/>
                <a:gd name="T14" fmla="*/ 13 w 17"/>
                <a:gd name="T15" fmla="*/ 13 h 26"/>
                <a:gd name="T16" fmla="*/ 9 w 17"/>
                <a:gd name="T17" fmla="*/ 4 h 26"/>
                <a:gd name="T18" fmla="*/ 4 w 17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6">
                  <a:moveTo>
                    <a:pt x="17" y="13"/>
                  </a:moveTo>
                  <a:cubicBezTo>
                    <a:pt x="17" y="22"/>
                    <a:pt x="14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4" y="0"/>
                    <a:pt x="17" y="4"/>
                    <a:pt x="17" y="13"/>
                  </a:cubicBezTo>
                  <a:close/>
                  <a:moveTo>
                    <a:pt x="4" y="13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7"/>
                    <a:pt x="11" y="4"/>
                    <a:pt x="9" y="4"/>
                  </a:cubicBezTo>
                  <a:cubicBezTo>
                    <a:pt x="6" y="4"/>
                    <a:pt x="4" y="7"/>
                    <a:pt x="4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40" name="Freeform 72">
              <a:extLst>
                <a:ext uri="{FF2B5EF4-FFF2-40B4-BE49-F238E27FC236}">
                  <a16:creationId xmlns:a16="http://schemas.microsoft.com/office/drawing/2014/main" id="{F18A57DC-7D7F-48E4-9EFD-52E9E501690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3464" y="4102999"/>
              <a:ext cx="18654" cy="33351"/>
            </a:xfrm>
            <a:custGeom>
              <a:avLst/>
              <a:gdLst>
                <a:gd name="T0" fmla="*/ 16 w 33"/>
                <a:gd name="T1" fmla="*/ 12 h 59"/>
                <a:gd name="T2" fmla="*/ 4 w 33"/>
                <a:gd name="T3" fmla="*/ 19 h 59"/>
                <a:gd name="T4" fmla="*/ 0 w 33"/>
                <a:gd name="T5" fmla="*/ 12 h 59"/>
                <a:gd name="T6" fmla="*/ 16 w 33"/>
                <a:gd name="T7" fmla="*/ 0 h 59"/>
                <a:gd name="T8" fmla="*/ 26 w 33"/>
                <a:gd name="T9" fmla="*/ 0 h 59"/>
                <a:gd name="T10" fmla="*/ 26 w 33"/>
                <a:gd name="T11" fmla="*/ 52 h 59"/>
                <a:gd name="T12" fmla="*/ 33 w 33"/>
                <a:gd name="T13" fmla="*/ 52 h 59"/>
                <a:gd name="T14" fmla="*/ 33 w 33"/>
                <a:gd name="T15" fmla="*/ 59 h 59"/>
                <a:gd name="T16" fmla="*/ 7 w 33"/>
                <a:gd name="T17" fmla="*/ 59 h 59"/>
                <a:gd name="T18" fmla="*/ 7 w 33"/>
                <a:gd name="T19" fmla="*/ 52 h 59"/>
                <a:gd name="T20" fmla="*/ 16 w 33"/>
                <a:gd name="T21" fmla="*/ 52 h 59"/>
                <a:gd name="T22" fmla="*/ 16 w 33"/>
                <a:gd name="T23" fmla="*/ 1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9">
                  <a:moveTo>
                    <a:pt x="16" y="12"/>
                  </a:moveTo>
                  <a:lnTo>
                    <a:pt x="4" y="19"/>
                  </a:lnTo>
                  <a:lnTo>
                    <a:pt x="0" y="12"/>
                  </a:lnTo>
                  <a:lnTo>
                    <a:pt x="16" y="0"/>
                  </a:lnTo>
                  <a:lnTo>
                    <a:pt x="26" y="0"/>
                  </a:lnTo>
                  <a:lnTo>
                    <a:pt x="26" y="52"/>
                  </a:lnTo>
                  <a:lnTo>
                    <a:pt x="33" y="52"/>
                  </a:lnTo>
                  <a:lnTo>
                    <a:pt x="33" y="59"/>
                  </a:lnTo>
                  <a:lnTo>
                    <a:pt x="7" y="59"/>
                  </a:lnTo>
                  <a:lnTo>
                    <a:pt x="7" y="52"/>
                  </a:lnTo>
                  <a:lnTo>
                    <a:pt x="16" y="52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41" name="Freeform 73">
              <a:extLst>
                <a:ext uri="{FF2B5EF4-FFF2-40B4-BE49-F238E27FC236}">
                  <a16:creationId xmlns:a16="http://schemas.microsoft.com/office/drawing/2014/main" id="{1BF92155-6353-425C-9816-80991B3270F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3464" y="4160657"/>
              <a:ext cx="18654" cy="33351"/>
            </a:xfrm>
            <a:custGeom>
              <a:avLst/>
              <a:gdLst>
                <a:gd name="T0" fmla="*/ 16 w 33"/>
                <a:gd name="T1" fmla="*/ 12 h 59"/>
                <a:gd name="T2" fmla="*/ 4 w 33"/>
                <a:gd name="T3" fmla="*/ 19 h 59"/>
                <a:gd name="T4" fmla="*/ 0 w 33"/>
                <a:gd name="T5" fmla="*/ 9 h 59"/>
                <a:gd name="T6" fmla="*/ 16 w 33"/>
                <a:gd name="T7" fmla="*/ 0 h 59"/>
                <a:gd name="T8" fmla="*/ 26 w 33"/>
                <a:gd name="T9" fmla="*/ 0 h 59"/>
                <a:gd name="T10" fmla="*/ 26 w 33"/>
                <a:gd name="T11" fmla="*/ 52 h 59"/>
                <a:gd name="T12" fmla="*/ 33 w 33"/>
                <a:gd name="T13" fmla="*/ 52 h 59"/>
                <a:gd name="T14" fmla="*/ 33 w 33"/>
                <a:gd name="T15" fmla="*/ 59 h 59"/>
                <a:gd name="T16" fmla="*/ 7 w 33"/>
                <a:gd name="T17" fmla="*/ 59 h 59"/>
                <a:gd name="T18" fmla="*/ 7 w 33"/>
                <a:gd name="T19" fmla="*/ 52 h 59"/>
                <a:gd name="T20" fmla="*/ 16 w 33"/>
                <a:gd name="T21" fmla="*/ 52 h 59"/>
                <a:gd name="T22" fmla="*/ 16 w 33"/>
                <a:gd name="T23" fmla="*/ 1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9">
                  <a:moveTo>
                    <a:pt x="16" y="12"/>
                  </a:moveTo>
                  <a:lnTo>
                    <a:pt x="4" y="19"/>
                  </a:lnTo>
                  <a:lnTo>
                    <a:pt x="0" y="9"/>
                  </a:lnTo>
                  <a:lnTo>
                    <a:pt x="16" y="0"/>
                  </a:lnTo>
                  <a:lnTo>
                    <a:pt x="26" y="0"/>
                  </a:lnTo>
                  <a:lnTo>
                    <a:pt x="26" y="52"/>
                  </a:lnTo>
                  <a:lnTo>
                    <a:pt x="33" y="52"/>
                  </a:lnTo>
                  <a:lnTo>
                    <a:pt x="33" y="59"/>
                  </a:lnTo>
                  <a:lnTo>
                    <a:pt x="7" y="59"/>
                  </a:lnTo>
                  <a:lnTo>
                    <a:pt x="7" y="52"/>
                  </a:lnTo>
                  <a:lnTo>
                    <a:pt x="16" y="52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42" name="Freeform 74">
              <a:extLst>
                <a:ext uri="{FF2B5EF4-FFF2-40B4-BE49-F238E27FC236}">
                  <a16:creationId xmlns:a16="http://schemas.microsoft.com/office/drawing/2014/main" id="{DE2AFE20-484C-4830-B60B-A27A7DA4B9D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3464" y="4218314"/>
              <a:ext cx="18654" cy="31655"/>
            </a:xfrm>
            <a:custGeom>
              <a:avLst/>
              <a:gdLst>
                <a:gd name="T0" fmla="*/ 16 w 33"/>
                <a:gd name="T1" fmla="*/ 9 h 56"/>
                <a:gd name="T2" fmla="*/ 4 w 33"/>
                <a:gd name="T3" fmla="*/ 16 h 56"/>
                <a:gd name="T4" fmla="*/ 0 w 33"/>
                <a:gd name="T5" fmla="*/ 9 h 56"/>
                <a:gd name="T6" fmla="*/ 16 w 33"/>
                <a:gd name="T7" fmla="*/ 0 h 56"/>
                <a:gd name="T8" fmla="*/ 26 w 33"/>
                <a:gd name="T9" fmla="*/ 0 h 56"/>
                <a:gd name="T10" fmla="*/ 26 w 33"/>
                <a:gd name="T11" fmla="*/ 49 h 56"/>
                <a:gd name="T12" fmla="*/ 33 w 33"/>
                <a:gd name="T13" fmla="*/ 49 h 56"/>
                <a:gd name="T14" fmla="*/ 33 w 33"/>
                <a:gd name="T15" fmla="*/ 56 h 56"/>
                <a:gd name="T16" fmla="*/ 7 w 33"/>
                <a:gd name="T17" fmla="*/ 56 h 56"/>
                <a:gd name="T18" fmla="*/ 7 w 33"/>
                <a:gd name="T19" fmla="*/ 49 h 56"/>
                <a:gd name="T20" fmla="*/ 16 w 33"/>
                <a:gd name="T21" fmla="*/ 49 h 56"/>
                <a:gd name="T22" fmla="*/ 16 w 33"/>
                <a:gd name="T23" fmla="*/ 9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6">
                  <a:moveTo>
                    <a:pt x="16" y="9"/>
                  </a:moveTo>
                  <a:lnTo>
                    <a:pt x="4" y="16"/>
                  </a:lnTo>
                  <a:lnTo>
                    <a:pt x="0" y="9"/>
                  </a:lnTo>
                  <a:lnTo>
                    <a:pt x="16" y="0"/>
                  </a:lnTo>
                  <a:lnTo>
                    <a:pt x="26" y="0"/>
                  </a:lnTo>
                  <a:lnTo>
                    <a:pt x="26" y="49"/>
                  </a:lnTo>
                  <a:lnTo>
                    <a:pt x="33" y="49"/>
                  </a:lnTo>
                  <a:lnTo>
                    <a:pt x="33" y="56"/>
                  </a:lnTo>
                  <a:lnTo>
                    <a:pt x="7" y="56"/>
                  </a:lnTo>
                  <a:lnTo>
                    <a:pt x="7" y="49"/>
                  </a:lnTo>
                  <a:lnTo>
                    <a:pt x="16" y="4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43" name="Freeform 75">
              <a:extLst>
                <a:ext uri="{FF2B5EF4-FFF2-40B4-BE49-F238E27FC236}">
                  <a16:creationId xmlns:a16="http://schemas.microsoft.com/office/drawing/2014/main" id="{9C286F81-16EE-465C-8864-47816BEA91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81768" y="4387893"/>
              <a:ext cx="22611" cy="34481"/>
            </a:xfrm>
            <a:custGeom>
              <a:avLst/>
              <a:gdLst>
                <a:gd name="T0" fmla="*/ 17 w 17"/>
                <a:gd name="T1" fmla="*/ 13 h 26"/>
                <a:gd name="T2" fmla="*/ 9 w 17"/>
                <a:gd name="T3" fmla="*/ 26 h 26"/>
                <a:gd name="T4" fmla="*/ 0 w 17"/>
                <a:gd name="T5" fmla="*/ 13 h 26"/>
                <a:gd name="T6" fmla="*/ 9 w 17"/>
                <a:gd name="T7" fmla="*/ 0 h 26"/>
                <a:gd name="T8" fmla="*/ 17 w 17"/>
                <a:gd name="T9" fmla="*/ 13 h 26"/>
                <a:gd name="T10" fmla="*/ 4 w 17"/>
                <a:gd name="T11" fmla="*/ 13 h 26"/>
                <a:gd name="T12" fmla="*/ 9 w 17"/>
                <a:gd name="T13" fmla="*/ 22 h 26"/>
                <a:gd name="T14" fmla="*/ 13 w 17"/>
                <a:gd name="T15" fmla="*/ 13 h 26"/>
                <a:gd name="T16" fmla="*/ 9 w 17"/>
                <a:gd name="T17" fmla="*/ 4 h 26"/>
                <a:gd name="T18" fmla="*/ 4 w 17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6">
                  <a:moveTo>
                    <a:pt x="17" y="13"/>
                  </a:moveTo>
                  <a:cubicBezTo>
                    <a:pt x="17" y="22"/>
                    <a:pt x="14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4" y="0"/>
                    <a:pt x="17" y="4"/>
                    <a:pt x="17" y="13"/>
                  </a:cubicBezTo>
                  <a:close/>
                  <a:moveTo>
                    <a:pt x="4" y="13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7"/>
                    <a:pt x="11" y="4"/>
                    <a:pt x="9" y="4"/>
                  </a:cubicBezTo>
                  <a:cubicBezTo>
                    <a:pt x="6" y="4"/>
                    <a:pt x="4" y="7"/>
                    <a:pt x="4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44" name="Freeform 76">
              <a:extLst>
                <a:ext uri="{FF2B5EF4-FFF2-40B4-BE49-F238E27FC236}">
                  <a16:creationId xmlns:a16="http://schemas.microsoft.com/office/drawing/2014/main" id="{EC47E4AC-A673-4D2E-85CA-4265DCF5D6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81768" y="4444985"/>
              <a:ext cx="22611" cy="33351"/>
            </a:xfrm>
            <a:custGeom>
              <a:avLst/>
              <a:gdLst>
                <a:gd name="T0" fmla="*/ 17 w 17"/>
                <a:gd name="T1" fmla="*/ 13 h 25"/>
                <a:gd name="T2" fmla="*/ 9 w 17"/>
                <a:gd name="T3" fmla="*/ 25 h 25"/>
                <a:gd name="T4" fmla="*/ 0 w 17"/>
                <a:gd name="T5" fmla="*/ 13 h 25"/>
                <a:gd name="T6" fmla="*/ 9 w 17"/>
                <a:gd name="T7" fmla="*/ 0 h 25"/>
                <a:gd name="T8" fmla="*/ 17 w 17"/>
                <a:gd name="T9" fmla="*/ 13 h 25"/>
                <a:gd name="T10" fmla="*/ 4 w 17"/>
                <a:gd name="T11" fmla="*/ 13 h 25"/>
                <a:gd name="T12" fmla="*/ 9 w 17"/>
                <a:gd name="T13" fmla="*/ 22 h 25"/>
                <a:gd name="T14" fmla="*/ 13 w 17"/>
                <a:gd name="T15" fmla="*/ 13 h 25"/>
                <a:gd name="T16" fmla="*/ 9 w 17"/>
                <a:gd name="T17" fmla="*/ 4 h 25"/>
                <a:gd name="T18" fmla="*/ 4 w 17"/>
                <a:gd name="T19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5">
                  <a:moveTo>
                    <a:pt x="17" y="13"/>
                  </a:moveTo>
                  <a:cubicBezTo>
                    <a:pt x="17" y="21"/>
                    <a:pt x="14" y="25"/>
                    <a:pt x="9" y="25"/>
                  </a:cubicBezTo>
                  <a:cubicBezTo>
                    <a:pt x="3" y="25"/>
                    <a:pt x="0" y="21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4" y="0"/>
                    <a:pt x="17" y="4"/>
                    <a:pt x="17" y="13"/>
                  </a:cubicBezTo>
                  <a:close/>
                  <a:moveTo>
                    <a:pt x="4" y="13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7"/>
                    <a:pt x="11" y="4"/>
                    <a:pt x="9" y="4"/>
                  </a:cubicBezTo>
                  <a:cubicBezTo>
                    <a:pt x="6" y="4"/>
                    <a:pt x="4" y="7"/>
                    <a:pt x="4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45" name="Freeform 83">
              <a:extLst>
                <a:ext uri="{FF2B5EF4-FFF2-40B4-BE49-F238E27FC236}">
                  <a16:creationId xmlns:a16="http://schemas.microsoft.com/office/drawing/2014/main" id="{56C287F3-F8DC-45F3-BA8A-E9701F592D5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3954" y="3478381"/>
              <a:ext cx="34481" cy="58788"/>
            </a:xfrm>
            <a:custGeom>
              <a:avLst/>
              <a:gdLst>
                <a:gd name="T0" fmla="*/ 31 w 61"/>
                <a:gd name="T1" fmla="*/ 19 h 104"/>
                <a:gd name="T2" fmla="*/ 10 w 61"/>
                <a:gd name="T3" fmla="*/ 33 h 104"/>
                <a:gd name="T4" fmla="*/ 0 w 61"/>
                <a:gd name="T5" fmla="*/ 19 h 104"/>
                <a:gd name="T6" fmla="*/ 31 w 61"/>
                <a:gd name="T7" fmla="*/ 0 h 104"/>
                <a:gd name="T8" fmla="*/ 47 w 61"/>
                <a:gd name="T9" fmla="*/ 0 h 104"/>
                <a:gd name="T10" fmla="*/ 47 w 61"/>
                <a:gd name="T11" fmla="*/ 90 h 104"/>
                <a:gd name="T12" fmla="*/ 61 w 61"/>
                <a:gd name="T13" fmla="*/ 90 h 104"/>
                <a:gd name="T14" fmla="*/ 61 w 61"/>
                <a:gd name="T15" fmla="*/ 104 h 104"/>
                <a:gd name="T16" fmla="*/ 17 w 61"/>
                <a:gd name="T17" fmla="*/ 104 h 104"/>
                <a:gd name="T18" fmla="*/ 17 w 61"/>
                <a:gd name="T19" fmla="*/ 90 h 104"/>
                <a:gd name="T20" fmla="*/ 31 w 61"/>
                <a:gd name="T21" fmla="*/ 90 h 104"/>
                <a:gd name="T22" fmla="*/ 31 w 61"/>
                <a:gd name="T23" fmla="*/ 19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4">
                  <a:moveTo>
                    <a:pt x="31" y="19"/>
                  </a:moveTo>
                  <a:lnTo>
                    <a:pt x="10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0"/>
                  </a:lnTo>
                  <a:lnTo>
                    <a:pt x="61" y="90"/>
                  </a:lnTo>
                  <a:lnTo>
                    <a:pt x="61" y="104"/>
                  </a:lnTo>
                  <a:lnTo>
                    <a:pt x="17" y="104"/>
                  </a:lnTo>
                  <a:lnTo>
                    <a:pt x="17" y="90"/>
                  </a:lnTo>
                  <a:lnTo>
                    <a:pt x="31" y="90"/>
                  </a:lnTo>
                  <a:lnTo>
                    <a:pt x="31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46" name="Freeform 84">
              <a:extLst>
                <a:ext uri="{FF2B5EF4-FFF2-40B4-BE49-F238E27FC236}">
                  <a16:creationId xmlns:a16="http://schemas.microsoft.com/office/drawing/2014/main" id="{F04509BE-AB22-4724-A0E8-23724B7BC6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2824" y="3578433"/>
              <a:ext cx="41265" cy="61614"/>
            </a:xfrm>
            <a:custGeom>
              <a:avLst/>
              <a:gdLst>
                <a:gd name="T0" fmla="*/ 31 w 31"/>
                <a:gd name="T1" fmla="*/ 23 h 46"/>
                <a:gd name="T2" fmla="*/ 15 w 31"/>
                <a:gd name="T3" fmla="*/ 46 h 46"/>
                <a:gd name="T4" fmla="*/ 0 w 31"/>
                <a:gd name="T5" fmla="*/ 23 h 46"/>
                <a:gd name="T6" fmla="*/ 15 w 31"/>
                <a:gd name="T7" fmla="*/ 0 h 46"/>
                <a:gd name="T8" fmla="*/ 31 w 31"/>
                <a:gd name="T9" fmla="*/ 23 h 46"/>
                <a:gd name="T10" fmla="*/ 8 w 31"/>
                <a:gd name="T11" fmla="*/ 23 h 46"/>
                <a:gd name="T12" fmla="*/ 15 w 31"/>
                <a:gd name="T13" fmla="*/ 39 h 46"/>
                <a:gd name="T14" fmla="*/ 23 w 31"/>
                <a:gd name="T15" fmla="*/ 23 h 46"/>
                <a:gd name="T16" fmla="*/ 15 w 31"/>
                <a:gd name="T17" fmla="*/ 7 h 46"/>
                <a:gd name="T18" fmla="*/ 8 w 31"/>
                <a:gd name="T19" fmla="*/ 2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46">
                  <a:moveTo>
                    <a:pt x="31" y="23"/>
                  </a:moveTo>
                  <a:cubicBezTo>
                    <a:pt x="31" y="38"/>
                    <a:pt x="26" y="46"/>
                    <a:pt x="15" y="46"/>
                  </a:cubicBezTo>
                  <a:cubicBezTo>
                    <a:pt x="5" y="46"/>
                    <a:pt x="0" y="38"/>
                    <a:pt x="0" y="23"/>
                  </a:cubicBezTo>
                  <a:cubicBezTo>
                    <a:pt x="0" y="8"/>
                    <a:pt x="5" y="0"/>
                    <a:pt x="15" y="0"/>
                  </a:cubicBezTo>
                  <a:cubicBezTo>
                    <a:pt x="26" y="0"/>
                    <a:pt x="31" y="8"/>
                    <a:pt x="31" y="23"/>
                  </a:cubicBezTo>
                  <a:close/>
                  <a:moveTo>
                    <a:pt x="8" y="23"/>
                  </a:moveTo>
                  <a:cubicBezTo>
                    <a:pt x="8" y="34"/>
                    <a:pt x="10" y="39"/>
                    <a:pt x="15" y="39"/>
                  </a:cubicBezTo>
                  <a:cubicBezTo>
                    <a:pt x="20" y="39"/>
                    <a:pt x="23" y="34"/>
                    <a:pt x="23" y="23"/>
                  </a:cubicBezTo>
                  <a:cubicBezTo>
                    <a:pt x="23" y="12"/>
                    <a:pt x="20" y="7"/>
                    <a:pt x="15" y="7"/>
                  </a:cubicBezTo>
                  <a:cubicBezTo>
                    <a:pt x="10" y="7"/>
                    <a:pt x="8" y="12"/>
                    <a:pt x="8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47" name="Freeform 85">
              <a:extLst>
                <a:ext uri="{FF2B5EF4-FFF2-40B4-BE49-F238E27FC236}">
                  <a16:creationId xmlns:a16="http://schemas.microsoft.com/office/drawing/2014/main" id="{D01E74AE-BF67-4267-A011-CAE4A12325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2824" y="3680181"/>
              <a:ext cx="41265" cy="59918"/>
            </a:xfrm>
            <a:custGeom>
              <a:avLst/>
              <a:gdLst>
                <a:gd name="T0" fmla="*/ 31 w 31"/>
                <a:gd name="T1" fmla="*/ 23 h 45"/>
                <a:gd name="T2" fmla="*/ 15 w 31"/>
                <a:gd name="T3" fmla="*/ 45 h 45"/>
                <a:gd name="T4" fmla="*/ 0 w 31"/>
                <a:gd name="T5" fmla="*/ 23 h 45"/>
                <a:gd name="T6" fmla="*/ 15 w 31"/>
                <a:gd name="T7" fmla="*/ 0 h 45"/>
                <a:gd name="T8" fmla="*/ 31 w 31"/>
                <a:gd name="T9" fmla="*/ 23 h 45"/>
                <a:gd name="T10" fmla="*/ 8 w 31"/>
                <a:gd name="T11" fmla="*/ 23 h 45"/>
                <a:gd name="T12" fmla="*/ 15 w 31"/>
                <a:gd name="T13" fmla="*/ 39 h 45"/>
                <a:gd name="T14" fmla="*/ 23 w 31"/>
                <a:gd name="T15" fmla="*/ 23 h 45"/>
                <a:gd name="T16" fmla="*/ 15 w 31"/>
                <a:gd name="T17" fmla="*/ 6 h 45"/>
                <a:gd name="T18" fmla="*/ 8 w 31"/>
                <a:gd name="T19" fmla="*/ 2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45">
                  <a:moveTo>
                    <a:pt x="31" y="23"/>
                  </a:moveTo>
                  <a:cubicBezTo>
                    <a:pt x="31" y="38"/>
                    <a:pt x="26" y="45"/>
                    <a:pt x="15" y="45"/>
                  </a:cubicBezTo>
                  <a:cubicBezTo>
                    <a:pt x="5" y="45"/>
                    <a:pt x="0" y="38"/>
                    <a:pt x="0" y="23"/>
                  </a:cubicBezTo>
                  <a:cubicBezTo>
                    <a:pt x="0" y="8"/>
                    <a:pt x="5" y="0"/>
                    <a:pt x="15" y="0"/>
                  </a:cubicBezTo>
                  <a:cubicBezTo>
                    <a:pt x="26" y="0"/>
                    <a:pt x="31" y="8"/>
                    <a:pt x="31" y="23"/>
                  </a:cubicBezTo>
                  <a:close/>
                  <a:moveTo>
                    <a:pt x="8" y="23"/>
                  </a:moveTo>
                  <a:cubicBezTo>
                    <a:pt x="8" y="34"/>
                    <a:pt x="10" y="39"/>
                    <a:pt x="15" y="39"/>
                  </a:cubicBezTo>
                  <a:cubicBezTo>
                    <a:pt x="20" y="39"/>
                    <a:pt x="23" y="34"/>
                    <a:pt x="23" y="23"/>
                  </a:cubicBezTo>
                  <a:cubicBezTo>
                    <a:pt x="23" y="12"/>
                    <a:pt x="20" y="6"/>
                    <a:pt x="15" y="6"/>
                  </a:cubicBezTo>
                  <a:cubicBezTo>
                    <a:pt x="10" y="6"/>
                    <a:pt x="8" y="12"/>
                    <a:pt x="8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48" name="Freeform 86">
              <a:extLst>
                <a:ext uri="{FF2B5EF4-FFF2-40B4-BE49-F238E27FC236}">
                  <a16:creationId xmlns:a16="http://schemas.microsoft.com/office/drawing/2014/main" id="{357EB696-AC6B-46BE-98B6-28110D69F7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3954" y="3782494"/>
              <a:ext cx="34481" cy="58788"/>
            </a:xfrm>
            <a:custGeom>
              <a:avLst/>
              <a:gdLst>
                <a:gd name="T0" fmla="*/ 31 w 61"/>
                <a:gd name="T1" fmla="*/ 19 h 104"/>
                <a:gd name="T2" fmla="*/ 10 w 61"/>
                <a:gd name="T3" fmla="*/ 34 h 104"/>
                <a:gd name="T4" fmla="*/ 0 w 61"/>
                <a:gd name="T5" fmla="*/ 19 h 104"/>
                <a:gd name="T6" fmla="*/ 31 w 61"/>
                <a:gd name="T7" fmla="*/ 0 h 104"/>
                <a:gd name="T8" fmla="*/ 47 w 61"/>
                <a:gd name="T9" fmla="*/ 0 h 104"/>
                <a:gd name="T10" fmla="*/ 47 w 61"/>
                <a:gd name="T11" fmla="*/ 90 h 104"/>
                <a:gd name="T12" fmla="*/ 61 w 61"/>
                <a:gd name="T13" fmla="*/ 90 h 104"/>
                <a:gd name="T14" fmla="*/ 61 w 61"/>
                <a:gd name="T15" fmla="*/ 104 h 104"/>
                <a:gd name="T16" fmla="*/ 17 w 61"/>
                <a:gd name="T17" fmla="*/ 104 h 104"/>
                <a:gd name="T18" fmla="*/ 17 w 61"/>
                <a:gd name="T19" fmla="*/ 90 h 104"/>
                <a:gd name="T20" fmla="*/ 31 w 61"/>
                <a:gd name="T21" fmla="*/ 90 h 104"/>
                <a:gd name="T22" fmla="*/ 31 w 61"/>
                <a:gd name="T23" fmla="*/ 19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4">
                  <a:moveTo>
                    <a:pt x="31" y="19"/>
                  </a:moveTo>
                  <a:lnTo>
                    <a:pt x="10" y="34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0"/>
                  </a:lnTo>
                  <a:lnTo>
                    <a:pt x="61" y="90"/>
                  </a:lnTo>
                  <a:lnTo>
                    <a:pt x="61" y="104"/>
                  </a:lnTo>
                  <a:lnTo>
                    <a:pt x="17" y="104"/>
                  </a:lnTo>
                  <a:lnTo>
                    <a:pt x="17" y="90"/>
                  </a:lnTo>
                  <a:lnTo>
                    <a:pt x="31" y="90"/>
                  </a:lnTo>
                  <a:lnTo>
                    <a:pt x="31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49" name="Freeform 87">
              <a:extLst>
                <a:ext uri="{FF2B5EF4-FFF2-40B4-BE49-F238E27FC236}">
                  <a16:creationId xmlns:a16="http://schemas.microsoft.com/office/drawing/2014/main" id="{B1B1D976-1C80-4BB8-B334-9C033DB1D2B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3954" y="3884242"/>
              <a:ext cx="34481" cy="58788"/>
            </a:xfrm>
            <a:custGeom>
              <a:avLst/>
              <a:gdLst>
                <a:gd name="T0" fmla="*/ 31 w 61"/>
                <a:gd name="T1" fmla="*/ 19 h 104"/>
                <a:gd name="T2" fmla="*/ 10 w 61"/>
                <a:gd name="T3" fmla="*/ 31 h 104"/>
                <a:gd name="T4" fmla="*/ 0 w 61"/>
                <a:gd name="T5" fmla="*/ 19 h 104"/>
                <a:gd name="T6" fmla="*/ 31 w 61"/>
                <a:gd name="T7" fmla="*/ 0 h 104"/>
                <a:gd name="T8" fmla="*/ 47 w 61"/>
                <a:gd name="T9" fmla="*/ 0 h 104"/>
                <a:gd name="T10" fmla="*/ 47 w 61"/>
                <a:gd name="T11" fmla="*/ 90 h 104"/>
                <a:gd name="T12" fmla="*/ 61 w 61"/>
                <a:gd name="T13" fmla="*/ 90 h 104"/>
                <a:gd name="T14" fmla="*/ 61 w 61"/>
                <a:gd name="T15" fmla="*/ 104 h 104"/>
                <a:gd name="T16" fmla="*/ 17 w 61"/>
                <a:gd name="T17" fmla="*/ 104 h 104"/>
                <a:gd name="T18" fmla="*/ 17 w 61"/>
                <a:gd name="T19" fmla="*/ 90 h 104"/>
                <a:gd name="T20" fmla="*/ 31 w 61"/>
                <a:gd name="T21" fmla="*/ 90 h 104"/>
                <a:gd name="T22" fmla="*/ 31 w 61"/>
                <a:gd name="T23" fmla="*/ 19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4">
                  <a:moveTo>
                    <a:pt x="31" y="19"/>
                  </a:moveTo>
                  <a:lnTo>
                    <a:pt x="10" y="31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0"/>
                  </a:lnTo>
                  <a:lnTo>
                    <a:pt x="61" y="90"/>
                  </a:lnTo>
                  <a:lnTo>
                    <a:pt x="61" y="104"/>
                  </a:lnTo>
                  <a:lnTo>
                    <a:pt x="17" y="104"/>
                  </a:lnTo>
                  <a:lnTo>
                    <a:pt x="17" y="90"/>
                  </a:lnTo>
                  <a:lnTo>
                    <a:pt x="31" y="90"/>
                  </a:lnTo>
                  <a:lnTo>
                    <a:pt x="31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50" name="Freeform 88">
              <a:extLst>
                <a:ext uri="{FF2B5EF4-FFF2-40B4-BE49-F238E27FC236}">
                  <a16:creationId xmlns:a16="http://schemas.microsoft.com/office/drawing/2014/main" id="{8620BBCB-3E86-4CF4-8D5A-89E5B0E24567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3954" y="3985989"/>
              <a:ext cx="34481" cy="58223"/>
            </a:xfrm>
            <a:custGeom>
              <a:avLst/>
              <a:gdLst>
                <a:gd name="T0" fmla="*/ 31 w 61"/>
                <a:gd name="T1" fmla="*/ 18 h 103"/>
                <a:gd name="T2" fmla="*/ 10 w 61"/>
                <a:gd name="T3" fmla="*/ 30 h 103"/>
                <a:gd name="T4" fmla="*/ 0 w 61"/>
                <a:gd name="T5" fmla="*/ 18 h 103"/>
                <a:gd name="T6" fmla="*/ 31 w 61"/>
                <a:gd name="T7" fmla="*/ 0 h 103"/>
                <a:gd name="T8" fmla="*/ 47 w 61"/>
                <a:gd name="T9" fmla="*/ 0 h 103"/>
                <a:gd name="T10" fmla="*/ 47 w 61"/>
                <a:gd name="T11" fmla="*/ 89 h 103"/>
                <a:gd name="T12" fmla="*/ 61 w 61"/>
                <a:gd name="T13" fmla="*/ 89 h 103"/>
                <a:gd name="T14" fmla="*/ 61 w 61"/>
                <a:gd name="T15" fmla="*/ 103 h 103"/>
                <a:gd name="T16" fmla="*/ 17 w 61"/>
                <a:gd name="T17" fmla="*/ 103 h 103"/>
                <a:gd name="T18" fmla="*/ 17 w 61"/>
                <a:gd name="T19" fmla="*/ 89 h 103"/>
                <a:gd name="T20" fmla="*/ 31 w 61"/>
                <a:gd name="T21" fmla="*/ 89 h 103"/>
                <a:gd name="T22" fmla="*/ 31 w 61"/>
                <a:gd name="T23" fmla="*/ 1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3">
                  <a:moveTo>
                    <a:pt x="31" y="18"/>
                  </a:moveTo>
                  <a:lnTo>
                    <a:pt x="10" y="30"/>
                  </a:lnTo>
                  <a:lnTo>
                    <a:pt x="0" y="18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89"/>
                  </a:lnTo>
                  <a:lnTo>
                    <a:pt x="61" y="89"/>
                  </a:lnTo>
                  <a:lnTo>
                    <a:pt x="61" y="103"/>
                  </a:lnTo>
                  <a:lnTo>
                    <a:pt x="17" y="103"/>
                  </a:lnTo>
                  <a:lnTo>
                    <a:pt x="17" y="89"/>
                  </a:lnTo>
                  <a:lnTo>
                    <a:pt x="31" y="89"/>
                  </a:lnTo>
                  <a:lnTo>
                    <a:pt x="31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51" name="Freeform 89">
              <a:extLst>
                <a:ext uri="{FF2B5EF4-FFF2-40B4-BE49-F238E27FC236}">
                  <a16:creationId xmlns:a16="http://schemas.microsoft.com/office/drawing/2014/main" id="{ED26151A-C7FB-42BA-9119-D5BB791B9F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2824" y="4086042"/>
              <a:ext cx="41265" cy="59918"/>
            </a:xfrm>
            <a:custGeom>
              <a:avLst/>
              <a:gdLst>
                <a:gd name="T0" fmla="*/ 31 w 31"/>
                <a:gd name="T1" fmla="*/ 23 h 45"/>
                <a:gd name="T2" fmla="*/ 15 w 31"/>
                <a:gd name="T3" fmla="*/ 45 h 45"/>
                <a:gd name="T4" fmla="*/ 0 w 31"/>
                <a:gd name="T5" fmla="*/ 22 h 45"/>
                <a:gd name="T6" fmla="*/ 15 w 31"/>
                <a:gd name="T7" fmla="*/ 0 h 45"/>
                <a:gd name="T8" fmla="*/ 31 w 31"/>
                <a:gd name="T9" fmla="*/ 23 h 45"/>
                <a:gd name="T10" fmla="*/ 8 w 31"/>
                <a:gd name="T11" fmla="*/ 22 h 45"/>
                <a:gd name="T12" fmla="*/ 15 w 31"/>
                <a:gd name="T13" fmla="*/ 39 h 45"/>
                <a:gd name="T14" fmla="*/ 23 w 31"/>
                <a:gd name="T15" fmla="*/ 23 h 45"/>
                <a:gd name="T16" fmla="*/ 15 w 31"/>
                <a:gd name="T17" fmla="*/ 6 h 45"/>
                <a:gd name="T18" fmla="*/ 8 w 31"/>
                <a:gd name="T19" fmla="*/ 2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45">
                  <a:moveTo>
                    <a:pt x="31" y="23"/>
                  </a:moveTo>
                  <a:cubicBezTo>
                    <a:pt x="31" y="38"/>
                    <a:pt x="26" y="45"/>
                    <a:pt x="15" y="45"/>
                  </a:cubicBezTo>
                  <a:cubicBezTo>
                    <a:pt x="5" y="45"/>
                    <a:pt x="0" y="38"/>
                    <a:pt x="0" y="22"/>
                  </a:cubicBezTo>
                  <a:cubicBezTo>
                    <a:pt x="0" y="7"/>
                    <a:pt x="5" y="0"/>
                    <a:pt x="15" y="0"/>
                  </a:cubicBezTo>
                  <a:cubicBezTo>
                    <a:pt x="26" y="0"/>
                    <a:pt x="31" y="7"/>
                    <a:pt x="31" y="23"/>
                  </a:cubicBezTo>
                  <a:close/>
                  <a:moveTo>
                    <a:pt x="8" y="22"/>
                  </a:moveTo>
                  <a:cubicBezTo>
                    <a:pt x="8" y="34"/>
                    <a:pt x="10" y="39"/>
                    <a:pt x="15" y="39"/>
                  </a:cubicBezTo>
                  <a:cubicBezTo>
                    <a:pt x="20" y="39"/>
                    <a:pt x="23" y="34"/>
                    <a:pt x="23" y="23"/>
                  </a:cubicBezTo>
                  <a:cubicBezTo>
                    <a:pt x="23" y="11"/>
                    <a:pt x="20" y="6"/>
                    <a:pt x="15" y="6"/>
                  </a:cubicBezTo>
                  <a:cubicBezTo>
                    <a:pt x="10" y="6"/>
                    <a:pt x="8" y="11"/>
                    <a:pt x="8" y="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52" name="Freeform 90">
              <a:extLst>
                <a:ext uri="{FF2B5EF4-FFF2-40B4-BE49-F238E27FC236}">
                  <a16:creationId xmlns:a16="http://schemas.microsoft.com/office/drawing/2014/main" id="{9C53B5D0-3207-496D-8A7B-34E8A31873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2824" y="4390154"/>
              <a:ext cx="41265" cy="60484"/>
            </a:xfrm>
            <a:custGeom>
              <a:avLst/>
              <a:gdLst>
                <a:gd name="T0" fmla="*/ 31 w 31"/>
                <a:gd name="T1" fmla="*/ 22 h 45"/>
                <a:gd name="T2" fmla="*/ 15 w 31"/>
                <a:gd name="T3" fmla="*/ 45 h 45"/>
                <a:gd name="T4" fmla="*/ 0 w 31"/>
                <a:gd name="T5" fmla="*/ 22 h 45"/>
                <a:gd name="T6" fmla="*/ 15 w 31"/>
                <a:gd name="T7" fmla="*/ 0 h 45"/>
                <a:gd name="T8" fmla="*/ 31 w 31"/>
                <a:gd name="T9" fmla="*/ 22 h 45"/>
                <a:gd name="T10" fmla="*/ 8 w 31"/>
                <a:gd name="T11" fmla="*/ 22 h 45"/>
                <a:gd name="T12" fmla="*/ 15 w 31"/>
                <a:gd name="T13" fmla="*/ 39 h 45"/>
                <a:gd name="T14" fmla="*/ 23 w 31"/>
                <a:gd name="T15" fmla="*/ 22 h 45"/>
                <a:gd name="T16" fmla="*/ 15 w 31"/>
                <a:gd name="T17" fmla="*/ 6 h 45"/>
                <a:gd name="T18" fmla="*/ 8 w 31"/>
                <a:gd name="T19" fmla="*/ 2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45">
                  <a:moveTo>
                    <a:pt x="31" y="22"/>
                  </a:moveTo>
                  <a:cubicBezTo>
                    <a:pt x="31" y="38"/>
                    <a:pt x="26" y="45"/>
                    <a:pt x="15" y="45"/>
                  </a:cubicBezTo>
                  <a:cubicBezTo>
                    <a:pt x="5" y="45"/>
                    <a:pt x="0" y="38"/>
                    <a:pt x="0" y="22"/>
                  </a:cubicBezTo>
                  <a:cubicBezTo>
                    <a:pt x="0" y="7"/>
                    <a:pt x="5" y="0"/>
                    <a:pt x="15" y="0"/>
                  </a:cubicBezTo>
                  <a:cubicBezTo>
                    <a:pt x="26" y="0"/>
                    <a:pt x="31" y="7"/>
                    <a:pt x="31" y="22"/>
                  </a:cubicBezTo>
                  <a:close/>
                  <a:moveTo>
                    <a:pt x="8" y="22"/>
                  </a:moveTo>
                  <a:cubicBezTo>
                    <a:pt x="8" y="33"/>
                    <a:pt x="10" y="39"/>
                    <a:pt x="15" y="39"/>
                  </a:cubicBezTo>
                  <a:cubicBezTo>
                    <a:pt x="20" y="39"/>
                    <a:pt x="23" y="33"/>
                    <a:pt x="23" y="22"/>
                  </a:cubicBezTo>
                  <a:cubicBezTo>
                    <a:pt x="23" y="11"/>
                    <a:pt x="20" y="6"/>
                    <a:pt x="15" y="6"/>
                  </a:cubicBezTo>
                  <a:cubicBezTo>
                    <a:pt x="10" y="6"/>
                    <a:pt x="8" y="11"/>
                    <a:pt x="8" y="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53" name="Freeform 95">
              <a:extLst>
                <a:ext uri="{FF2B5EF4-FFF2-40B4-BE49-F238E27FC236}">
                  <a16:creationId xmlns:a16="http://schemas.microsoft.com/office/drawing/2014/main" id="{51C787E2-499B-4F26-8240-B11D351FEF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5702" y="3147135"/>
              <a:ext cx="19784" cy="32220"/>
            </a:xfrm>
            <a:custGeom>
              <a:avLst/>
              <a:gdLst>
                <a:gd name="T0" fmla="*/ 16 w 35"/>
                <a:gd name="T1" fmla="*/ 14 h 57"/>
                <a:gd name="T2" fmla="*/ 7 w 35"/>
                <a:gd name="T3" fmla="*/ 21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7 h 57"/>
                <a:gd name="T12" fmla="*/ 35 w 35"/>
                <a:gd name="T13" fmla="*/ 47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7 h 57"/>
                <a:gd name="T20" fmla="*/ 16 w 35"/>
                <a:gd name="T21" fmla="*/ 47 h 57"/>
                <a:gd name="T22" fmla="*/ 16 w 35"/>
                <a:gd name="T23" fmla="*/ 1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4"/>
                  </a:moveTo>
                  <a:lnTo>
                    <a:pt x="7" y="21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54" name="Freeform 96">
              <a:extLst>
                <a:ext uri="{FF2B5EF4-FFF2-40B4-BE49-F238E27FC236}">
                  <a16:creationId xmlns:a16="http://schemas.microsoft.com/office/drawing/2014/main" id="{156C4E95-6F5F-48F3-9729-C7A4C0BA0B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24006" y="3201966"/>
              <a:ext cx="25437" cy="32220"/>
            </a:xfrm>
            <a:custGeom>
              <a:avLst/>
              <a:gdLst>
                <a:gd name="T0" fmla="*/ 17 w 19"/>
                <a:gd name="T1" fmla="*/ 4 h 24"/>
                <a:gd name="T2" fmla="*/ 19 w 19"/>
                <a:gd name="T3" fmla="*/ 12 h 24"/>
                <a:gd name="T4" fmla="*/ 17 w 19"/>
                <a:gd name="T5" fmla="*/ 21 h 24"/>
                <a:gd name="T6" fmla="*/ 10 w 19"/>
                <a:gd name="T7" fmla="*/ 24 h 24"/>
                <a:gd name="T8" fmla="*/ 2 w 19"/>
                <a:gd name="T9" fmla="*/ 20 h 24"/>
                <a:gd name="T10" fmla="*/ 0 w 19"/>
                <a:gd name="T11" fmla="*/ 12 h 24"/>
                <a:gd name="T12" fmla="*/ 10 w 19"/>
                <a:gd name="T13" fmla="*/ 0 h 24"/>
                <a:gd name="T14" fmla="*/ 17 w 19"/>
                <a:gd name="T15" fmla="*/ 4 h 24"/>
                <a:gd name="T16" fmla="*/ 6 w 19"/>
                <a:gd name="T17" fmla="*/ 12 h 24"/>
                <a:gd name="T18" fmla="*/ 10 w 19"/>
                <a:gd name="T19" fmla="*/ 20 h 24"/>
                <a:gd name="T20" fmla="*/ 14 w 19"/>
                <a:gd name="T21" fmla="*/ 12 h 24"/>
                <a:gd name="T22" fmla="*/ 10 w 19"/>
                <a:gd name="T23" fmla="*/ 4 h 24"/>
                <a:gd name="T24" fmla="*/ 6 w 19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4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6"/>
                    <a:pt x="18" y="19"/>
                    <a:pt x="17" y="21"/>
                  </a:cubicBezTo>
                  <a:cubicBezTo>
                    <a:pt x="15" y="23"/>
                    <a:pt x="13" y="24"/>
                    <a:pt x="10" y="24"/>
                  </a:cubicBezTo>
                  <a:cubicBezTo>
                    <a:pt x="6" y="24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1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55" name="Freeform 97">
              <a:extLst>
                <a:ext uri="{FF2B5EF4-FFF2-40B4-BE49-F238E27FC236}">
                  <a16:creationId xmlns:a16="http://schemas.microsoft.com/office/drawing/2014/main" id="{AEF16E06-2D05-4ACC-98EE-726B77BD71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5702" y="3256797"/>
              <a:ext cx="19784" cy="31655"/>
            </a:xfrm>
            <a:custGeom>
              <a:avLst/>
              <a:gdLst>
                <a:gd name="T0" fmla="*/ 16 w 35"/>
                <a:gd name="T1" fmla="*/ 14 h 56"/>
                <a:gd name="T2" fmla="*/ 7 w 35"/>
                <a:gd name="T3" fmla="*/ 21 h 56"/>
                <a:gd name="T4" fmla="*/ 0 w 35"/>
                <a:gd name="T5" fmla="*/ 11 h 56"/>
                <a:gd name="T6" fmla="*/ 19 w 35"/>
                <a:gd name="T7" fmla="*/ 0 h 56"/>
                <a:gd name="T8" fmla="*/ 28 w 35"/>
                <a:gd name="T9" fmla="*/ 0 h 56"/>
                <a:gd name="T10" fmla="*/ 28 w 35"/>
                <a:gd name="T11" fmla="*/ 47 h 56"/>
                <a:gd name="T12" fmla="*/ 35 w 35"/>
                <a:gd name="T13" fmla="*/ 47 h 56"/>
                <a:gd name="T14" fmla="*/ 35 w 35"/>
                <a:gd name="T15" fmla="*/ 56 h 56"/>
                <a:gd name="T16" fmla="*/ 9 w 35"/>
                <a:gd name="T17" fmla="*/ 56 h 56"/>
                <a:gd name="T18" fmla="*/ 9 w 35"/>
                <a:gd name="T19" fmla="*/ 47 h 56"/>
                <a:gd name="T20" fmla="*/ 16 w 35"/>
                <a:gd name="T21" fmla="*/ 47 h 56"/>
                <a:gd name="T22" fmla="*/ 16 w 35"/>
                <a:gd name="T23" fmla="*/ 1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6">
                  <a:moveTo>
                    <a:pt x="16" y="14"/>
                  </a:moveTo>
                  <a:lnTo>
                    <a:pt x="7" y="21"/>
                  </a:lnTo>
                  <a:lnTo>
                    <a:pt x="0" y="11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6"/>
                  </a:lnTo>
                  <a:lnTo>
                    <a:pt x="9" y="56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56" name="Freeform 98">
              <a:extLst>
                <a:ext uri="{FF2B5EF4-FFF2-40B4-BE49-F238E27FC236}">
                  <a16:creationId xmlns:a16="http://schemas.microsoft.com/office/drawing/2014/main" id="{3EC720D4-82D5-475B-834A-B17DB364E2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24006" y="3311627"/>
              <a:ext cx="25437" cy="31655"/>
            </a:xfrm>
            <a:custGeom>
              <a:avLst/>
              <a:gdLst>
                <a:gd name="T0" fmla="*/ 17 w 19"/>
                <a:gd name="T1" fmla="*/ 4 h 24"/>
                <a:gd name="T2" fmla="*/ 19 w 19"/>
                <a:gd name="T3" fmla="*/ 12 h 24"/>
                <a:gd name="T4" fmla="*/ 17 w 19"/>
                <a:gd name="T5" fmla="*/ 21 h 24"/>
                <a:gd name="T6" fmla="*/ 10 w 19"/>
                <a:gd name="T7" fmla="*/ 24 h 24"/>
                <a:gd name="T8" fmla="*/ 2 w 19"/>
                <a:gd name="T9" fmla="*/ 20 h 24"/>
                <a:gd name="T10" fmla="*/ 0 w 19"/>
                <a:gd name="T11" fmla="*/ 12 h 24"/>
                <a:gd name="T12" fmla="*/ 10 w 19"/>
                <a:gd name="T13" fmla="*/ 0 h 24"/>
                <a:gd name="T14" fmla="*/ 17 w 19"/>
                <a:gd name="T15" fmla="*/ 4 h 24"/>
                <a:gd name="T16" fmla="*/ 6 w 19"/>
                <a:gd name="T17" fmla="*/ 12 h 24"/>
                <a:gd name="T18" fmla="*/ 10 w 19"/>
                <a:gd name="T19" fmla="*/ 20 h 24"/>
                <a:gd name="T20" fmla="*/ 14 w 19"/>
                <a:gd name="T21" fmla="*/ 12 h 24"/>
                <a:gd name="T22" fmla="*/ 10 w 19"/>
                <a:gd name="T23" fmla="*/ 4 h 24"/>
                <a:gd name="T24" fmla="*/ 6 w 19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4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6"/>
                    <a:pt x="18" y="19"/>
                    <a:pt x="17" y="21"/>
                  </a:cubicBezTo>
                  <a:cubicBezTo>
                    <a:pt x="15" y="23"/>
                    <a:pt x="13" y="24"/>
                    <a:pt x="10" y="24"/>
                  </a:cubicBezTo>
                  <a:cubicBezTo>
                    <a:pt x="6" y="24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1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57" name="Freeform 99">
              <a:extLst>
                <a:ext uri="{FF2B5EF4-FFF2-40B4-BE49-F238E27FC236}">
                  <a16:creationId xmlns:a16="http://schemas.microsoft.com/office/drawing/2014/main" id="{37891756-3074-4E2E-863C-819FA4DE95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5702" y="3365893"/>
              <a:ext cx="19784" cy="32220"/>
            </a:xfrm>
            <a:custGeom>
              <a:avLst/>
              <a:gdLst>
                <a:gd name="T0" fmla="*/ 16 w 35"/>
                <a:gd name="T1" fmla="*/ 15 h 57"/>
                <a:gd name="T2" fmla="*/ 7 w 35"/>
                <a:gd name="T3" fmla="*/ 22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8 h 57"/>
                <a:gd name="T12" fmla="*/ 35 w 35"/>
                <a:gd name="T13" fmla="*/ 48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8 h 57"/>
                <a:gd name="T20" fmla="*/ 16 w 35"/>
                <a:gd name="T21" fmla="*/ 48 h 57"/>
                <a:gd name="T22" fmla="*/ 16 w 35"/>
                <a:gd name="T23" fmla="*/ 1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5"/>
                  </a:moveTo>
                  <a:lnTo>
                    <a:pt x="7" y="22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8"/>
                  </a:lnTo>
                  <a:lnTo>
                    <a:pt x="35" y="48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8"/>
                  </a:lnTo>
                  <a:lnTo>
                    <a:pt x="16" y="48"/>
                  </a:lnTo>
                  <a:lnTo>
                    <a:pt x="16" y="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58" name="Freeform 100">
              <a:extLst>
                <a:ext uri="{FF2B5EF4-FFF2-40B4-BE49-F238E27FC236}">
                  <a16:creationId xmlns:a16="http://schemas.microsoft.com/office/drawing/2014/main" id="{B4115377-5B6A-4449-B528-E8526BDE71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24006" y="3420724"/>
              <a:ext cx="25437" cy="32220"/>
            </a:xfrm>
            <a:custGeom>
              <a:avLst/>
              <a:gdLst>
                <a:gd name="T0" fmla="*/ 17 w 19"/>
                <a:gd name="T1" fmla="*/ 4 h 24"/>
                <a:gd name="T2" fmla="*/ 19 w 19"/>
                <a:gd name="T3" fmla="*/ 12 h 24"/>
                <a:gd name="T4" fmla="*/ 17 w 19"/>
                <a:gd name="T5" fmla="*/ 21 h 24"/>
                <a:gd name="T6" fmla="*/ 10 w 19"/>
                <a:gd name="T7" fmla="*/ 24 h 24"/>
                <a:gd name="T8" fmla="*/ 2 w 19"/>
                <a:gd name="T9" fmla="*/ 20 h 24"/>
                <a:gd name="T10" fmla="*/ 0 w 19"/>
                <a:gd name="T11" fmla="*/ 12 h 24"/>
                <a:gd name="T12" fmla="*/ 10 w 19"/>
                <a:gd name="T13" fmla="*/ 0 h 24"/>
                <a:gd name="T14" fmla="*/ 17 w 19"/>
                <a:gd name="T15" fmla="*/ 4 h 24"/>
                <a:gd name="T16" fmla="*/ 6 w 19"/>
                <a:gd name="T17" fmla="*/ 12 h 24"/>
                <a:gd name="T18" fmla="*/ 10 w 19"/>
                <a:gd name="T19" fmla="*/ 20 h 24"/>
                <a:gd name="T20" fmla="*/ 14 w 19"/>
                <a:gd name="T21" fmla="*/ 12 h 24"/>
                <a:gd name="T22" fmla="*/ 10 w 19"/>
                <a:gd name="T23" fmla="*/ 4 h 24"/>
                <a:gd name="T24" fmla="*/ 6 w 19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4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6"/>
                    <a:pt x="18" y="19"/>
                    <a:pt x="17" y="21"/>
                  </a:cubicBezTo>
                  <a:cubicBezTo>
                    <a:pt x="15" y="23"/>
                    <a:pt x="13" y="24"/>
                    <a:pt x="10" y="24"/>
                  </a:cubicBezTo>
                  <a:cubicBezTo>
                    <a:pt x="6" y="24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1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59" name="Freeform 101">
              <a:extLst>
                <a:ext uri="{FF2B5EF4-FFF2-40B4-BE49-F238E27FC236}">
                  <a16:creationId xmlns:a16="http://schemas.microsoft.com/office/drawing/2014/main" id="{40D551E5-660B-4FDE-9C1C-C12CE9F88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5702" y="3475555"/>
              <a:ext cx="19784" cy="32220"/>
            </a:xfrm>
            <a:custGeom>
              <a:avLst/>
              <a:gdLst>
                <a:gd name="T0" fmla="*/ 16 w 35"/>
                <a:gd name="T1" fmla="*/ 14 h 57"/>
                <a:gd name="T2" fmla="*/ 7 w 35"/>
                <a:gd name="T3" fmla="*/ 21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7 h 57"/>
                <a:gd name="T12" fmla="*/ 35 w 35"/>
                <a:gd name="T13" fmla="*/ 47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7 h 57"/>
                <a:gd name="T20" fmla="*/ 16 w 35"/>
                <a:gd name="T21" fmla="*/ 47 h 57"/>
                <a:gd name="T22" fmla="*/ 16 w 35"/>
                <a:gd name="T23" fmla="*/ 1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4"/>
                  </a:moveTo>
                  <a:lnTo>
                    <a:pt x="7" y="21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60" name="Freeform 102">
              <a:extLst>
                <a:ext uri="{FF2B5EF4-FFF2-40B4-BE49-F238E27FC236}">
                  <a16:creationId xmlns:a16="http://schemas.microsoft.com/office/drawing/2014/main" id="{EC86345B-BEDC-4CBC-BD62-9B136235742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5702" y="3530385"/>
              <a:ext cx="19784" cy="32220"/>
            </a:xfrm>
            <a:custGeom>
              <a:avLst/>
              <a:gdLst>
                <a:gd name="T0" fmla="*/ 16 w 35"/>
                <a:gd name="T1" fmla="*/ 14 h 57"/>
                <a:gd name="T2" fmla="*/ 7 w 35"/>
                <a:gd name="T3" fmla="*/ 21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7 h 57"/>
                <a:gd name="T12" fmla="*/ 35 w 35"/>
                <a:gd name="T13" fmla="*/ 47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7 h 57"/>
                <a:gd name="T20" fmla="*/ 16 w 35"/>
                <a:gd name="T21" fmla="*/ 47 h 57"/>
                <a:gd name="T22" fmla="*/ 16 w 35"/>
                <a:gd name="T23" fmla="*/ 1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4"/>
                  </a:moveTo>
                  <a:lnTo>
                    <a:pt x="7" y="21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61" name="Freeform 103">
              <a:extLst>
                <a:ext uri="{FF2B5EF4-FFF2-40B4-BE49-F238E27FC236}">
                  <a16:creationId xmlns:a16="http://schemas.microsoft.com/office/drawing/2014/main" id="{862EB3AF-B18A-4AD8-98D2-72B8EA6510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5702" y="3586347"/>
              <a:ext cx="19784" cy="31090"/>
            </a:xfrm>
            <a:custGeom>
              <a:avLst/>
              <a:gdLst>
                <a:gd name="T0" fmla="*/ 16 w 35"/>
                <a:gd name="T1" fmla="*/ 12 h 55"/>
                <a:gd name="T2" fmla="*/ 7 w 35"/>
                <a:gd name="T3" fmla="*/ 19 h 55"/>
                <a:gd name="T4" fmla="*/ 0 w 35"/>
                <a:gd name="T5" fmla="*/ 10 h 55"/>
                <a:gd name="T6" fmla="*/ 19 w 35"/>
                <a:gd name="T7" fmla="*/ 0 h 55"/>
                <a:gd name="T8" fmla="*/ 28 w 35"/>
                <a:gd name="T9" fmla="*/ 0 h 55"/>
                <a:gd name="T10" fmla="*/ 28 w 35"/>
                <a:gd name="T11" fmla="*/ 45 h 55"/>
                <a:gd name="T12" fmla="*/ 35 w 35"/>
                <a:gd name="T13" fmla="*/ 45 h 55"/>
                <a:gd name="T14" fmla="*/ 35 w 35"/>
                <a:gd name="T15" fmla="*/ 55 h 55"/>
                <a:gd name="T16" fmla="*/ 9 w 35"/>
                <a:gd name="T17" fmla="*/ 55 h 55"/>
                <a:gd name="T18" fmla="*/ 9 w 35"/>
                <a:gd name="T19" fmla="*/ 45 h 55"/>
                <a:gd name="T20" fmla="*/ 16 w 35"/>
                <a:gd name="T21" fmla="*/ 45 h 55"/>
                <a:gd name="T22" fmla="*/ 16 w 35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5">
                  <a:moveTo>
                    <a:pt x="16" y="12"/>
                  </a:moveTo>
                  <a:lnTo>
                    <a:pt x="7" y="19"/>
                  </a:lnTo>
                  <a:lnTo>
                    <a:pt x="0" y="10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5"/>
                  </a:lnTo>
                  <a:lnTo>
                    <a:pt x="35" y="45"/>
                  </a:lnTo>
                  <a:lnTo>
                    <a:pt x="35" y="55"/>
                  </a:lnTo>
                  <a:lnTo>
                    <a:pt x="9" y="55"/>
                  </a:lnTo>
                  <a:lnTo>
                    <a:pt x="9" y="45"/>
                  </a:lnTo>
                  <a:lnTo>
                    <a:pt x="16" y="45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62" name="Freeform 104">
              <a:extLst>
                <a:ext uri="{FF2B5EF4-FFF2-40B4-BE49-F238E27FC236}">
                  <a16:creationId xmlns:a16="http://schemas.microsoft.com/office/drawing/2014/main" id="{319BBF24-D3BF-4084-8E7D-26A411091E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24006" y="3640047"/>
              <a:ext cx="25437" cy="33351"/>
            </a:xfrm>
            <a:custGeom>
              <a:avLst/>
              <a:gdLst>
                <a:gd name="T0" fmla="*/ 17 w 19"/>
                <a:gd name="T1" fmla="*/ 4 h 25"/>
                <a:gd name="T2" fmla="*/ 19 w 19"/>
                <a:gd name="T3" fmla="*/ 12 h 25"/>
                <a:gd name="T4" fmla="*/ 17 w 19"/>
                <a:gd name="T5" fmla="*/ 21 h 25"/>
                <a:gd name="T6" fmla="*/ 10 w 19"/>
                <a:gd name="T7" fmla="*/ 25 h 25"/>
                <a:gd name="T8" fmla="*/ 2 w 19"/>
                <a:gd name="T9" fmla="*/ 20 h 25"/>
                <a:gd name="T10" fmla="*/ 0 w 19"/>
                <a:gd name="T11" fmla="*/ 12 h 25"/>
                <a:gd name="T12" fmla="*/ 10 w 19"/>
                <a:gd name="T13" fmla="*/ 0 h 25"/>
                <a:gd name="T14" fmla="*/ 17 w 19"/>
                <a:gd name="T15" fmla="*/ 4 h 25"/>
                <a:gd name="T16" fmla="*/ 6 w 19"/>
                <a:gd name="T17" fmla="*/ 12 h 25"/>
                <a:gd name="T18" fmla="*/ 10 w 19"/>
                <a:gd name="T19" fmla="*/ 20 h 25"/>
                <a:gd name="T20" fmla="*/ 14 w 19"/>
                <a:gd name="T21" fmla="*/ 12 h 25"/>
                <a:gd name="T22" fmla="*/ 10 w 19"/>
                <a:gd name="T23" fmla="*/ 4 h 25"/>
                <a:gd name="T24" fmla="*/ 6 w 19"/>
                <a:gd name="T25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5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7"/>
                    <a:pt x="18" y="19"/>
                    <a:pt x="17" y="21"/>
                  </a:cubicBezTo>
                  <a:cubicBezTo>
                    <a:pt x="15" y="23"/>
                    <a:pt x="13" y="25"/>
                    <a:pt x="10" y="25"/>
                  </a:cubicBezTo>
                  <a:cubicBezTo>
                    <a:pt x="6" y="25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2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63" name="Freeform 105">
              <a:extLst>
                <a:ext uri="{FF2B5EF4-FFF2-40B4-BE49-F238E27FC236}">
                  <a16:creationId xmlns:a16="http://schemas.microsoft.com/office/drawing/2014/main" id="{64D685EC-F6B8-4D5F-A89D-67AD09664D6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5702" y="3696008"/>
              <a:ext cx="19784" cy="30524"/>
            </a:xfrm>
            <a:custGeom>
              <a:avLst/>
              <a:gdLst>
                <a:gd name="T0" fmla="*/ 16 w 35"/>
                <a:gd name="T1" fmla="*/ 12 h 54"/>
                <a:gd name="T2" fmla="*/ 7 w 35"/>
                <a:gd name="T3" fmla="*/ 19 h 54"/>
                <a:gd name="T4" fmla="*/ 0 w 35"/>
                <a:gd name="T5" fmla="*/ 9 h 54"/>
                <a:gd name="T6" fmla="*/ 19 w 35"/>
                <a:gd name="T7" fmla="*/ 0 h 54"/>
                <a:gd name="T8" fmla="*/ 28 w 35"/>
                <a:gd name="T9" fmla="*/ 0 h 54"/>
                <a:gd name="T10" fmla="*/ 28 w 35"/>
                <a:gd name="T11" fmla="*/ 45 h 54"/>
                <a:gd name="T12" fmla="*/ 35 w 35"/>
                <a:gd name="T13" fmla="*/ 45 h 54"/>
                <a:gd name="T14" fmla="*/ 35 w 35"/>
                <a:gd name="T15" fmla="*/ 54 h 54"/>
                <a:gd name="T16" fmla="*/ 9 w 35"/>
                <a:gd name="T17" fmla="*/ 54 h 54"/>
                <a:gd name="T18" fmla="*/ 9 w 35"/>
                <a:gd name="T19" fmla="*/ 45 h 54"/>
                <a:gd name="T20" fmla="*/ 16 w 35"/>
                <a:gd name="T21" fmla="*/ 45 h 54"/>
                <a:gd name="T22" fmla="*/ 16 w 35"/>
                <a:gd name="T23" fmla="*/ 1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4">
                  <a:moveTo>
                    <a:pt x="16" y="12"/>
                  </a:moveTo>
                  <a:lnTo>
                    <a:pt x="7" y="19"/>
                  </a:lnTo>
                  <a:lnTo>
                    <a:pt x="0" y="9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5"/>
                  </a:lnTo>
                  <a:lnTo>
                    <a:pt x="35" y="45"/>
                  </a:lnTo>
                  <a:lnTo>
                    <a:pt x="35" y="54"/>
                  </a:lnTo>
                  <a:lnTo>
                    <a:pt x="9" y="54"/>
                  </a:lnTo>
                  <a:lnTo>
                    <a:pt x="9" y="45"/>
                  </a:lnTo>
                  <a:lnTo>
                    <a:pt x="16" y="45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64" name="Freeform 106">
              <a:extLst>
                <a:ext uri="{FF2B5EF4-FFF2-40B4-BE49-F238E27FC236}">
                  <a16:creationId xmlns:a16="http://schemas.microsoft.com/office/drawing/2014/main" id="{ADCE23C8-25B7-4C23-B9A7-7BC9A09059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24006" y="3749143"/>
              <a:ext cx="25437" cy="33351"/>
            </a:xfrm>
            <a:custGeom>
              <a:avLst/>
              <a:gdLst>
                <a:gd name="T0" fmla="*/ 17 w 19"/>
                <a:gd name="T1" fmla="*/ 5 h 25"/>
                <a:gd name="T2" fmla="*/ 19 w 19"/>
                <a:gd name="T3" fmla="*/ 12 h 25"/>
                <a:gd name="T4" fmla="*/ 17 w 19"/>
                <a:gd name="T5" fmla="*/ 21 h 25"/>
                <a:gd name="T6" fmla="*/ 10 w 19"/>
                <a:gd name="T7" fmla="*/ 25 h 25"/>
                <a:gd name="T8" fmla="*/ 2 w 19"/>
                <a:gd name="T9" fmla="*/ 20 h 25"/>
                <a:gd name="T10" fmla="*/ 0 w 19"/>
                <a:gd name="T11" fmla="*/ 12 h 25"/>
                <a:gd name="T12" fmla="*/ 10 w 19"/>
                <a:gd name="T13" fmla="*/ 0 h 25"/>
                <a:gd name="T14" fmla="*/ 17 w 19"/>
                <a:gd name="T15" fmla="*/ 5 h 25"/>
                <a:gd name="T16" fmla="*/ 6 w 19"/>
                <a:gd name="T17" fmla="*/ 12 h 25"/>
                <a:gd name="T18" fmla="*/ 10 w 19"/>
                <a:gd name="T19" fmla="*/ 21 h 25"/>
                <a:gd name="T20" fmla="*/ 14 w 19"/>
                <a:gd name="T21" fmla="*/ 12 h 25"/>
                <a:gd name="T22" fmla="*/ 10 w 19"/>
                <a:gd name="T23" fmla="*/ 4 h 25"/>
                <a:gd name="T24" fmla="*/ 6 w 19"/>
                <a:gd name="T25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5">
                  <a:moveTo>
                    <a:pt x="17" y="5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7"/>
                    <a:pt x="18" y="19"/>
                    <a:pt x="17" y="21"/>
                  </a:cubicBezTo>
                  <a:cubicBezTo>
                    <a:pt x="15" y="24"/>
                    <a:pt x="13" y="25"/>
                    <a:pt x="10" y="25"/>
                  </a:cubicBezTo>
                  <a:cubicBezTo>
                    <a:pt x="6" y="25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2"/>
                    <a:pt x="17" y="5"/>
                  </a:cubicBezTo>
                  <a:close/>
                  <a:moveTo>
                    <a:pt x="6" y="12"/>
                  </a:moveTo>
                  <a:cubicBezTo>
                    <a:pt x="6" y="18"/>
                    <a:pt x="7" y="21"/>
                    <a:pt x="10" y="21"/>
                  </a:cubicBezTo>
                  <a:cubicBezTo>
                    <a:pt x="12" y="21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65" name="Freeform 107">
              <a:extLst>
                <a:ext uri="{FF2B5EF4-FFF2-40B4-BE49-F238E27FC236}">
                  <a16:creationId xmlns:a16="http://schemas.microsoft.com/office/drawing/2014/main" id="{0601A3A5-2385-481B-A42B-EB505898DB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24006" y="3803974"/>
              <a:ext cx="25437" cy="33351"/>
            </a:xfrm>
            <a:custGeom>
              <a:avLst/>
              <a:gdLst>
                <a:gd name="T0" fmla="*/ 17 w 19"/>
                <a:gd name="T1" fmla="*/ 5 h 25"/>
                <a:gd name="T2" fmla="*/ 19 w 19"/>
                <a:gd name="T3" fmla="*/ 12 h 25"/>
                <a:gd name="T4" fmla="*/ 17 w 19"/>
                <a:gd name="T5" fmla="*/ 21 h 25"/>
                <a:gd name="T6" fmla="*/ 10 w 19"/>
                <a:gd name="T7" fmla="*/ 25 h 25"/>
                <a:gd name="T8" fmla="*/ 2 w 19"/>
                <a:gd name="T9" fmla="*/ 20 h 25"/>
                <a:gd name="T10" fmla="*/ 0 w 19"/>
                <a:gd name="T11" fmla="*/ 12 h 25"/>
                <a:gd name="T12" fmla="*/ 10 w 19"/>
                <a:gd name="T13" fmla="*/ 0 h 25"/>
                <a:gd name="T14" fmla="*/ 17 w 19"/>
                <a:gd name="T15" fmla="*/ 5 h 25"/>
                <a:gd name="T16" fmla="*/ 6 w 19"/>
                <a:gd name="T17" fmla="*/ 12 h 25"/>
                <a:gd name="T18" fmla="*/ 10 w 19"/>
                <a:gd name="T19" fmla="*/ 21 h 25"/>
                <a:gd name="T20" fmla="*/ 14 w 19"/>
                <a:gd name="T21" fmla="*/ 12 h 25"/>
                <a:gd name="T22" fmla="*/ 10 w 19"/>
                <a:gd name="T23" fmla="*/ 4 h 25"/>
                <a:gd name="T24" fmla="*/ 6 w 19"/>
                <a:gd name="T25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5">
                  <a:moveTo>
                    <a:pt x="17" y="5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7"/>
                    <a:pt x="18" y="19"/>
                    <a:pt x="17" y="21"/>
                  </a:cubicBezTo>
                  <a:cubicBezTo>
                    <a:pt x="15" y="24"/>
                    <a:pt x="13" y="25"/>
                    <a:pt x="10" y="25"/>
                  </a:cubicBezTo>
                  <a:cubicBezTo>
                    <a:pt x="6" y="25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2"/>
                    <a:pt x="17" y="5"/>
                  </a:cubicBezTo>
                  <a:close/>
                  <a:moveTo>
                    <a:pt x="6" y="12"/>
                  </a:moveTo>
                  <a:cubicBezTo>
                    <a:pt x="6" y="18"/>
                    <a:pt x="7" y="21"/>
                    <a:pt x="10" y="21"/>
                  </a:cubicBezTo>
                  <a:cubicBezTo>
                    <a:pt x="12" y="21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66" name="Freeform 108">
              <a:extLst>
                <a:ext uri="{FF2B5EF4-FFF2-40B4-BE49-F238E27FC236}">
                  <a16:creationId xmlns:a16="http://schemas.microsoft.com/office/drawing/2014/main" id="{BFE88491-A439-47D1-9DCE-6A25D4D090D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5702" y="3859935"/>
              <a:ext cx="19784" cy="31090"/>
            </a:xfrm>
            <a:custGeom>
              <a:avLst/>
              <a:gdLst>
                <a:gd name="T0" fmla="*/ 16 w 35"/>
                <a:gd name="T1" fmla="*/ 12 h 55"/>
                <a:gd name="T2" fmla="*/ 7 w 35"/>
                <a:gd name="T3" fmla="*/ 19 h 55"/>
                <a:gd name="T4" fmla="*/ 0 w 35"/>
                <a:gd name="T5" fmla="*/ 10 h 55"/>
                <a:gd name="T6" fmla="*/ 19 w 35"/>
                <a:gd name="T7" fmla="*/ 0 h 55"/>
                <a:gd name="T8" fmla="*/ 28 w 35"/>
                <a:gd name="T9" fmla="*/ 0 h 55"/>
                <a:gd name="T10" fmla="*/ 28 w 35"/>
                <a:gd name="T11" fmla="*/ 45 h 55"/>
                <a:gd name="T12" fmla="*/ 35 w 35"/>
                <a:gd name="T13" fmla="*/ 48 h 55"/>
                <a:gd name="T14" fmla="*/ 35 w 35"/>
                <a:gd name="T15" fmla="*/ 55 h 55"/>
                <a:gd name="T16" fmla="*/ 9 w 35"/>
                <a:gd name="T17" fmla="*/ 55 h 55"/>
                <a:gd name="T18" fmla="*/ 9 w 35"/>
                <a:gd name="T19" fmla="*/ 48 h 55"/>
                <a:gd name="T20" fmla="*/ 16 w 35"/>
                <a:gd name="T21" fmla="*/ 45 h 55"/>
                <a:gd name="T22" fmla="*/ 16 w 35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5">
                  <a:moveTo>
                    <a:pt x="16" y="12"/>
                  </a:moveTo>
                  <a:lnTo>
                    <a:pt x="7" y="19"/>
                  </a:lnTo>
                  <a:lnTo>
                    <a:pt x="0" y="10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5"/>
                  </a:lnTo>
                  <a:lnTo>
                    <a:pt x="35" y="48"/>
                  </a:lnTo>
                  <a:lnTo>
                    <a:pt x="35" y="55"/>
                  </a:lnTo>
                  <a:lnTo>
                    <a:pt x="9" y="55"/>
                  </a:lnTo>
                  <a:lnTo>
                    <a:pt x="9" y="48"/>
                  </a:lnTo>
                  <a:lnTo>
                    <a:pt x="16" y="45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67" name="Freeform 109">
              <a:extLst>
                <a:ext uri="{FF2B5EF4-FFF2-40B4-BE49-F238E27FC236}">
                  <a16:creationId xmlns:a16="http://schemas.microsoft.com/office/drawing/2014/main" id="{5B8A26F2-24C8-4320-8686-2737E729456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5702" y="3914766"/>
              <a:ext cx="19784" cy="31090"/>
            </a:xfrm>
            <a:custGeom>
              <a:avLst/>
              <a:gdLst>
                <a:gd name="T0" fmla="*/ 16 w 35"/>
                <a:gd name="T1" fmla="*/ 12 h 55"/>
                <a:gd name="T2" fmla="*/ 7 w 35"/>
                <a:gd name="T3" fmla="*/ 19 h 55"/>
                <a:gd name="T4" fmla="*/ 0 w 35"/>
                <a:gd name="T5" fmla="*/ 10 h 55"/>
                <a:gd name="T6" fmla="*/ 19 w 35"/>
                <a:gd name="T7" fmla="*/ 0 h 55"/>
                <a:gd name="T8" fmla="*/ 28 w 35"/>
                <a:gd name="T9" fmla="*/ 0 h 55"/>
                <a:gd name="T10" fmla="*/ 28 w 35"/>
                <a:gd name="T11" fmla="*/ 48 h 55"/>
                <a:gd name="T12" fmla="*/ 35 w 35"/>
                <a:gd name="T13" fmla="*/ 48 h 55"/>
                <a:gd name="T14" fmla="*/ 35 w 35"/>
                <a:gd name="T15" fmla="*/ 55 h 55"/>
                <a:gd name="T16" fmla="*/ 9 w 35"/>
                <a:gd name="T17" fmla="*/ 55 h 55"/>
                <a:gd name="T18" fmla="*/ 9 w 35"/>
                <a:gd name="T19" fmla="*/ 48 h 55"/>
                <a:gd name="T20" fmla="*/ 16 w 35"/>
                <a:gd name="T21" fmla="*/ 48 h 55"/>
                <a:gd name="T22" fmla="*/ 16 w 35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5">
                  <a:moveTo>
                    <a:pt x="16" y="12"/>
                  </a:moveTo>
                  <a:lnTo>
                    <a:pt x="7" y="19"/>
                  </a:lnTo>
                  <a:lnTo>
                    <a:pt x="0" y="10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8"/>
                  </a:lnTo>
                  <a:lnTo>
                    <a:pt x="35" y="48"/>
                  </a:lnTo>
                  <a:lnTo>
                    <a:pt x="35" y="55"/>
                  </a:lnTo>
                  <a:lnTo>
                    <a:pt x="9" y="55"/>
                  </a:lnTo>
                  <a:lnTo>
                    <a:pt x="9" y="48"/>
                  </a:lnTo>
                  <a:lnTo>
                    <a:pt x="16" y="48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68" name="Freeform 110">
              <a:extLst>
                <a:ext uri="{FF2B5EF4-FFF2-40B4-BE49-F238E27FC236}">
                  <a16:creationId xmlns:a16="http://schemas.microsoft.com/office/drawing/2014/main" id="{68EE363D-2896-4CC0-A27F-BA5246B948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24006" y="3968466"/>
              <a:ext cx="25437" cy="33351"/>
            </a:xfrm>
            <a:custGeom>
              <a:avLst/>
              <a:gdLst>
                <a:gd name="T0" fmla="*/ 17 w 19"/>
                <a:gd name="T1" fmla="*/ 5 h 25"/>
                <a:gd name="T2" fmla="*/ 19 w 19"/>
                <a:gd name="T3" fmla="*/ 13 h 25"/>
                <a:gd name="T4" fmla="*/ 17 w 19"/>
                <a:gd name="T5" fmla="*/ 21 h 25"/>
                <a:gd name="T6" fmla="*/ 10 w 19"/>
                <a:gd name="T7" fmla="*/ 25 h 25"/>
                <a:gd name="T8" fmla="*/ 2 w 19"/>
                <a:gd name="T9" fmla="*/ 21 h 25"/>
                <a:gd name="T10" fmla="*/ 0 w 19"/>
                <a:gd name="T11" fmla="*/ 12 h 25"/>
                <a:gd name="T12" fmla="*/ 10 w 19"/>
                <a:gd name="T13" fmla="*/ 0 h 25"/>
                <a:gd name="T14" fmla="*/ 17 w 19"/>
                <a:gd name="T15" fmla="*/ 5 h 25"/>
                <a:gd name="T16" fmla="*/ 6 w 19"/>
                <a:gd name="T17" fmla="*/ 13 h 25"/>
                <a:gd name="T18" fmla="*/ 10 w 19"/>
                <a:gd name="T19" fmla="*/ 21 h 25"/>
                <a:gd name="T20" fmla="*/ 14 w 19"/>
                <a:gd name="T21" fmla="*/ 13 h 25"/>
                <a:gd name="T22" fmla="*/ 10 w 19"/>
                <a:gd name="T23" fmla="*/ 5 h 25"/>
                <a:gd name="T24" fmla="*/ 6 w 19"/>
                <a:gd name="T25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5">
                  <a:moveTo>
                    <a:pt x="17" y="5"/>
                  </a:moveTo>
                  <a:cubicBezTo>
                    <a:pt x="18" y="7"/>
                    <a:pt x="19" y="9"/>
                    <a:pt x="19" y="13"/>
                  </a:cubicBezTo>
                  <a:cubicBezTo>
                    <a:pt x="19" y="17"/>
                    <a:pt x="18" y="19"/>
                    <a:pt x="17" y="21"/>
                  </a:cubicBezTo>
                  <a:cubicBezTo>
                    <a:pt x="15" y="24"/>
                    <a:pt x="13" y="25"/>
                    <a:pt x="10" y="25"/>
                  </a:cubicBezTo>
                  <a:cubicBezTo>
                    <a:pt x="6" y="25"/>
                    <a:pt x="3" y="23"/>
                    <a:pt x="2" y="21"/>
                  </a:cubicBezTo>
                  <a:cubicBezTo>
                    <a:pt x="1" y="19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2"/>
                    <a:pt x="17" y="5"/>
                  </a:cubicBezTo>
                  <a:close/>
                  <a:moveTo>
                    <a:pt x="6" y="13"/>
                  </a:moveTo>
                  <a:cubicBezTo>
                    <a:pt x="6" y="18"/>
                    <a:pt x="7" y="21"/>
                    <a:pt x="10" y="21"/>
                  </a:cubicBezTo>
                  <a:cubicBezTo>
                    <a:pt x="12" y="21"/>
                    <a:pt x="14" y="18"/>
                    <a:pt x="14" y="13"/>
                  </a:cubicBezTo>
                  <a:cubicBezTo>
                    <a:pt x="14" y="7"/>
                    <a:pt x="12" y="5"/>
                    <a:pt x="10" y="5"/>
                  </a:cubicBezTo>
                  <a:cubicBezTo>
                    <a:pt x="7" y="5"/>
                    <a:pt x="6" y="7"/>
                    <a:pt x="6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69" name="Freeform 111">
              <a:extLst>
                <a:ext uri="{FF2B5EF4-FFF2-40B4-BE49-F238E27FC236}">
                  <a16:creationId xmlns:a16="http://schemas.microsoft.com/office/drawing/2014/main" id="{CD793130-4234-437C-8E1A-FA55FDCD631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5702" y="4024428"/>
              <a:ext cx="19784" cy="30524"/>
            </a:xfrm>
            <a:custGeom>
              <a:avLst/>
              <a:gdLst>
                <a:gd name="T0" fmla="*/ 16 w 35"/>
                <a:gd name="T1" fmla="*/ 12 h 54"/>
                <a:gd name="T2" fmla="*/ 7 w 35"/>
                <a:gd name="T3" fmla="*/ 19 h 54"/>
                <a:gd name="T4" fmla="*/ 0 w 35"/>
                <a:gd name="T5" fmla="*/ 9 h 54"/>
                <a:gd name="T6" fmla="*/ 19 w 35"/>
                <a:gd name="T7" fmla="*/ 0 h 54"/>
                <a:gd name="T8" fmla="*/ 28 w 35"/>
                <a:gd name="T9" fmla="*/ 0 h 54"/>
                <a:gd name="T10" fmla="*/ 28 w 35"/>
                <a:gd name="T11" fmla="*/ 47 h 54"/>
                <a:gd name="T12" fmla="*/ 35 w 35"/>
                <a:gd name="T13" fmla="*/ 47 h 54"/>
                <a:gd name="T14" fmla="*/ 35 w 35"/>
                <a:gd name="T15" fmla="*/ 54 h 54"/>
                <a:gd name="T16" fmla="*/ 9 w 35"/>
                <a:gd name="T17" fmla="*/ 54 h 54"/>
                <a:gd name="T18" fmla="*/ 9 w 35"/>
                <a:gd name="T19" fmla="*/ 47 h 54"/>
                <a:gd name="T20" fmla="*/ 16 w 35"/>
                <a:gd name="T21" fmla="*/ 47 h 54"/>
                <a:gd name="T22" fmla="*/ 16 w 35"/>
                <a:gd name="T23" fmla="*/ 1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4">
                  <a:moveTo>
                    <a:pt x="16" y="12"/>
                  </a:moveTo>
                  <a:lnTo>
                    <a:pt x="7" y="19"/>
                  </a:lnTo>
                  <a:lnTo>
                    <a:pt x="0" y="9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4"/>
                  </a:lnTo>
                  <a:lnTo>
                    <a:pt x="9" y="54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70" name="Freeform 112">
              <a:extLst>
                <a:ext uri="{FF2B5EF4-FFF2-40B4-BE49-F238E27FC236}">
                  <a16:creationId xmlns:a16="http://schemas.microsoft.com/office/drawing/2014/main" id="{E1C38FF2-1CA0-47B6-9958-2DBF1F605A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24006" y="4078128"/>
              <a:ext cx="25437" cy="33351"/>
            </a:xfrm>
            <a:custGeom>
              <a:avLst/>
              <a:gdLst>
                <a:gd name="T0" fmla="*/ 17 w 19"/>
                <a:gd name="T1" fmla="*/ 5 h 25"/>
                <a:gd name="T2" fmla="*/ 19 w 19"/>
                <a:gd name="T3" fmla="*/ 13 h 25"/>
                <a:gd name="T4" fmla="*/ 17 w 19"/>
                <a:gd name="T5" fmla="*/ 22 h 25"/>
                <a:gd name="T6" fmla="*/ 10 w 19"/>
                <a:gd name="T7" fmla="*/ 25 h 25"/>
                <a:gd name="T8" fmla="*/ 2 w 19"/>
                <a:gd name="T9" fmla="*/ 21 h 25"/>
                <a:gd name="T10" fmla="*/ 0 w 19"/>
                <a:gd name="T11" fmla="*/ 13 h 25"/>
                <a:gd name="T12" fmla="*/ 10 w 19"/>
                <a:gd name="T13" fmla="*/ 0 h 25"/>
                <a:gd name="T14" fmla="*/ 17 w 19"/>
                <a:gd name="T15" fmla="*/ 5 h 25"/>
                <a:gd name="T16" fmla="*/ 6 w 19"/>
                <a:gd name="T17" fmla="*/ 13 h 25"/>
                <a:gd name="T18" fmla="*/ 10 w 19"/>
                <a:gd name="T19" fmla="*/ 21 h 25"/>
                <a:gd name="T20" fmla="*/ 14 w 19"/>
                <a:gd name="T21" fmla="*/ 13 h 25"/>
                <a:gd name="T22" fmla="*/ 10 w 19"/>
                <a:gd name="T23" fmla="*/ 5 h 25"/>
                <a:gd name="T24" fmla="*/ 6 w 19"/>
                <a:gd name="T25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5">
                  <a:moveTo>
                    <a:pt x="17" y="5"/>
                  </a:moveTo>
                  <a:cubicBezTo>
                    <a:pt x="18" y="7"/>
                    <a:pt x="19" y="9"/>
                    <a:pt x="19" y="13"/>
                  </a:cubicBezTo>
                  <a:cubicBezTo>
                    <a:pt x="19" y="17"/>
                    <a:pt x="18" y="20"/>
                    <a:pt x="17" y="22"/>
                  </a:cubicBezTo>
                  <a:cubicBezTo>
                    <a:pt x="15" y="24"/>
                    <a:pt x="13" y="25"/>
                    <a:pt x="10" y="25"/>
                  </a:cubicBezTo>
                  <a:cubicBezTo>
                    <a:pt x="6" y="25"/>
                    <a:pt x="3" y="23"/>
                    <a:pt x="2" y="21"/>
                  </a:cubicBezTo>
                  <a:cubicBezTo>
                    <a:pt x="1" y="19"/>
                    <a:pt x="0" y="16"/>
                    <a:pt x="0" y="13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2"/>
                    <a:pt x="17" y="5"/>
                  </a:cubicBezTo>
                  <a:close/>
                  <a:moveTo>
                    <a:pt x="6" y="13"/>
                  </a:moveTo>
                  <a:cubicBezTo>
                    <a:pt x="6" y="18"/>
                    <a:pt x="7" y="21"/>
                    <a:pt x="10" y="21"/>
                  </a:cubicBezTo>
                  <a:cubicBezTo>
                    <a:pt x="12" y="21"/>
                    <a:pt x="14" y="18"/>
                    <a:pt x="14" y="13"/>
                  </a:cubicBezTo>
                  <a:cubicBezTo>
                    <a:pt x="14" y="7"/>
                    <a:pt x="12" y="5"/>
                    <a:pt x="10" y="5"/>
                  </a:cubicBezTo>
                  <a:cubicBezTo>
                    <a:pt x="7" y="5"/>
                    <a:pt x="6" y="7"/>
                    <a:pt x="6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71" name="Freeform 113">
              <a:extLst>
                <a:ext uri="{FF2B5EF4-FFF2-40B4-BE49-F238E27FC236}">
                  <a16:creationId xmlns:a16="http://schemas.microsoft.com/office/drawing/2014/main" id="{919D790A-9ED1-410D-A814-09C6AA94DE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5702" y="4134089"/>
              <a:ext cx="19784" cy="31655"/>
            </a:xfrm>
            <a:custGeom>
              <a:avLst/>
              <a:gdLst>
                <a:gd name="T0" fmla="*/ 16 w 35"/>
                <a:gd name="T1" fmla="*/ 12 h 56"/>
                <a:gd name="T2" fmla="*/ 7 w 35"/>
                <a:gd name="T3" fmla="*/ 19 h 56"/>
                <a:gd name="T4" fmla="*/ 0 w 35"/>
                <a:gd name="T5" fmla="*/ 9 h 56"/>
                <a:gd name="T6" fmla="*/ 19 w 35"/>
                <a:gd name="T7" fmla="*/ 0 h 56"/>
                <a:gd name="T8" fmla="*/ 28 w 35"/>
                <a:gd name="T9" fmla="*/ 0 h 56"/>
                <a:gd name="T10" fmla="*/ 28 w 35"/>
                <a:gd name="T11" fmla="*/ 47 h 56"/>
                <a:gd name="T12" fmla="*/ 35 w 35"/>
                <a:gd name="T13" fmla="*/ 47 h 56"/>
                <a:gd name="T14" fmla="*/ 35 w 35"/>
                <a:gd name="T15" fmla="*/ 56 h 56"/>
                <a:gd name="T16" fmla="*/ 9 w 35"/>
                <a:gd name="T17" fmla="*/ 56 h 56"/>
                <a:gd name="T18" fmla="*/ 9 w 35"/>
                <a:gd name="T19" fmla="*/ 47 h 56"/>
                <a:gd name="T20" fmla="*/ 16 w 35"/>
                <a:gd name="T21" fmla="*/ 47 h 56"/>
                <a:gd name="T22" fmla="*/ 16 w 35"/>
                <a:gd name="T23" fmla="*/ 12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6">
                  <a:moveTo>
                    <a:pt x="16" y="12"/>
                  </a:moveTo>
                  <a:lnTo>
                    <a:pt x="7" y="19"/>
                  </a:lnTo>
                  <a:lnTo>
                    <a:pt x="0" y="9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6"/>
                  </a:lnTo>
                  <a:lnTo>
                    <a:pt x="9" y="56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72" name="Freeform 114">
              <a:extLst>
                <a:ext uri="{FF2B5EF4-FFF2-40B4-BE49-F238E27FC236}">
                  <a16:creationId xmlns:a16="http://schemas.microsoft.com/office/drawing/2014/main" id="{DFF27BD0-6C8C-493C-88A4-BF2491E56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5702" y="4188920"/>
              <a:ext cx="19784" cy="31655"/>
            </a:xfrm>
            <a:custGeom>
              <a:avLst/>
              <a:gdLst>
                <a:gd name="T0" fmla="*/ 16 w 35"/>
                <a:gd name="T1" fmla="*/ 11 h 56"/>
                <a:gd name="T2" fmla="*/ 7 w 35"/>
                <a:gd name="T3" fmla="*/ 18 h 56"/>
                <a:gd name="T4" fmla="*/ 0 w 35"/>
                <a:gd name="T5" fmla="*/ 9 h 56"/>
                <a:gd name="T6" fmla="*/ 19 w 35"/>
                <a:gd name="T7" fmla="*/ 0 h 56"/>
                <a:gd name="T8" fmla="*/ 28 w 35"/>
                <a:gd name="T9" fmla="*/ 0 h 56"/>
                <a:gd name="T10" fmla="*/ 28 w 35"/>
                <a:gd name="T11" fmla="*/ 47 h 56"/>
                <a:gd name="T12" fmla="*/ 35 w 35"/>
                <a:gd name="T13" fmla="*/ 47 h 56"/>
                <a:gd name="T14" fmla="*/ 35 w 35"/>
                <a:gd name="T15" fmla="*/ 56 h 56"/>
                <a:gd name="T16" fmla="*/ 9 w 35"/>
                <a:gd name="T17" fmla="*/ 56 h 56"/>
                <a:gd name="T18" fmla="*/ 9 w 35"/>
                <a:gd name="T19" fmla="*/ 47 h 56"/>
                <a:gd name="T20" fmla="*/ 16 w 35"/>
                <a:gd name="T21" fmla="*/ 47 h 56"/>
                <a:gd name="T22" fmla="*/ 16 w 35"/>
                <a:gd name="T23" fmla="*/ 1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6">
                  <a:moveTo>
                    <a:pt x="16" y="11"/>
                  </a:moveTo>
                  <a:lnTo>
                    <a:pt x="7" y="18"/>
                  </a:lnTo>
                  <a:lnTo>
                    <a:pt x="0" y="9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6"/>
                  </a:lnTo>
                  <a:lnTo>
                    <a:pt x="9" y="56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73" name="Freeform 115">
              <a:extLst>
                <a:ext uri="{FF2B5EF4-FFF2-40B4-BE49-F238E27FC236}">
                  <a16:creationId xmlns:a16="http://schemas.microsoft.com/office/drawing/2014/main" id="{B7003AE5-8ECF-4504-B744-1A2CAD0B95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24006" y="4243185"/>
              <a:ext cx="25437" cy="32220"/>
            </a:xfrm>
            <a:custGeom>
              <a:avLst/>
              <a:gdLst>
                <a:gd name="T0" fmla="*/ 17 w 19"/>
                <a:gd name="T1" fmla="*/ 4 h 24"/>
                <a:gd name="T2" fmla="*/ 19 w 19"/>
                <a:gd name="T3" fmla="*/ 12 h 24"/>
                <a:gd name="T4" fmla="*/ 17 w 19"/>
                <a:gd name="T5" fmla="*/ 21 h 24"/>
                <a:gd name="T6" fmla="*/ 10 w 19"/>
                <a:gd name="T7" fmla="*/ 24 h 24"/>
                <a:gd name="T8" fmla="*/ 2 w 19"/>
                <a:gd name="T9" fmla="*/ 20 h 24"/>
                <a:gd name="T10" fmla="*/ 0 w 19"/>
                <a:gd name="T11" fmla="*/ 12 h 24"/>
                <a:gd name="T12" fmla="*/ 10 w 19"/>
                <a:gd name="T13" fmla="*/ 0 h 24"/>
                <a:gd name="T14" fmla="*/ 17 w 19"/>
                <a:gd name="T15" fmla="*/ 4 h 24"/>
                <a:gd name="T16" fmla="*/ 6 w 19"/>
                <a:gd name="T17" fmla="*/ 12 h 24"/>
                <a:gd name="T18" fmla="*/ 10 w 19"/>
                <a:gd name="T19" fmla="*/ 20 h 24"/>
                <a:gd name="T20" fmla="*/ 14 w 19"/>
                <a:gd name="T21" fmla="*/ 12 h 24"/>
                <a:gd name="T22" fmla="*/ 10 w 19"/>
                <a:gd name="T23" fmla="*/ 4 h 24"/>
                <a:gd name="T24" fmla="*/ 6 w 19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4">
                  <a:moveTo>
                    <a:pt x="17" y="4"/>
                  </a:moveTo>
                  <a:cubicBezTo>
                    <a:pt x="18" y="6"/>
                    <a:pt x="19" y="8"/>
                    <a:pt x="19" y="12"/>
                  </a:cubicBezTo>
                  <a:cubicBezTo>
                    <a:pt x="19" y="16"/>
                    <a:pt x="18" y="19"/>
                    <a:pt x="17" y="21"/>
                  </a:cubicBezTo>
                  <a:cubicBezTo>
                    <a:pt x="15" y="23"/>
                    <a:pt x="13" y="24"/>
                    <a:pt x="10" y="24"/>
                  </a:cubicBezTo>
                  <a:cubicBezTo>
                    <a:pt x="6" y="24"/>
                    <a:pt x="3" y="23"/>
                    <a:pt x="2" y="20"/>
                  </a:cubicBezTo>
                  <a:cubicBezTo>
                    <a:pt x="1" y="18"/>
                    <a:pt x="0" y="15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1"/>
                    <a:pt x="17" y="4"/>
                  </a:cubicBezTo>
                  <a:close/>
                  <a:moveTo>
                    <a:pt x="6" y="12"/>
                  </a:moveTo>
                  <a:cubicBezTo>
                    <a:pt x="6" y="17"/>
                    <a:pt x="7" y="20"/>
                    <a:pt x="10" y="20"/>
                  </a:cubicBezTo>
                  <a:cubicBezTo>
                    <a:pt x="12" y="20"/>
                    <a:pt x="14" y="17"/>
                    <a:pt x="14" y="12"/>
                  </a:cubicBezTo>
                  <a:cubicBezTo>
                    <a:pt x="14" y="6"/>
                    <a:pt x="12" y="4"/>
                    <a:pt x="10" y="4"/>
                  </a:cubicBezTo>
                  <a:cubicBezTo>
                    <a:pt x="7" y="4"/>
                    <a:pt x="6" y="6"/>
                    <a:pt x="6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74" name="Freeform 116">
              <a:extLst>
                <a:ext uri="{FF2B5EF4-FFF2-40B4-BE49-F238E27FC236}">
                  <a16:creationId xmlns:a16="http://schemas.microsoft.com/office/drawing/2014/main" id="{60B46C90-9F4F-4342-9058-32FA53E681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24006" y="4298016"/>
              <a:ext cx="25437" cy="32220"/>
            </a:xfrm>
            <a:custGeom>
              <a:avLst/>
              <a:gdLst>
                <a:gd name="T0" fmla="*/ 17 w 19"/>
                <a:gd name="T1" fmla="*/ 4 h 24"/>
                <a:gd name="T2" fmla="*/ 19 w 19"/>
                <a:gd name="T3" fmla="*/ 12 h 24"/>
                <a:gd name="T4" fmla="*/ 17 w 19"/>
                <a:gd name="T5" fmla="*/ 21 h 24"/>
                <a:gd name="T6" fmla="*/ 10 w 19"/>
                <a:gd name="T7" fmla="*/ 24 h 24"/>
                <a:gd name="T8" fmla="*/ 2 w 19"/>
                <a:gd name="T9" fmla="*/ 20 h 24"/>
                <a:gd name="T10" fmla="*/ 0 w 19"/>
                <a:gd name="T11" fmla="*/ 12 h 24"/>
                <a:gd name="T12" fmla="*/ 10 w 19"/>
                <a:gd name="T13" fmla="*/ 0 h 24"/>
                <a:gd name="T14" fmla="*/ 17 w 19"/>
                <a:gd name="T15" fmla="*/ 4 h 24"/>
                <a:gd name="T16" fmla="*/ 6 w 19"/>
                <a:gd name="T17" fmla="*/ 12 h 24"/>
                <a:gd name="T18" fmla="*/ 10 w 19"/>
                <a:gd name="T19" fmla="*/ 20 h 24"/>
                <a:gd name="T20" fmla="*/ 14 w 19"/>
                <a:gd name="T21" fmla="*/ 12 h 24"/>
                <a:gd name="T22" fmla="*/ 10 w 19"/>
                <a:gd name="T23" fmla="*/ 4 h 24"/>
                <a:gd name="T24" fmla="*/ 6 w 19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4">
                  <a:moveTo>
                    <a:pt x="17" y="4"/>
                  </a:moveTo>
                  <a:cubicBezTo>
                    <a:pt x="18" y="6"/>
                    <a:pt x="19" y="8"/>
                    <a:pt x="19" y="12"/>
                  </a:cubicBezTo>
                  <a:cubicBezTo>
                    <a:pt x="19" y="16"/>
                    <a:pt x="18" y="19"/>
                    <a:pt x="17" y="21"/>
                  </a:cubicBezTo>
                  <a:cubicBezTo>
                    <a:pt x="15" y="23"/>
                    <a:pt x="13" y="24"/>
                    <a:pt x="10" y="24"/>
                  </a:cubicBezTo>
                  <a:cubicBezTo>
                    <a:pt x="6" y="24"/>
                    <a:pt x="3" y="23"/>
                    <a:pt x="2" y="20"/>
                  </a:cubicBezTo>
                  <a:cubicBezTo>
                    <a:pt x="1" y="18"/>
                    <a:pt x="0" y="15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1"/>
                    <a:pt x="17" y="4"/>
                  </a:cubicBezTo>
                  <a:close/>
                  <a:moveTo>
                    <a:pt x="6" y="12"/>
                  </a:moveTo>
                  <a:cubicBezTo>
                    <a:pt x="6" y="17"/>
                    <a:pt x="7" y="20"/>
                    <a:pt x="10" y="20"/>
                  </a:cubicBezTo>
                  <a:cubicBezTo>
                    <a:pt x="12" y="20"/>
                    <a:pt x="14" y="17"/>
                    <a:pt x="14" y="12"/>
                  </a:cubicBezTo>
                  <a:cubicBezTo>
                    <a:pt x="14" y="6"/>
                    <a:pt x="12" y="4"/>
                    <a:pt x="10" y="4"/>
                  </a:cubicBezTo>
                  <a:cubicBezTo>
                    <a:pt x="7" y="4"/>
                    <a:pt x="6" y="6"/>
                    <a:pt x="6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75" name="Freeform 117">
              <a:extLst>
                <a:ext uri="{FF2B5EF4-FFF2-40B4-BE49-F238E27FC236}">
                  <a16:creationId xmlns:a16="http://schemas.microsoft.com/office/drawing/2014/main" id="{7D66694E-6672-4996-A0F1-A0BB5458A1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24006" y="4352847"/>
              <a:ext cx="25437" cy="32220"/>
            </a:xfrm>
            <a:custGeom>
              <a:avLst/>
              <a:gdLst>
                <a:gd name="T0" fmla="*/ 17 w 19"/>
                <a:gd name="T1" fmla="*/ 4 h 24"/>
                <a:gd name="T2" fmla="*/ 19 w 19"/>
                <a:gd name="T3" fmla="*/ 12 h 24"/>
                <a:gd name="T4" fmla="*/ 17 w 19"/>
                <a:gd name="T5" fmla="*/ 21 h 24"/>
                <a:gd name="T6" fmla="*/ 10 w 19"/>
                <a:gd name="T7" fmla="*/ 24 h 24"/>
                <a:gd name="T8" fmla="*/ 2 w 19"/>
                <a:gd name="T9" fmla="*/ 20 h 24"/>
                <a:gd name="T10" fmla="*/ 0 w 19"/>
                <a:gd name="T11" fmla="*/ 12 h 24"/>
                <a:gd name="T12" fmla="*/ 10 w 19"/>
                <a:gd name="T13" fmla="*/ 0 h 24"/>
                <a:gd name="T14" fmla="*/ 17 w 19"/>
                <a:gd name="T15" fmla="*/ 4 h 24"/>
                <a:gd name="T16" fmla="*/ 6 w 19"/>
                <a:gd name="T17" fmla="*/ 12 h 24"/>
                <a:gd name="T18" fmla="*/ 10 w 19"/>
                <a:gd name="T19" fmla="*/ 20 h 24"/>
                <a:gd name="T20" fmla="*/ 14 w 19"/>
                <a:gd name="T21" fmla="*/ 12 h 24"/>
                <a:gd name="T22" fmla="*/ 10 w 19"/>
                <a:gd name="T23" fmla="*/ 4 h 24"/>
                <a:gd name="T24" fmla="*/ 6 w 19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4">
                  <a:moveTo>
                    <a:pt x="17" y="4"/>
                  </a:moveTo>
                  <a:cubicBezTo>
                    <a:pt x="18" y="6"/>
                    <a:pt x="19" y="8"/>
                    <a:pt x="19" y="12"/>
                  </a:cubicBezTo>
                  <a:cubicBezTo>
                    <a:pt x="19" y="16"/>
                    <a:pt x="18" y="19"/>
                    <a:pt x="17" y="21"/>
                  </a:cubicBezTo>
                  <a:cubicBezTo>
                    <a:pt x="15" y="23"/>
                    <a:pt x="13" y="24"/>
                    <a:pt x="10" y="24"/>
                  </a:cubicBezTo>
                  <a:cubicBezTo>
                    <a:pt x="6" y="24"/>
                    <a:pt x="3" y="23"/>
                    <a:pt x="2" y="20"/>
                  </a:cubicBezTo>
                  <a:cubicBezTo>
                    <a:pt x="1" y="18"/>
                    <a:pt x="0" y="15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1"/>
                    <a:pt x="17" y="4"/>
                  </a:cubicBezTo>
                  <a:close/>
                  <a:moveTo>
                    <a:pt x="6" y="12"/>
                  </a:moveTo>
                  <a:cubicBezTo>
                    <a:pt x="6" y="17"/>
                    <a:pt x="7" y="20"/>
                    <a:pt x="10" y="20"/>
                  </a:cubicBezTo>
                  <a:cubicBezTo>
                    <a:pt x="12" y="20"/>
                    <a:pt x="14" y="17"/>
                    <a:pt x="14" y="12"/>
                  </a:cubicBezTo>
                  <a:cubicBezTo>
                    <a:pt x="14" y="6"/>
                    <a:pt x="12" y="4"/>
                    <a:pt x="10" y="4"/>
                  </a:cubicBezTo>
                  <a:cubicBezTo>
                    <a:pt x="7" y="4"/>
                    <a:pt x="6" y="6"/>
                    <a:pt x="6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76" name="Freeform 118">
              <a:extLst>
                <a:ext uri="{FF2B5EF4-FFF2-40B4-BE49-F238E27FC236}">
                  <a16:creationId xmlns:a16="http://schemas.microsoft.com/office/drawing/2014/main" id="{180ED055-BE66-4556-A62E-CC9D3DE11A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5702" y="4407678"/>
              <a:ext cx="19784" cy="32220"/>
            </a:xfrm>
            <a:custGeom>
              <a:avLst/>
              <a:gdLst>
                <a:gd name="T0" fmla="*/ 16 w 35"/>
                <a:gd name="T1" fmla="*/ 14 h 57"/>
                <a:gd name="T2" fmla="*/ 7 w 35"/>
                <a:gd name="T3" fmla="*/ 21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7 h 57"/>
                <a:gd name="T12" fmla="*/ 35 w 35"/>
                <a:gd name="T13" fmla="*/ 47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7 h 57"/>
                <a:gd name="T20" fmla="*/ 16 w 35"/>
                <a:gd name="T21" fmla="*/ 47 h 57"/>
                <a:gd name="T22" fmla="*/ 16 w 35"/>
                <a:gd name="T23" fmla="*/ 1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4"/>
                  </a:moveTo>
                  <a:lnTo>
                    <a:pt x="7" y="21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77" name="Freeform 119">
              <a:extLst>
                <a:ext uri="{FF2B5EF4-FFF2-40B4-BE49-F238E27FC236}">
                  <a16:creationId xmlns:a16="http://schemas.microsoft.com/office/drawing/2014/main" id="{539C16D5-420B-439B-9ACC-6782523E6D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24006" y="4462509"/>
              <a:ext cx="25437" cy="32220"/>
            </a:xfrm>
            <a:custGeom>
              <a:avLst/>
              <a:gdLst>
                <a:gd name="T0" fmla="*/ 17 w 19"/>
                <a:gd name="T1" fmla="*/ 4 h 24"/>
                <a:gd name="T2" fmla="*/ 19 w 19"/>
                <a:gd name="T3" fmla="*/ 12 h 24"/>
                <a:gd name="T4" fmla="*/ 17 w 19"/>
                <a:gd name="T5" fmla="*/ 21 h 24"/>
                <a:gd name="T6" fmla="*/ 10 w 19"/>
                <a:gd name="T7" fmla="*/ 24 h 24"/>
                <a:gd name="T8" fmla="*/ 2 w 19"/>
                <a:gd name="T9" fmla="*/ 20 h 24"/>
                <a:gd name="T10" fmla="*/ 0 w 19"/>
                <a:gd name="T11" fmla="*/ 12 h 24"/>
                <a:gd name="T12" fmla="*/ 10 w 19"/>
                <a:gd name="T13" fmla="*/ 0 h 24"/>
                <a:gd name="T14" fmla="*/ 17 w 19"/>
                <a:gd name="T15" fmla="*/ 4 h 24"/>
                <a:gd name="T16" fmla="*/ 6 w 19"/>
                <a:gd name="T17" fmla="*/ 12 h 24"/>
                <a:gd name="T18" fmla="*/ 10 w 19"/>
                <a:gd name="T19" fmla="*/ 20 h 24"/>
                <a:gd name="T20" fmla="*/ 14 w 19"/>
                <a:gd name="T21" fmla="*/ 12 h 24"/>
                <a:gd name="T22" fmla="*/ 10 w 19"/>
                <a:gd name="T23" fmla="*/ 4 h 24"/>
                <a:gd name="T24" fmla="*/ 6 w 19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4">
                  <a:moveTo>
                    <a:pt x="17" y="4"/>
                  </a:moveTo>
                  <a:cubicBezTo>
                    <a:pt x="18" y="6"/>
                    <a:pt x="19" y="8"/>
                    <a:pt x="19" y="12"/>
                  </a:cubicBezTo>
                  <a:cubicBezTo>
                    <a:pt x="19" y="16"/>
                    <a:pt x="18" y="19"/>
                    <a:pt x="17" y="21"/>
                  </a:cubicBezTo>
                  <a:cubicBezTo>
                    <a:pt x="15" y="23"/>
                    <a:pt x="13" y="24"/>
                    <a:pt x="10" y="24"/>
                  </a:cubicBezTo>
                  <a:cubicBezTo>
                    <a:pt x="6" y="24"/>
                    <a:pt x="3" y="23"/>
                    <a:pt x="2" y="20"/>
                  </a:cubicBezTo>
                  <a:cubicBezTo>
                    <a:pt x="1" y="18"/>
                    <a:pt x="0" y="15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1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6"/>
                    <a:pt x="12" y="4"/>
                    <a:pt x="10" y="4"/>
                  </a:cubicBezTo>
                  <a:cubicBezTo>
                    <a:pt x="7" y="4"/>
                    <a:pt x="6" y="6"/>
                    <a:pt x="6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78" name="Freeform 135">
              <a:extLst>
                <a:ext uri="{FF2B5EF4-FFF2-40B4-BE49-F238E27FC236}">
                  <a16:creationId xmlns:a16="http://schemas.microsoft.com/office/drawing/2014/main" id="{41E74406-33BA-401C-9338-3CEBEDCDC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9945" y="3284495"/>
              <a:ext cx="22611" cy="41830"/>
            </a:xfrm>
            <a:custGeom>
              <a:avLst/>
              <a:gdLst>
                <a:gd name="T0" fmla="*/ 19 w 40"/>
                <a:gd name="T1" fmla="*/ 14 h 74"/>
                <a:gd name="T2" fmla="*/ 4 w 40"/>
                <a:gd name="T3" fmla="*/ 24 h 74"/>
                <a:gd name="T4" fmla="*/ 0 w 40"/>
                <a:gd name="T5" fmla="*/ 14 h 74"/>
                <a:gd name="T6" fmla="*/ 21 w 40"/>
                <a:gd name="T7" fmla="*/ 0 h 74"/>
                <a:gd name="T8" fmla="*/ 30 w 40"/>
                <a:gd name="T9" fmla="*/ 0 h 74"/>
                <a:gd name="T10" fmla="*/ 30 w 40"/>
                <a:gd name="T11" fmla="*/ 64 h 74"/>
                <a:gd name="T12" fmla="*/ 40 w 40"/>
                <a:gd name="T13" fmla="*/ 64 h 74"/>
                <a:gd name="T14" fmla="*/ 40 w 40"/>
                <a:gd name="T15" fmla="*/ 74 h 74"/>
                <a:gd name="T16" fmla="*/ 9 w 40"/>
                <a:gd name="T17" fmla="*/ 74 h 74"/>
                <a:gd name="T18" fmla="*/ 9 w 40"/>
                <a:gd name="T19" fmla="*/ 64 h 74"/>
                <a:gd name="T20" fmla="*/ 19 w 40"/>
                <a:gd name="T21" fmla="*/ 64 h 74"/>
                <a:gd name="T22" fmla="*/ 19 w 40"/>
                <a:gd name="T23" fmla="*/ 1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4">
                  <a:moveTo>
                    <a:pt x="19" y="14"/>
                  </a:moveTo>
                  <a:lnTo>
                    <a:pt x="4" y="24"/>
                  </a:lnTo>
                  <a:lnTo>
                    <a:pt x="0" y="14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4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9" y="74"/>
                  </a:lnTo>
                  <a:lnTo>
                    <a:pt x="9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79" name="Freeform 136">
              <a:extLst>
                <a:ext uri="{FF2B5EF4-FFF2-40B4-BE49-F238E27FC236}">
                  <a16:creationId xmlns:a16="http://schemas.microsoft.com/office/drawing/2014/main" id="{4A5F3342-0459-4E0E-8008-0D653AB385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8250" y="3355153"/>
              <a:ext cx="28263" cy="42960"/>
            </a:xfrm>
            <a:custGeom>
              <a:avLst/>
              <a:gdLst>
                <a:gd name="T0" fmla="*/ 21 w 21"/>
                <a:gd name="T1" fmla="*/ 16 h 32"/>
                <a:gd name="T2" fmla="*/ 10 w 21"/>
                <a:gd name="T3" fmla="*/ 32 h 32"/>
                <a:gd name="T4" fmla="*/ 0 w 21"/>
                <a:gd name="T5" fmla="*/ 16 h 32"/>
                <a:gd name="T6" fmla="*/ 10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0 w 21"/>
                <a:gd name="T13" fmla="*/ 28 h 32"/>
                <a:gd name="T14" fmla="*/ 16 w 21"/>
                <a:gd name="T15" fmla="*/ 16 h 32"/>
                <a:gd name="T16" fmla="*/ 10 w 21"/>
                <a:gd name="T17" fmla="*/ 5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7"/>
                    <a:pt x="18" y="32"/>
                    <a:pt x="10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0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8"/>
                    <a:pt x="10" y="28"/>
                  </a:cubicBezTo>
                  <a:cubicBezTo>
                    <a:pt x="14" y="28"/>
                    <a:pt x="16" y="24"/>
                    <a:pt x="16" y="16"/>
                  </a:cubicBezTo>
                  <a:cubicBezTo>
                    <a:pt x="16" y="8"/>
                    <a:pt x="14" y="5"/>
                    <a:pt x="10" y="5"/>
                  </a:cubicBezTo>
                  <a:cubicBezTo>
                    <a:pt x="7" y="5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80" name="Freeform 137">
              <a:extLst>
                <a:ext uri="{FF2B5EF4-FFF2-40B4-BE49-F238E27FC236}">
                  <a16:creationId xmlns:a16="http://schemas.microsoft.com/office/drawing/2014/main" id="{0FAE6717-814B-45BA-A22F-B5607ADE3E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8250" y="3498165"/>
              <a:ext cx="28263" cy="42960"/>
            </a:xfrm>
            <a:custGeom>
              <a:avLst/>
              <a:gdLst>
                <a:gd name="T0" fmla="*/ 21 w 21"/>
                <a:gd name="T1" fmla="*/ 16 h 32"/>
                <a:gd name="T2" fmla="*/ 10 w 21"/>
                <a:gd name="T3" fmla="*/ 32 h 32"/>
                <a:gd name="T4" fmla="*/ 0 w 21"/>
                <a:gd name="T5" fmla="*/ 16 h 32"/>
                <a:gd name="T6" fmla="*/ 10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0 w 21"/>
                <a:gd name="T13" fmla="*/ 27 h 32"/>
                <a:gd name="T14" fmla="*/ 16 w 21"/>
                <a:gd name="T15" fmla="*/ 16 h 32"/>
                <a:gd name="T16" fmla="*/ 10 w 21"/>
                <a:gd name="T17" fmla="*/ 4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6"/>
                    <a:pt x="18" y="32"/>
                    <a:pt x="10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0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7"/>
                    <a:pt x="10" y="27"/>
                  </a:cubicBezTo>
                  <a:cubicBezTo>
                    <a:pt x="14" y="27"/>
                    <a:pt x="16" y="24"/>
                    <a:pt x="16" y="16"/>
                  </a:cubicBezTo>
                  <a:cubicBezTo>
                    <a:pt x="16" y="8"/>
                    <a:pt x="14" y="4"/>
                    <a:pt x="10" y="4"/>
                  </a:cubicBezTo>
                  <a:cubicBezTo>
                    <a:pt x="7" y="4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81" name="Freeform 138">
              <a:extLst>
                <a:ext uri="{FF2B5EF4-FFF2-40B4-BE49-F238E27FC236}">
                  <a16:creationId xmlns:a16="http://schemas.microsoft.com/office/drawing/2014/main" id="{3244B164-1986-4EDB-BA9A-88080903B35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9945" y="3570519"/>
              <a:ext cx="22611" cy="40134"/>
            </a:xfrm>
            <a:custGeom>
              <a:avLst/>
              <a:gdLst>
                <a:gd name="T0" fmla="*/ 19 w 40"/>
                <a:gd name="T1" fmla="*/ 12 h 71"/>
                <a:gd name="T2" fmla="*/ 4 w 40"/>
                <a:gd name="T3" fmla="*/ 21 h 71"/>
                <a:gd name="T4" fmla="*/ 0 w 40"/>
                <a:gd name="T5" fmla="*/ 12 h 71"/>
                <a:gd name="T6" fmla="*/ 21 w 40"/>
                <a:gd name="T7" fmla="*/ 0 h 71"/>
                <a:gd name="T8" fmla="*/ 30 w 40"/>
                <a:gd name="T9" fmla="*/ 0 h 71"/>
                <a:gd name="T10" fmla="*/ 30 w 40"/>
                <a:gd name="T11" fmla="*/ 64 h 71"/>
                <a:gd name="T12" fmla="*/ 40 w 40"/>
                <a:gd name="T13" fmla="*/ 64 h 71"/>
                <a:gd name="T14" fmla="*/ 40 w 40"/>
                <a:gd name="T15" fmla="*/ 71 h 71"/>
                <a:gd name="T16" fmla="*/ 9 w 40"/>
                <a:gd name="T17" fmla="*/ 71 h 71"/>
                <a:gd name="T18" fmla="*/ 9 w 40"/>
                <a:gd name="T19" fmla="*/ 64 h 71"/>
                <a:gd name="T20" fmla="*/ 19 w 40"/>
                <a:gd name="T21" fmla="*/ 64 h 71"/>
                <a:gd name="T22" fmla="*/ 19 w 40"/>
                <a:gd name="T23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1">
                  <a:moveTo>
                    <a:pt x="19" y="12"/>
                  </a:moveTo>
                  <a:lnTo>
                    <a:pt x="4" y="21"/>
                  </a:lnTo>
                  <a:lnTo>
                    <a:pt x="0" y="12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4"/>
                  </a:lnTo>
                  <a:lnTo>
                    <a:pt x="40" y="64"/>
                  </a:lnTo>
                  <a:lnTo>
                    <a:pt x="40" y="71"/>
                  </a:lnTo>
                  <a:lnTo>
                    <a:pt x="9" y="71"/>
                  </a:lnTo>
                  <a:lnTo>
                    <a:pt x="9" y="64"/>
                  </a:lnTo>
                  <a:lnTo>
                    <a:pt x="19" y="64"/>
                  </a:lnTo>
                  <a:lnTo>
                    <a:pt x="19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82" name="Freeform 139">
              <a:extLst>
                <a:ext uri="{FF2B5EF4-FFF2-40B4-BE49-F238E27FC236}">
                  <a16:creationId xmlns:a16="http://schemas.microsoft.com/office/drawing/2014/main" id="{3B9998B0-8CE3-4970-9753-24B0B20F0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9945" y="3641177"/>
              <a:ext cx="22611" cy="41265"/>
            </a:xfrm>
            <a:custGeom>
              <a:avLst/>
              <a:gdLst>
                <a:gd name="T0" fmla="*/ 19 w 40"/>
                <a:gd name="T1" fmla="*/ 14 h 73"/>
                <a:gd name="T2" fmla="*/ 4 w 40"/>
                <a:gd name="T3" fmla="*/ 24 h 73"/>
                <a:gd name="T4" fmla="*/ 0 w 40"/>
                <a:gd name="T5" fmla="*/ 14 h 73"/>
                <a:gd name="T6" fmla="*/ 21 w 40"/>
                <a:gd name="T7" fmla="*/ 0 h 73"/>
                <a:gd name="T8" fmla="*/ 30 w 40"/>
                <a:gd name="T9" fmla="*/ 0 h 73"/>
                <a:gd name="T10" fmla="*/ 30 w 40"/>
                <a:gd name="T11" fmla="*/ 64 h 73"/>
                <a:gd name="T12" fmla="*/ 40 w 40"/>
                <a:gd name="T13" fmla="*/ 64 h 73"/>
                <a:gd name="T14" fmla="*/ 40 w 40"/>
                <a:gd name="T15" fmla="*/ 73 h 73"/>
                <a:gd name="T16" fmla="*/ 9 w 40"/>
                <a:gd name="T17" fmla="*/ 73 h 73"/>
                <a:gd name="T18" fmla="*/ 9 w 40"/>
                <a:gd name="T19" fmla="*/ 64 h 73"/>
                <a:gd name="T20" fmla="*/ 19 w 40"/>
                <a:gd name="T21" fmla="*/ 64 h 73"/>
                <a:gd name="T22" fmla="*/ 19 w 40"/>
                <a:gd name="T23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3">
                  <a:moveTo>
                    <a:pt x="19" y="14"/>
                  </a:moveTo>
                  <a:lnTo>
                    <a:pt x="4" y="24"/>
                  </a:lnTo>
                  <a:lnTo>
                    <a:pt x="0" y="14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4"/>
                  </a:lnTo>
                  <a:lnTo>
                    <a:pt x="40" y="64"/>
                  </a:lnTo>
                  <a:lnTo>
                    <a:pt x="40" y="73"/>
                  </a:lnTo>
                  <a:lnTo>
                    <a:pt x="9" y="73"/>
                  </a:lnTo>
                  <a:lnTo>
                    <a:pt x="9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83" name="Freeform 140">
              <a:extLst>
                <a:ext uri="{FF2B5EF4-FFF2-40B4-BE49-F238E27FC236}">
                  <a16:creationId xmlns:a16="http://schemas.microsoft.com/office/drawing/2014/main" id="{ED318980-C17F-4657-958D-1BA909033C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9945" y="3711836"/>
              <a:ext cx="22611" cy="41265"/>
            </a:xfrm>
            <a:custGeom>
              <a:avLst/>
              <a:gdLst>
                <a:gd name="T0" fmla="*/ 19 w 40"/>
                <a:gd name="T1" fmla="*/ 14 h 73"/>
                <a:gd name="T2" fmla="*/ 4 w 40"/>
                <a:gd name="T3" fmla="*/ 24 h 73"/>
                <a:gd name="T4" fmla="*/ 0 w 40"/>
                <a:gd name="T5" fmla="*/ 14 h 73"/>
                <a:gd name="T6" fmla="*/ 21 w 40"/>
                <a:gd name="T7" fmla="*/ 0 h 73"/>
                <a:gd name="T8" fmla="*/ 30 w 40"/>
                <a:gd name="T9" fmla="*/ 0 h 73"/>
                <a:gd name="T10" fmla="*/ 30 w 40"/>
                <a:gd name="T11" fmla="*/ 64 h 73"/>
                <a:gd name="T12" fmla="*/ 40 w 40"/>
                <a:gd name="T13" fmla="*/ 64 h 73"/>
                <a:gd name="T14" fmla="*/ 40 w 40"/>
                <a:gd name="T15" fmla="*/ 73 h 73"/>
                <a:gd name="T16" fmla="*/ 9 w 40"/>
                <a:gd name="T17" fmla="*/ 73 h 73"/>
                <a:gd name="T18" fmla="*/ 9 w 40"/>
                <a:gd name="T19" fmla="*/ 64 h 73"/>
                <a:gd name="T20" fmla="*/ 19 w 40"/>
                <a:gd name="T21" fmla="*/ 64 h 73"/>
                <a:gd name="T22" fmla="*/ 19 w 40"/>
                <a:gd name="T23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3">
                  <a:moveTo>
                    <a:pt x="19" y="14"/>
                  </a:moveTo>
                  <a:lnTo>
                    <a:pt x="4" y="24"/>
                  </a:lnTo>
                  <a:lnTo>
                    <a:pt x="0" y="14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4"/>
                  </a:lnTo>
                  <a:lnTo>
                    <a:pt x="40" y="64"/>
                  </a:lnTo>
                  <a:lnTo>
                    <a:pt x="40" y="73"/>
                  </a:lnTo>
                  <a:lnTo>
                    <a:pt x="9" y="73"/>
                  </a:lnTo>
                  <a:lnTo>
                    <a:pt x="9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84" name="Freeform 141">
              <a:extLst>
                <a:ext uri="{FF2B5EF4-FFF2-40B4-BE49-F238E27FC236}">
                  <a16:creationId xmlns:a16="http://schemas.microsoft.com/office/drawing/2014/main" id="{96A0C489-8CF9-4A32-8C48-B292E01C9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9945" y="3784190"/>
              <a:ext cx="22611" cy="41265"/>
            </a:xfrm>
            <a:custGeom>
              <a:avLst/>
              <a:gdLst>
                <a:gd name="T0" fmla="*/ 19 w 40"/>
                <a:gd name="T1" fmla="*/ 14 h 73"/>
                <a:gd name="T2" fmla="*/ 4 w 40"/>
                <a:gd name="T3" fmla="*/ 21 h 73"/>
                <a:gd name="T4" fmla="*/ 0 w 40"/>
                <a:gd name="T5" fmla="*/ 12 h 73"/>
                <a:gd name="T6" fmla="*/ 21 w 40"/>
                <a:gd name="T7" fmla="*/ 0 h 73"/>
                <a:gd name="T8" fmla="*/ 30 w 40"/>
                <a:gd name="T9" fmla="*/ 0 h 73"/>
                <a:gd name="T10" fmla="*/ 30 w 40"/>
                <a:gd name="T11" fmla="*/ 64 h 73"/>
                <a:gd name="T12" fmla="*/ 40 w 40"/>
                <a:gd name="T13" fmla="*/ 64 h 73"/>
                <a:gd name="T14" fmla="*/ 40 w 40"/>
                <a:gd name="T15" fmla="*/ 73 h 73"/>
                <a:gd name="T16" fmla="*/ 9 w 40"/>
                <a:gd name="T17" fmla="*/ 73 h 73"/>
                <a:gd name="T18" fmla="*/ 9 w 40"/>
                <a:gd name="T19" fmla="*/ 64 h 73"/>
                <a:gd name="T20" fmla="*/ 19 w 40"/>
                <a:gd name="T21" fmla="*/ 64 h 73"/>
                <a:gd name="T22" fmla="*/ 19 w 40"/>
                <a:gd name="T23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3">
                  <a:moveTo>
                    <a:pt x="19" y="14"/>
                  </a:moveTo>
                  <a:lnTo>
                    <a:pt x="4" y="21"/>
                  </a:lnTo>
                  <a:lnTo>
                    <a:pt x="0" y="12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4"/>
                  </a:lnTo>
                  <a:lnTo>
                    <a:pt x="40" y="64"/>
                  </a:lnTo>
                  <a:lnTo>
                    <a:pt x="40" y="73"/>
                  </a:lnTo>
                  <a:lnTo>
                    <a:pt x="9" y="73"/>
                  </a:lnTo>
                  <a:lnTo>
                    <a:pt x="9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85" name="Freeform 142">
              <a:extLst>
                <a:ext uri="{FF2B5EF4-FFF2-40B4-BE49-F238E27FC236}">
                  <a16:creationId xmlns:a16="http://schemas.microsoft.com/office/drawing/2014/main" id="{CF451015-3B05-4EFE-B6DE-C2E886B2E2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8250" y="3854848"/>
              <a:ext cx="28263" cy="41265"/>
            </a:xfrm>
            <a:custGeom>
              <a:avLst/>
              <a:gdLst>
                <a:gd name="T0" fmla="*/ 21 w 21"/>
                <a:gd name="T1" fmla="*/ 15 h 31"/>
                <a:gd name="T2" fmla="*/ 10 w 21"/>
                <a:gd name="T3" fmla="*/ 31 h 31"/>
                <a:gd name="T4" fmla="*/ 0 w 21"/>
                <a:gd name="T5" fmla="*/ 15 h 31"/>
                <a:gd name="T6" fmla="*/ 10 w 21"/>
                <a:gd name="T7" fmla="*/ 0 h 31"/>
                <a:gd name="T8" fmla="*/ 21 w 21"/>
                <a:gd name="T9" fmla="*/ 15 h 31"/>
                <a:gd name="T10" fmla="*/ 5 w 21"/>
                <a:gd name="T11" fmla="*/ 15 h 31"/>
                <a:gd name="T12" fmla="*/ 10 w 21"/>
                <a:gd name="T13" fmla="*/ 27 h 31"/>
                <a:gd name="T14" fmla="*/ 16 w 21"/>
                <a:gd name="T15" fmla="*/ 15 h 31"/>
                <a:gd name="T16" fmla="*/ 10 w 21"/>
                <a:gd name="T17" fmla="*/ 4 h 31"/>
                <a:gd name="T18" fmla="*/ 5 w 21"/>
                <a:gd name="T1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1">
                  <a:moveTo>
                    <a:pt x="21" y="15"/>
                  </a:moveTo>
                  <a:cubicBezTo>
                    <a:pt x="21" y="26"/>
                    <a:pt x="18" y="31"/>
                    <a:pt x="10" y="31"/>
                  </a:cubicBezTo>
                  <a:cubicBezTo>
                    <a:pt x="3" y="31"/>
                    <a:pt x="0" y="26"/>
                    <a:pt x="0" y="15"/>
                  </a:cubicBezTo>
                  <a:cubicBezTo>
                    <a:pt x="0" y="5"/>
                    <a:pt x="3" y="0"/>
                    <a:pt x="10" y="0"/>
                  </a:cubicBezTo>
                  <a:cubicBezTo>
                    <a:pt x="18" y="0"/>
                    <a:pt x="21" y="5"/>
                    <a:pt x="21" y="15"/>
                  </a:cubicBezTo>
                  <a:close/>
                  <a:moveTo>
                    <a:pt x="5" y="15"/>
                  </a:moveTo>
                  <a:cubicBezTo>
                    <a:pt x="5" y="23"/>
                    <a:pt x="7" y="27"/>
                    <a:pt x="10" y="27"/>
                  </a:cubicBezTo>
                  <a:cubicBezTo>
                    <a:pt x="14" y="27"/>
                    <a:pt x="16" y="23"/>
                    <a:pt x="16" y="15"/>
                  </a:cubicBezTo>
                  <a:cubicBezTo>
                    <a:pt x="16" y="8"/>
                    <a:pt x="14" y="4"/>
                    <a:pt x="10" y="4"/>
                  </a:cubicBezTo>
                  <a:cubicBezTo>
                    <a:pt x="7" y="4"/>
                    <a:pt x="5" y="8"/>
                    <a:pt x="5" y="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86" name="Freeform 143">
              <a:extLst>
                <a:ext uri="{FF2B5EF4-FFF2-40B4-BE49-F238E27FC236}">
                  <a16:creationId xmlns:a16="http://schemas.microsoft.com/office/drawing/2014/main" id="{6BE64B17-E4F1-49EF-ABB0-74AFFD378F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8250" y="3925506"/>
              <a:ext cx="28263" cy="42960"/>
            </a:xfrm>
            <a:custGeom>
              <a:avLst/>
              <a:gdLst>
                <a:gd name="T0" fmla="*/ 21 w 21"/>
                <a:gd name="T1" fmla="*/ 16 h 32"/>
                <a:gd name="T2" fmla="*/ 10 w 21"/>
                <a:gd name="T3" fmla="*/ 32 h 32"/>
                <a:gd name="T4" fmla="*/ 0 w 21"/>
                <a:gd name="T5" fmla="*/ 16 h 32"/>
                <a:gd name="T6" fmla="*/ 10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0 w 21"/>
                <a:gd name="T13" fmla="*/ 27 h 32"/>
                <a:gd name="T14" fmla="*/ 16 w 21"/>
                <a:gd name="T15" fmla="*/ 16 h 32"/>
                <a:gd name="T16" fmla="*/ 10 w 21"/>
                <a:gd name="T17" fmla="*/ 4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7"/>
                    <a:pt x="18" y="32"/>
                    <a:pt x="10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0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7"/>
                    <a:pt x="10" y="27"/>
                  </a:cubicBezTo>
                  <a:cubicBezTo>
                    <a:pt x="14" y="27"/>
                    <a:pt x="16" y="24"/>
                    <a:pt x="16" y="16"/>
                  </a:cubicBezTo>
                  <a:cubicBezTo>
                    <a:pt x="16" y="8"/>
                    <a:pt x="14" y="4"/>
                    <a:pt x="10" y="4"/>
                  </a:cubicBezTo>
                  <a:cubicBezTo>
                    <a:pt x="7" y="4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87" name="Freeform 144">
              <a:extLst>
                <a:ext uri="{FF2B5EF4-FFF2-40B4-BE49-F238E27FC236}">
                  <a16:creationId xmlns:a16="http://schemas.microsoft.com/office/drawing/2014/main" id="{5B7B8660-5A9F-4A69-BAAA-388E698588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8250" y="4209835"/>
              <a:ext cx="28263" cy="42960"/>
            </a:xfrm>
            <a:custGeom>
              <a:avLst/>
              <a:gdLst>
                <a:gd name="T0" fmla="*/ 21 w 21"/>
                <a:gd name="T1" fmla="*/ 16 h 32"/>
                <a:gd name="T2" fmla="*/ 10 w 21"/>
                <a:gd name="T3" fmla="*/ 32 h 32"/>
                <a:gd name="T4" fmla="*/ 0 w 21"/>
                <a:gd name="T5" fmla="*/ 16 h 32"/>
                <a:gd name="T6" fmla="*/ 10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0 w 21"/>
                <a:gd name="T13" fmla="*/ 28 h 32"/>
                <a:gd name="T14" fmla="*/ 16 w 21"/>
                <a:gd name="T15" fmla="*/ 16 h 32"/>
                <a:gd name="T16" fmla="*/ 10 w 21"/>
                <a:gd name="T17" fmla="*/ 5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7"/>
                    <a:pt x="18" y="32"/>
                    <a:pt x="10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0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8"/>
                    <a:pt x="10" y="28"/>
                  </a:cubicBezTo>
                  <a:cubicBezTo>
                    <a:pt x="14" y="28"/>
                    <a:pt x="16" y="24"/>
                    <a:pt x="16" y="16"/>
                  </a:cubicBezTo>
                  <a:cubicBezTo>
                    <a:pt x="16" y="8"/>
                    <a:pt x="14" y="5"/>
                    <a:pt x="10" y="5"/>
                  </a:cubicBezTo>
                  <a:cubicBezTo>
                    <a:pt x="7" y="5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88" name="Freeform 145">
              <a:extLst>
                <a:ext uri="{FF2B5EF4-FFF2-40B4-BE49-F238E27FC236}">
                  <a16:creationId xmlns:a16="http://schemas.microsoft.com/office/drawing/2014/main" id="{5A651E08-A412-4A06-B20D-78E6C765B6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8250" y="4282189"/>
              <a:ext cx="28263" cy="41265"/>
            </a:xfrm>
            <a:custGeom>
              <a:avLst/>
              <a:gdLst>
                <a:gd name="T0" fmla="*/ 21 w 21"/>
                <a:gd name="T1" fmla="*/ 16 h 31"/>
                <a:gd name="T2" fmla="*/ 10 w 21"/>
                <a:gd name="T3" fmla="*/ 31 h 31"/>
                <a:gd name="T4" fmla="*/ 0 w 21"/>
                <a:gd name="T5" fmla="*/ 15 h 31"/>
                <a:gd name="T6" fmla="*/ 10 w 21"/>
                <a:gd name="T7" fmla="*/ 0 h 31"/>
                <a:gd name="T8" fmla="*/ 21 w 21"/>
                <a:gd name="T9" fmla="*/ 16 h 31"/>
                <a:gd name="T10" fmla="*/ 5 w 21"/>
                <a:gd name="T11" fmla="*/ 15 h 31"/>
                <a:gd name="T12" fmla="*/ 10 w 21"/>
                <a:gd name="T13" fmla="*/ 27 h 31"/>
                <a:gd name="T14" fmla="*/ 16 w 21"/>
                <a:gd name="T15" fmla="*/ 16 h 31"/>
                <a:gd name="T16" fmla="*/ 10 w 21"/>
                <a:gd name="T17" fmla="*/ 4 h 31"/>
                <a:gd name="T18" fmla="*/ 5 w 21"/>
                <a:gd name="T1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1">
                  <a:moveTo>
                    <a:pt x="21" y="16"/>
                  </a:moveTo>
                  <a:cubicBezTo>
                    <a:pt x="21" y="26"/>
                    <a:pt x="18" y="31"/>
                    <a:pt x="10" y="31"/>
                  </a:cubicBezTo>
                  <a:cubicBezTo>
                    <a:pt x="3" y="31"/>
                    <a:pt x="0" y="26"/>
                    <a:pt x="0" y="15"/>
                  </a:cubicBezTo>
                  <a:cubicBezTo>
                    <a:pt x="0" y="5"/>
                    <a:pt x="3" y="0"/>
                    <a:pt x="10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5"/>
                  </a:moveTo>
                  <a:cubicBezTo>
                    <a:pt x="5" y="23"/>
                    <a:pt x="7" y="27"/>
                    <a:pt x="10" y="27"/>
                  </a:cubicBezTo>
                  <a:cubicBezTo>
                    <a:pt x="14" y="27"/>
                    <a:pt x="16" y="23"/>
                    <a:pt x="16" y="16"/>
                  </a:cubicBezTo>
                  <a:cubicBezTo>
                    <a:pt x="16" y="8"/>
                    <a:pt x="14" y="4"/>
                    <a:pt x="10" y="4"/>
                  </a:cubicBezTo>
                  <a:cubicBezTo>
                    <a:pt x="7" y="4"/>
                    <a:pt x="5" y="8"/>
                    <a:pt x="5" y="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89" name="Freeform 146">
              <a:extLst>
                <a:ext uri="{FF2B5EF4-FFF2-40B4-BE49-F238E27FC236}">
                  <a16:creationId xmlns:a16="http://schemas.microsoft.com/office/drawing/2014/main" id="{AE6DA817-A3E6-46BB-990F-294BEE7CD9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8250" y="4352847"/>
              <a:ext cx="28263" cy="42960"/>
            </a:xfrm>
            <a:custGeom>
              <a:avLst/>
              <a:gdLst>
                <a:gd name="T0" fmla="*/ 21 w 21"/>
                <a:gd name="T1" fmla="*/ 16 h 32"/>
                <a:gd name="T2" fmla="*/ 10 w 21"/>
                <a:gd name="T3" fmla="*/ 32 h 32"/>
                <a:gd name="T4" fmla="*/ 0 w 21"/>
                <a:gd name="T5" fmla="*/ 16 h 32"/>
                <a:gd name="T6" fmla="*/ 10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0 w 21"/>
                <a:gd name="T13" fmla="*/ 27 h 32"/>
                <a:gd name="T14" fmla="*/ 16 w 21"/>
                <a:gd name="T15" fmla="*/ 16 h 32"/>
                <a:gd name="T16" fmla="*/ 10 w 21"/>
                <a:gd name="T17" fmla="*/ 4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7"/>
                    <a:pt x="18" y="32"/>
                    <a:pt x="10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0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7"/>
                    <a:pt x="10" y="27"/>
                  </a:cubicBezTo>
                  <a:cubicBezTo>
                    <a:pt x="14" y="27"/>
                    <a:pt x="16" y="24"/>
                    <a:pt x="16" y="16"/>
                  </a:cubicBezTo>
                  <a:cubicBezTo>
                    <a:pt x="16" y="8"/>
                    <a:pt x="14" y="4"/>
                    <a:pt x="10" y="4"/>
                  </a:cubicBezTo>
                  <a:cubicBezTo>
                    <a:pt x="7" y="4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90" name="Freeform 147">
              <a:extLst>
                <a:ext uri="{FF2B5EF4-FFF2-40B4-BE49-F238E27FC236}">
                  <a16:creationId xmlns:a16="http://schemas.microsoft.com/office/drawing/2014/main" id="{0B93E918-6031-45CA-8437-3CBCBCDE66A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9945" y="4425201"/>
              <a:ext cx="22611" cy="41265"/>
            </a:xfrm>
            <a:custGeom>
              <a:avLst/>
              <a:gdLst>
                <a:gd name="T0" fmla="*/ 19 w 40"/>
                <a:gd name="T1" fmla="*/ 14 h 73"/>
                <a:gd name="T2" fmla="*/ 4 w 40"/>
                <a:gd name="T3" fmla="*/ 23 h 73"/>
                <a:gd name="T4" fmla="*/ 0 w 40"/>
                <a:gd name="T5" fmla="*/ 12 h 73"/>
                <a:gd name="T6" fmla="*/ 21 w 40"/>
                <a:gd name="T7" fmla="*/ 0 h 73"/>
                <a:gd name="T8" fmla="*/ 30 w 40"/>
                <a:gd name="T9" fmla="*/ 0 h 73"/>
                <a:gd name="T10" fmla="*/ 30 w 40"/>
                <a:gd name="T11" fmla="*/ 63 h 73"/>
                <a:gd name="T12" fmla="*/ 40 w 40"/>
                <a:gd name="T13" fmla="*/ 63 h 73"/>
                <a:gd name="T14" fmla="*/ 40 w 40"/>
                <a:gd name="T15" fmla="*/ 73 h 73"/>
                <a:gd name="T16" fmla="*/ 9 w 40"/>
                <a:gd name="T17" fmla="*/ 73 h 73"/>
                <a:gd name="T18" fmla="*/ 9 w 40"/>
                <a:gd name="T19" fmla="*/ 63 h 73"/>
                <a:gd name="T20" fmla="*/ 19 w 40"/>
                <a:gd name="T21" fmla="*/ 63 h 73"/>
                <a:gd name="T22" fmla="*/ 19 w 40"/>
                <a:gd name="T23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3">
                  <a:moveTo>
                    <a:pt x="19" y="14"/>
                  </a:moveTo>
                  <a:lnTo>
                    <a:pt x="4" y="23"/>
                  </a:lnTo>
                  <a:lnTo>
                    <a:pt x="0" y="12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3"/>
                  </a:lnTo>
                  <a:lnTo>
                    <a:pt x="40" y="63"/>
                  </a:lnTo>
                  <a:lnTo>
                    <a:pt x="40" y="73"/>
                  </a:lnTo>
                  <a:lnTo>
                    <a:pt x="9" y="73"/>
                  </a:lnTo>
                  <a:lnTo>
                    <a:pt x="9" y="63"/>
                  </a:lnTo>
                  <a:lnTo>
                    <a:pt x="19" y="63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91" name="Freeform 149">
              <a:extLst>
                <a:ext uri="{FF2B5EF4-FFF2-40B4-BE49-F238E27FC236}">
                  <a16:creationId xmlns:a16="http://schemas.microsoft.com/office/drawing/2014/main" id="{A20B4EB0-8435-433C-970A-1C4DAAE9F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7759" y="3151092"/>
              <a:ext cx="34481" cy="61614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5 h 109"/>
                <a:gd name="T12" fmla="*/ 61 w 61"/>
                <a:gd name="T13" fmla="*/ 95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5 h 109"/>
                <a:gd name="T20" fmla="*/ 28 w 61"/>
                <a:gd name="T21" fmla="*/ 95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5"/>
                  </a:lnTo>
                  <a:lnTo>
                    <a:pt x="61" y="95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5"/>
                  </a:lnTo>
                  <a:lnTo>
                    <a:pt x="28" y="95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92" name="Freeform 150">
              <a:extLst>
                <a:ext uri="{FF2B5EF4-FFF2-40B4-BE49-F238E27FC236}">
                  <a16:creationId xmlns:a16="http://schemas.microsoft.com/office/drawing/2014/main" id="{B5B8C7F2-B1EA-4693-A4EB-D6426A0252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74932" y="3256797"/>
              <a:ext cx="42960" cy="63875"/>
            </a:xfrm>
            <a:custGeom>
              <a:avLst/>
              <a:gdLst>
                <a:gd name="T0" fmla="*/ 32 w 32"/>
                <a:gd name="T1" fmla="*/ 24 h 48"/>
                <a:gd name="T2" fmla="*/ 16 w 32"/>
                <a:gd name="T3" fmla="*/ 48 h 48"/>
                <a:gd name="T4" fmla="*/ 0 w 32"/>
                <a:gd name="T5" fmla="*/ 24 h 48"/>
                <a:gd name="T6" fmla="*/ 16 w 32"/>
                <a:gd name="T7" fmla="*/ 0 h 48"/>
                <a:gd name="T8" fmla="*/ 32 w 32"/>
                <a:gd name="T9" fmla="*/ 24 h 48"/>
                <a:gd name="T10" fmla="*/ 8 w 32"/>
                <a:gd name="T11" fmla="*/ 24 h 48"/>
                <a:gd name="T12" fmla="*/ 16 w 32"/>
                <a:gd name="T13" fmla="*/ 41 h 48"/>
                <a:gd name="T14" fmla="*/ 24 w 32"/>
                <a:gd name="T15" fmla="*/ 24 h 48"/>
                <a:gd name="T16" fmla="*/ 16 w 32"/>
                <a:gd name="T17" fmla="*/ 7 h 48"/>
                <a:gd name="T18" fmla="*/ 8 w 32"/>
                <a:gd name="T19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8">
                  <a:moveTo>
                    <a:pt x="32" y="24"/>
                  </a:moveTo>
                  <a:cubicBezTo>
                    <a:pt x="32" y="40"/>
                    <a:pt x="27" y="48"/>
                    <a:pt x="16" y="48"/>
                  </a:cubicBezTo>
                  <a:cubicBezTo>
                    <a:pt x="5" y="48"/>
                    <a:pt x="0" y="40"/>
                    <a:pt x="0" y="24"/>
                  </a:cubicBezTo>
                  <a:cubicBezTo>
                    <a:pt x="0" y="8"/>
                    <a:pt x="5" y="0"/>
                    <a:pt x="16" y="0"/>
                  </a:cubicBezTo>
                  <a:cubicBezTo>
                    <a:pt x="27" y="0"/>
                    <a:pt x="32" y="8"/>
                    <a:pt x="32" y="24"/>
                  </a:cubicBezTo>
                  <a:close/>
                  <a:moveTo>
                    <a:pt x="8" y="24"/>
                  </a:moveTo>
                  <a:cubicBezTo>
                    <a:pt x="8" y="36"/>
                    <a:pt x="11" y="41"/>
                    <a:pt x="16" y="41"/>
                  </a:cubicBezTo>
                  <a:cubicBezTo>
                    <a:pt x="22" y="41"/>
                    <a:pt x="24" y="36"/>
                    <a:pt x="24" y="24"/>
                  </a:cubicBezTo>
                  <a:cubicBezTo>
                    <a:pt x="24" y="12"/>
                    <a:pt x="22" y="7"/>
                    <a:pt x="16" y="7"/>
                  </a:cubicBezTo>
                  <a:cubicBezTo>
                    <a:pt x="11" y="7"/>
                    <a:pt x="8" y="12"/>
                    <a:pt x="8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93" name="Freeform 151">
              <a:extLst>
                <a:ext uri="{FF2B5EF4-FFF2-40B4-BE49-F238E27FC236}">
                  <a16:creationId xmlns:a16="http://schemas.microsoft.com/office/drawing/2014/main" id="{DB81A147-786D-4751-BAE1-531D610EEB5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7759" y="3364762"/>
              <a:ext cx="34481" cy="61614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5 h 109"/>
                <a:gd name="T12" fmla="*/ 61 w 61"/>
                <a:gd name="T13" fmla="*/ 95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5 h 109"/>
                <a:gd name="T20" fmla="*/ 28 w 61"/>
                <a:gd name="T21" fmla="*/ 95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5"/>
                  </a:lnTo>
                  <a:lnTo>
                    <a:pt x="61" y="95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5"/>
                  </a:lnTo>
                  <a:lnTo>
                    <a:pt x="28" y="95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94" name="Freeform 152">
              <a:extLst>
                <a:ext uri="{FF2B5EF4-FFF2-40B4-BE49-F238E27FC236}">
                  <a16:creationId xmlns:a16="http://schemas.microsoft.com/office/drawing/2014/main" id="{EA2C9CD9-66A4-4CC3-A022-F907F3703F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74932" y="3470467"/>
              <a:ext cx="42960" cy="63875"/>
            </a:xfrm>
            <a:custGeom>
              <a:avLst/>
              <a:gdLst>
                <a:gd name="T0" fmla="*/ 32 w 32"/>
                <a:gd name="T1" fmla="*/ 24 h 48"/>
                <a:gd name="T2" fmla="*/ 16 w 32"/>
                <a:gd name="T3" fmla="*/ 48 h 48"/>
                <a:gd name="T4" fmla="*/ 0 w 32"/>
                <a:gd name="T5" fmla="*/ 24 h 48"/>
                <a:gd name="T6" fmla="*/ 16 w 32"/>
                <a:gd name="T7" fmla="*/ 0 h 48"/>
                <a:gd name="T8" fmla="*/ 32 w 32"/>
                <a:gd name="T9" fmla="*/ 24 h 48"/>
                <a:gd name="T10" fmla="*/ 8 w 32"/>
                <a:gd name="T11" fmla="*/ 24 h 48"/>
                <a:gd name="T12" fmla="*/ 16 w 32"/>
                <a:gd name="T13" fmla="*/ 41 h 48"/>
                <a:gd name="T14" fmla="*/ 24 w 32"/>
                <a:gd name="T15" fmla="*/ 24 h 48"/>
                <a:gd name="T16" fmla="*/ 16 w 32"/>
                <a:gd name="T17" fmla="*/ 7 h 48"/>
                <a:gd name="T18" fmla="*/ 8 w 32"/>
                <a:gd name="T19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8">
                  <a:moveTo>
                    <a:pt x="32" y="24"/>
                  </a:moveTo>
                  <a:cubicBezTo>
                    <a:pt x="32" y="40"/>
                    <a:pt x="27" y="48"/>
                    <a:pt x="16" y="48"/>
                  </a:cubicBezTo>
                  <a:cubicBezTo>
                    <a:pt x="5" y="48"/>
                    <a:pt x="0" y="40"/>
                    <a:pt x="0" y="24"/>
                  </a:cubicBezTo>
                  <a:cubicBezTo>
                    <a:pt x="0" y="8"/>
                    <a:pt x="5" y="0"/>
                    <a:pt x="16" y="0"/>
                  </a:cubicBezTo>
                  <a:cubicBezTo>
                    <a:pt x="27" y="0"/>
                    <a:pt x="32" y="8"/>
                    <a:pt x="32" y="24"/>
                  </a:cubicBezTo>
                  <a:close/>
                  <a:moveTo>
                    <a:pt x="8" y="24"/>
                  </a:moveTo>
                  <a:cubicBezTo>
                    <a:pt x="8" y="36"/>
                    <a:pt x="11" y="41"/>
                    <a:pt x="16" y="41"/>
                  </a:cubicBezTo>
                  <a:cubicBezTo>
                    <a:pt x="22" y="41"/>
                    <a:pt x="24" y="36"/>
                    <a:pt x="24" y="24"/>
                  </a:cubicBezTo>
                  <a:cubicBezTo>
                    <a:pt x="24" y="12"/>
                    <a:pt x="22" y="7"/>
                    <a:pt x="16" y="7"/>
                  </a:cubicBezTo>
                  <a:cubicBezTo>
                    <a:pt x="11" y="7"/>
                    <a:pt x="8" y="12"/>
                    <a:pt x="8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95" name="Freeform 153">
              <a:extLst>
                <a:ext uri="{FF2B5EF4-FFF2-40B4-BE49-F238E27FC236}">
                  <a16:creationId xmlns:a16="http://schemas.microsoft.com/office/drawing/2014/main" id="{C05317C7-9B0A-4ABB-A92F-F378A5ECB5C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7759" y="3578433"/>
              <a:ext cx="34481" cy="61614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4 h 109"/>
                <a:gd name="T12" fmla="*/ 61 w 61"/>
                <a:gd name="T13" fmla="*/ 94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4 h 109"/>
                <a:gd name="T20" fmla="*/ 28 w 61"/>
                <a:gd name="T21" fmla="*/ 94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4"/>
                  </a:lnTo>
                  <a:lnTo>
                    <a:pt x="61" y="94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4"/>
                  </a:lnTo>
                  <a:lnTo>
                    <a:pt x="28" y="94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96" name="Freeform 154">
              <a:extLst>
                <a:ext uri="{FF2B5EF4-FFF2-40B4-BE49-F238E27FC236}">
                  <a16:creationId xmlns:a16="http://schemas.microsoft.com/office/drawing/2014/main" id="{3EEE852A-B479-4292-8E2D-100A620C4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7759" y="3685268"/>
              <a:ext cx="34481" cy="61614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4 h 109"/>
                <a:gd name="T12" fmla="*/ 61 w 61"/>
                <a:gd name="T13" fmla="*/ 94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4 h 109"/>
                <a:gd name="T20" fmla="*/ 28 w 61"/>
                <a:gd name="T21" fmla="*/ 94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4"/>
                  </a:lnTo>
                  <a:lnTo>
                    <a:pt x="61" y="94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4"/>
                  </a:lnTo>
                  <a:lnTo>
                    <a:pt x="28" y="94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97" name="Freeform 155">
              <a:extLst>
                <a:ext uri="{FF2B5EF4-FFF2-40B4-BE49-F238E27FC236}">
                  <a16:creationId xmlns:a16="http://schemas.microsoft.com/office/drawing/2014/main" id="{2BF69894-8D77-478A-A654-E75C46BE7D0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7759" y="3792103"/>
              <a:ext cx="34481" cy="61614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4 h 109"/>
                <a:gd name="T12" fmla="*/ 61 w 61"/>
                <a:gd name="T13" fmla="*/ 97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7 h 109"/>
                <a:gd name="T20" fmla="*/ 28 w 61"/>
                <a:gd name="T21" fmla="*/ 94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4"/>
                  </a:lnTo>
                  <a:lnTo>
                    <a:pt x="61" y="97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7"/>
                  </a:lnTo>
                  <a:lnTo>
                    <a:pt x="28" y="94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98" name="Freeform 156">
              <a:extLst>
                <a:ext uri="{FF2B5EF4-FFF2-40B4-BE49-F238E27FC236}">
                  <a16:creationId xmlns:a16="http://schemas.microsoft.com/office/drawing/2014/main" id="{F3D4ADEF-35B7-42BB-B636-7D21FDACFDE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7759" y="3898938"/>
              <a:ext cx="34481" cy="61614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5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4 h 109"/>
                <a:gd name="T12" fmla="*/ 61 w 61"/>
                <a:gd name="T13" fmla="*/ 97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7 h 109"/>
                <a:gd name="T20" fmla="*/ 28 w 61"/>
                <a:gd name="T21" fmla="*/ 94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5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4"/>
                  </a:lnTo>
                  <a:lnTo>
                    <a:pt x="61" y="97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7"/>
                  </a:lnTo>
                  <a:lnTo>
                    <a:pt x="28" y="94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99" name="Freeform 157">
              <a:extLst>
                <a:ext uri="{FF2B5EF4-FFF2-40B4-BE49-F238E27FC236}">
                  <a16:creationId xmlns:a16="http://schemas.microsoft.com/office/drawing/2014/main" id="{1E281712-93D9-4A8A-84B9-37F1E6852C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74932" y="4004643"/>
              <a:ext cx="42960" cy="63875"/>
            </a:xfrm>
            <a:custGeom>
              <a:avLst/>
              <a:gdLst>
                <a:gd name="T0" fmla="*/ 32 w 32"/>
                <a:gd name="T1" fmla="*/ 24 h 48"/>
                <a:gd name="T2" fmla="*/ 16 w 32"/>
                <a:gd name="T3" fmla="*/ 48 h 48"/>
                <a:gd name="T4" fmla="*/ 0 w 32"/>
                <a:gd name="T5" fmla="*/ 24 h 48"/>
                <a:gd name="T6" fmla="*/ 16 w 32"/>
                <a:gd name="T7" fmla="*/ 0 h 48"/>
                <a:gd name="T8" fmla="*/ 32 w 32"/>
                <a:gd name="T9" fmla="*/ 24 h 48"/>
                <a:gd name="T10" fmla="*/ 8 w 32"/>
                <a:gd name="T11" fmla="*/ 24 h 48"/>
                <a:gd name="T12" fmla="*/ 16 w 32"/>
                <a:gd name="T13" fmla="*/ 41 h 48"/>
                <a:gd name="T14" fmla="*/ 24 w 32"/>
                <a:gd name="T15" fmla="*/ 24 h 48"/>
                <a:gd name="T16" fmla="*/ 16 w 32"/>
                <a:gd name="T17" fmla="*/ 7 h 48"/>
                <a:gd name="T18" fmla="*/ 8 w 32"/>
                <a:gd name="T19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8">
                  <a:moveTo>
                    <a:pt x="32" y="24"/>
                  </a:moveTo>
                  <a:cubicBezTo>
                    <a:pt x="32" y="40"/>
                    <a:pt x="27" y="48"/>
                    <a:pt x="16" y="48"/>
                  </a:cubicBezTo>
                  <a:cubicBezTo>
                    <a:pt x="5" y="48"/>
                    <a:pt x="0" y="40"/>
                    <a:pt x="0" y="24"/>
                  </a:cubicBezTo>
                  <a:cubicBezTo>
                    <a:pt x="0" y="8"/>
                    <a:pt x="5" y="0"/>
                    <a:pt x="16" y="0"/>
                  </a:cubicBezTo>
                  <a:cubicBezTo>
                    <a:pt x="27" y="0"/>
                    <a:pt x="32" y="8"/>
                    <a:pt x="32" y="24"/>
                  </a:cubicBezTo>
                  <a:close/>
                  <a:moveTo>
                    <a:pt x="8" y="24"/>
                  </a:moveTo>
                  <a:cubicBezTo>
                    <a:pt x="8" y="36"/>
                    <a:pt x="11" y="41"/>
                    <a:pt x="16" y="41"/>
                  </a:cubicBezTo>
                  <a:cubicBezTo>
                    <a:pt x="22" y="41"/>
                    <a:pt x="24" y="36"/>
                    <a:pt x="24" y="24"/>
                  </a:cubicBezTo>
                  <a:cubicBezTo>
                    <a:pt x="24" y="12"/>
                    <a:pt x="22" y="7"/>
                    <a:pt x="16" y="7"/>
                  </a:cubicBezTo>
                  <a:cubicBezTo>
                    <a:pt x="11" y="7"/>
                    <a:pt x="8" y="12"/>
                    <a:pt x="8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00" name="Freeform 158">
              <a:extLst>
                <a:ext uri="{FF2B5EF4-FFF2-40B4-BE49-F238E27FC236}">
                  <a16:creationId xmlns:a16="http://schemas.microsoft.com/office/drawing/2014/main" id="{0B3A2AD6-6C1B-474A-A51F-F4CCB43170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74932" y="4111478"/>
              <a:ext cx="42960" cy="63875"/>
            </a:xfrm>
            <a:custGeom>
              <a:avLst/>
              <a:gdLst>
                <a:gd name="T0" fmla="*/ 32 w 32"/>
                <a:gd name="T1" fmla="*/ 24 h 48"/>
                <a:gd name="T2" fmla="*/ 16 w 32"/>
                <a:gd name="T3" fmla="*/ 48 h 48"/>
                <a:gd name="T4" fmla="*/ 0 w 32"/>
                <a:gd name="T5" fmla="*/ 24 h 48"/>
                <a:gd name="T6" fmla="*/ 16 w 32"/>
                <a:gd name="T7" fmla="*/ 0 h 48"/>
                <a:gd name="T8" fmla="*/ 32 w 32"/>
                <a:gd name="T9" fmla="*/ 24 h 48"/>
                <a:gd name="T10" fmla="*/ 8 w 32"/>
                <a:gd name="T11" fmla="*/ 24 h 48"/>
                <a:gd name="T12" fmla="*/ 16 w 32"/>
                <a:gd name="T13" fmla="*/ 42 h 48"/>
                <a:gd name="T14" fmla="*/ 24 w 32"/>
                <a:gd name="T15" fmla="*/ 24 h 48"/>
                <a:gd name="T16" fmla="*/ 16 w 32"/>
                <a:gd name="T17" fmla="*/ 7 h 48"/>
                <a:gd name="T18" fmla="*/ 8 w 32"/>
                <a:gd name="T19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8">
                  <a:moveTo>
                    <a:pt x="32" y="24"/>
                  </a:moveTo>
                  <a:cubicBezTo>
                    <a:pt x="32" y="40"/>
                    <a:pt x="27" y="48"/>
                    <a:pt x="16" y="48"/>
                  </a:cubicBezTo>
                  <a:cubicBezTo>
                    <a:pt x="5" y="48"/>
                    <a:pt x="0" y="40"/>
                    <a:pt x="0" y="24"/>
                  </a:cubicBezTo>
                  <a:cubicBezTo>
                    <a:pt x="0" y="8"/>
                    <a:pt x="5" y="0"/>
                    <a:pt x="16" y="0"/>
                  </a:cubicBezTo>
                  <a:cubicBezTo>
                    <a:pt x="27" y="0"/>
                    <a:pt x="32" y="8"/>
                    <a:pt x="32" y="24"/>
                  </a:cubicBezTo>
                  <a:close/>
                  <a:moveTo>
                    <a:pt x="8" y="24"/>
                  </a:moveTo>
                  <a:cubicBezTo>
                    <a:pt x="8" y="36"/>
                    <a:pt x="11" y="42"/>
                    <a:pt x="16" y="42"/>
                  </a:cubicBezTo>
                  <a:cubicBezTo>
                    <a:pt x="22" y="42"/>
                    <a:pt x="24" y="36"/>
                    <a:pt x="24" y="24"/>
                  </a:cubicBezTo>
                  <a:cubicBezTo>
                    <a:pt x="24" y="13"/>
                    <a:pt x="22" y="7"/>
                    <a:pt x="16" y="7"/>
                  </a:cubicBezTo>
                  <a:cubicBezTo>
                    <a:pt x="11" y="7"/>
                    <a:pt x="8" y="13"/>
                    <a:pt x="8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01" name="Freeform 159">
              <a:extLst>
                <a:ext uri="{FF2B5EF4-FFF2-40B4-BE49-F238E27FC236}">
                  <a16:creationId xmlns:a16="http://schemas.microsoft.com/office/drawing/2014/main" id="{F55D8EAE-7F42-45ED-92EB-6823287864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74932" y="4218314"/>
              <a:ext cx="42960" cy="63875"/>
            </a:xfrm>
            <a:custGeom>
              <a:avLst/>
              <a:gdLst>
                <a:gd name="T0" fmla="*/ 32 w 32"/>
                <a:gd name="T1" fmla="*/ 24 h 48"/>
                <a:gd name="T2" fmla="*/ 16 w 32"/>
                <a:gd name="T3" fmla="*/ 48 h 48"/>
                <a:gd name="T4" fmla="*/ 0 w 32"/>
                <a:gd name="T5" fmla="*/ 24 h 48"/>
                <a:gd name="T6" fmla="*/ 16 w 32"/>
                <a:gd name="T7" fmla="*/ 0 h 48"/>
                <a:gd name="T8" fmla="*/ 32 w 32"/>
                <a:gd name="T9" fmla="*/ 24 h 48"/>
                <a:gd name="T10" fmla="*/ 8 w 32"/>
                <a:gd name="T11" fmla="*/ 24 h 48"/>
                <a:gd name="T12" fmla="*/ 16 w 32"/>
                <a:gd name="T13" fmla="*/ 42 h 48"/>
                <a:gd name="T14" fmla="*/ 24 w 32"/>
                <a:gd name="T15" fmla="*/ 24 h 48"/>
                <a:gd name="T16" fmla="*/ 16 w 32"/>
                <a:gd name="T17" fmla="*/ 7 h 48"/>
                <a:gd name="T18" fmla="*/ 8 w 32"/>
                <a:gd name="T19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8">
                  <a:moveTo>
                    <a:pt x="32" y="24"/>
                  </a:moveTo>
                  <a:cubicBezTo>
                    <a:pt x="32" y="40"/>
                    <a:pt x="27" y="48"/>
                    <a:pt x="16" y="48"/>
                  </a:cubicBezTo>
                  <a:cubicBezTo>
                    <a:pt x="5" y="48"/>
                    <a:pt x="0" y="40"/>
                    <a:pt x="0" y="24"/>
                  </a:cubicBezTo>
                  <a:cubicBezTo>
                    <a:pt x="0" y="8"/>
                    <a:pt x="5" y="0"/>
                    <a:pt x="16" y="0"/>
                  </a:cubicBezTo>
                  <a:cubicBezTo>
                    <a:pt x="27" y="0"/>
                    <a:pt x="32" y="8"/>
                    <a:pt x="32" y="24"/>
                  </a:cubicBezTo>
                  <a:close/>
                  <a:moveTo>
                    <a:pt x="8" y="24"/>
                  </a:moveTo>
                  <a:cubicBezTo>
                    <a:pt x="8" y="36"/>
                    <a:pt x="11" y="42"/>
                    <a:pt x="16" y="42"/>
                  </a:cubicBezTo>
                  <a:cubicBezTo>
                    <a:pt x="22" y="42"/>
                    <a:pt x="24" y="36"/>
                    <a:pt x="24" y="24"/>
                  </a:cubicBezTo>
                  <a:cubicBezTo>
                    <a:pt x="24" y="13"/>
                    <a:pt x="22" y="7"/>
                    <a:pt x="16" y="7"/>
                  </a:cubicBezTo>
                  <a:cubicBezTo>
                    <a:pt x="11" y="7"/>
                    <a:pt x="8" y="13"/>
                    <a:pt x="8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02" name="Freeform 160">
              <a:extLst>
                <a:ext uri="{FF2B5EF4-FFF2-40B4-BE49-F238E27FC236}">
                  <a16:creationId xmlns:a16="http://schemas.microsoft.com/office/drawing/2014/main" id="{15939E0A-63BF-45F3-BEDA-37C912E376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74932" y="4325149"/>
              <a:ext cx="42960" cy="63875"/>
            </a:xfrm>
            <a:custGeom>
              <a:avLst/>
              <a:gdLst>
                <a:gd name="T0" fmla="*/ 32 w 32"/>
                <a:gd name="T1" fmla="*/ 24 h 48"/>
                <a:gd name="T2" fmla="*/ 16 w 32"/>
                <a:gd name="T3" fmla="*/ 48 h 48"/>
                <a:gd name="T4" fmla="*/ 0 w 32"/>
                <a:gd name="T5" fmla="*/ 24 h 48"/>
                <a:gd name="T6" fmla="*/ 16 w 32"/>
                <a:gd name="T7" fmla="*/ 0 h 48"/>
                <a:gd name="T8" fmla="*/ 32 w 32"/>
                <a:gd name="T9" fmla="*/ 24 h 48"/>
                <a:gd name="T10" fmla="*/ 8 w 32"/>
                <a:gd name="T11" fmla="*/ 24 h 48"/>
                <a:gd name="T12" fmla="*/ 16 w 32"/>
                <a:gd name="T13" fmla="*/ 42 h 48"/>
                <a:gd name="T14" fmla="*/ 24 w 32"/>
                <a:gd name="T15" fmla="*/ 24 h 48"/>
                <a:gd name="T16" fmla="*/ 16 w 32"/>
                <a:gd name="T17" fmla="*/ 7 h 48"/>
                <a:gd name="T18" fmla="*/ 8 w 32"/>
                <a:gd name="T19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8">
                  <a:moveTo>
                    <a:pt x="32" y="24"/>
                  </a:moveTo>
                  <a:cubicBezTo>
                    <a:pt x="32" y="40"/>
                    <a:pt x="27" y="48"/>
                    <a:pt x="16" y="48"/>
                  </a:cubicBezTo>
                  <a:cubicBezTo>
                    <a:pt x="5" y="48"/>
                    <a:pt x="0" y="41"/>
                    <a:pt x="0" y="24"/>
                  </a:cubicBezTo>
                  <a:cubicBezTo>
                    <a:pt x="0" y="8"/>
                    <a:pt x="5" y="0"/>
                    <a:pt x="16" y="0"/>
                  </a:cubicBezTo>
                  <a:cubicBezTo>
                    <a:pt x="27" y="0"/>
                    <a:pt x="32" y="8"/>
                    <a:pt x="32" y="24"/>
                  </a:cubicBezTo>
                  <a:close/>
                  <a:moveTo>
                    <a:pt x="8" y="24"/>
                  </a:moveTo>
                  <a:cubicBezTo>
                    <a:pt x="8" y="36"/>
                    <a:pt x="11" y="42"/>
                    <a:pt x="16" y="42"/>
                  </a:cubicBezTo>
                  <a:cubicBezTo>
                    <a:pt x="22" y="42"/>
                    <a:pt x="24" y="36"/>
                    <a:pt x="24" y="24"/>
                  </a:cubicBezTo>
                  <a:cubicBezTo>
                    <a:pt x="24" y="13"/>
                    <a:pt x="22" y="7"/>
                    <a:pt x="16" y="7"/>
                  </a:cubicBezTo>
                  <a:cubicBezTo>
                    <a:pt x="11" y="7"/>
                    <a:pt x="8" y="13"/>
                    <a:pt x="8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03" name="Freeform 161">
              <a:extLst>
                <a:ext uri="{FF2B5EF4-FFF2-40B4-BE49-F238E27FC236}">
                  <a16:creationId xmlns:a16="http://schemas.microsoft.com/office/drawing/2014/main" id="{8CBDFA32-0319-4C42-9A13-3C14EE54D1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74932" y="4433115"/>
              <a:ext cx="42960" cy="62745"/>
            </a:xfrm>
            <a:custGeom>
              <a:avLst/>
              <a:gdLst>
                <a:gd name="T0" fmla="*/ 32 w 32"/>
                <a:gd name="T1" fmla="*/ 23 h 47"/>
                <a:gd name="T2" fmla="*/ 16 w 32"/>
                <a:gd name="T3" fmla="*/ 47 h 47"/>
                <a:gd name="T4" fmla="*/ 0 w 32"/>
                <a:gd name="T5" fmla="*/ 23 h 47"/>
                <a:gd name="T6" fmla="*/ 16 w 32"/>
                <a:gd name="T7" fmla="*/ 0 h 47"/>
                <a:gd name="T8" fmla="*/ 32 w 32"/>
                <a:gd name="T9" fmla="*/ 23 h 47"/>
                <a:gd name="T10" fmla="*/ 8 w 32"/>
                <a:gd name="T11" fmla="*/ 23 h 47"/>
                <a:gd name="T12" fmla="*/ 16 w 32"/>
                <a:gd name="T13" fmla="*/ 41 h 47"/>
                <a:gd name="T14" fmla="*/ 24 w 32"/>
                <a:gd name="T15" fmla="*/ 23 h 47"/>
                <a:gd name="T16" fmla="*/ 16 w 32"/>
                <a:gd name="T17" fmla="*/ 6 h 47"/>
                <a:gd name="T18" fmla="*/ 8 w 32"/>
                <a:gd name="T19" fmla="*/ 2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7">
                  <a:moveTo>
                    <a:pt x="32" y="23"/>
                  </a:moveTo>
                  <a:cubicBezTo>
                    <a:pt x="32" y="39"/>
                    <a:pt x="27" y="47"/>
                    <a:pt x="16" y="47"/>
                  </a:cubicBezTo>
                  <a:cubicBezTo>
                    <a:pt x="5" y="47"/>
                    <a:pt x="0" y="40"/>
                    <a:pt x="0" y="23"/>
                  </a:cubicBezTo>
                  <a:cubicBezTo>
                    <a:pt x="0" y="7"/>
                    <a:pt x="5" y="0"/>
                    <a:pt x="16" y="0"/>
                  </a:cubicBezTo>
                  <a:cubicBezTo>
                    <a:pt x="27" y="0"/>
                    <a:pt x="32" y="7"/>
                    <a:pt x="32" y="23"/>
                  </a:cubicBezTo>
                  <a:close/>
                  <a:moveTo>
                    <a:pt x="8" y="23"/>
                  </a:moveTo>
                  <a:cubicBezTo>
                    <a:pt x="8" y="35"/>
                    <a:pt x="11" y="41"/>
                    <a:pt x="16" y="41"/>
                  </a:cubicBezTo>
                  <a:cubicBezTo>
                    <a:pt x="22" y="41"/>
                    <a:pt x="24" y="35"/>
                    <a:pt x="24" y="23"/>
                  </a:cubicBezTo>
                  <a:cubicBezTo>
                    <a:pt x="24" y="12"/>
                    <a:pt x="22" y="6"/>
                    <a:pt x="16" y="6"/>
                  </a:cubicBezTo>
                  <a:cubicBezTo>
                    <a:pt x="11" y="6"/>
                    <a:pt x="8" y="12"/>
                    <a:pt x="8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04" name="Line 8">
              <a:extLst>
                <a:ext uri="{FF2B5EF4-FFF2-40B4-BE49-F238E27FC236}">
                  <a16:creationId xmlns:a16="http://schemas.microsoft.com/office/drawing/2014/main" id="{46D66C45-833E-40BF-A63E-C122814EF7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23106" y="3979773"/>
              <a:ext cx="0" cy="0"/>
            </a:xfrm>
            <a:prstGeom prst="line">
              <a:avLst/>
            </a:pr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05" name="Line 9">
              <a:extLst>
                <a:ext uri="{FF2B5EF4-FFF2-40B4-BE49-F238E27FC236}">
                  <a16:creationId xmlns:a16="http://schemas.microsoft.com/office/drawing/2014/main" id="{DDA00A65-CDD7-46D6-8AAA-3EACB64C3FA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23106" y="3979773"/>
              <a:ext cx="0" cy="0"/>
            </a:xfrm>
            <a:prstGeom prst="line">
              <a:avLst/>
            </a:pr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06" name="Freeform 10">
              <a:extLst>
                <a:ext uri="{FF2B5EF4-FFF2-40B4-BE49-F238E27FC236}">
                  <a16:creationId xmlns:a16="http://schemas.microsoft.com/office/drawing/2014/main" id="{CE598633-2DEE-4C4B-811F-CF33D768C3E8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0466" y="4380547"/>
              <a:ext cx="37308" cy="58788"/>
            </a:xfrm>
            <a:custGeom>
              <a:avLst/>
              <a:gdLst>
                <a:gd name="T0" fmla="*/ 30 w 66"/>
                <a:gd name="T1" fmla="*/ 24 h 104"/>
                <a:gd name="T2" fmla="*/ 9 w 66"/>
                <a:gd name="T3" fmla="*/ 38 h 104"/>
                <a:gd name="T4" fmla="*/ 0 w 66"/>
                <a:gd name="T5" fmla="*/ 19 h 104"/>
                <a:gd name="T6" fmla="*/ 33 w 66"/>
                <a:gd name="T7" fmla="*/ 0 h 104"/>
                <a:gd name="T8" fmla="*/ 52 w 66"/>
                <a:gd name="T9" fmla="*/ 0 h 104"/>
                <a:gd name="T10" fmla="*/ 52 w 66"/>
                <a:gd name="T11" fmla="*/ 87 h 104"/>
                <a:gd name="T12" fmla="*/ 66 w 66"/>
                <a:gd name="T13" fmla="*/ 87 h 104"/>
                <a:gd name="T14" fmla="*/ 66 w 66"/>
                <a:gd name="T15" fmla="*/ 104 h 104"/>
                <a:gd name="T16" fmla="*/ 16 w 66"/>
                <a:gd name="T17" fmla="*/ 104 h 104"/>
                <a:gd name="T18" fmla="*/ 16 w 66"/>
                <a:gd name="T19" fmla="*/ 87 h 104"/>
                <a:gd name="T20" fmla="*/ 30 w 66"/>
                <a:gd name="T21" fmla="*/ 87 h 104"/>
                <a:gd name="T22" fmla="*/ 30 w 66"/>
                <a:gd name="T23" fmla="*/ 2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6" h="104">
                  <a:moveTo>
                    <a:pt x="30" y="24"/>
                  </a:moveTo>
                  <a:lnTo>
                    <a:pt x="9" y="38"/>
                  </a:lnTo>
                  <a:lnTo>
                    <a:pt x="0" y="19"/>
                  </a:lnTo>
                  <a:lnTo>
                    <a:pt x="33" y="0"/>
                  </a:lnTo>
                  <a:lnTo>
                    <a:pt x="52" y="0"/>
                  </a:lnTo>
                  <a:lnTo>
                    <a:pt x="52" y="87"/>
                  </a:lnTo>
                  <a:lnTo>
                    <a:pt x="66" y="87"/>
                  </a:lnTo>
                  <a:lnTo>
                    <a:pt x="66" y="104"/>
                  </a:lnTo>
                  <a:lnTo>
                    <a:pt x="16" y="104"/>
                  </a:lnTo>
                  <a:lnTo>
                    <a:pt x="16" y="87"/>
                  </a:lnTo>
                  <a:lnTo>
                    <a:pt x="30" y="87"/>
                  </a:lnTo>
                  <a:lnTo>
                    <a:pt x="30" y="2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07" name="Freeform 11">
              <a:extLst>
                <a:ext uri="{FF2B5EF4-FFF2-40B4-BE49-F238E27FC236}">
                  <a16:creationId xmlns:a16="http://schemas.microsoft.com/office/drawing/2014/main" id="{6AB7E367-2CE8-46E8-832E-9FC2488ABA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55378" y="4480599"/>
              <a:ext cx="45221" cy="61614"/>
            </a:xfrm>
            <a:custGeom>
              <a:avLst/>
              <a:gdLst>
                <a:gd name="T0" fmla="*/ 32 w 34"/>
                <a:gd name="T1" fmla="*/ 8 h 46"/>
                <a:gd name="T2" fmla="*/ 34 w 34"/>
                <a:gd name="T3" fmla="*/ 23 h 46"/>
                <a:gd name="T4" fmla="*/ 31 w 34"/>
                <a:gd name="T5" fmla="*/ 39 h 46"/>
                <a:gd name="T6" fmla="*/ 17 w 34"/>
                <a:gd name="T7" fmla="*/ 46 h 46"/>
                <a:gd name="T8" fmla="*/ 3 w 34"/>
                <a:gd name="T9" fmla="*/ 37 h 46"/>
                <a:gd name="T10" fmla="*/ 0 w 34"/>
                <a:gd name="T11" fmla="*/ 23 h 46"/>
                <a:gd name="T12" fmla="*/ 17 w 34"/>
                <a:gd name="T13" fmla="*/ 0 h 46"/>
                <a:gd name="T14" fmla="*/ 32 w 34"/>
                <a:gd name="T15" fmla="*/ 8 h 46"/>
                <a:gd name="T16" fmla="*/ 10 w 34"/>
                <a:gd name="T17" fmla="*/ 23 h 46"/>
                <a:gd name="T18" fmla="*/ 17 w 34"/>
                <a:gd name="T19" fmla="*/ 38 h 46"/>
                <a:gd name="T20" fmla="*/ 25 w 34"/>
                <a:gd name="T21" fmla="*/ 23 h 46"/>
                <a:gd name="T22" fmla="*/ 17 w 34"/>
                <a:gd name="T23" fmla="*/ 8 h 46"/>
                <a:gd name="T24" fmla="*/ 10 w 34"/>
                <a:gd name="T25" fmla="*/ 2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" h="46">
                  <a:moveTo>
                    <a:pt x="32" y="8"/>
                  </a:moveTo>
                  <a:cubicBezTo>
                    <a:pt x="34" y="12"/>
                    <a:pt x="34" y="16"/>
                    <a:pt x="34" y="23"/>
                  </a:cubicBezTo>
                  <a:cubicBezTo>
                    <a:pt x="34" y="31"/>
                    <a:pt x="33" y="36"/>
                    <a:pt x="31" y="39"/>
                  </a:cubicBezTo>
                  <a:cubicBezTo>
                    <a:pt x="28" y="43"/>
                    <a:pt x="23" y="46"/>
                    <a:pt x="17" y="46"/>
                  </a:cubicBezTo>
                  <a:cubicBezTo>
                    <a:pt x="11" y="46"/>
                    <a:pt x="6" y="43"/>
                    <a:pt x="3" y="37"/>
                  </a:cubicBezTo>
                  <a:cubicBezTo>
                    <a:pt x="1" y="34"/>
                    <a:pt x="0" y="29"/>
                    <a:pt x="0" y="23"/>
                  </a:cubicBezTo>
                  <a:cubicBezTo>
                    <a:pt x="0" y="8"/>
                    <a:pt x="6" y="0"/>
                    <a:pt x="17" y="0"/>
                  </a:cubicBezTo>
                  <a:cubicBezTo>
                    <a:pt x="24" y="0"/>
                    <a:pt x="29" y="3"/>
                    <a:pt x="32" y="8"/>
                  </a:cubicBezTo>
                  <a:close/>
                  <a:moveTo>
                    <a:pt x="10" y="23"/>
                  </a:moveTo>
                  <a:cubicBezTo>
                    <a:pt x="10" y="33"/>
                    <a:pt x="12" y="38"/>
                    <a:pt x="17" y="38"/>
                  </a:cubicBezTo>
                  <a:cubicBezTo>
                    <a:pt x="22" y="38"/>
                    <a:pt x="25" y="33"/>
                    <a:pt x="25" y="23"/>
                  </a:cubicBezTo>
                  <a:cubicBezTo>
                    <a:pt x="25" y="13"/>
                    <a:pt x="22" y="8"/>
                    <a:pt x="17" y="8"/>
                  </a:cubicBezTo>
                  <a:cubicBezTo>
                    <a:pt x="12" y="8"/>
                    <a:pt x="10" y="13"/>
                    <a:pt x="10" y="2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08" name="Freeform 23">
              <a:extLst>
                <a:ext uri="{FF2B5EF4-FFF2-40B4-BE49-F238E27FC236}">
                  <a16:creationId xmlns:a16="http://schemas.microsoft.com/office/drawing/2014/main" id="{60B622AC-3B2B-4789-B61F-CACC218622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75215" y="4110915"/>
              <a:ext cx="28263" cy="42395"/>
            </a:xfrm>
            <a:custGeom>
              <a:avLst/>
              <a:gdLst>
                <a:gd name="T0" fmla="*/ 21 w 21"/>
                <a:gd name="T1" fmla="*/ 16 h 32"/>
                <a:gd name="T2" fmla="*/ 11 w 21"/>
                <a:gd name="T3" fmla="*/ 32 h 32"/>
                <a:gd name="T4" fmla="*/ 0 w 21"/>
                <a:gd name="T5" fmla="*/ 16 h 32"/>
                <a:gd name="T6" fmla="*/ 11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1 w 21"/>
                <a:gd name="T13" fmla="*/ 28 h 32"/>
                <a:gd name="T14" fmla="*/ 16 w 21"/>
                <a:gd name="T15" fmla="*/ 16 h 32"/>
                <a:gd name="T16" fmla="*/ 11 w 21"/>
                <a:gd name="T17" fmla="*/ 5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7"/>
                    <a:pt x="18" y="32"/>
                    <a:pt x="11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1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8"/>
                    <a:pt x="11" y="28"/>
                  </a:cubicBezTo>
                  <a:cubicBezTo>
                    <a:pt x="14" y="28"/>
                    <a:pt x="16" y="24"/>
                    <a:pt x="16" y="16"/>
                  </a:cubicBezTo>
                  <a:cubicBezTo>
                    <a:pt x="16" y="8"/>
                    <a:pt x="14" y="5"/>
                    <a:pt x="11" y="5"/>
                  </a:cubicBezTo>
                  <a:cubicBezTo>
                    <a:pt x="7" y="5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09" name="Freeform 24">
              <a:extLst>
                <a:ext uri="{FF2B5EF4-FFF2-40B4-BE49-F238E27FC236}">
                  <a16:creationId xmlns:a16="http://schemas.microsoft.com/office/drawing/2014/main" id="{A72C8A7B-9B44-4006-B1E8-5FEF69D9CC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75215" y="4182704"/>
              <a:ext cx="28263" cy="41830"/>
            </a:xfrm>
            <a:custGeom>
              <a:avLst/>
              <a:gdLst>
                <a:gd name="T0" fmla="*/ 21 w 21"/>
                <a:gd name="T1" fmla="*/ 16 h 31"/>
                <a:gd name="T2" fmla="*/ 11 w 21"/>
                <a:gd name="T3" fmla="*/ 31 h 31"/>
                <a:gd name="T4" fmla="*/ 0 w 21"/>
                <a:gd name="T5" fmla="*/ 15 h 31"/>
                <a:gd name="T6" fmla="*/ 11 w 21"/>
                <a:gd name="T7" fmla="*/ 0 h 31"/>
                <a:gd name="T8" fmla="*/ 21 w 21"/>
                <a:gd name="T9" fmla="*/ 16 h 31"/>
                <a:gd name="T10" fmla="*/ 5 w 21"/>
                <a:gd name="T11" fmla="*/ 15 h 31"/>
                <a:gd name="T12" fmla="*/ 11 w 21"/>
                <a:gd name="T13" fmla="*/ 27 h 31"/>
                <a:gd name="T14" fmla="*/ 16 w 21"/>
                <a:gd name="T15" fmla="*/ 16 h 31"/>
                <a:gd name="T16" fmla="*/ 11 w 21"/>
                <a:gd name="T17" fmla="*/ 4 h 31"/>
                <a:gd name="T18" fmla="*/ 5 w 21"/>
                <a:gd name="T1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1">
                  <a:moveTo>
                    <a:pt x="21" y="16"/>
                  </a:moveTo>
                  <a:cubicBezTo>
                    <a:pt x="21" y="26"/>
                    <a:pt x="18" y="31"/>
                    <a:pt x="11" y="31"/>
                  </a:cubicBezTo>
                  <a:cubicBezTo>
                    <a:pt x="3" y="31"/>
                    <a:pt x="0" y="26"/>
                    <a:pt x="0" y="15"/>
                  </a:cubicBezTo>
                  <a:cubicBezTo>
                    <a:pt x="0" y="5"/>
                    <a:pt x="3" y="0"/>
                    <a:pt x="11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5"/>
                  </a:moveTo>
                  <a:cubicBezTo>
                    <a:pt x="5" y="23"/>
                    <a:pt x="7" y="27"/>
                    <a:pt x="11" y="27"/>
                  </a:cubicBezTo>
                  <a:cubicBezTo>
                    <a:pt x="14" y="27"/>
                    <a:pt x="16" y="23"/>
                    <a:pt x="16" y="16"/>
                  </a:cubicBezTo>
                  <a:cubicBezTo>
                    <a:pt x="16" y="8"/>
                    <a:pt x="14" y="4"/>
                    <a:pt x="11" y="4"/>
                  </a:cubicBezTo>
                  <a:cubicBezTo>
                    <a:pt x="7" y="4"/>
                    <a:pt x="5" y="8"/>
                    <a:pt x="5" y="15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10" name="Freeform 25">
              <a:extLst>
                <a:ext uri="{FF2B5EF4-FFF2-40B4-BE49-F238E27FC236}">
                  <a16:creationId xmlns:a16="http://schemas.microsoft.com/office/drawing/2014/main" id="{E1EA66CB-338B-46FC-B840-6CDA311EEB0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8041" y="4325716"/>
              <a:ext cx="24306" cy="41265"/>
            </a:xfrm>
            <a:custGeom>
              <a:avLst/>
              <a:gdLst>
                <a:gd name="T0" fmla="*/ 19 w 43"/>
                <a:gd name="T1" fmla="*/ 14 h 73"/>
                <a:gd name="T2" fmla="*/ 5 w 43"/>
                <a:gd name="T3" fmla="*/ 24 h 73"/>
                <a:gd name="T4" fmla="*/ 0 w 43"/>
                <a:gd name="T5" fmla="*/ 12 h 73"/>
                <a:gd name="T6" fmla="*/ 22 w 43"/>
                <a:gd name="T7" fmla="*/ 0 h 73"/>
                <a:gd name="T8" fmla="*/ 34 w 43"/>
                <a:gd name="T9" fmla="*/ 0 h 73"/>
                <a:gd name="T10" fmla="*/ 34 w 43"/>
                <a:gd name="T11" fmla="*/ 64 h 73"/>
                <a:gd name="T12" fmla="*/ 43 w 43"/>
                <a:gd name="T13" fmla="*/ 64 h 73"/>
                <a:gd name="T14" fmla="*/ 43 w 43"/>
                <a:gd name="T15" fmla="*/ 73 h 73"/>
                <a:gd name="T16" fmla="*/ 10 w 43"/>
                <a:gd name="T17" fmla="*/ 73 h 73"/>
                <a:gd name="T18" fmla="*/ 10 w 43"/>
                <a:gd name="T19" fmla="*/ 64 h 73"/>
                <a:gd name="T20" fmla="*/ 19 w 43"/>
                <a:gd name="T21" fmla="*/ 64 h 73"/>
                <a:gd name="T22" fmla="*/ 19 w 43"/>
                <a:gd name="T23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73">
                  <a:moveTo>
                    <a:pt x="19" y="14"/>
                  </a:moveTo>
                  <a:lnTo>
                    <a:pt x="5" y="24"/>
                  </a:lnTo>
                  <a:lnTo>
                    <a:pt x="0" y="12"/>
                  </a:lnTo>
                  <a:lnTo>
                    <a:pt x="22" y="0"/>
                  </a:lnTo>
                  <a:lnTo>
                    <a:pt x="34" y="0"/>
                  </a:lnTo>
                  <a:lnTo>
                    <a:pt x="34" y="64"/>
                  </a:lnTo>
                  <a:lnTo>
                    <a:pt x="43" y="64"/>
                  </a:lnTo>
                  <a:lnTo>
                    <a:pt x="43" y="73"/>
                  </a:lnTo>
                  <a:lnTo>
                    <a:pt x="10" y="73"/>
                  </a:lnTo>
                  <a:lnTo>
                    <a:pt x="10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11" name="Freeform 26">
              <a:extLst>
                <a:ext uri="{FF2B5EF4-FFF2-40B4-BE49-F238E27FC236}">
                  <a16:creationId xmlns:a16="http://schemas.microsoft.com/office/drawing/2014/main" id="{D39005A5-1A56-460D-8933-96D91CB75D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75215" y="4396374"/>
              <a:ext cx="28263" cy="41830"/>
            </a:xfrm>
            <a:custGeom>
              <a:avLst/>
              <a:gdLst>
                <a:gd name="T0" fmla="*/ 21 w 21"/>
                <a:gd name="T1" fmla="*/ 16 h 31"/>
                <a:gd name="T2" fmla="*/ 11 w 21"/>
                <a:gd name="T3" fmla="*/ 31 h 31"/>
                <a:gd name="T4" fmla="*/ 0 w 21"/>
                <a:gd name="T5" fmla="*/ 15 h 31"/>
                <a:gd name="T6" fmla="*/ 11 w 21"/>
                <a:gd name="T7" fmla="*/ 0 h 31"/>
                <a:gd name="T8" fmla="*/ 21 w 21"/>
                <a:gd name="T9" fmla="*/ 16 h 31"/>
                <a:gd name="T10" fmla="*/ 5 w 21"/>
                <a:gd name="T11" fmla="*/ 16 h 31"/>
                <a:gd name="T12" fmla="*/ 11 w 21"/>
                <a:gd name="T13" fmla="*/ 27 h 31"/>
                <a:gd name="T14" fmla="*/ 16 w 21"/>
                <a:gd name="T15" fmla="*/ 16 h 31"/>
                <a:gd name="T16" fmla="*/ 11 w 21"/>
                <a:gd name="T17" fmla="*/ 4 h 31"/>
                <a:gd name="T18" fmla="*/ 5 w 21"/>
                <a:gd name="T19" fmla="*/ 1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1">
                  <a:moveTo>
                    <a:pt x="21" y="16"/>
                  </a:moveTo>
                  <a:cubicBezTo>
                    <a:pt x="21" y="26"/>
                    <a:pt x="18" y="31"/>
                    <a:pt x="11" y="31"/>
                  </a:cubicBezTo>
                  <a:cubicBezTo>
                    <a:pt x="3" y="31"/>
                    <a:pt x="0" y="26"/>
                    <a:pt x="0" y="15"/>
                  </a:cubicBezTo>
                  <a:cubicBezTo>
                    <a:pt x="0" y="5"/>
                    <a:pt x="3" y="0"/>
                    <a:pt x="11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3"/>
                    <a:pt x="7" y="27"/>
                    <a:pt x="11" y="27"/>
                  </a:cubicBezTo>
                  <a:cubicBezTo>
                    <a:pt x="14" y="27"/>
                    <a:pt x="16" y="23"/>
                    <a:pt x="16" y="16"/>
                  </a:cubicBezTo>
                  <a:cubicBezTo>
                    <a:pt x="16" y="8"/>
                    <a:pt x="14" y="4"/>
                    <a:pt x="11" y="4"/>
                  </a:cubicBezTo>
                  <a:cubicBezTo>
                    <a:pt x="7" y="4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12" name="Freeform 27">
              <a:extLst>
                <a:ext uri="{FF2B5EF4-FFF2-40B4-BE49-F238E27FC236}">
                  <a16:creationId xmlns:a16="http://schemas.microsoft.com/office/drawing/2014/main" id="{2F42E241-746F-4069-A760-B3CF90A93F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75215" y="4467598"/>
              <a:ext cx="28263" cy="42395"/>
            </a:xfrm>
            <a:custGeom>
              <a:avLst/>
              <a:gdLst>
                <a:gd name="T0" fmla="*/ 21 w 21"/>
                <a:gd name="T1" fmla="*/ 16 h 32"/>
                <a:gd name="T2" fmla="*/ 11 w 21"/>
                <a:gd name="T3" fmla="*/ 32 h 32"/>
                <a:gd name="T4" fmla="*/ 0 w 21"/>
                <a:gd name="T5" fmla="*/ 16 h 32"/>
                <a:gd name="T6" fmla="*/ 11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1 w 21"/>
                <a:gd name="T13" fmla="*/ 27 h 32"/>
                <a:gd name="T14" fmla="*/ 16 w 21"/>
                <a:gd name="T15" fmla="*/ 16 h 32"/>
                <a:gd name="T16" fmla="*/ 11 w 21"/>
                <a:gd name="T17" fmla="*/ 4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7"/>
                    <a:pt x="18" y="32"/>
                    <a:pt x="11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1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7"/>
                    <a:pt x="11" y="27"/>
                  </a:cubicBezTo>
                  <a:cubicBezTo>
                    <a:pt x="14" y="27"/>
                    <a:pt x="16" y="24"/>
                    <a:pt x="16" y="16"/>
                  </a:cubicBezTo>
                  <a:cubicBezTo>
                    <a:pt x="16" y="8"/>
                    <a:pt x="14" y="4"/>
                    <a:pt x="11" y="4"/>
                  </a:cubicBezTo>
                  <a:cubicBezTo>
                    <a:pt x="7" y="4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13" name="Freeform 43">
              <a:extLst>
                <a:ext uri="{FF2B5EF4-FFF2-40B4-BE49-F238E27FC236}">
                  <a16:creationId xmlns:a16="http://schemas.microsoft.com/office/drawing/2014/main" id="{8D398EDB-5FAA-4B42-9F1E-230E96591A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65092" y="4185530"/>
              <a:ext cx="23741" cy="35046"/>
            </a:xfrm>
            <a:custGeom>
              <a:avLst/>
              <a:gdLst>
                <a:gd name="T0" fmla="*/ 18 w 18"/>
                <a:gd name="T1" fmla="*/ 13 h 26"/>
                <a:gd name="T2" fmla="*/ 9 w 18"/>
                <a:gd name="T3" fmla="*/ 26 h 26"/>
                <a:gd name="T4" fmla="*/ 0 w 18"/>
                <a:gd name="T5" fmla="*/ 13 h 26"/>
                <a:gd name="T6" fmla="*/ 9 w 18"/>
                <a:gd name="T7" fmla="*/ 0 h 26"/>
                <a:gd name="T8" fmla="*/ 18 w 18"/>
                <a:gd name="T9" fmla="*/ 13 h 26"/>
                <a:gd name="T10" fmla="*/ 5 w 18"/>
                <a:gd name="T11" fmla="*/ 13 h 26"/>
                <a:gd name="T12" fmla="*/ 9 w 18"/>
                <a:gd name="T13" fmla="*/ 22 h 26"/>
                <a:gd name="T14" fmla="*/ 13 w 18"/>
                <a:gd name="T15" fmla="*/ 13 h 26"/>
                <a:gd name="T16" fmla="*/ 9 w 18"/>
                <a:gd name="T17" fmla="*/ 4 h 26"/>
                <a:gd name="T18" fmla="*/ 5 w 18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6">
                  <a:moveTo>
                    <a:pt x="18" y="13"/>
                  </a:moveTo>
                  <a:cubicBezTo>
                    <a:pt x="18" y="22"/>
                    <a:pt x="15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5"/>
                    <a:pt x="3" y="0"/>
                    <a:pt x="9" y="0"/>
                  </a:cubicBezTo>
                  <a:cubicBezTo>
                    <a:pt x="15" y="0"/>
                    <a:pt x="18" y="5"/>
                    <a:pt x="18" y="13"/>
                  </a:cubicBezTo>
                  <a:close/>
                  <a:moveTo>
                    <a:pt x="5" y="13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7"/>
                    <a:pt x="12" y="4"/>
                    <a:pt x="9" y="4"/>
                  </a:cubicBezTo>
                  <a:cubicBezTo>
                    <a:pt x="6" y="4"/>
                    <a:pt x="5" y="7"/>
                    <a:pt x="5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14" name="Freeform 44">
              <a:extLst>
                <a:ext uri="{FF2B5EF4-FFF2-40B4-BE49-F238E27FC236}">
                  <a16:creationId xmlns:a16="http://schemas.microsoft.com/office/drawing/2014/main" id="{D277B234-2D1A-4EB4-87E0-03BD28571D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65092" y="4243187"/>
              <a:ext cx="23741" cy="34481"/>
            </a:xfrm>
            <a:custGeom>
              <a:avLst/>
              <a:gdLst>
                <a:gd name="T0" fmla="*/ 18 w 18"/>
                <a:gd name="T1" fmla="*/ 13 h 26"/>
                <a:gd name="T2" fmla="*/ 9 w 18"/>
                <a:gd name="T3" fmla="*/ 26 h 26"/>
                <a:gd name="T4" fmla="*/ 0 w 18"/>
                <a:gd name="T5" fmla="*/ 13 h 26"/>
                <a:gd name="T6" fmla="*/ 9 w 18"/>
                <a:gd name="T7" fmla="*/ 0 h 26"/>
                <a:gd name="T8" fmla="*/ 18 w 18"/>
                <a:gd name="T9" fmla="*/ 13 h 26"/>
                <a:gd name="T10" fmla="*/ 5 w 18"/>
                <a:gd name="T11" fmla="*/ 13 h 26"/>
                <a:gd name="T12" fmla="*/ 9 w 18"/>
                <a:gd name="T13" fmla="*/ 22 h 26"/>
                <a:gd name="T14" fmla="*/ 13 w 18"/>
                <a:gd name="T15" fmla="*/ 13 h 26"/>
                <a:gd name="T16" fmla="*/ 9 w 18"/>
                <a:gd name="T17" fmla="*/ 4 h 26"/>
                <a:gd name="T18" fmla="*/ 5 w 18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6">
                  <a:moveTo>
                    <a:pt x="18" y="13"/>
                  </a:moveTo>
                  <a:cubicBezTo>
                    <a:pt x="18" y="21"/>
                    <a:pt x="15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5" y="0"/>
                    <a:pt x="18" y="4"/>
                    <a:pt x="18" y="13"/>
                  </a:cubicBezTo>
                  <a:close/>
                  <a:moveTo>
                    <a:pt x="5" y="13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7"/>
                    <a:pt x="12" y="4"/>
                    <a:pt x="9" y="4"/>
                  </a:cubicBezTo>
                  <a:cubicBezTo>
                    <a:pt x="6" y="4"/>
                    <a:pt x="5" y="7"/>
                    <a:pt x="5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15" name="Freeform 45">
              <a:extLst>
                <a:ext uri="{FF2B5EF4-FFF2-40B4-BE49-F238E27FC236}">
                  <a16:creationId xmlns:a16="http://schemas.microsoft.com/office/drawing/2014/main" id="{380A7891-963A-4D0D-A8E2-3887911422E9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9049" y="4357936"/>
              <a:ext cx="18654" cy="33351"/>
            </a:xfrm>
            <a:custGeom>
              <a:avLst/>
              <a:gdLst>
                <a:gd name="T0" fmla="*/ 17 w 33"/>
                <a:gd name="T1" fmla="*/ 12 h 59"/>
                <a:gd name="T2" fmla="*/ 5 w 33"/>
                <a:gd name="T3" fmla="*/ 19 h 59"/>
                <a:gd name="T4" fmla="*/ 0 w 33"/>
                <a:gd name="T5" fmla="*/ 9 h 59"/>
                <a:gd name="T6" fmla="*/ 19 w 33"/>
                <a:gd name="T7" fmla="*/ 0 h 59"/>
                <a:gd name="T8" fmla="*/ 26 w 33"/>
                <a:gd name="T9" fmla="*/ 0 h 59"/>
                <a:gd name="T10" fmla="*/ 26 w 33"/>
                <a:gd name="T11" fmla="*/ 49 h 59"/>
                <a:gd name="T12" fmla="*/ 33 w 33"/>
                <a:gd name="T13" fmla="*/ 49 h 59"/>
                <a:gd name="T14" fmla="*/ 33 w 33"/>
                <a:gd name="T15" fmla="*/ 59 h 59"/>
                <a:gd name="T16" fmla="*/ 10 w 33"/>
                <a:gd name="T17" fmla="*/ 59 h 59"/>
                <a:gd name="T18" fmla="*/ 10 w 33"/>
                <a:gd name="T19" fmla="*/ 49 h 59"/>
                <a:gd name="T20" fmla="*/ 17 w 33"/>
                <a:gd name="T21" fmla="*/ 49 h 59"/>
                <a:gd name="T22" fmla="*/ 17 w 33"/>
                <a:gd name="T23" fmla="*/ 1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9">
                  <a:moveTo>
                    <a:pt x="17" y="12"/>
                  </a:moveTo>
                  <a:lnTo>
                    <a:pt x="5" y="19"/>
                  </a:lnTo>
                  <a:lnTo>
                    <a:pt x="0" y="9"/>
                  </a:lnTo>
                  <a:lnTo>
                    <a:pt x="19" y="0"/>
                  </a:lnTo>
                  <a:lnTo>
                    <a:pt x="26" y="0"/>
                  </a:lnTo>
                  <a:lnTo>
                    <a:pt x="26" y="49"/>
                  </a:lnTo>
                  <a:lnTo>
                    <a:pt x="33" y="49"/>
                  </a:lnTo>
                  <a:lnTo>
                    <a:pt x="33" y="59"/>
                  </a:lnTo>
                  <a:lnTo>
                    <a:pt x="10" y="59"/>
                  </a:lnTo>
                  <a:lnTo>
                    <a:pt x="10" y="49"/>
                  </a:lnTo>
                  <a:lnTo>
                    <a:pt x="17" y="49"/>
                  </a:lnTo>
                  <a:lnTo>
                    <a:pt x="17" y="12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16" name="Freeform 46">
              <a:extLst>
                <a:ext uri="{FF2B5EF4-FFF2-40B4-BE49-F238E27FC236}">
                  <a16:creationId xmlns:a16="http://schemas.microsoft.com/office/drawing/2014/main" id="{25A0DE80-B3D4-4C66-A196-99817629DF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65092" y="4413897"/>
              <a:ext cx="23741" cy="34481"/>
            </a:xfrm>
            <a:custGeom>
              <a:avLst/>
              <a:gdLst>
                <a:gd name="T0" fmla="*/ 18 w 18"/>
                <a:gd name="T1" fmla="*/ 13 h 26"/>
                <a:gd name="T2" fmla="*/ 9 w 18"/>
                <a:gd name="T3" fmla="*/ 26 h 26"/>
                <a:gd name="T4" fmla="*/ 0 w 18"/>
                <a:gd name="T5" fmla="*/ 13 h 26"/>
                <a:gd name="T6" fmla="*/ 9 w 18"/>
                <a:gd name="T7" fmla="*/ 0 h 26"/>
                <a:gd name="T8" fmla="*/ 18 w 18"/>
                <a:gd name="T9" fmla="*/ 13 h 26"/>
                <a:gd name="T10" fmla="*/ 5 w 18"/>
                <a:gd name="T11" fmla="*/ 13 h 26"/>
                <a:gd name="T12" fmla="*/ 9 w 18"/>
                <a:gd name="T13" fmla="*/ 22 h 26"/>
                <a:gd name="T14" fmla="*/ 13 w 18"/>
                <a:gd name="T15" fmla="*/ 13 h 26"/>
                <a:gd name="T16" fmla="*/ 9 w 18"/>
                <a:gd name="T17" fmla="*/ 4 h 26"/>
                <a:gd name="T18" fmla="*/ 5 w 18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6">
                  <a:moveTo>
                    <a:pt x="18" y="13"/>
                  </a:moveTo>
                  <a:cubicBezTo>
                    <a:pt x="18" y="22"/>
                    <a:pt x="15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5" y="0"/>
                    <a:pt x="18" y="4"/>
                    <a:pt x="18" y="13"/>
                  </a:cubicBezTo>
                  <a:close/>
                  <a:moveTo>
                    <a:pt x="5" y="13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7"/>
                    <a:pt x="12" y="4"/>
                    <a:pt x="9" y="4"/>
                  </a:cubicBezTo>
                  <a:cubicBezTo>
                    <a:pt x="6" y="4"/>
                    <a:pt x="5" y="7"/>
                    <a:pt x="5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17" name="Freeform 47">
              <a:extLst>
                <a:ext uri="{FF2B5EF4-FFF2-40B4-BE49-F238E27FC236}">
                  <a16:creationId xmlns:a16="http://schemas.microsoft.com/office/drawing/2014/main" id="{F82983E2-F913-42E8-A2A4-A1314EA64F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65092" y="4471555"/>
              <a:ext cx="23741" cy="33351"/>
            </a:xfrm>
            <a:custGeom>
              <a:avLst/>
              <a:gdLst>
                <a:gd name="T0" fmla="*/ 18 w 18"/>
                <a:gd name="T1" fmla="*/ 13 h 25"/>
                <a:gd name="T2" fmla="*/ 9 w 18"/>
                <a:gd name="T3" fmla="*/ 25 h 25"/>
                <a:gd name="T4" fmla="*/ 0 w 18"/>
                <a:gd name="T5" fmla="*/ 12 h 25"/>
                <a:gd name="T6" fmla="*/ 9 w 18"/>
                <a:gd name="T7" fmla="*/ 0 h 25"/>
                <a:gd name="T8" fmla="*/ 18 w 18"/>
                <a:gd name="T9" fmla="*/ 13 h 25"/>
                <a:gd name="T10" fmla="*/ 5 w 18"/>
                <a:gd name="T11" fmla="*/ 12 h 25"/>
                <a:gd name="T12" fmla="*/ 9 w 18"/>
                <a:gd name="T13" fmla="*/ 22 h 25"/>
                <a:gd name="T14" fmla="*/ 13 w 18"/>
                <a:gd name="T15" fmla="*/ 13 h 25"/>
                <a:gd name="T16" fmla="*/ 9 w 18"/>
                <a:gd name="T17" fmla="*/ 3 h 25"/>
                <a:gd name="T18" fmla="*/ 5 w 18"/>
                <a:gd name="T1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5">
                  <a:moveTo>
                    <a:pt x="18" y="13"/>
                  </a:moveTo>
                  <a:cubicBezTo>
                    <a:pt x="18" y="21"/>
                    <a:pt x="15" y="25"/>
                    <a:pt x="9" y="25"/>
                  </a:cubicBezTo>
                  <a:cubicBezTo>
                    <a:pt x="3" y="25"/>
                    <a:pt x="0" y="21"/>
                    <a:pt x="0" y="12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5" y="0"/>
                    <a:pt x="18" y="4"/>
                    <a:pt x="18" y="13"/>
                  </a:cubicBezTo>
                  <a:close/>
                  <a:moveTo>
                    <a:pt x="5" y="12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6"/>
                    <a:pt x="12" y="3"/>
                    <a:pt x="9" y="3"/>
                  </a:cubicBezTo>
                  <a:cubicBezTo>
                    <a:pt x="6" y="3"/>
                    <a:pt x="5" y="6"/>
                    <a:pt x="5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18" name="Freeform 63">
              <a:extLst>
                <a:ext uri="{FF2B5EF4-FFF2-40B4-BE49-F238E27FC236}">
                  <a16:creationId xmlns:a16="http://schemas.microsoft.com/office/drawing/2014/main" id="{BA2D480A-BB4A-4B3F-97E6-D5B38C331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06505" y="4185530"/>
              <a:ext cx="22611" cy="35046"/>
            </a:xfrm>
            <a:custGeom>
              <a:avLst/>
              <a:gdLst>
                <a:gd name="T0" fmla="*/ 17 w 17"/>
                <a:gd name="T1" fmla="*/ 13 h 26"/>
                <a:gd name="T2" fmla="*/ 9 w 17"/>
                <a:gd name="T3" fmla="*/ 26 h 26"/>
                <a:gd name="T4" fmla="*/ 0 w 17"/>
                <a:gd name="T5" fmla="*/ 13 h 26"/>
                <a:gd name="T6" fmla="*/ 9 w 17"/>
                <a:gd name="T7" fmla="*/ 0 h 26"/>
                <a:gd name="T8" fmla="*/ 17 w 17"/>
                <a:gd name="T9" fmla="*/ 13 h 26"/>
                <a:gd name="T10" fmla="*/ 4 w 17"/>
                <a:gd name="T11" fmla="*/ 13 h 26"/>
                <a:gd name="T12" fmla="*/ 9 w 17"/>
                <a:gd name="T13" fmla="*/ 22 h 26"/>
                <a:gd name="T14" fmla="*/ 13 w 17"/>
                <a:gd name="T15" fmla="*/ 13 h 26"/>
                <a:gd name="T16" fmla="*/ 9 w 17"/>
                <a:gd name="T17" fmla="*/ 4 h 26"/>
                <a:gd name="T18" fmla="*/ 4 w 17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6">
                  <a:moveTo>
                    <a:pt x="17" y="13"/>
                  </a:moveTo>
                  <a:cubicBezTo>
                    <a:pt x="17" y="22"/>
                    <a:pt x="14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5"/>
                    <a:pt x="3" y="0"/>
                    <a:pt x="9" y="0"/>
                  </a:cubicBezTo>
                  <a:cubicBezTo>
                    <a:pt x="14" y="0"/>
                    <a:pt x="17" y="5"/>
                    <a:pt x="17" y="13"/>
                  </a:cubicBezTo>
                  <a:close/>
                  <a:moveTo>
                    <a:pt x="4" y="13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7"/>
                    <a:pt x="11" y="4"/>
                    <a:pt x="9" y="4"/>
                  </a:cubicBezTo>
                  <a:cubicBezTo>
                    <a:pt x="6" y="4"/>
                    <a:pt x="4" y="7"/>
                    <a:pt x="4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19" name="Freeform 64">
              <a:extLst>
                <a:ext uri="{FF2B5EF4-FFF2-40B4-BE49-F238E27FC236}">
                  <a16:creationId xmlns:a16="http://schemas.microsoft.com/office/drawing/2014/main" id="{EBD6ECDE-B412-4A4B-A2C0-DFF66C4A50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06505" y="4243187"/>
              <a:ext cx="22611" cy="34481"/>
            </a:xfrm>
            <a:custGeom>
              <a:avLst/>
              <a:gdLst>
                <a:gd name="T0" fmla="*/ 17 w 17"/>
                <a:gd name="T1" fmla="*/ 13 h 26"/>
                <a:gd name="T2" fmla="*/ 9 w 17"/>
                <a:gd name="T3" fmla="*/ 26 h 26"/>
                <a:gd name="T4" fmla="*/ 0 w 17"/>
                <a:gd name="T5" fmla="*/ 13 h 26"/>
                <a:gd name="T6" fmla="*/ 9 w 17"/>
                <a:gd name="T7" fmla="*/ 0 h 26"/>
                <a:gd name="T8" fmla="*/ 17 w 17"/>
                <a:gd name="T9" fmla="*/ 13 h 26"/>
                <a:gd name="T10" fmla="*/ 4 w 17"/>
                <a:gd name="T11" fmla="*/ 13 h 26"/>
                <a:gd name="T12" fmla="*/ 9 w 17"/>
                <a:gd name="T13" fmla="*/ 22 h 26"/>
                <a:gd name="T14" fmla="*/ 13 w 17"/>
                <a:gd name="T15" fmla="*/ 13 h 26"/>
                <a:gd name="T16" fmla="*/ 9 w 17"/>
                <a:gd name="T17" fmla="*/ 4 h 26"/>
                <a:gd name="T18" fmla="*/ 4 w 17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6">
                  <a:moveTo>
                    <a:pt x="17" y="13"/>
                  </a:moveTo>
                  <a:cubicBezTo>
                    <a:pt x="17" y="21"/>
                    <a:pt x="14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4" y="0"/>
                    <a:pt x="17" y="4"/>
                    <a:pt x="17" y="13"/>
                  </a:cubicBezTo>
                  <a:close/>
                  <a:moveTo>
                    <a:pt x="4" y="13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7"/>
                    <a:pt x="11" y="4"/>
                    <a:pt x="9" y="4"/>
                  </a:cubicBezTo>
                  <a:cubicBezTo>
                    <a:pt x="6" y="4"/>
                    <a:pt x="4" y="7"/>
                    <a:pt x="4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20" name="Freeform 65">
              <a:extLst>
                <a:ext uri="{FF2B5EF4-FFF2-40B4-BE49-F238E27FC236}">
                  <a16:creationId xmlns:a16="http://schemas.microsoft.com/office/drawing/2014/main" id="{46CE56AB-268E-4995-B422-47B36B5E5BB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8766" y="4357936"/>
              <a:ext cx="18654" cy="33351"/>
            </a:xfrm>
            <a:custGeom>
              <a:avLst/>
              <a:gdLst>
                <a:gd name="T0" fmla="*/ 16 w 33"/>
                <a:gd name="T1" fmla="*/ 12 h 59"/>
                <a:gd name="T2" fmla="*/ 4 w 33"/>
                <a:gd name="T3" fmla="*/ 19 h 59"/>
                <a:gd name="T4" fmla="*/ 0 w 33"/>
                <a:gd name="T5" fmla="*/ 9 h 59"/>
                <a:gd name="T6" fmla="*/ 16 w 33"/>
                <a:gd name="T7" fmla="*/ 0 h 59"/>
                <a:gd name="T8" fmla="*/ 26 w 33"/>
                <a:gd name="T9" fmla="*/ 0 h 59"/>
                <a:gd name="T10" fmla="*/ 26 w 33"/>
                <a:gd name="T11" fmla="*/ 49 h 59"/>
                <a:gd name="T12" fmla="*/ 33 w 33"/>
                <a:gd name="T13" fmla="*/ 49 h 59"/>
                <a:gd name="T14" fmla="*/ 33 w 33"/>
                <a:gd name="T15" fmla="*/ 59 h 59"/>
                <a:gd name="T16" fmla="*/ 7 w 33"/>
                <a:gd name="T17" fmla="*/ 59 h 59"/>
                <a:gd name="T18" fmla="*/ 7 w 33"/>
                <a:gd name="T19" fmla="*/ 49 h 59"/>
                <a:gd name="T20" fmla="*/ 16 w 33"/>
                <a:gd name="T21" fmla="*/ 49 h 59"/>
                <a:gd name="T22" fmla="*/ 16 w 33"/>
                <a:gd name="T23" fmla="*/ 1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9">
                  <a:moveTo>
                    <a:pt x="16" y="12"/>
                  </a:moveTo>
                  <a:lnTo>
                    <a:pt x="4" y="19"/>
                  </a:lnTo>
                  <a:lnTo>
                    <a:pt x="0" y="9"/>
                  </a:lnTo>
                  <a:lnTo>
                    <a:pt x="16" y="0"/>
                  </a:lnTo>
                  <a:lnTo>
                    <a:pt x="26" y="0"/>
                  </a:lnTo>
                  <a:lnTo>
                    <a:pt x="26" y="49"/>
                  </a:lnTo>
                  <a:lnTo>
                    <a:pt x="33" y="49"/>
                  </a:lnTo>
                  <a:lnTo>
                    <a:pt x="33" y="59"/>
                  </a:lnTo>
                  <a:lnTo>
                    <a:pt x="7" y="59"/>
                  </a:lnTo>
                  <a:lnTo>
                    <a:pt x="7" y="49"/>
                  </a:lnTo>
                  <a:lnTo>
                    <a:pt x="16" y="49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21" name="Freeform 66">
              <a:extLst>
                <a:ext uri="{FF2B5EF4-FFF2-40B4-BE49-F238E27FC236}">
                  <a16:creationId xmlns:a16="http://schemas.microsoft.com/office/drawing/2014/main" id="{58441AE0-9460-48C9-A077-8A19972861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06505" y="4413897"/>
              <a:ext cx="22611" cy="34481"/>
            </a:xfrm>
            <a:custGeom>
              <a:avLst/>
              <a:gdLst>
                <a:gd name="T0" fmla="*/ 17 w 17"/>
                <a:gd name="T1" fmla="*/ 13 h 26"/>
                <a:gd name="T2" fmla="*/ 9 w 17"/>
                <a:gd name="T3" fmla="*/ 26 h 26"/>
                <a:gd name="T4" fmla="*/ 0 w 17"/>
                <a:gd name="T5" fmla="*/ 13 h 26"/>
                <a:gd name="T6" fmla="*/ 9 w 17"/>
                <a:gd name="T7" fmla="*/ 0 h 26"/>
                <a:gd name="T8" fmla="*/ 17 w 17"/>
                <a:gd name="T9" fmla="*/ 13 h 26"/>
                <a:gd name="T10" fmla="*/ 4 w 17"/>
                <a:gd name="T11" fmla="*/ 13 h 26"/>
                <a:gd name="T12" fmla="*/ 9 w 17"/>
                <a:gd name="T13" fmla="*/ 22 h 26"/>
                <a:gd name="T14" fmla="*/ 13 w 17"/>
                <a:gd name="T15" fmla="*/ 13 h 26"/>
                <a:gd name="T16" fmla="*/ 9 w 17"/>
                <a:gd name="T17" fmla="*/ 4 h 26"/>
                <a:gd name="T18" fmla="*/ 4 w 17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6">
                  <a:moveTo>
                    <a:pt x="17" y="13"/>
                  </a:moveTo>
                  <a:cubicBezTo>
                    <a:pt x="17" y="22"/>
                    <a:pt x="14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4" y="0"/>
                    <a:pt x="17" y="4"/>
                    <a:pt x="17" y="13"/>
                  </a:cubicBezTo>
                  <a:close/>
                  <a:moveTo>
                    <a:pt x="4" y="13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7"/>
                    <a:pt x="11" y="4"/>
                    <a:pt x="9" y="4"/>
                  </a:cubicBezTo>
                  <a:cubicBezTo>
                    <a:pt x="6" y="4"/>
                    <a:pt x="4" y="7"/>
                    <a:pt x="4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22" name="Freeform 67">
              <a:extLst>
                <a:ext uri="{FF2B5EF4-FFF2-40B4-BE49-F238E27FC236}">
                  <a16:creationId xmlns:a16="http://schemas.microsoft.com/office/drawing/2014/main" id="{D24B38A3-CB8D-4BBB-B095-09C9E3BB2D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06505" y="4471555"/>
              <a:ext cx="22611" cy="33351"/>
            </a:xfrm>
            <a:custGeom>
              <a:avLst/>
              <a:gdLst>
                <a:gd name="T0" fmla="*/ 17 w 17"/>
                <a:gd name="T1" fmla="*/ 13 h 25"/>
                <a:gd name="T2" fmla="*/ 9 w 17"/>
                <a:gd name="T3" fmla="*/ 25 h 25"/>
                <a:gd name="T4" fmla="*/ 0 w 17"/>
                <a:gd name="T5" fmla="*/ 12 h 25"/>
                <a:gd name="T6" fmla="*/ 9 w 17"/>
                <a:gd name="T7" fmla="*/ 0 h 25"/>
                <a:gd name="T8" fmla="*/ 17 w 17"/>
                <a:gd name="T9" fmla="*/ 13 h 25"/>
                <a:gd name="T10" fmla="*/ 4 w 17"/>
                <a:gd name="T11" fmla="*/ 12 h 25"/>
                <a:gd name="T12" fmla="*/ 9 w 17"/>
                <a:gd name="T13" fmla="*/ 22 h 25"/>
                <a:gd name="T14" fmla="*/ 13 w 17"/>
                <a:gd name="T15" fmla="*/ 13 h 25"/>
                <a:gd name="T16" fmla="*/ 9 w 17"/>
                <a:gd name="T17" fmla="*/ 3 h 25"/>
                <a:gd name="T18" fmla="*/ 4 w 17"/>
                <a:gd name="T1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5">
                  <a:moveTo>
                    <a:pt x="17" y="13"/>
                  </a:moveTo>
                  <a:cubicBezTo>
                    <a:pt x="17" y="21"/>
                    <a:pt x="14" y="25"/>
                    <a:pt x="9" y="25"/>
                  </a:cubicBezTo>
                  <a:cubicBezTo>
                    <a:pt x="3" y="25"/>
                    <a:pt x="0" y="21"/>
                    <a:pt x="0" y="12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4" y="0"/>
                    <a:pt x="17" y="4"/>
                    <a:pt x="17" y="13"/>
                  </a:cubicBezTo>
                  <a:close/>
                  <a:moveTo>
                    <a:pt x="4" y="12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6"/>
                    <a:pt x="11" y="3"/>
                    <a:pt x="9" y="3"/>
                  </a:cubicBezTo>
                  <a:cubicBezTo>
                    <a:pt x="6" y="3"/>
                    <a:pt x="4" y="6"/>
                    <a:pt x="4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23" name="Freeform 83">
              <a:extLst>
                <a:ext uri="{FF2B5EF4-FFF2-40B4-BE49-F238E27FC236}">
                  <a16:creationId xmlns:a16="http://schemas.microsoft.com/office/drawing/2014/main" id="{5B5BBF1B-9251-4DD1-8B31-B718FA7C168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2448" y="4188356"/>
              <a:ext cx="34481" cy="58788"/>
            </a:xfrm>
            <a:custGeom>
              <a:avLst/>
              <a:gdLst>
                <a:gd name="T0" fmla="*/ 31 w 61"/>
                <a:gd name="T1" fmla="*/ 19 h 104"/>
                <a:gd name="T2" fmla="*/ 10 w 61"/>
                <a:gd name="T3" fmla="*/ 33 h 104"/>
                <a:gd name="T4" fmla="*/ 0 w 61"/>
                <a:gd name="T5" fmla="*/ 19 h 104"/>
                <a:gd name="T6" fmla="*/ 31 w 61"/>
                <a:gd name="T7" fmla="*/ 0 h 104"/>
                <a:gd name="T8" fmla="*/ 47 w 61"/>
                <a:gd name="T9" fmla="*/ 0 h 104"/>
                <a:gd name="T10" fmla="*/ 47 w 61"/>
                <a:gd name="T11" fmla="*/ 90 h 104"/>
                <a:gd name="T12" fmla="*/ 61 w 61"/>
                <a:gd name="T13" fmla="*/ 90 h 104"/>
                <a:gd name="T14" fmla="*/ 61 w 61"/>
                <a:gd name="T15" fmla="*/ 104 h 104"/>
                <a:gd name="T16" fmla="*/ 17 w 61"/>
                <a:gd name="T17" fmla="*/ 104 h 104"/>
                <a:gd name="T18" fmla="*/ 17 w 61"/>
                <a:gd name="T19" fmla="*/ 90 h 104"/>
                <a:gd name="T20" fmla="*/ 31 w 61"/>
                <a:gd name="T21" fmla="*/ 90 h 104"/>
                <a:gd name="T22" fmla="*/ 31 w 61"/>
                <a:gd name="T23" fmla="*/ 19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4">
                  <a:moveTo>
                    <a:pt x="31" y="19"/>
                  </a:moveTo>
                  <a:lnTo>
                    <a:pt x="10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0"/>
                  </a:lnTo>
                  <a:lnTo>
                    <a:pt x="61" y="90"/>
                  </a:lnTo>
                  <a:lnTo>
                    <a:pt x="61" y="104"/>
                  </a:lnTo>
                  <a:lnTo>
                    <a:pt x="17" y="104"/>
                  </a:lnTo>
                  <a:lnTo>
                    <a:pt x="17" y="90"/>
                  </a:lnTo>
                  <a:lnTo>
                    <a:pt x="31" y="90"/>
                  </a:lnTo>
                  <a:lnTo>
                    <a:pt x="31" y="19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24" name="Freeform 84">
              <a:extLst>
                <a:ext uri="{FF2B5EF4-FFF2-40B4-BE49-F238E27FC236}">
                  <a16:creationId xmlns:a16="http://schemas.microsoft.com/office/drawing/2014/main" id="{54798076-4BEE-45F4-AED1-3900933C38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6795" y="4288408"/>
              <a:ext cx="41265" cy="61614"/>
            </a:xfrm>
            <a:custGeom>
              <a:avLst/>
              <a:gdLst>
                <a:gd name="T0" fmla="*/ 31 w 31"/>
                <a:gd name="T1" fmla="*/ 23 h 46"/>
                <a:gd name="T2" fmla="*/ 15 w 31"/>
                <a:gd name="T3" fmla="*/ 46 h 46"/>
                <a:gd name="T4" fmla="*/ 0 w 31"/>
                <a:gd name="T5" fmla="*/ 23 h 46"/>
                <a:gd name="T6" fmla="*/ 15 w 31"/>
                <a:gd name="T7" fmla="*/ 0 h 46"/>
                <a:gd name="T8" fmla="*/ 31 w 31"/>
                <a:gd name="T9" fmla="*/ 23 h 46"/>
                <a:gd name="T10" fmla="*/ 8 w 31"/>
                <a:gd name="T11" fmla="*/ 23 h 46"/>
                <a:gd name="T12" fmla="*/ 15 w 31"/>
                <a:gd name="T13" fmla="*/ 39 h 46"/>
                <a:gd name="T14" fmla="*/ 23 w 31"/>
                <a:gd name="T15" fmla="*/ 23 h 46"/>
                <a:gd name="T16" fmla="*/ 15 w 31"/>
                <a:gd name="T17" fmla="*/ 7 h 46"/>
                <a:gd name="T18" fmla="*/ 8 w 31"/>
                <a:gd name="T19" fmla="*/ 2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46">
                  <a:moveTo>
                    <a:pt x="31" y="23"/>
                  </a:moveTo>
                  <a:cubicBezTo>
                    <a:pt x="31" y="38"/>
                    <a:pt x="26" y="46"/>
                    <a:pt x="15" y="46"/>
                  </a:cubicBezTo>
                  <a:cubicBezTo>
                    <a:pt x="5" y="46"/>
                    <a:pt x="0" y="38"/>
                    <a:pt x="0" y="23"/>
                  </a:cubicBezTo>
                  <a:cubicBezTo>
                    <a:pt x="0" y="8"/>
                    <a:pt x="5" y="0"/>
                    <a:pt x="15" y="0"/>
                  </a:cubicBezTo>
                  <a:cubicBezTo>
                    <a:pt x="26" y="0"/>
                    <a:pt x="31" y="8"/>
                    <a:pt x="31" y="23"/>
                  </a:cubicBezTo>
                  <a:close/>
                  <a:moveTo>
                    <a:pt x="8" y="23"/>
                  </a:moveTo>
                  <a:cubicBezTo>
                    <a:pt x="8" y="34"/>
                    <a:pt x="10" y="39"/>
                    <a:pt x="15" y="39"/>
                  </a:cubicBezTo>
                  <a:cubicBezTo>
                    <a:pt x="20" y="39"/>
                    <a:pt x="23" y="34"/>
                    <a:pt x="23" y="23"/>
                  </a:cubicBezTo>
                  <a:cubicBezTo>
                    <a:pt x="23" y="12"/>
                    <a:pt x="20" y="7"/>
                    <a:pt x="15" y="7"/>
                  </a:cubicBezTo>
                  <a:cubicBezTo>
                    <a:pt x="10" y="7"/>
                    <a:pt x="8" y="12"/>
                    <a:pt x="8" y="2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25" name="Freeform 85">
              <a:extLst>
                <a:ext uri="{FF2B5EF4-FFF2-40B4-BE49-F238E27FC236}">
                  <a16:creationId xmlns:a16="http://schemas.microsoft.com/office/drawing/2014/main" id="{36D205DF-66F9-46AC-8CA2-6DDDC7BF19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6795" y="4390156"/>
              <a:ext cx="41265" cy="59918"/>
            </a:xfrm>
            <a:custGeom>
              <a:avLst/>
              <a:gdLst>
                <a:gd name="T0" fmla="*/ 31 w 31"/>
                <a:gd name="T1" fmla="*/ 23 h 45"/>
                <a:gd name="T2" fmla="*/ 15 w 31"/>
                <a:gd name="T3" fmla="*/ 45 h 45"/>
                <a:gd name="T4" fmla="*/ 0 w 31"/>
                <a:gd name="T5" fmla="*/ 23 h 45"/>
                <a:gd name="T6" fmla="*/ 15 w 31"/>
                <a:gd name="T7" fmla="*/ 0 h 45"/>
                <a:gd name="T8" fmla="*/ 31 w 31"/>
                <a:gd name="T9" fmla="*/ 23 h 45"/>
                <a:gd name="T10" fmla="*/ 8 w 31"/>
                <a:gd name="T11" fmla="*/ 23 h 45"/>
                <a:gd name="T12" fmla="*/ 15 w 31"/>
                <a:gd name="T13" fmla="*/ 39 h 45"/>
                <a:gd name="T14" fmla="*/ 23 w 31"/>
                <a:gd name="T15" fmla="*/ 23 h 45"/>
                <a:gd name="T16" fmla="*/ 15 w 31"/>
                <a:gd name="T17" fmla="*/ 6 h 45"/>
                <a:gd name="T18" fmla="*/ 8 w 31"/>
                <a:gd name="T19" fmla="*/ 2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45">
                  <a:moveTo>
                    <a:pt x="31" y="23"/>
                  </a:moveTo>
                  <a:cubicBezTo>
                    <a:pt x="31" y="38"/>
                    <a:pt x="26" y="45"/>
                    <a:pt x="15" y="45"/>
                  </a:cubicBezTo>
                  <a:cubicBezTo>
                    <a:pt x="5" y="45"/>
                    <a:pt x="0" y="38"/>
                    <a:pt x="0" y="23"/>
                  </a:cubicBezTo>
                  <a:cubicBezTo>
                    <a:pt x="0" y="8"/>
                    <a:pt x="5" y="0"/>
                    <a:pt x="15" y="0"/>
                  </a:cubicBezTo>
                  <a:cubicBezTo>
                    <a:pt x="26" y="0"/>
                    <a:pt x="31" y="8"/>
                    <a:pt x="31" y="23"/>
                  </a:cubicBezTo>
                  <a:close/>
                  <a:moveTo>
                    <a:pt x="8" y="23"/>
                  </a:moveTo>
                  <a:cubicBezTo>
                    <a:pt x="8" y="34"/>
                    <a:pt x="10" y="39"/>
                    <a:pt x="15" y="39"/>
                  </a:cubicBezTo>
                  <a:cubicBezTo>
                    <a:pt x="20" y="39"/>
                    <a:pt x="23" y="34"/>
                    <a:pt x="23" y="23"/>
                  </a:cubicBezTo>
                  <a:cubicBezTo>
                    <a:pt x="23" y="12"/>
                    <a:pt x="20" y="6"/>
                    <a:pt x="15" y="6"/>
                  </a:cubicBezTo>
                  <a:cubicBezTo>
                    <a:pt x="10" y="6"/>
                    <a:pt x="8" y="12"/>
                    <a:pt x="8" y="2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26" name="Freeform 95">
              <a:extLst>
                <a:ext uri="{FF2B5EF4-FFF2-40B4-BE49-F238E27FC236}">
                  <a16:creationId xmlns:a16="http://schemas.microsoft.com/office/drawing/2014/main" id="{DA841861-5DA1-4C3F-B37A-4DAD65CECA19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5397" y="3857111"/>
              <a:ext cx="19784" cy="32220"/>
            </a:xfrm>
            <a:custGeom>
              <a:avLst/>
              <a:gdLst>
                <a:gd name="T0" fmla="*/ 16 w 35"/>
                <a:gd name="T1" fmla="*/ 14 h 57"/>
                <a:gd name="T2" fmla="*/ 7 w 35"/>
                <a:gd name="T3" fmla="*/ 21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7 h 57"/>
                <a:gd name="T12" fmla="*/ 35 w 35"/>
                <a:gd name="T13" fmla="*/ 47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7 h 57"/>
                <a:gd name="T20" fmla="*/ 16 w 35"/>
                <a:gd name="T21" fmla="*/ 47 h 57"/>
                <a:gd name="T22" fmla="*/ 16 w 35"/>
                <a:gd name="T23" fmla="*/ 1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4"/>
                  </a:moveTo>
                  <a:lnTo>
                    <a:pt x="7" y="21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27" name="Freeform 96">
              <a:extLst>
                <a:ext uri="{FF2B5EF4-FFF2-40B4-BE49-F238E27FC236}">
                  <a16:creationId xmlns:a16="http://schemas.microsoft.com/office/drawing/2014/main" id="{9FCC46C1-21D3-4FBE-9052-F3627A61CD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61440" y="3911941"/>
              <a:ext cx="25437" cy="32220"/>
            </a:xfrm>
            <a:custGeom>
              <a:avLst/>
              <a:gdLst>
                <a:gd name="T0" fmla="*/ 17 w 19"/>
                <a:gd name="T1" fmla="*/ 4 h 24"/>
                <a:gd name="T2" fmla="*/ 19 w 19"/>
                <a:gd name="T3" fmla="*/ 12 h 24"/>
                <a:gd name="T4" fmla="*/ 17 w 19"/>
                <a:gd name="T5" fmla="*/ 21 h 24"/>
                <a:gd name="T6" fmla="*/ 10 w 19"/>
                <a:gd name="T7" fmla="*/ 24 h 24"/>
                <a:gd name="T8" fmla="*/ 2 w 19"/>
                <a:gd name="T9" fmla="*/ 20 h 24"/>
                <a:gd name="T10" fmla="*/ 0 w 19"/>
                <a:gd name="T11" fmla="*/ 12 h 24"/>
                <a:gd name="T12" fmla="*/ 10 w 19"/>
                <a:gd name="T13" fmla="*/ 0 h 24"/>
                <a:gd name="T14" fmla="*/ 17 w 19"/>
                <a:gd name="T15" fmla="*/ 4 h 24"/>
                <a:gd name="T16" fmla="*/ 6 w 19"/>
                <a:gd name="T17" fmla="*/ 12 h 24"/>
                <a:gd name="T18" fmla="*/ 10 w 19"/>
                <a:gd name="T19" fmla="*/ 20 h 24"/>
                <a:gd name="T20" fmla="*/ 14 w 19"/>
                <a:gd name="T21" fmla="*/ 12 h 24"/>
                <a:gd name="T22" fmla="*/ 10 w 19"/>
                <a:gd name="T23" fmla="*/ 4 h 24"/>
                <a:gd name="T24" fmla="*/ 6 w 19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4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6"/>
                    <a:pt x="18" y="19"/>
                    <a:pt x="17" y="21"/>
                  </a:cubicBezTo>
                  <a:cubicBezTo>
                    <a:pt x="15" y="23"/>
                    <a:pt x="13" y="24"/>
                    <a:pt x="10" y="24"/>
                  </a:cubicBezTo>
                  <a:cubicBezTo>
                    <a:pt x="6" y="24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1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28" name="Freeform 97">
              <a:extLst>
                <a:ext uri="{FF2B5EF4-FFF2-40B4-BE49-F238E27FC236}">
                  <a16:creationId xmlns:a16="http://schemas.microsoft.com/office/drawing/2014/main" id="{2621FE52-1409-4147-80FD-39C5AFDF73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5397" y="3966772"/>
              <a:ext cx="19784" cy="31655"/>
            </a:xfrm>
            <a:custGeom>
              <a:avLst/>
              <a:gdLst>
                <a:gd name="T0" fmla="*/ 16 w 35"/>
                <a:gd name="T1" fmla="*/ 14 h 56"/>
                <a:gd name="T2" fmla="*/ 7 w 35"/>
                <a:gd name="T3" fmla="*/ 21 h 56"/>
                <a:gd name="T4" fmla="*/ 0 w 35"/>
                <a:gd name="T5" fmla="*/ 11 h 56"/>
                <a:gd name="T6" fmla="*/ 19 w 35"/>
                <a:gd name="T7" fmla="*/ 0 h 56"/>
                <a:gd name="T8" fmla="*/ 28 w 35"/>
                <a:gd name="T9" fmla="*/ 0 h 56"/>
                <a:gd name="T10" fmla="*/ 28 w 35"/>
                <a:gd name="T11" fmla="*/ 47 h 56"/>
                <a:gd name="T12" fmla="*/ 35 w 35"/>
                <a:gd name="T13" fmla="*/ 47 h 56"/>
                <a:gd name="T14" fmla="*/ 35 w 35"/>
                <a:gd name="T15" fmla="*/ 56 h 56"/>
                <a:gd name="T16" fmla="*/ 9 w 35"/>
                <a:gd name="T17" fmla="*/ 56 h 56"/>
                <a:gd name="T18" fmla="*/ 9 w 35"/>
                <a:gd name="T19" fmla="*/ 47 h 56"/>
                <a:gd name="T20" fmla="*/ 16 w 35"/>
                <a:gd name="T21" fmla="*/ 47 h 56"/>
                <a:gd name="T22" fmla="*/ 16 w 35"/>
                <a:gd name="T23" fmla="*/ 1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6">
                  <a:moveTo>
                    <a:pt x="16" y="14"/>
                  </a:moveTo>
                  <a:lnTo>
                    <a:pt x="7" y="21"/>
                  </a:lnTo>
                  <a:lnTo>
                    <a:pt x="0" y="11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6"/>
                  </a:lnTo>
                  <a:lnTo>
                    <a:pt x="9" y="56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29" name="Freeform 98">
              <a:extLst>
                <a:ext uri="{FF2B5EF4-FFF2-40B4-BE49-F238E27FC236}">
                  <a16:creationId xmlns:a16="http://schemas.microsoft.com/office/drawing/2014/main" id="{DF20872E-6CA0-4B89-86B5-450DE1D02F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61440" y="4021603"/>
              <a:ext cx="25437" cy="31655"/>
            </a:xfrm>
            <a:custGeom>
              <a:avLst/>
              <a:gdLst>
                <a:gd name="T0" fmla="*/ 17 w 19"/>
                <a:gd name="T1" fmla="*/ 4 h 24"/>
                <a:gd name="T2" fmla="*/ 19 w 19"/>
                <a:gd name="T3" fmla="*/ 12 h 24"/>
                <a:gd name="T4" fmla="*/ 17 w 19"/>
                <a:gd name="T5" fmla="*/ 21 h 24"/>
                <a:gd name="T6" fmla="*/ 10 w 19"/>
                <a:gd name="T7" fmla="*/ 24 h 24"/>
                <a:gd name="T8" fmla="*/ 2 w 19"/>
                <a:gd name="T9" fmla="*/ 20 h 24"/>
                <a:gd name="T10" fmla="*/ 0 w 19"/>
                <a:gd name="T11" fmla="*/ 12 h 24"/>
                <a:gd name="T12" fmla="*/ 10 w 19"/>
                <a:gd name="T13" fmla="*/ 0 h 24"/>
                <a:gd name="T14" fmla="*/ 17 w 19"/>
                <a:gd name="T15" fmla="*/ 4 h 24"/>
                <a:gd name="T16" fmla="*/ 6 w 19"/>
                <a:gd name="T17" fmla="*/ 12 h 24"/>
                <a:gd name="T18" fmla="*/ 10 w 19"/>
                <a:gd name="T19" fmla="*/ 20 h 24"/>
                <a:gd name="T20" fmla="*/ 14 w 19"/>
                <a:gd name="T21" fmla="*/ 12 h 24"/>
                <a:gd name="T22" fmla="*/ 10 w 19"/>
                <a:gd name="T23" fmla="*/ 4 h 24"/>
                <a:gd name="T24" fmla="*/ 6 w 19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4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6"/>
                    <a:pt x="18" y="19"/>
                    <a:pt x="17" y="21"/>
                  </a:cubicBezTo>
                  <a:cubicBezTo>
                    <a:pt x="15" y="23"/>
                    <a:pt x="13" y="24"/>
                    <a:pt x="10" y="24"/>
                  </a:cubicBezTo>
                  <a:cubicBezTo>
                    <a:pt x="6" y="24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1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30" name="Freeform 99">
              <a:extLst>
                <a:ext uri="{FF2B5EF4-FFF2-40B4-BE49-F238E27FC236}">
                  <a16:creationId xmlns:a16="http://schemas.microsoft.com/office/drawing/2014/main" id="{FD3A534B-5678-4B02-A501-FB9B1F31CE1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5397" y="4075868"/>
              <a:ext cx="19784" cy="32220"/>
            </a:xfrm>
            <a:custGeom>
              <a:avLst/>
              <a:gdLst>
                <a:gd name="T0" fmla="*/ 16 w 35"/>
                <a:gd name="T1" fmla="*/ 15 h 57"/>
                <a:gd name="T2" fmla="*/ 7 w 35"/>
                <a:gd name="T3" fmla="*/ 22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8 h 57"/>
                <a:gd name="T12" fmla="*/ 35 w 35"/>
                <a:gd name="T13" fmla="*/ 48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8 h 57"/>
                <a:gd name="T20" fmla="*/ 16 w 35"/>
                <a:gd name="T21" fmla="*/ 48 h 57"/>
                <a:gd name="T22" fmla="*/ 16 w 35"/>
                <a:gd name="T23" fmla="*/ 1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5"/>
                  </a:moveTo>
                  <a:lnTo>
                    <a:pt x="7" y="22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8"/>
                  </a:lnTo>
                  <a:lnTo>
                    <a:pt x="35" y="48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8"/>
                  </a:lnTo>
                  <a:lnTo>
                    <a:pt x="16" y="48"/>
                  </a:lnTo>
                  <a:lnTo>
                    <a:pt x="16" y="15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31" name="Freeform 100">
              <a:extLst>
                <a:ext uri="{FF2B5EF4-FFF2-40B4-BE49-F238E27FC236}">
                  <a16:creationId xmlns:a16="http://schemas.microsoft.com/office/drawing/2014/main" id="{E0CF6319-C790-428E-A631-14E6414CAB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61440" y="4130699"/>
              <a:ext cx="25437" cy="32220"/>
            </a:xfrm>
            <a:custGeom>
              <a:avLst/>
              <a:gdLst>
                <a:gd name="T0" fmla="*/ 17 w 19"/>
                <a:gd name="T1" fmla="*/ 4 h 24"/>
                <a:gd name="T2" fmla="*/ 19 w 19"/>
                <a:gd name="T3" fmla="*/ 12 h 24"/>
                <a:gd name="T4" fmla="*/ 17 w 19"/>
                <a:gd name="T5" fmla="*/ 21 h 24"/>
                <a:gd name="T6" fmla="*/ 10 w 19"/>
                <a:gd name="T7" fmla="*/ 24 h 24"/>
                <a:gd name="T8" fmla="*/ 2 w 19"/>
                <a:gd name="T9" fmla="*/ 20 h 24"/>
                <a:gd name="T10" fmla="*/ 0 w 19"/>
                <a:gd name="T11" fmla="*/ 12 h 24"/>
                <a:gd name="T12" fmla="*/ 10 w 19"/>
                <a:gd name="T13" fmla="*/ 0 h 24"/>
                <a:gd name="T14" fmla="*/ 17 w 19"/>
                <a:gd name="T15" fmla="*/ 4 h 24"/>
                <a:gd name="T16" fmla="*/ 6 w 19"/>
                <a:gd name="T17" fmla="*/ 12 h 24"/>
                <a:gd name="T18" fmla="*/ 10 w 19"/>
                <a:gd name="T19" fmla="*/ 20 h 24"/>
                <a:gd name="T20" fmla="*/ 14 w 19"/>
                <a:gd name="T21" fmla="*/ 12 h 24"/>
                <a:gd name="T22" fmla="*/ 10 w 19"/>
                <a:gd name="T23" fmla="*/ 4 h 24"/>
                <a:gd name="T24" fmla="*/ 6 w 19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4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6"/>
                    <a:pt x="18" y="19"/>
                    <a:pt x="17" y="21"/>
                  </a:cubicBezTo>
                  <a:cubicBezTo>
                    <a:pt x="15" y="23"/>
                    <a:pt x="13" y="24"/>
                    <a:pt x="10" y="24"/>
                  </a:cubicBezTo>
                  <a:cubicBezTo>
                    <a:pt x="6" y="24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1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32" name="Freeform 101">
              <a:extLst>
                <a:ext uri="{FF2B5EF4-FFF2-40B4-BE49-F238E27FC236}">
                  <a16:creationId xmlns:a16="http://schemas.microsoft.com/office/drawing/2014/main" id="{4DBCCDBA-BB08-4ED0-8212-DC0C931F476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5397" y="4185530"/>
              <a:ext cx="19784" cy="32220"/>
            </a:xfrm>
            <a:custGeom>
              <a:avLst/>
              <a:gdLst>
                <a:gd name="T0" fmla="*/ 16 w 35"/>
                <a:gd name="T1" fmla="*/ 14 h 57"/>
                <a:gd name="T2" fmla="*/ 7 w 35"/>
                <a:gd name="T3" fmla="*/ 21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7 h 57"/>
                <a:gd name="T12" fmla="*/ 35 w 35"/>
                <a:gd name="T13" fmla="*/ 47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7 h 57"/>
                <a:gd name="T20" fmla="*/ 16 w 35"/>
                <a:gd name="T21" fmla="*/ 47 h 57"/>
                <a:gd name="T22" fmla="*/ 16 w 35"/>
                <a:gd name="T23" fmla="*/ 1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4"/>
                  </a:moveTo>
                  <a:lnTo>
                    <a:pt x="7" y="21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33" name="Freeform 102">
              <a:extLst>
                <a:ext uri="{FF2B5EF4-FFF2-40B4-BE49-F238E27FC236}">
                  <a16:creationId xmlns:a16="http://schemas.microsoft.com/office/drawing/2014/main" id="{89F52583-A0D8-4356-9F9C-A1AA36D216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5397" y="4240361"/>
              <a:ext cx="19784" cy="32220"/>
            </a:xfrm>
            <a:custGeom>
              <a:avLst/>
              <a:gdLst>
                <a:gd name="T0" fmla="*/ 16 w 35"/>
                <a:gd name="T1" fmla="*/ 14 h 57"/>
                <a:gd name="T2" fmla="*/ 7 w 35"/>
                <a:gd name="T3" fmla="*/ 21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7 h 57"/>
                <a:gd name="T12" fmla="*/ 35 w 35"/>
                <a:gd name="T13" fmla="*/ 47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7 h 57"/>
                <a:gd name="T20" fmla="*/ 16 w 35"/>
                <a:gd name="T21" fmla="*/ 47 h 57"/>
                <a:gd name="T22" fmla="*/ 16 w 35"/>
                <a:gd name="T23" fmla="*/ 1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4"/>
                  </a:moveTo>
                  <a:lnTo>
                    <a:pt x="7" y="21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34" name="Freeform 103">
              <a:extLst>
                <a:ext uri="{FF2B5EF4-FFF2-40B4-BE49-F238E27FC236}">
                  <a16:creationId xmlns:a16="http://schemas.microsoft.com/office/drawing/2014/main" id="{25A7D9C5-22BC-4175-A104-6B42D76ECC78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5397" y="4296322"/>
              <a:ext cx="19784" cy="31090"/>
            </a:xfrm>
            <a:custGeom>
              <a:avLst/>
              <a:gdLst>
                <a:gd name="T0" fmla="*/ 16 w 35"/>
                <a:gd name="T1" fmla="*/ 12 h 55"/>
                <a:gd name="T2" fmla="*/ 7 w 35"/>
                <a:gd name="T3" fmla="*/ 19 h 55"/>
                <a:gd name="T4" fmla="*/ 0 w 35"/>
                <a:gd name="T5" fmla="*/ 10 h 55"/>
                <a:gd name="T6" fmla="*/ 19 w 35"/>
                <a:gd name="T7" fmla="*/ 0 h 55"/>
                <a:gd name="T8" fmla="*/ 28 w 35"/>
                <a:gd name="T9" fmla="*/ 0 h 55"/>
                <a:gd name="T10" fmla="*/ 28 w 35"/>
                <a:gd name="T11" fmla="*/ 45 h 55"/>
                <a:gd name="T12" fmla="*/ 35 w 35"/>
                <a:gd name="T13" fmla="*/ 45 h 55"/>
                <a:gd name="T14" fmla="*/ 35 w 35"/>
                <a:gd name="T15" fmla="*/ 55 h 55"/>
                <a:gd name="T16" fmla="*/ 9 w 35"/>
                <a:gd name="T17" fmla="*/ 55 h 55"/>
                <a:gd name="T18" fmla="*/ 9 w 35"/>
                <a:gd name="T19" fmla="*/ 45 h 55"/>
                <a:gd name="T20" fmla="*/ 16 w 35"/>
                <a:gd name="T21" fmla="*/ 45 h 55"/>
                <a:gd name="T22" fmla="*/ 16 w 35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5">
                  <a:moveTo>
                    <a:pt x="16" y="12"/>
                  </a:moveTo>
                  <a:lnTo>
                    <a:pt x="7" y="19"/>
                  </a:lnTo>
                  <a:lnTo>
                    <a:pt x="0" y="10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5"/>
                  </a:lnTo>
                  <a:lnTo>
                    <a:pt x="35" y="45"/>
                  </a:lnTo>
                  <a:lnTo>
                    <a:pt x="35" y="55"/>
                  </a:lnTo>
                  <a:lnTo>
                    <a:pt x="9" y="55"/>
                  </a:lnTo>
                  <a:lnTo>
                    <a:pt x="9" y="45"/>
                  </a:lnTo>
                  <a:lnTo>
                    <a:pt x="16" y="45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35" name="Freeform 104">
              <a:extLst>
                <a:ext uri="{FF2B5EF4-FFF2-40B4-BE49-F238E27FC236}">
                  <a16:creationId xmlns:a16="http://schemas.microsoft.com/office/drawing/2014/main" id="{DC145DDA-4619-4EF6-90F9-58A2E88DA1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61440" y="4350022"/>
              <a:ext cx="25437" cy="33351"/>
            </a:xfrm>
            <a:custGeom>
              <a:avLst/>
              <a:gdLst>
                <a:gd name="T0" fmla="*/ 17 w 19"/>
                <a:gd name="T1" fmla="*/ 4 h 25"/>
                <a:gd name="T2" fmla="*/ 19 w 19"/>
                <a:gd name="T3" fmla="*/ 12 h 25"/>
                <a:gd name="T4" fmla="*/ 17 w 19"/>
                <a:gd name="T5" fmla="*/ 21 h 25"/>
                <a:gd name="T6" fmla="*/ 10 w 19"/>
                <a:gd name="T7" fmla="*/ 25 h 25"/>
                <a:gd name="T8" fmla="*/ 2 w 19"/>
                <a:gd name="T9" fmla="*/ 20 h 25"/>
                <a:gd name="T10" fmla="*/ 0 w 19"/>
                <a:gd name="T11" fmla="*/ 12 h 25"/>
                <a:gd name="T12" fmla="*/ 10 w 19"/>
                <a:gd name="T13" fmla="*/ 0 h 25"/>
                <a:gd name="T14" fmla="*/ 17 w 19"/>
                <a:gd name="T15" fmla="*/ 4 h 25"/>
                <a:gd name="T16" fmla="*/ 6 w 19"/>
                <a:gd name="T17" fmla="*/ 12 h 25"/>
                <a:gd name="T18" fmla="*/ 10 w 19"/>
                <a:gd name="T19" fmla="*/ 20 h 25"/>
                <a:gd name="T20" fmla="*/ 14 w 19"/>
                <a:gd name="T21" fmla="*/ 12 h 25"/>
                <a:gd name="T22" fmla="*/ 10 w 19"/>
                <a:gd name="T23" fmla="*/ 4 h 25"/>
                <a:gd name="T24" fmla="*/ 6 w 19"/>
                <a:gd name="T25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5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7"/>
                    <a:pt x="18" y="19"/>
                    <a:pt x="17" y="21"/>
                  </a:cubicBezTo>
                  <a:cubicBezTo>
                    <a:pt x="15" y="23"/>
                    <a:pt x="13" y="25"/>
                    <a:pt x="10" y="25"/>
                  </a:cubicBezTo>
                  <a:cubicBezTo>
                    <a:pt x="6" y="25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2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36" name="Freeform 105">
              <a:extLst>
                <a:ext uri="{FF2B5EF4-FFF2-40B4-BE49-F238E27FC236}">
                  <a16:creationId xmlns:a16="http://schemas.microsoft.com/office/drawing/2014/main" id="{83E73128-C301-4AC2-A39B-D35CAB155C0A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5397" y="4405984"/>
              <a:ext cx="19784" cy="30524"/>
            </a:xfrm>
            <a:custGeom>
              <a:avLst/>
              <a:gdLst>
                <a:gd name="T0" fmla="*/ 16 w 35"/>
                <a:gd name="T1" fmla="*/ 12 h 54"/>
                <a:gd name="T2" fmla="*/ 7 w 35"/>
                <a:gd name="T3" fmla="*/ 19 h 54"/>
                <a:gd name="T4" fmla="*/ 0 w 35"/>
                <a:gd name="T5" fmla="*/ 9 h 54"/>
                <a:gd name="T6" fmla="*/ 19 w 35"/>
                <a:gd name="T7" fmla="*/ 0 h 54"/>
                <a:gd name="T8" fmla="*/ 28 w 35"/>
                <a:gd name="T9" fmla="*/ 0 h 54"/>
                <a:gd name="T10" fmla="*/ 28 w 35"/>
                <a:gd name="T11" fmla="*/ 45 h 54"/>
                <a:gd name="T12" fmla="*/ 35 w 35"/>
                <a:gd name="T13" fmla="*/ 45 h 54"/>
                <a:gd name="T14" fmla="*/ 35 w 35"/>
                <a:gd name="T15" fmla="*/ 54 h 54"/>
                <a:gd name="T16" fmla="*/ 9 w 35"/>
                <a:gd name="T17" fmla="*/ 54 h 54"/>
                <a:gd name="T18" fmla="*/ 9 w 35"/>
                <a:gd name="T19" fmla="*/ 45 h 54"/>
                <a:gd name="T20" fmla="*/ 16 w 35"/>
                <a:gd name="T21" fmla="*/ 45 h 54"/>
                <a:gd name="T22" fmla="*/ 16 w 35"/>
                <a:gd name="T23" fmla="*/ 1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4">
                  <a:moveTo>
                    <a:pt x="16" y="12"/>
                  </a:moveTo>
                  <a:lnTo>
                    <a:pt x="7" y="19"/>
                  </a:lnTo>
                  <a:lnTo>
                    <a:pt x="0" y="9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5"/>
                  </a:lnTo>
                  <a:lnTo>
                    <a:pt x="35" y="45"/>
                  </a:lnTo>
                  <a:lnTo>
                    <a:pt x="35" y="54"/>
                  </a:lnTo>
                  <a:lnTo>
                    <a:pt x="9" y="54"/>
                  </a:lnTo>
                  <a:lnTo>
                    <a:pt x="9" y="45"/>
                  </a:lnTo>
                  <a:lnTo>
                    <a:pt x="16" y="45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37" name="Freeform 106">
              <a:extLst>
                <a:ext uri="{FF2B5EF4-FFF2-40B4-BE49-F238E27FC236}">
                  <a16:creationId xmlns:a16="http://schemas.microsoft.com/office/drawing/2014/main" id="{AA8B65D7-F3DC-4961-8261-BF0BF2836A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61440" y="4459119"/>
              <a:ext cx="25437" cy="33351"/>
            </a:xfrm>
            <a:custGeom>
              <a:avLst/>
              <a:gdLst>
                <a:gd name="T0" fmla="*/ 17 w 19"/>
                <a:gd name="T1" fmla="*/ 5 h 25"/>
                <a:gd name="T2" fmla="*/ 19 w 19"/>
                <a:gd name="T3" fmla="*/ 12 h 25"/>
                <a:gd name="T4" fmla="*/ 17 w 19"/>
                <a:gd name="T5" fmla="*/ 21 h 25"/>
                <a:gd name="T6" fmla="*/ 10 w 19"/>
                <a:gd name="T7" fmla="*/ 25 h 25"/>
                <a:gd name="T8" fmla="*/ 2 w 19"/>
                <a:gd name="T9" fmla="*/ 20 h 25"/>
                <a:gd name="T10" fmla="*/ 0 w 19"/>
                <a:gd name="T11" fmla="*/ 12 h 25"/>
                <a:gd name="T12" fmla="*/ 10 w 19"/>
                <a:gd name="T13" fmla="*/ 0 h 25"/>
                <a:gd name="T14" fmla="*/ 17 w 19"/>
                <a:gd name="T15" fmla="*/ 5 h 25"/>
                <a:gd name="T16" fmla="*/ 6 w 19"/>
                <a:gd name="T17" fmla="*/ 12 h 25"/>
                <a:gd name="T18" fmla="*/ 10 w 19"/>
                <a:gd name="T19" fmla="*/ 21 h 25"/>
                <a:gd name="T20" fmla="*/ 14 w 19"/>
                <a:gd name="T21" fmla="*/ 12 h 25"/>
                <a:gd name="T22" fmla="*/ 10 w 19"/>
                <a:gd name="T23" fmla="*/ 4 h 25"/>
                <a:gd name="T24" fmla="*/ 6 w 19"/>
                <a:gd name="T25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5">
                  <a:moveTo>
                    <a:pt x="17" y="5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7"/>
                    <a:pt x="18" y="19"/>
                    <a:pt x="17" y="21"/>
                  </a:cubicBezTo>
                  <a:cubicBezTo>
                    <a:pt x="15" y="24"/>
                    <a:pt x="13" y="25"/>
                    <a:pt x="10" y="25"/>
                  </a:cubicBezTo>
                  <a:cubicBezTo>
                    <a:pt x="6" y="25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2"/>
                    <a:pt x="17" y="5"/>
                  </a:cubicBezTo>
                  <a:close/>
                  <a:moveTo>
                    <a:pt x="6" y="12"/>
                  </a:moveTo>
                  <a:cubicBezTo>
                    <a:pt x="6" y="18"/>
                    <a:pt x="7" y="21"/>
                    <a:pt x="10" y="21"/>
                  </a:cubicBezTo>
                  <a:cubicBezTo>
                    <a:pt x="12" y="21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38" name="Freeform 135">
              <a:extLst>
                <a:ext uri="{FF2B5EF4-FFF2-40B4-BE49-F238E27FC236}">
                  <a16:creationId xmlns:a16="http://schemas.microsoft.com/office/drawing/2014/main" id="{1BC58D47-CC7E-4AF9-8944-966D7288AB8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8328" y="3994470"/>
              <a:ext cx="22611" cy="41830"/>
            </a:xfrm>
            <a:custGeom>
              <a:avLst/>
              <a:gdLst>
                <a:gd name="T0" fmla="*/ 19 w 40"/>
                <a:gd name="T1" fmla="*/ 14 h 74"/>
                <a:gd name="T2" fmla="*/ 4 w 40"/>
                <a:gd name="T3" fmla="*/ 24 h 74"/>
                <a:gd name="T4" fmla="*/ 0 w 40"/>
                <a:gd name="T5" fmla="*/ 14 h 74"/>
                <a:gd name="T6" fmla="*/ 21 w 40"/>
                <a:gd name="T7" fmla="*/ 0 h 74"/>
                <a:gd name="T8" fmla="*/ 30 w 40"/>
                <a:gd name="T9" fmla="*/ 0 h 74"/>
                <a:gd name="T10" fmla="*/ 30 w 40"/>
                <a:gd name="T11" fmla="*/ 64 h 74"/>
                <a:gd name="T12" fmla="*/ 40 w 40"/>
                <a:gd name="T13" fmla="*/ 64 h 74"/>
                <a:gd name="T14" fmla="*/ 40 w 40"/>
                <a:gd name="T15" fmla="*/ 74 h 74"/>
                <a:gd name="T16" fmla="*/ 9 w 40"/>
                <a:gd name="T17" fmla="*/ 74 h 74"/>
                <a:gd name="T18" fmla="*/ 9 w 40"/>
                <a:gd name="T19" fmla="*/ 64 h 74"/>
                <a:gd name="T20" fmla="*/ 19 w 40"/>
                <a:gd name="T21" fmla="*/ 64 h 74"/>
                <a:gd name="T22" fmla="*/ 19 w 40"/>
                <a:gd name="T23" fmla="*/ 1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4">
                  <a:moveTo>
                    <a:pt x="19" y="14"/>
                  </a:moveTo>
                  <a:lnTo>
                    <a:pt x="4" y="24"/>
                  </a:lnTo>
                  <a:lnTo>
                    <a:pt x="0" y="14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4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9" y="74"/>
                  </a:lnTo>
                  <a:lnTo>
                    <a:pt x="9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39" name="Freeform 136">
              <a:extLst>
                <a:ext uri="{FF2B5EF4-FFF2-40B4-BE49-F238E27FC236}">
                  <a16:creationId xmlns:a16="http://schemas.microsoft.com/office/drawing/2014/main" id="{AFF57DFF-ED03-4442-BE73-128C650513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64370" y="4065128"/>
              <a:ext cx="28263" cy="42960"/>
            </a:xfrm>
            <a:custGeom>
              <a:avLst/>
              <a:gdLst>
                <a:gd name="T0" fmla="*/ 21 w 21"/>
                <a:gd name="T1" fmla="*/ 16 h 32"/>
                <a:gd name="T2" fmla="*/ 10 w 21"/>
                <a:gd name="T3" fmla="*/ 32 h 32"/>
                <a:gd name="T4" fmla="*/ 0 w 21"/>
                <a:gd name="T5" fmla="*/ 16 h 32"/>
                <a:gd name="T6" fmla="*/ 10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0 w 21"/>
                <a:gd name="T13" fmla="*/ 28 h 32"/>
                <a:gd name="T14" fmla="*/ 16 w 21"/>
                <a:gd name="T15" fmla="*/ 16 h 32"/>
                <a:gd name="T16" fmla="*/ 10 w 21"/>
                <a:gd name="T17" fmla="*/ 5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7"/>
                    <a:pt x="18" y="32"/>
                    <a:pt x="10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0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8"/>
                    <a:pt x="10" y="28"/>
                  </a:cubicBezTo>
                  <a:cubicBezTo>
                    <a:pt x="14" y="28"/>
                    <a:pt x="16" y="24"/>
                    <a:pt x="16" y="16"/>
                  </a:cubicBezTo>
                  <a:cubicBezTo>
                    <a:pt x="16" y="8"/>
                    <a:pt x="14" y="5"/>
                    <a:pt x="10" y="5"/>
                  </a:cubicBezTo>
                  <a:cubicBezTo>
                    <a:pt x="7" y="5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40" name="Freeform 137">
              <a:extLst>
                <a:ext uri="{FF2B5EF4-FFF2-40B4-BE49-F238E27FC236}">
                  <a16:creationId xmlns:a16="http://schemas.microsoft.com/office/drawing/2014/main" id="{50A9914B-57E3-4FFC-B0B4-75D1439F36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64370" y="4208141"/>
              <a:ext cx="28263" cy="42960"/>
            </a:xfrm>
            <a:custGeom>
              <a:avLst/>
              <a:gdLst>
                <a:gd name="T0" fmla="*/ 21 w 21"/>
                <a:gd name="T1" fmla="*/ 16 h 32"/>
                <a:gd name="T2" fmla="*/ 10 w 21"/>
                <a:gd name="T3" fmla="*/ 32 h 32"/>
                <a:gd name="T4" fmla="*/ 0 w 21"/>
                <a:gd name="T5" fmla="*/ 16 h 32"/>
                <a:gd name="T6" fmla="*/ 10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0 w 21"/>
                <a:gd name="T13" fmla="*/ 27 h 32"/>
                <a:gd name="T14" fmla="*/ 16 w 21"/>
                <a:gd name="T15" fmla="*/ 16 h 32"/>
                <a:gd name="T16" fmla="*/ 10 w 21"/>
                <a:gd name="T17" fmla="*/ 4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6"/>
                    <a:pt x="18" y="32"/>
                    <a:pt x="10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0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7"/>
                    <a:pt x="10" y="27"/>
                  </a:cubicBezTo>
                  <a:cubicBezTo>
                    <a:pt x="14" y="27"/>
                    <a:pt x="16" y="24"/>
                    <a:pt x="16" y="16"/>
                  </a:cubicBezTo>
                  <a:cubicBezTo>
                    <a:pt x="16" y="8"/>
                    <a:pt x="14" y="4"/>
                    <a:pt x="10" y="4"/>
                  </a:cubicBezTo>
                  <a:cubicBezTo>
                    <a:pt x="7" y="4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41" name="Freeform 138">
              <a:extLst>
                <a:ext uri="{FF2B5EF4-FFF2-40B4-BE49-F238E27FC236}">
                  <a16:creationId xmlns:a16="http://schemas.microsoft.com/office/drawing/2014/main" id="{A2A534EC-E1F3-41C8-B348-5CCECAC6EA08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8329" y="4280495"/>
              <a:ext cx="22611" cy="40134"/>
            </a:xfrm>
            <a:custGeom>
              <a:avLst/>
              <a:gdLst>
                <a:gd name="T0" fmla="*/ 19 w 40"/>
                <a:gd name="T1" fmla="*/ 12 h 71"/>
                <a:gd name="T2" fmla="*/ 4 w 40"/>
                <a:gd name="T3" fmla="*/ 21 h 71"/>
                <a:gd name="T4" fmla="*/ 0 w 40"/>
                <a:gd name="T5" fmla="*/ 12 h 71"/>
                <a:gd name="T6" fmla="*/ 21 w 40"/>
                <a:gd name="T7" fmla="*/ 0 h 71"/>
                <a:gd name="T8" fmla="*/ 30 w 40"/>
                <a:gd name="T9" fmla="*/ 0 h 71"/>
                <a:gd name="T10" fmla="*/ 30 w 40"/>
                <a:gd name="T11" fmla="*/ 64 h 71"/>
                <a:gd name="T12" fmla="*/ 40 w 40"/>
                <a:gd name="T13" fmla="*/ 64 h 71"/>
                <a:gd name="T14" fmla="*/ 40 w 40"/>
                <a:gd name="T15" fmla="*/ 71 h 71"/>
                <a:gd name="T16" fmla="*/ 9 w 40"/>
                <a:gd name="T17" fmla="*/ 71 h 71"/>
                <a:gd name="T18" fmla="*/ 9 w 40"/>
                <a:gd name="T19" fmla="*/ 64 h 71"/>
                <a:gd name="T20" fmla="*/ 19 w 40"/>
                <a:gd name="T21" fmla="*/ 64 h 71"/>
                <a:gd name="T22" fmla="*/ 19 w 40"/>
                <a:gd name="T23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1">
                  <a:moveTo>
                    <a:pt x="19" y="12"/>
                  </a:moveTo>
                  <a:lnTo>
                    <a:pt x="4" y="21"/>
                  </a:lnTo>
                  <a:lnTo>
                    <a:pt x="0" y="12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4"/>
                  </a:lnTo>
                  <a:lnTo>
                    <a:pt x="40" y="64"/>
                  </a:lnTo>
                  <a:lnTo>
                    <a:pt x="40" y="71"/>
                  </a:lnTo>
                  <a:lnTo>
                    <a:pt x="9" y="71"/>
                  </a:lnTo>
                  <a:lnTo>
                    <a:pt x="9" y="64"/>
                  </a:lnTo>
                  <a:lnTo>
                    <a:pt x="19" y="64"/>
                  </a:lnTo>
                  <a:lnTo>
                    <a:pt x="19" y="12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42" name="Freeform 139">
              <a:extLst>
                <a:ext uri="{FF2B5EF4-FFF2-40B4-BE49-F238E27FC236}">
                  <a16:creationId xmlns:a16="http://schemas.microsoft.com/office/drawing/2014/main" id="{B3860A37-0A04-4177-9147-A72934489B2D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8329" y="4351153"/>
              <a:ext cx="22611" cy="41265"/>
            </a:xfrm>
            <a:custGeom>
              <a:avLst/>
              <a:gdLst>
                <a:gd name="T0" fmla="*/ 19 w 40"/>
                <a:gd name="T1" fmla="*/ 14 h 73"/>
                <a:gd name="T2" fmla="*/ 4 w 40"/>
                <a:gd name="T3" fmla="*/ 24 h 73"/>
                <a:gd name="T4" fmla="*/ 0 w 40"/>
                <a:gd name="T5" fmla="*/ 14 h 73"/>
                <a:gd name="T6" fmla="*/ 21 w 40"/>
                <a:gd name="T7" fmla="*/ 0 h 73"/>
                <a:gd name="T8" fmla="*/ 30 w 40"/>
                <a:gd name="T9" fmla="*/ 0 h 73"/>
                <a:gd name="T10" fmla="*/ 30 w 40"/>
                <a:gd name="T11" fmla="*/ 64 h 73"/>
                <a:gd name="T12" fmla="*/ 40 w 40"/>
                <a:gd name="T13" fmla="*/ 64 h 73"/>
                <a:gd name="T14" fmla="*/ 40 w 40"/>
                <a:gd name="T15" fmla="*/ 73 h 73"/>
                <a:gd name="T16" fmla="*/ 9 w 40"/>
                <a:gd name="T17" fmla="*/ 73 h 73"/>
                <a:gd name="T18" fmla="*/ 9 w 40"/>
                <a:gd name="T19" fmla="*/ 64 h 73"/>
                <a:gd name="T20" fmla="*/ 19 w 40"/>
                <a:gd name="T21" fmla="*/ 64 h 73"/>
                <a:gd name="T22" fmla="*/ 19 w 40"/>
                <a:gd name="T23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3">
                  <a:moveTo>
                    <a:pt x="19" y="14"/>
                  </a:moveTo>
                  <a:lnTo>
                    <a:pt x="4" y="24"/>
                  </a:lnTo>
                  <a:lnTo>
                    <a:pt x="0" y="14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4"/>
                  </a:lnTo>
                  <a:lnTo>
                    <a:pt x="40" y="64"/>
                  </a:lnTo>
                  <a:lnTo>
                    <a:pt x="40" y="73"/>
                  </a:lnTo>
                  <a:lnTo>
                    <a:pt x="9" y="73"/>
                  </a:lnTo>
                  <a:lnTo>
                    <a:pt x="9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43" name="Freeform 140">
              <a:extLst>
                <a:ext uri="{FF2B5EF4-FFF2-40B4-BE49-F238E27FC236}">
                  <a16:creationId xmlns:a16="http://schemas.microsoft.com/office/drawing/2014/main" id="{196A83A4-01A8-446C-97E1-82BAA68CEB5D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8329" y="4421811"/>
              <a:ext cx="22611" cy="41265"/>
            </a:xfrm>
            <a:custGeom>
              <a:avLst/>
              <a:gdLst>
                <a:gd name="T0" fmla="*/ 19 w 40"/>
                <a:gd name="T1" fmla="*/ 14 h 73"/>
                <a:gd name="T2" fmla="*/ 4 w 40"/>
                <a:gd name="T3" fmla="*/ 24 h 73"/>
                <a:gd name="T4" fmla="*/ 0 w 40"/>
                <a:gd name="T5" fmla="*/ 14 h 73"/>
                <a:gd name="T6" fmla="*/ 21 w 40"/>
                <a:gd name="T7" fmla="*/ 0 h 73"/>
                <a:gd name="T8" fmla="*/ 30 w 40"/>
                <a:gd name="T9" fmla="*/ 0 h 73"/>
                <a:gd name="T10" fmla="*/ 30 w 40"/>
                <a:gd name="T11" fmla="*/ 64 h 73"/>
                <a:gd name="T12" fmla="*/ 40 w 40"/>
                <a:gd name="T13" fmla="*/ 64 h 73"/>
                <a:gd name="T14" fmla="*/ 40 w 40"/>
                <a:gd name="T15" fmla="*/ 73 h 73"/>
                <a:gd name="T16" fmla="*/ 9 w 40"/>
                <a:gd name="T17" fmla="*/ 73 h 73"/>
                <a:gd name="T18" fmla="*/ 9 w 40"/>
                <a:gd name="T19" fmla="*/ 64 h 73"/>
                <a:gd name="T20" fmla="*/ 19 w 40"/>
                <a:gd name="T21" fmla="*/ 64 h 73"/>
                <a:gd name="T22" fmla="*/ 19 w 40"/>
                <a:gd name="T23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3">
                  <a:moveTo>
                    <a:pt x="19" y="14"/>
                  </a:moveTo>
                  <a:lnTo>
                    <a:pt x="4" y="24"/>
                  </a:lnTo>
                  <a:lnTo>
                    <a:pt x="0" y="14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4"/>
                  </a:lnTo>
                  <a:lnTo>
                    <a:pt x="40" y="64"/>
                  </a:lnTo>
                  <a:lnTo>
                    <a:pt x="40" y="73"/>
                  </a:lnTo>
                  <a:lnTo>
                    <a:pt x="9" y="73"/>
                  </a:lnTo>
                  <a:lnTo>
                    <a:pt x="9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44" name="Freeform 149">
              <a:extLst>
                <a:ext uri="{FF2B5EF4-FFF2-40B4-BE49-F238E27FC236}">
                  <a16:creationId xmlns:a16="http://schemas.microsoft.com/office/drawing/2014/main" id="{A7B6AF69-2EA6-4339-9433-ECEFFCDFB3E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8644" y="3861067"/>
              <a:ext cx="34481" cy="61614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5 h 109"/>
                <a:gd name="T12" fmla="*/ 61 w 61"/>
                <a:gd name="T13" fmla="*/ 95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5 h 109"/>
                <a:gd name="T20" fmla="*/ 28 w 61"/>
                <a:gd name="T21" fmla="*/ 95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5"/>
                  </a:lnTo>
                  <a:lnTo>
                    <a:pt x="61" y="95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5"/>
                  </a:lnTo>
                  <a:lnTo>
                    <a:pt x="28" y="95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45" name="Freeform 150">
              <a:extLst>
                <a:ext uri="{FF2B5EF4-FFF2-40B4-BE49-F238E27FC236}">
                  <a16:creationId xmlns:a16="http://schemas.microsoft.com/office/drawing/2014/main" id="{517B560D-A2F8-4004-98A4-3192E1EA48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92992" y="3966772"/>
              <a:ext cx="42960" cy="63875"/>
            </a:xfrm>
            <a:custGeom>
              <a:avLst/>
              <a:gdLst>
                <a:gd name="T0" fmla="*/ 32 w 32"/>
                <a:gd name="T1" fmla="*/ 24 h 48"/>
                <a:gd name="T2" fmla="*/ 16 w 32"/>
                <a:gd name="T3" fmla="*/ 48 h 48"/>
                <a:gd name="T4" fmla="*/ 0 w 32"/>
                <a:gd name="T5" fmla="*/ 24 h 48"/>
                <a:gd name="T6" fmla="*/ 16 w 32"/>
                <a:gd name="T7" fmla="*/ 0 h 48"/>
                <a:gd name="T8" fmla="*/ 32 w 32"/>
                <a:gd name="T9" fmla="*/ 24 h 48"/>
                <a:gd name="T10" fmla="*/ 8 w 32"/>
                <a:gd name="T11" fmla="*/ 24 h 48"/>
                <a:gd name="T12" fmla="*/ 16 w 32"/>
                <a:gd name="T13" fmla="*/ 41 h 48"/>
                <a:gd name="T14" fmla="*/ 24 w 32"/>
                <a:gd name="T15" fmla="*/ 24 h 48"/>
                <a:gd name="T16" fmla="*/ 16 w 32"/>
                <a:gd name="T17" fmla="*/ 7 h 48"/>
                <a:gd name="T18" fmla="*/ 8 w 32"/>
                <a:gd name="T19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8">
                  <a:moveTo>
                    <a:pt x="32" y="24"/>
                  </a:moveTo>
                  <a:cubicBezTo>
                    <a:pt x="32" y="40"/>
                    <a:pt x="27" y="48"/>
                    <a:pt x="16" y="48"/>
                  </a:cubicBezTo>
                  <a:cubicBezTo>
                    <a:pt x="5" y="48"/>
                    <a:pt x="0" y="40"/>
                    <a:pt x="0" y="24"/>
                  </a:cubicBezTo>
                  <a:cubicBezTo>
                    <a:pt x="0" y="8"/>
                    <a:pt x="5" y="0"/>
                    <a:pt x="16" y="0"/>
                  </a:cubicBezTo>
                  <a:cubicBezTo>
                    <a:pt x="27" y="0"/>
                    <a:pt x="32" y="8"/>
                    <a:pt x="32" y="24"/>
                  </a:cubicBezTo>
                  <a:close/>
                  <a:moveTo>
                    <a:pt x="8" y="24"/>
                  </a:moveTo>
                  <a:cubicBezTo>
                    <a:pt x="8" y="36"/>
                    <a:pt x="11" y="41"/>
                    <a:pt x="16" y="41"/>
                  </a:cubicBezTo>
                  <a:cubicBezTo>
                    <a:pt x="22" y="41"/>
                    <a:pt x="24" y="36"/>
                    <a:pt x="24" y="24"/>
                  </a:cubicBezTo>
                  <a:cubicBezTo>
                    <a:pt x="24" y="12"/>
                    <a:pt x="22" y="7"/>
                    <a:pt x="16" y="7"/>
                  </a:cubicBezTo>
                  <a:cubicBezTo>
                    <a:pt x="11" y="7"/>
                    <a:pt x="8" y="12"/>
                    <a:pt x="8" y="24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46" name="Freeform 151">
              <a:extLst>
                <a:ext uri="{FF2B5EF4-FFF2-40B4-BE49-F238E27FC236}">
                  <a16:creationId xmlns:a16="http://schemas.microsoft.com/office/drawing/2014/main" id="{8A0FC370-4491-4E58-8FA6-3D6BAA5E73BD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8644" y="4074738"/>
              <a:ext cx="34481" cy="61614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5 h 109"/>
                <a:gd name="T12" fmla="*/ 61 w 61"/>
                <a:gd name="T13" fmla="*/ 95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5 h 109"/>
                <a:gd name="T20" fmla="*/ 28 w 61"/>
                <a:gd name="T21" fmla="*/ 95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5"/>
                  </a:lnTo>
                  <a:lnTo>
                    <a:pt x="61" y="95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5"/>
                  </a:lnTo>
                  <a:lnTo>
                    <a:pt x="28" y="95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47" name="Freeform 152">
              <a:extLst>
                <a:ext uri="{FF2B5EF4-FFF2-40B4-BE49-F238E27FC236}">
                  <a16:creationId xmlns:a16="http://schemas.microsoft.com/office/drawing/2014/main" id="{7A4C6F93-FFBC-4FDD-ADB6-18D7E6A22C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92992" y="4180443"/>
              <a:ext cx="42960" cy="63875"/>
            </a:xfrm>
            <a:custGeom>
              <a:avLst/>
              <a:gdLst>
                <a:gd name="T0" fmla="*/ 32 w 32"/>
                <a:gd name="T1" fmla="*/ 24 h 48"/>
                <a:gd name="T2" fmla="*/ 16 w 32"/>
                <a:gd name="T3" fmla="*/ 48 h 48"/>
                <a:gd name="T4" fmla="*/ 0 w 32"/>
                <a:gd name="T5" fmla="*/ 24 h 48"/>
                <a:gd name="T6" fmla="*/ 16 w 32"/>
                <a:gd name="T7" fmla="*/ 0 h 48"/>
                <a:gd name="T8" fmla="*/ 32 w 32"/>
                <a:gd name="T9" fmla="*/ 24 h 48"/>
                <a:gd name="T10" fmla="*/ 8 w 32"/>
                <a:gd name="T11" fmla="*/ 24 h 48"/>
                <a:gd name="T12" fmla="*/ 16 w 32"/>
                <a:gd name="T13" fmla="*/ 41 h 48"/>
                <a:gd name="T14" fmla="*/ 24 w 32"/>
                <a:gd name="T15" fmla="*/ 24 h 48"/>
                <a:gd name="T16" fmla="*/ 16 w 32"/>
                <a:gd name="T17" fmla="*/ 7 h 48"/>
                <a:gd name="T18" fmla="*/ 8 w 32"/>
                <a:gd name="T19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8">
                  <a:moveTo>
                    <a:pt x="32" y="24"/>
                  </a:moveTo>
                  <a:cubicBezTo>
                    <a:pt x="32" y="40"/>
                    <a:pt x="27" y="48"/>
                    <a:pt x="16" y="48"/>
                  </a:cubicBezTo>
                  <a:cubicBezTo>
                    <a:pt x="5" y="48"/>
                    <a:pt x="0" y="40"/>
                    <a:pt x="0" y="24"/>
                  </a:cubicBezTo>
                  <a:cubicBezTo>
                    <a:pt x="0" y="8"/>
                    <a:pt x="5" y="0"/>
                    <a:pt x="16" y="0"/>
                  </a:cubicBezTo>
                  <a:cubicBezTo>
                    <a:pt x="27" y="0"/>
                    <a:pt x="32" y="8"/>
                    <a:pt x="32" y="24"/>
                  </a:cubicBezTo>
                  <a:close/>
                  <a:moveTo>
                    <a:pt x="8" y="24"/>
                  </a:moveTo>
                  <a:cubicBezTo>
                    <a:pt x="8" y="36"/>
                    <a:pt x="11" y="41"/>
                    <a:pt x="16" y="41"/>
                  </a:cubicBezTo>
                  <a:cubicBezTo>
                    <a:pt x="22" y="41"/>
                    <a:pt x="24" y="36"/>
                    <a:pt x="24" y="24"/>
                  </a:cubicBezTo>
                  <a:cubicBezTo>
                    <a:pt x="24" y="12"/>
                    <a:pt x="22" y="7"/>
                    <a:pt x="16" y="7"/>
                  </a:cubicBezTo>
                  <a:cubicBezTo>
                    <a:pt x="11" y="7"/>
                    <a:pt x="8" y="12"/>
                    <a:pt x="8" y="24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48" name="Freeform 153">
              <a:extLst>
                <a:ext uri="{FF2B5EF4-FFF2-40B4-BE49-F238E27FC236}">
                  <a16:creationId xmlns:a16="http://schemas.microsoft.com/office/drawing/2014/main" id="{B0D858BC-38A5-4304-A56F-437590BC793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8644" y="4288408"/>
              <a:ext cx="34481" cy="61614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4 h 109"/>
                <a:gd name="T12" fmla="*/ 61 w 61"/>
                <a:gd name="T13" fmla="*/ 94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4 h 109"/>
                <a:gd name="T20" fmla="*/ 28 w 61"/>
                <a:gd name="T21" fmla="*/ 94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4"/>
                  </a:lnTo>
                  <a:lnTo>
                    <a:pt x="61" y="94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4"/>
                  </a:lnTo>
                  <a:lnTo>
                    <a:pt x="28" y="94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49" name="Freeform 154">
              <a:extLst>
                <a:ext uri="{FF2B5EF4-FFF2-40B4-BE49-F238E27FC236}">
                  <a16:creationId xmlns:a16="http://schemas.microsoft.com/office/drawing/2014/main" id="{857CE211-40EF-48D0-8944-ACD7D9991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8644" y="4395244"/>
              <a:ext cx="34481" cy="61614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4 h 109"/>
                <a:gd name="T12" fmla="*/ 61 w 61"/>
                <a:gd name="T13" fmla="*/ 94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4 h 109"/>
                <a:gd name="T20" fmla="*/ 28 w 61"/>
                <a:gd name="T21" fmla="*/ 94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4"/>
                  </a:lnTo>
                  <a:lnTo>
                    <a:pt x="61" y="94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4"/>
                  </a:lnTo>
                  <a:lnTo>
                    <a:pt x="28" y="94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50" name="Freeform 63">
              <a:extLst>
                <a:ext uri="{FF2B5EF4-FFF2-40B4-BE49-F238E27FC236}">
                  <a16:creationId xmlns:a16="http://schemas.microsoft.com/office/drawing/2014/main" id="{2BE20D4E-EE9F-4108-9FFF-DAC2099779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03776" y="4262972"/>
              <a:ext cx="22611" cy="35046"/>
            </a:xfrm>
            <a:custGeom>
              <a:avLst/>
              <a:gdLst>
                <a:gd name="T0" fmla="*/ 17 w 17"/>
                <a:gd name="T1" fmla="*/ 13 h 26"/>
                <a:gd name="T2" fmla="*/ 9 w 17"/>
                <a:gd name="T3" fmla="*/ 26 h 26"/>
                <a:gd name="T4" fmla="*/ 0 w 17"/>
                <a:gd name="T5" fmla="*/ 13 h 26"/>
                <a:gd name="T6" fmla="*/ 9 w 17"/>
                <a:gd name="T7" fmla="*/ 0 h 26"/>
                <a:gd name="T8" fmla="*/ 17 w 17"/>
                <a:gd name="T9" fmla="*/ 13 h 26"/>
                <a:gd name="T10" fmla="*/ 4 w 17"/>
                <a:gd name="T11" fmla="*/ 13 h 26"/>
                <a:gd name="T12" fmla="*/ 9 w 17"/>
                <a:gd name="T13" fmla="*/ 22 h 26"/>
                <a:gd name="T14" fmla="*/ 13 w 17"/>
                <a:gd name="T15" fmla="*/ 13 h 26"/>
                <a:gd name="T16" fmla="*/ 9 w 17"/>
                <a:gd name="T17" fmla="*/ 4 h 26"/>
                <a:gd name="T18" fmla="*/ 4 w 17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6">
                  <a:moveTo>
                    <a:pt x="17" y="13"/>
                  </a:moveTo>
                  <a:cubicBezTo>
                    <a:pt x="17" y="22"/>
                    <a:pt x="14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5"/>
                    <a:pt x="3" y="0"/>
                    <a:pt x="9" y="0"/>
                  </a:cubicBezTo>
                  <a:cubicBezTo>
                    <a:pt x="14" y="0"/>
                    <a:pt x="17" y="5"/>
                    <a:pt x="17" y="13"/>
                  </a:cubicBezTo>
                  <a:close/>
                  <a:moveTo>
                    <a:pt x="4" y="13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7"/>
                    <a:pt x="11" y="4"/>
                    <a:pt x="9" y="4"/>
                  </a:cubicBezTo>
                  <a:cubicBezTo>
                    <a:pt x="6" y="4"/>
                    <a:pt x="4" y="7"/>
                    <a:pt x="4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51" name="Freeform 64">
              <a:extLst>
                <a:ext uri="{FF2B5EF4-FFF2-40B4-BE49-F238E27FC236}">
                  <a16:creationId xmlns:a16="http://schemas.microsoft.com/office/drawing/2014/main" id="{5CD7CB00-0528-48AF-81D6-BE1721CC10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03777" y="4320629"/>
              <a:ext cx="22611" cy="34481"/>
            </a:xfrm>
            <a:custGeom>
              <a:avLst/>
              <a:gdLst>
                <a:gd name="T0" fmla="*/ 17 w 17"/>
                <a:gd name="T1" fmla="*/ 13 h 26"/>
                <a:gd name="T2" fmla="*/ 9 w 17"/>
                <a:gd name="T3" fmla="*/ 26 h 26"/>
                <a:gd name="T4" fmla="*/ 0 w 17"/>
                <a:gd name="T5" fmla="*/ 13 h 26"/>
                <a:gd name="T6" fmla="*/ 9 w 17"/>
                <a:gd name="T7" fmla="*/ 0 h 26"/>
                <a:gd name="T8" fmla="*/ 17 w 17"/>
                <a:gd name="T9" fmla="*/ 13 h 26"/>
                <a:gd name="T10" fmla="*/ 4 w 17"/>
                <a:gd name="T11" fmla="*/ 13 h 26"/>
                <a:gd name="T12" fmla="*/ 9 w 17"/>
                <a:gd name="T13" fmla="*/ 22 h 26"/>
                <a:gd name="T14" fmla="*/ 13 w 17"/>
                <a:gd name="T15" fmla="*/ 13 h 26"/>
                <a:gd name="T16" fmla="*/ 9 w 17"/>
                <a:gd name="T17" fmla="*/ 4 h 26"/>
                <a:gd name="T18" fmla="*/ 4 w 17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6">
                  <a:moveTo>
                    <a:pt x="17" y="13"/>
                  </a:moveTo>
                  <a:cubicBezTo>
                    <a:pt x="17" y="21"/>
                    <a:pt x="14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4" y="0"/>
                    <a:pt x="17" y="4"/>
                    <a:pt x="17" y="13"/>
                  </a:cubicBezTo>
                  <a:close/>
                  <a:moveTo>
                    <a:pt x="4" y="13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7"/>
                    <a:pt x="11" y="4"/>
                    <a:pt x="9" y="4"/>
                  </a:cubicBezTo>
                  <a:cubicBezTo>
                    <a:pt x="6" y="4"/>
                    <a:pt x="4" y="7"/>
                    <a:pt x="4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52" name="Freeform 65">
              <a:extLst>
                <a:ext uri="{FF2B5EF4-FFF2-40B4-BE49-F238E27FC236}">
                  <a16:creationId xmlns:a16="http://schemas.microsoft.com/office/drawing/2014/main" id="{501664E4-0FF5-4827-9120-35ACC4AC8D1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5472" y="4435377"/>
              <a:ext cx="18654" cy="33351"/>
            </a:xfrm>
            <a:custGeom>
              <a:avLst/>
              <a:gdLst>
                <a:gd name="T0" fmla="*/ 16 w 33"/>
                <a:gd name="T1" fmla="*/ 12 h 59"/>
                <a:gd name="T2" fmla="*/ 4 w 33"/>
                <a:gd name="T3" fmla="*/ 19 h 59"/>
                <a:gd name="T4" fmla="*/ 0 w 33"/>
                <a:gd name="T5" fmla="*/ 9 h 59"/>
                <a:gd name="T6" fmla="*/ 16 w 33"/>
                <a:gd name="T7" fmla="*/ 0 h 59"/>
                <a:gd name="T8" fmla="*/ 26 w 33"/>
                <a:gd name="T9" fmla="*/ 0 h 59"/>
                <a:gd name="T10" fmla="*/ 26 w 33"/>
                <a:gd name="T11" fmla="*/ 49 h 59"/>
                <a:gd name="T12" fmla="*/ 33 w 33"/>
                <a:gd name="T13" fmla="*/ 49 h 59"/>
                <a:gd name="T14" fmla="*/ 33 w 33"/>
                <a:gd name="T15" fmla="*/ 59 h 59"/>
                <a:gd name="T16" fmla="*/ 7 w 33"/>
                <a:gd name="T17" fmla="*/ 59 h 59"/>
                <a:gd name="T18" fmla="*/ 7 w 33"/>
                <a:gd name="T19" fmla="*/ 49 h 59"/>
                <a:gd name="T20" fmla="*/ 16 w 33"/>
                <a:gd name="T21" fmla="*/ 49 h 59"/>
                <a:gd name="T22" fmla="*/ 16 w 33"/>
                <a:gd name="T23" fmla="*/ 1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9">
                  <a:moveTo>
                    <a:pt x="16" y="12"/>
                  </a:moveTo>
                  <a:lnTo>
                    <a:pt x="4" y="19"/>
                  </a:lnTo>
                  <a:lnTo>
                    <a:pt x="0" y="9"/>
                  </a:lnTo>
                  <a:lnTo>
                    <a:pt x="16" y="0"/>
                  </a:lnTo>
                  <a:lnTo>
                    <a:pt x="26" y="0"/>
                  </a:lnTo>
                  <a:lnTo>
                    <a:pt x="26" y="49"/>
                  </a:lnTo>
                  <a:lnTo>
                    <a:pt x="33" y="49"/>
                  </a:lnTo>
                  <a:lnTo>
                    <a:pt x="33" y="59"/>
                  </a:lnTo>
                  <a:lnTo>
                    <a:pt x="7" y="59"/>
                  </a:lnTo>
                  <a:lnTo>
                    <a:pt x="7" y="49"/>
                  </a:lnTo>
                  <a:lnTo>
                    <a:pt x="16" y="49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53" name="Freeform 95">
              <a:extLst>
                <a:ext uri="{FF2B5EF4-FFF2-40B4-BE49-F238E27FC236}">
                  <a16:creationId xmlns:a16="http://schemas.microsoft.com/office/drawing/2014/main" id="{B4B1EAD7-1643-4A22-9AC9-FF3E954EA50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7710" y="3934551"/>
              <a:ext cx="19784" cy="32220"/>
            </a:xfrm>
            <a:custGeom>
              <a:avLst/>
              <a:gdLst>
                <a:gd name="T0" fmla="*/ 16 w 35"/>
                <a:gd name="T1" fmla="*/ 14 h 57"/>
                <a:gd name="T2" fmla="*/ 7 w 35"/>
                <a:gd name="T3" fmla="*/ 21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7 h 57"/>
                <a:gd name="T12" fmla="*/ 35 w 35"/>
                <a:gd name="T13" fmla="*/ 47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7 h 57"/>
                <a:gd name="T20" fmla="*/ 16 w 35"/>
                <a:gd name="T21" fmla="*/ 47 h 57"/>
                <a:gd name="T22" fmla="*/ 16 w 35"/>
                <a:gd name="T23" fmla="*/ 1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4"/>
                  </a:moveTo>
                  <a:lnTo>
                    <a:pt x="7" y="21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54" name="Freeform 96">
              <a:extLst>
                <a:ext uri="{FF2B5EF4-FFF2-40B4-BE49-F238E27FC236}">
                  <a16:creationId xmlns:a16="http://schemas.microsoft.com/office/drawing/2014/main" id="{051BF9FC-AC3E-46B6-B5B1-42411F015B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6015" y="3989382"/>
              <a:ext cx="25437" cy="32220"/>
            </a:xfrm>
            <a:custGeom>
              <a:avLst/>
              <a:gdLst>
                <a:gd name="T0" fmla="*/ 17 w 19"/>
                <a:gd name="T1" fmla="*/ 4 h 24"/>
                <a:gd name="T2" fmla="*/ 19 w 19"/>
                <a:gd name="T3" fmla="*/ 12 h 24"/>
                <a:gd name="T4" fmla="*/ 17 w 19"/>
                <a:gd name="T5" fmla="*/ 21 h 24"/>
                <a:gd name="T6" fmla="*/ 10 w 19"/>
                <a:gd name="T7" fmla="*/ 24 h 24"/>
                <a:gd name="T8" fmla="*/ 2 w 19"/>
                <a:gd name="T9" fmla="*/ 20 h 24"/>
                <a:gd name="T10" fmla="*/ 0 w 19"/>
                <a:gd name="T11" fmla="*/ 12 h 24"/>
                <a:gd name="T12" fmla="*/ 10 w 19"/>
                <a:gd name="T13" fmla="*/ 0 h 24"/>
                <a:gd name="T14" fmla="*/ 17 w 19"/>
                <a:gd name="T15" fmla="*/ 4 h 24"/>
                <a:gd name="T16" fmla="*/ 6 w 19"/>
                <a:gd name="T17" fmla="*/ 12 h 24"/>
                <a:gd name="T18" fmla="*/ 10 w 19"/>
                <a:gd name="T19" fmla="*/ 20 h 24"/>
                <a:gd name="T20" fmla="*/ 14 w 19"/>
                <a:gd name="T21" fmla="*/ 12 h 24"/>
                <a:gd name="T22" fmla="*/ 10 w 19"/>
                <a:gd name="T23" fmla="*/ 4 h 24"/>
                <a:gd name="T24" fmla="*/ 6 w 19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4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6"/>
                    <a:pt x="18" y="19"/>
                    <a:pt x="17" y="21"/>
                  </a:cubicBezTo>
                  <a:cubicBezTo>
                    <a:pt x="15" y="23"/>
                    <a:pt x="13" y="24"/>
                    <a:pt x="10" y="24"/>
                  </a:cubicBezTo>
                  <a:cubicBezTo>
                    <a:pt x="6" y="24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1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55" name="Freeform 97">
              <a:extLst>
                <a:ext uri="{FF2B5EF4-FFF2-40B4-BE49-F238E27FC236}">
                  <a16:creationId xmlns:a16="http://schemas.microsoft.com/office/drawing/2014/main" id="{8C0AE1D3-FE8D-41FA-A772-711C935A197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7710" y="4044213"/>
              <a:ext cx="19784" cy="31655"/>
            </a:xfrm>
            <a:custGeom>
              <a:avLst/>
              <a:gdLst>
                <a:gd name="T0" fmla="*/ 16 w 35"/>
                <a:gd name="T1" fmla="*/ 14 h 56"/>
                <a:gd name="T2" fmla="*/ 7 w 35"/>
                <a:gd name="T3" fmla="*/ 21 h 56"/>
                <a:gd name="T4" fmla="*/ 0 w 35"/>
                <a:gd name="T5" fmla="*/ 11 h 56"/>
                <a:gd name="T6" fmla="*/ 19 w 35"/>
                <a:gd name="T7" fmla="*/ 0 h 56"/>
                <a:gd name="T8" fmla="*/ 28 w 35"/>
                <a:gd name="T9" fmla="*/ 0 h 56"/>
                <a:gd name="T10" fmla="*/ 28 w 35"/>
                <a:gd name="T11" fmla="*/ 47 h 56"/>
                <a:gd name="T12" fmla="*/ 35 w 35"/>
                <a:gd name="T13" fmla="*/ 47 h 56"/>
                <a:gd name="T14" fmla="*/ 35 w 35"/>
                <a:gd name="T15" fmla="*/ 56 h 56"/>
                <a:gd name="T16" fmla="*/ 9 w 35"/>
                <a:gd name="T17" fmla="*/ 56 h 56"/>
                <a:gd name="T18" fmla="*/ 9 w 35"/>
                <a:gd name="T19" fmla="*/ 47 h 56"/>
                <a:gd name="T20" fmla="*/ 16 w 35"/>
                <a:gd name="T21" fmla="*/ 47 h 56"/>
                <a:gd name="T22" fmla="*/ 16 w 35"/>
                <a:gd name="T23" fmla="*/ 1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6">
                  <a:moveTo>
                    <a:pt x="16" y="14"/>
                  </a:moveTo>
                  <a:lnTo>
                    <a:pt x="7" y="21"/>
                  </a:lnTo>
                  <a:lnTo>
                    <a:pt x="0" y="11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6"/>
                  </a:lnTo>
                  <a:lnTo>
                    <a:pt x="9" y="56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56" name="Freeform 98">
              <a:extLst>
                <a:ext uri="{FF2B5EF4-FFF2-40B4-BE49-F238E27FC236}">
                  <a16:creationId xmlns:a16="http://schemas.microsoft.com/office/drawing/2014/main" id="{53857F9F-49B6-4935-9CE7-47C2BE2070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6015" y="4099044"/>
              <a:ext cx="25437" cy="31655"/>
            </a:xfrm>
            <a:custGeom>
              <a:avLst/>
              <a:gdLst>
                <a:gd name="T0" fmla="*/ 17 w 19"/>
                <a:gd name="T1" fmla="*/ 4 h 24"/>
                <a:gd name="T2" fmla="*/ 19 w 19"/>
                <a:gd name="T3" fmla="*/ 12 h 24"/>
                <a:gd name="T4" fmla="*/ 17 w 19"/>
                <a:gd name="T5" fmla="*/ 21 h 24"/>
                <a:gd name="T6" fmla="*/ 10 w 19"/>
                <a:gd name="T7" fmla="*/ 24 h 24"/>
                <a:gd name="T8" fmla="*/ 2 w 19"/>
                <a:gd name="T9" fmla="*/ 20 h 24"/>
                <a:gd name="T10" fmla="*/ 0 w 19"/>
                <a:gd name="T11" fmla="*/ 12 h 24"/>
                <a:gd name="T12" fmla="*/ 10 w 19"/>
                <a:gd name="T13" fmla="*/ 0 h 24"/>
                <a:gd name="T14" fmla="*/ 17 w 19"/>
                <a:gd name="T15" fmla="*/ 4 h 24"/>
                <a:gd name="T16" fmla="*/ 6 w 19"/>
                <a:gd name="T17" fmla="*/ 12 h 24"/>
                <a:gd name="T18" fmla="*/ 10 w 19"/>
                <a:gd name="T19" fmla="*/ 20 h 24"/>
                <a:gd name="T20" fmla="*/ 14 w 19"/>
                <a:gd name="T21" fmla="*/ 12 h 24"/>
                <a:gd name="T22" fmla="*/ 10 w 19"/>
                <a:gd name="T23" fmla="*/ 4 h 24"/>
                <a:gd name="T24" fmla="*/ 6 w 19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4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6"/>
                    <a:pt x="18" y="19"/>
                    <a:pt x="17" y="21"/>
                  </a:cubicBezTo>
                  <a:cubicBezTo>
                    <a:pt x="15" y="23"/>
                    <a:pt x="13" y="24"/>
                    <a:pt x="10" y="24"/>
                  </a:cubicBezTo>
                  <a:cubicBezTo>
                    <a:pt x="6" y="24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1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57" name="Freeform 99">
              <a:extLst>
                <a:ext uri="{FF2B5EF4-FFF2-40B4-BE49-F238E27FC236}">
                  <a16:creationId xmlns:a16="http://schemas.microsoft.com/office/drawing/2014/main" id="{63C14F5B-FF05-42D3-8BB8-A7B6C461F15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7710" y="4153309"/>
              <a:ext cx="19784" cy="32220"/>
            </a:xfrm>
            <a:custGeom>
              <a:avLst/>
              <a:gdLst>
                <a:gd name="T0" fmla="*/ 16 w 35"/>
                <a:gd name="T1" fmla="*/ 15 h 57"/>
                <a:gd name="T2" fmla="*/ 7 w 35"/>
                <a:gd name="T3" fmla="*/ 22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8 h 57"/>
                <a:gd name="T12" fmla="*/ 35 w 35"/>
                <a:gd name="T13" fmla="*/ 48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8 h 57"/>
                <a:gd name="T20" fmla="*/ 16 w 35"/>
                <a:gd name="T21" fmla="*/ 48 h 57"/>
                <a:gd name="T22" fmla="*/ 16 w 35"/>
                <a:gd name="T23" fmla="*/ 1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5"/>
                  </a:moveTo>
                  <a:lnTo>
                    <a:pt x="7" y="22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8"/>
                  </a:lnTo>
                  <a:lnTo>
                    <a:pt x="35" y="48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8"/>
                  </a:lnTo>
                  <a:lnTo>
                    <a:pt x="16" y="48"/>
                  </a:lnTo>
                  <a:lnTo>
                    <a:pt x="16" y="15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58" name="Freeform 100">
              <a:extLst>
                <a:ext uri="{FF2B5EF4-FFF2-40B4-BE49-F238E27FC236}">
                  <a16:creationId xmlns:a16="http://schemas.microsoft.com/office/drawing/2014/main" id="{4FE0D11C-CD1E-4DF3-A65A-3D68792C66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6015" y="4208140"/>
              <a:ext cx="25437" cy="32220"/>
            </a:xfrm>
            <a:custGeom>
              <a:avLst/>
              <a:gdLst>
                <a:gd name="T0" fmla="*/ 17 w 19"/>
                <a:gd name="T1" fmla="*/ 4 h 24"/>
                <a:gd name="T2" fmla="*/ 19 w 19"/>
                <a:gd name="T3" fmla="*/ 12 h 24"/>
                <a:gd name="T4" fmla="*/ 17 w 19"/>
                <a:gd name="T5" fmla="*/ 21 h 24"/>
                <a:gd name="T6" fmla="*/ 10 w 19"/>
                <a:gd name="T7" fmla="*/ 24 h 24"/>
                <a:gd name="T8" fmla="*/ 2 w 19"/>
                <a:gd name="T9" fmla="*/ 20 h 24"/>
                <a:gd name="T10" fmla="*/ 0 w 19"/>
                <a:gd name="T11" fmla="*/ 12 h 24"/>
                <a:gd name="T12" fmla="*/ 10 w 19"/>
                <a:gd name="T13" fmla="*/ 0 h 24"/>
                <a:gd name="T14" fmla="*/ 17 w 19"/>
                <a:gd name="T15" fmla="*/ 4 h 24"/>
                <a:gd name="T16" fmla="*/ 6 w 19"/>
                <a:gd name="T17" fmla="*/ 12 h 24"/>
                <a:gd name="T18" fmla="*/ 10 w 19"/>
                <a:gd name="T19" fmla="*/ 20 h 24"/>
                <a:gd name="T20" fmla="*/ 14 w 19"/>
                <a:gd name="T21" fmla="*/ 12 h 24"/>
                <a:gd name="T22" fmla="*/ 10 w 19"/>
                <a:gd name="T23" fmla="*/ 4 h 24"/>
                <a:gd name="T24" fmla="*/ 6 w 19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4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6"/>
                    <a:pt x="18" y="19"/>
                    <a:pt x="17" y="21"/>
                  </a:cubicBezTo>
                  <a:cubicBezTo>
                    <a:pt x="15" y="23"/>
                    <a:pt x="13" y="24"/>
                    <a:pt x="10" y="24"/>
                  </a:cubicBezTo>
                  <a:cubicBezTo>
                    <a:pt x="6" y="24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1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59" name="Freeform 101">
              <a:extLst>
                <a:ext uri="{FF2B5EF4-FFF2-40B4-BE49-F238E27FC236}">
                  <a16:creationId xmlns:a16="http://schemas.microsoft.com/office/drawing/2014/main" id="{999817DD-3E5A-46C7-B8F2-3BF43CE0227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7710" y="4262971"/>
              <a:ext cx="19784" cy="32220"/>
            </a:xfrm>
            <a:custGeom>
              <a:avLst/>
              <a:gdLst>
                <a:gd name="T0" fmla="*/ 16 w 35"/>
                <a:gd name="T1" fmla="*/ 14 h 57"/>
                <a:gd name="T2" fmla="*/ 7 w 35"/>
                <a:gd name="T3" fmla="*/ 21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7 h 57"/>
                <a:gd name="T12" fmla="*/ 35 w 35"/>
                <a:gd name="T13" fmla="*/ 47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7 h 57"/>
                <a:gd name="T20" fmla="*/ 16 w 35"/>
                <a:gd name="T21" fmla="*/ 47 h 57"/>
                <a:gd name="T22" fmla="*/ 16 w 35"/>
                <a:gd name="T23" fmla="*/ 1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4"/>
                  </a:moveTo>
                  <a:lnTo>
                    <a:pt x="7" y="21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60" name="Freeform 102">
              <a:extLst>
                <a:ext uri="{FF2B5EF4-FFF2-40B4-BE49-F238E27FC236}">
                  <a16:creationId xmlns:a16="http://schemas.microsoft.com/office/drawing/2014/main" id="{74A320C8-BB48-4BC3-8598-AAF349C0487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7710" y="4317801"/>
              <a:ext cx="19784" cy="32220"/>
            </a:xfrm>
            <a:custGeom>
              <a:avLst/>
              <a:gdLst>
                <a:gd name="T0" fmla="*/ 16 w 35"/>
                <a:gd name="T1" fmla="*/ 14 h 57"/>
                <a:gd name="T2" fmla="*/ 7 w 35"/>
                <a:gd name="T3" fmla="*/ 21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7 h 57"/>
                <a:gd name="T12" fmla="*/ 35 w 35"/>
                <a:gd name="T13" fmla="*/ 47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7 h 57"/>
                <a:gd name="T20" fmla="*/ 16 w 35"/>
                <a:gd name="T21" fmla="*/ 47 h 57"/>
                <a:gd name="T22" fmla="*/ 16 w 35"/>
                <a:gd name="T23" fmla="*/ 1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4"/>
                  </a:moveTo>
                  <a:lnTo>
                    <a:pt x="7" y="21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61" name="Freeform 103">
              <a:extLst>
                <a:ext uri="{FF2B5EF4-FFF2-40B4-BE49-F238E27FC236}">
                  <a16:creationId xmlns:a16="http://schemas.microsoft.com/office/drawing/2014/main" id="{F14187B4-BC49-411F-B20D-5F10C065268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7710" y="4373763"/>
              <a:ext cx="19784" cy="31090"/>
            </a:xfrm>
            <a:custGeom>
              <a:avLst/>
              <a:gdLst>
                <a:gd name="T0" fmla="*/ 16 w 35"/>
                <a:gd name="T1" fmla="*/ 12 h 55"/>
                <a:gd name="T2" fmla="*/ 7 w 35"/>
                <a:gd name="T3" fmla="*/ 19 h 55"/>
                <a:gd name="T4" fmla="*/ 0 w 35"/>
                <a:gd name="T5" fmla="*/ 10 h 55"/>
                <a:gd name="T6" fmla="*/ 19 w 35"/>
                <a:gd name="T7" fmla="*/ 0 h 55"/>
                <a:gd name="T8" fmla="*/ 28 w 35"/>
                <a:gd name="T9" fmla="*/ 0 h 55"/>
                <a:gd name="T10" fmla="*/ 28 w 35"/>
                <a:gd name="T11" fmla="*/ 45 h 55"/>
                <a:gd name="T12" fmla="*/ 35 w 35"/>
                <a:gd name="T13" fmla="*/ 45 h 55"/>
                <a:gd name="T14" fmla="*/ 35 w 35"/>
                <a:gd name="T15" fmla="*/ 55 h 55"/>
                <a:gd name="T16" fmla="*/ 9 w 35"/>
                <a:gd name="T17" fmla="*/ 55 h 55"/>
                <a:gd name="T18" fmla="*/ 9 w 35"/>
                <a:gd name="T19" fmla="*/ 45 h 55"/>
                <a:gd name="T20" fmla="*/ 16 w 35"/>
                <a:gd name="T21" fmla="*/ 45 h 55"/>
                <a:gd name="T22" fmla="*/ 16 w 35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5">
                  <a:moveTo>
                    <a:pt x="16" y="12"/>
                  </a:moveTo>
                  <a:lnTo>
                    <a:pt x="7" y="19"/>
                  </a:lnTo>
                  <a:lnTo>
                    <a:pt x="0" y="10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5"/>
                  </a:lnTo>
                  <a:lnTo>
                    <a:pt x="35" y="45"/>
                  </a:lnTo>
                  <a:lnTo>
                    <a:pt x="35" y="55"/>
                  </a:lnTo>
                  <a:lnTo>
                    <a:pt x="9" y="55"/>
                  </a:lnTo>
                  <a:lnTo>
                    <a:pt x="9" y="45"/>
                  </a:lnTo>
                  <a:lnTo>
                    <a:pt x="16" y="45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62" name="Freeform 104">
              <a:extLst>
                <a:ext uri="{FF2B5EF4-FFF2-40B4-BE49-F238E27FC236}">
                  <a16:creationId xmlns:a16="http://schemas.microsoft.com/office/drawing/2014/main" id="{B00D4B36-E0D4-4DDB-ABCA-D685B9009C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6015" y="4427463"/>
              <a:ext cx="25437" cy="33351"/>
            </a:xfrm>
            <a:custGeom>
              <a:avLst/>
              <a:gdLst>
                <a:gd name="T0" fmla="*/ 17 w 19"/>
                <a:gd name="T1" fmla="*/ 4 h 25"/>
                <a:gd name="T2" fmla="*/ 19 w 19"/>
                <a:gd name="T3" fmla="*/ 12 h 25"/>
                <a:gd name="T4" fmla="*/ 17 w 19"/>
                <a:gd name="T5" fmla="*/ 21 h 25"/>
                <a:gd name="T6" fmla="*/ 10 w 19"/>
                <a:gd name="T7" fmla="*/ 25 h 25"/>
                <a:gd name="T8" fmla="*/ 2 w 19"/>
                <a:gd name="T9" fmla="*/ 20 h 25"/>
                <a:gd name="T10" fmla="*/ 0 w 19"/>
                <a:gd name="T11" fmla="*/ 12 h 25"/>
                <a:gd name="T12" fmla="*/ 10 w 19"/>
                <a:gd name="T13" fmla="*/ 0 h 25"/>
                <a:gd name="T14" fmla="*/ 17 w 19"/>
                <a:gd name="T15" fmla="*/ 4 h 25"/>
                <a:gd name="T16" fmla="*/ 6 w 19"/>
                <a:gd name="T17" fmla="*/ 12 h 25"/>
                <a:gd name="T18" fmla="*/ 10 w 19"/>
                <a:gd name="T19" fmla="*/ 20 h 25"/>
                <a:gd name="T20" fmla="*/ 14 w 19"/>
                <a:gd name="T21" fmla="*/ 12 h 25"/>
                <a:gd name="T22" fmla="*/ 10 w 19"/>
                <a:gd name="T23" fmla="*/ 4 h 25"/>
                <a:gd name="T24" fmla="*/ 6 w 19"/>
                <a:gd name="T25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5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7"/>
                    <a:pt x="18" y="19"/>
                    <a:pt x="17" y="21"/>
                  </a:cubicBezTo>
                  <a:cubicBezTo>
                    <a:pt x="15" y="23"/>
                    <a:pt x="13" y="25"/>
                    <a:pt x="10" y="25"/>
                  </a:cubicBezTo>
                  <a:cubicBezTo>
                    <a:pt x="6" y="25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2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63" name="Freeform 105">
              <a:extLst>
                <a:ext uri="{FF2B5EF4-FFF2-40B4-BE49-F238E27FC236}">
                  <a16:creationId xmlns:a16="http://schemas.microsoft.com/office/drawing/2014/main" id="{ED8350B9-1A69-4E80-8107-D46C28CA832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7710" y="4483424"/>
              <a:ext cx="19784" cy="30524"/>
            </a:xfrm>
            <a:custGeom>
              <a:avLst/>
              <a:gdLst>
                <a:gd name="T0" fmla="*/ 16 w 35"/>
                <a:gd name="T1" fmla="*/ 12 h 54"/>
                <a:gd name="T2" fmla="*/ 7 w 35"/>
                <a:gd name="T3" fmla="*/ 19 h 54"/>
                <a:gd name="T4" fmla="*/ 0 w 35"/>
                <a:gd name="T5" fmla="*/ 9 h 54"/>
                <a:gd name="T6" fmla="*/ 19 w 35"/>
                <a:gd name="T7" fmla="*/ 0 h 54"/>
                <a:gd name="T8" fmla="*/ 28 w 35"/>
                <a:gd name="T9" fmla="*/ 0 h 54"/>
                <a:gd name="T10" fmla="*/ 28 w 35"/>
                <a:gd name="T11" fmla="*/ 45 h 54"/>
                <a:gd name="T12" fmla="*/ 35 w 35"/>
                <a:gd name="T13" fmla="*/ 45 h 54"/>
                <a:gd name="T14" fmla="*/ 35 w 35"/>
                <a:gd name="T15" fmla="*/ 54 h 54"/>
                <a:gd name="T16" fmla="*/ 9 w 35"/>
                <a:gd name="T17" fmla="*/ 54 h 54"/>
                <a:gd name="T18" fmla="*/ 9 w 35"/>
                <a:gd name="T19" fmla="*/ 45 h 54"/>
                <a:gd name="T20" fmla="*/ 16 w 35"/>
                <a:gd name="T21" fmla="*/ 45 h 54"/>
                <a:gd name="T22" fmla="*/ 16 w 35"/>
                <a:gd name="T23" fmla="*/ 1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4">
                  <a:moveTo>
                    <a:pt x="16" y="12"/>
                  </a:moveTo>
                  <a:lnTo>
                    <a:pt x="7" y="19"/>
                  </a:lnTo>
                  <a:lnTo>
                    <a:pt x="0" y="9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5"/>
                  </a:lnTo>
                  <a:lnTo>
                    <a:pt x="35" y="45"/>
                  </a:lnTo>
                  <a:lnTo>
                    <a:pt x="35" y="54"/>
                  </a:lnTo>
                  <a:lnTo>
                    <a:pt x="9" y="54"/>
                  </a:lnTo>
                  <a:lnTo>
                    <a:pt x="9" y="45"/>
                  </a:lnTo>
                  <a:lnTo>
                    <a:pt x="16" y="45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64" name="Freeform 149">
              <a:extLst>
                <a:ext uri="{FF2B5EF4-FFF2-40B4-BE49-F238E27FC236}">
                  <a16:creationId xmlns:a16="http://schemas.microsoft.com/office/drawing/2014/main" id="{AA5FFCA8-C2DB-4403-8A6F-44EA3F4E321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9768" y="3938508"/>
              <a:ext cx="34481" cy="61614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5 h 109"/>
                <a:gd name="T12" fmla="*/ 61 w 61"/>
                <a:gd name="T13" fmla="*/ 95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5 h 109"/>
                <a:gd name="T20" fmla="*/ 28 w 61"/>
                <a:gd name="T21" fmla="*/ 95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5"/>
                  </a:lnTo>
                  <a:lnTo>
                    <a:pt x="61" y="95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5"/>
                  </a:lnTo>
                  <a:lnTo>
                    <a:pt x="28" y="95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65" name="Freeform 150">
              <a:extLst>
                <a:ext uri="{FF2B5EF4-FFF2-40B4-BE49-F238E27FC236}">
                  <a16:creationId xmlns:a16="http://schemas.microsoft.com/office/drawing/2014/main" id="{994CCE3E-964B-4B82-B292-53063CFF57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96934" y="4044213"/>
              <a:ext cx="42960" cy="63875"/>
            </a:xfrm>
            <a:custGeom>
              <a:avLst/>
              <a:gdLst>
                <a:gd name="T0" fmla="*/ 32 w 32"/>
                <a:gd name="T1" fmla="*/ 24 h 48"/>
                <a:gd name="T2" fmla="*/ 16 w 32"/>
                <a:gd name="T3" fmla="*/ 48 h 48"/>
                <a:gd name="T4" fmla="*/ 0 w 32"/>
                <a:gd name="T5" fmla="*/ 24 h 48"/>
                <a:gd name="T6" fmla="*/ 16 w 32"/>
                <a:gd name="T7" fmla="*/ 0 h 48"/>
                <a:gd name="T8" fmla="*/ 32 w 32"/>
                <a:gd name="T9" fmla="*/ 24 h 48"/>
                <a:gd name="T10" fmla="*/ 8 w 32"/>
                <a:gd name="T11" fmla="*/ 24 h 48"/>
                <a:gd name="T12" fmla="*/ 16 w 32"/>
                <a:gd name="T13" fmla="*/ 41 h 48"/>
                <a:gd name="T14" fmla="*/ 24 w 32"/>
                <a:gd name="T15" fmla="*/ 24 h 48"/>
                <a:gd name="T16" fmla="*/ 16 w 32"/>
                <a:gd name="T17" fmla="*/ 7 h 48"/>
                <a:gd name="T18" fmla="*/ 8 w 32"/>
                <a:gd name="T19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8">
                  <a:moveTo>
                    <a:pt x="32" y="24"/>
                  </a:moveTo>
                  <a:cubicBezTo>
                    <a:pt x="32" y="40"/>
                    <a:pt x="27" y="48"/>
                    <a:pt x="16" y="48"/>
                  </a:cubicBezTo>
                  <a:cubicBezTo>
                    <a:pt x="5" y="48"/>
                    <a:pt x="0" y="40"/>
                    <a:pt x="0" y="24"/>
                  </a:cubicBezTo>
                  <a:cubicBezTo>
                    <a:pt x="0" y="8"/>
                    <a:pt x="5" y="0"/>
                    <a:pt x="16" y="0"/>
                  </a:cubicBezTo>
                  <a:cubicBezTo>
                    <a:pt x="27" y="0"/>
                    <a:pt x="32" y="8"/>
                    <a:pt x="32" y="24"/>
                  </a:cubicBezTo>
                  <a:close/>
                  <a:moveTo>
                    <a:pt x="8" y="24"/>
                  </a:moveTo>
                  <a:cubicBezTo>
                    <a:pt x="8" y="36"/>
                    <a:pt x="11" y="41"/>
                    <a:pt x="16" y="41"/>
                  </a:cubicBezTo>
                  <a:cubicBezTo>
                    <a:pt x="22" y="41"/>
                    <a:pt x="24" y="36"/>
                    <a:pt x="24" y="24"/>
                  </a:cubicBezTo>
                  <a:cubicBezTo>
                    <a:pt x="24" y="12"/>
                    <a:pt x="22" y="7"/>
                    <a:pt x="16" y="7"/>
                  </a:cubicBezTo>
                  <a:cubicBezTo>
                    <a:pt x="11" y="7"/>
                    <a:pt x="8" y="12"/>
                    <a:pt x="8" y="24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66" name="Freeform 151">
              <a:extLst>
                <a:ext uri="{FF2B5EF4-FFF2-40B4-BE49-F238E27FC236}">
                  <a16:creationId xmlns:a16="http://schemas.microsoft.com/office/drawing/2014/main" id="{6D11F0E3-A24A-487E-A161-9A36066A6A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9760" y="4152178"/>
              <a:ext cx="34481" cy="61614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5 h 109"/>
                <a:gd name="T12" fmla="*/ 61 w 61"/>
                <a:gd name="T13" fmla="*/ 95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5 h 109"/>
                <a:gd name="T20" fmla="*/ 28 w 61"/>
                <a:gd name="T21" fmla="*/ 95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5"/>
                  </a:lnTo>
                  <a:lnTo>
                    <a:pt x="61" y="95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5"/>
                  </a:lnTo>
                  <a:lnTo>
                    <a:pt x="28" y="95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67" name="Freeform 152">
              <a:extLst>
                <a:ext uri="{FF2B5EF4-FFF2-40B4-BE49-F238E27FC236}">
                  <a16:creationId xmlns:a16="http://schemas.microsoft.com/office/drawing/2014/main" id="{73FAC709-BB74-43B1-95F6-2F50A979D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96924" y="4257883"/>
              <a:ext cx="42960" cy="63875"/>
            </a:xfrm>
            <a:custGeom>
              <a:avLst/>
              <a:gdLst>
                <a:gd name="T0" fmla="*/ 32 w 32"/>
                <a:gd name="T1" fmla="*/ 24 h 48"/>
                <a:gd name="T2" fmla="*/ 16 w 32"/>
                <a:gd name="T3" fmla="*/ 48 h 48"/>
                <a:gd name="T4" fmla="*/ 0 w 32"/>
                <a:gd name="T5" fmla="*/ 24 h 48"/>
                <a:gd name="T6" fmla="*/ 16 w 32"/>
                <a:gd name="T7" fmla="*/ 0 h 48"/>
                <a:gd name="T8" fmla="*/ 32 w 32"/>
                <a:gd name="T9" fmla="*/ 24 h 48"/>
                <a:gd name="T10" fmla="*/ 8 w 32"/>
                <a:gd name="T11" fmla="*/ 24 h 48"/>
                <a:gd name="T12" fmla="*/ 16 w 32"/>
                <a:gd name="T13" fmla="*/ 41 h 48"/>
                <a:gd name="T14" fmla="*/ 24 w 32"/>
                <a:gd name="T15" fmla="*/ 24 h 48"/>
                <a:gd name="T16" fmla="*/ 16 w 32"/>
                <a:gd name="T17" fmla="*/ 7 h 48"/>
                <a:gd name="T18" fmla="*/ 8 w 32"/>
                <a:gd name="T19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8">
                  <a:moveTo>
                    <a:pt x="32" y="24"/>
                  </a:moveTo>
                  <a:cubicBezTo>
                    <a:pt x="32" y="40"/>
                    <a:pt x="27" y="48"/>
                    <a:pt x="16" y="48"/>
                  </a:cubicBezTo>
                  <a:cubicBezTo>
                    <a:pt x="5" y="48"/>
                    <a:pt x="0" y="40"/>
                    <a:pt x="0" y="24"/>
                  </a:cubicBezTo>
                  <a:cubicBezTo>
                    <a:pt x="0" y="8"/>
                    <a:pt x="5" y="0"/>
                    <a:pt x="16" y="0"/>
                  </a:cubicBezTo>
                  <a:cubicBezTo>
                    <a:pt x="27" y="0"/>
                    <a:pt x="32" y="8"/>
                    <a:pt x="32" y="24"/>
                  </a:cubicBezTo>
                  <a:close/>
                  <a:moveTo>
                    <a:pt x="8" y="24"/>
                  </a:moveTo>
                  <a:cubicBezTo>
                    <a:pt x="8" y="36"/>
                    <a:pt x="11" y="41"/>
                    <a:pt x="16" y="41"/>
                  </a:cubicBezTo>
                  <a:cubicBezTo>
                    <a:pt x="22" y="41"/>
                    <a:pt x="24" y="36"/>
                    <a:pt x="24" y="24"/>
                  </a:cubicBezTo>
                  <a:cubicBezTo>
                    <a:pt x="24" y="12"/>
                    <a:pt x="22" y="7"/>
                    <a:pt x="16" y="7"/>
                  </a:cubicBezTo>
                  <a:cubicBezTo>
                    <a:pt x="11" y="7"/>
                    <a:pt x="8" y="12"/>
                    <a:pt x="8" y="24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68" name="Freeform 153">
              <a:extLst>
                <a:ext uri="{FF2B5EF4-FFF2-40B4-BE49-F238E27FC236}">
                  <a16:creationId xmlns:a16="http://schemas.microsoft.com/office/drawing/2014/main" id="{3E720007-334F-4C1C-A4C6-FF456443F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9743" y="4365847"/>
              <a:ext cx="34481" cy="61614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4 h 109"/>
                <a:gd name="T12" fmla="*/ 61 w 61"/>
                <a:gd name="T13" fmla="*/ 94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4 h 109"/>
                <a:gd name="T20" fmla="*/ 28 w 61"/>
                <a:gd name="T21" fmla="*/ 94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4"/>
                  </a:lnTo>
                  <a:lnTo>
                    <a:pt x="61" y="94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4"/>
                  </a:lnTo>
                  <a:lnTo>
                    <a:pt x="28" y="94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69" name="Freeform 154">
              <a:extLst>
                <a:ext uri="{FF2B5EF4-FFF2-40B4-BE49-F238E27FC236}">
                  <a16:creationId xmlns:a16="http://schemas.microsoft.com/office/drawing/2014/main" id="{C0A64058-9B9A-44F2-8663-6BCB5E228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9732" y="4472682"/>
              <a:ext cx="34481" cy="61614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4 h 109"/>
                <a:gd name="T12" fmla="*/ 61 w 61"/>
                <a:gd name="T13" fmla="*/ 94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4 h 109"/>
                <a:gd name="T20" fmla="*/ 28 w 61"/>
                <a:gd name="T21" fmla="*/ 94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4"/>
                  </a:lnTo>
                  <a:lnTo>
                    <a:pt x="61" y="94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4"/>
                  </a:lnTo>
                  <a:lnTo>
                    <a:pt x="28" y="94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grpSp>
        <p:nvGrpSpPr>
          <p:cNvPr id="470" name="Gruppieren 2">
            <a:extLst>
              <a:ext uri="{FF2B5EF4-FFF2-40B4-BE49-F238E27FC236}">
                <a16:creationId xmlns:a16="http://schemas.microsoft.com/office/drawing/2014/main" id="{F9D9B4A5-740E-4473-B0E7-490DDED86AEB}"/>
              </a:ext>
            </a:extLst>
          </p:cNvPr>
          <p:cNvGrpSpPr/>
          <p:nvPr/>
        </p:nvGrpSpPr>
        <p:grpSpPr>
          <a:xfrm>
            <a:off x="6935261" y="5541389"/>
            <a:ext cx="4335028" cy="1394352"/>
            <a:chOff x="667960" y="3350946"/>
            <a:chExt cx="11591926" cy="3728517"/>
          </a:xfrm>
        </p:grpSpPr>
        <p:sp>
          <p:nvSpPr>
            <p:cNvPr id="471" name="Line 8">
              <a:extLst>
                <a:ext uri="{FF2B5EF4-FFF2-40B4-BE49-F238E27FC236}">
                  <a16:creationId xmlns:a16="http://schemas.microsoft.com/office/drawing/2014/main" id="{B20813A8-49F6-44E3-8ADD-2158D636FA8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45410" y="5893530"/>
              <a:ext cx="0" cy="0"/>
            </a:xfrm>
            <a:prstGeom prst="line">
              <a:avLst/>
            </a:pr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72" name="Line 9">
              <a:extLst>
                <a:ext uri="{FF2B5EF4-FFF2-40B4-BE49-F238E27FC236}">
                  <a16:creationId xmlns:a16="http://schemas.microsoft.com/office/drawing/2014/main" id="{A990997C-8960-4143-AE90-0525517E0D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45410" y="5893530"/>
              <a:ext cx="0" cy="0"/>
            </a:xfrm>
            <a:prstGeom prst="line">
              <a:avLst/>
            </a:pr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73" name="Freeform 23">
              <a:extLst>
                <a:ext uri="{FF2B5EF4-FFF2-40B4-BE49-F238E27FC236}">
                  <a16:creationId xmlns:a16="http://schemas.microsoft.com/office/drawing/2014/main" id="{AF6D1FE3-76BA-4C09-BDF5-E2FC29F89C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6082" y="6244022"/>
              <a:ext cx="75537" cy="113306"/>
            </a:xfrm>
            <a:custGeom>
              <a:avLst/>
              <a:gdLst>
                <a:gd name="T0" fmla="*/ 21 w 21"/>
                <a:gd name="T1" fmla="*/ 16 h 32"/>
                <a:gd name="T2" fmla="*/ 11 w 21"/>
                <a:gd name="T3" fmla="*/ 32 h 32"/>
                <a:gd name="T4" fmla="*/ 0 w 21"/>
                <a:gd name="T5" fmla="*/ 16 h 32"/>
                <a:gd name="T6" fmla="*/ 11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1 w 21"/>
                <a:gd name="T13" fmla="*/ 28 h 32"/>
                <a:gd name="T14" fmla="*/ 16 w 21"/>
                <a:gd name="T15" fmla="*/ 16 h 32"/>
                <a:gd name="T16" fmla="*/ 11 w 21"/>
                <a:gd name="T17" fmla="*/ 5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7"/>
                    <a:pt x="18" y="32"/>
                    <a:pt x="11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1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8"/>
                    <a:pt x="11" y="28"/>
                  </a:cubicBezTo>
                  <a:cubicBezTo>
                    <a:pt x="14" y="28"/>
                    <a:pt x="16" y="24"/>
                    <a:pt x="16" y="16"/>
                  </a:cubicBezTo>
                  <a:cubicBezTo>
                    <a:pt x="16" y="8"/>
                    <a:pt x="14" y="5"/>
                    <a:pt x="11" y="5"/>
                  </a:cubicBezTo>
                  <a:cubicBezTo>
                    <a:pt x="7" y="5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74" name="Freeform 24">
              <a:extLst>
                <a:ext uri="{FF2B5EF4-FFF2-40B4-BE49-F238E27FC236}">
                  <a16:creationId xmlns:a16="http://schemas.microsoft.com/office/drawing/2014/main" id="{B2AFCA8D-ECFF-4493-A529-83DFA60399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6082" y="6435886"/>
              <a:ext cx="75537" cy="111795"/>
            </a:xfrm>
            <a:custGeom>
              <a:avLst/>
              <a:gdLst>
                <a:gd name="T0" fmla="*/ 21 w 21"/>
                <a:gd name="T1" fmla="*/ 16 h 31"/>
                <a:gd name="T2" fmla="*/ 11 w 21"/>
                <a:gd name="T3" fmla="*/ 31 h 31"/>
                <a:gd name="T4" fmla="*/ 0 w 21"/>
                <a:gd name="T5" fmla="*/ 15 h 31"/>
                <a:gd name="T6" fmla="*/ 11 w 21"/>
                <a:gd name="T7" fmla="*/ 0 h 31"/>
                <a:gd name="T8" fmla="*/ 21 w 21"/>
                <a:gd name="T9" fmla="*/ 16 h 31"/>
                <a:gd name="T10" fmla="*/ 5 w 21"/>
                <a:gd name="T11" fmla="*/ 15 h 31"/>
                <a:gd name="T12" fmla="*/ 11 w 21"/>
                <a:gd name="T13" fmla="*/ 27 h 31"/>
                <a:gd name="T14" fmla="*/ 16 w 21"/>
                <a:gd name="T15" fmla="*/ 16 h 31"/>
                <a:gd name="T16" fmla="*/ 11 w 21"/>
                <a:gd name="T17" fmla="*/ 4 h 31"/>
                <a:gd name="T18" fmla="*/ 5 w 21"/>
                <a:gd name="T1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1">
                  <a:moveTo>
                    <a:pt x="21" y="16"/>
                  </a:moveTo>
                  <a:cubicBezTo>
                    <a:pt x="21" y="26"/>
                    <a:pt x="18" y="31"/>
                    <a:pt x="11" y="31"/>
                  </a:cubicBezTo>
                  <a:cubicBezTo>
                    <a:pt x="3" y="31"/>
                    <a:pt x="0" y="26"/>
                    <a:pt x="0" y="15"/>
                  </a:cubicBezTo>
                  <a:cubicBezTo>
                    <a:pt x="0" y="5"/>
                    <a:pt x="3" y="0"/>
                    <a:pt x="11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5"/>
                  </a:moveTo>
                  <a:cubicBezTo>
                    <a:pt x="5" y="23"/>
                    <a:pt x="7" y="27"/>
                    <a:pt x="11" y="27"/>
                  </a:cubicBezTo>
                  <a:cubicBezTo>
                    <a:pt x="14" y="27"/>
                    <a:pt x="16" y="23"/>
                    <a:pt x="16" y="16"/>
                  </a:cubicBezTo>
                  <a:cubicBezTo>
                    <a:pt x="16" y="8"/>
                    <a:pt x="14" y="4"/>
                    <a:pt x="11" y="4"/>
                  </a:cubicBezTo>
                  <a:cubicBezTo>
                    <a:pt x="7" y="4"/>
                    <a:pt x="5" y="8"/>
                    <a:pt x="5" y="15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75" name="Freeform 25">
              <a:extLst>
                <a:ext uri="{FF2B5EF4-FFF2-40B4-BE49-F238E27FC236}">
                  <a16:creationId xmlns:a16="http://schemas.microsoft.com/office/drawing/2014/main" id="{E88792B2-9519-4FD1-B60B-BADFCB223BEA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103" y="6818104"/>
              <a:ext cx="64962" cy="110285"/>
            </a:xfrm>
            <a:custGeom>
              <a:avLst/>
              <a:gdLst>
                <a:gd name="T0" fmla="*/ 19 w 43"/>
                <a:gd name="T1" fmla="*/ 14 h 73"/>
                <a:gd name="T2" fmla="*/ 5 w 43"/>
                <a:gd name="T3" fmla="*/ 24 h 73"/>
                <a:gd name="T4" fmla="*/ 0 w 43"/>
                <a:gd name="T5" fmla="*/ 12 h 73"/>
                <a:gd name="T6" fmla="*/ 22 w 43"/>
                <a:gd name="T7" fmla="*/ 0 h 73"/>
                <a:gd name="T8" fmla="*/ 34 w 43"/>
                <a:gd name="T9" fmla="*/ 0 h 73"/>
                <a:gd name="T10" fmla="*/ 34 w 43"/>
                <a:gd name="T11" fmla="*/ 64 h 73"/>
                <a:gd name="T12" fmla="*/ 43 w 43"/>
                <a:gd name="T13" fmla="*/ 64 h 73"/>
                <a:gd name="T14" fmla="*/ 43 w 43"/>
                <a:gd name="T15" fmla="*/ 73 h 73"/>
                <a:gd name="T16" fmla="*/ 10 w 43"/>
                <a:gd name="T17" fmla="*/ 73 h 73"/>
                <a:gd name="T18" fmla="*/ 10 w 43"/>
                <a:gd name="T19" fmla="*/ 64 h 73"/>
                <a:gd name="T20" fmla="*/ 19 w 43"/>
                <a:gd name="T21" fmla="*/ 64 h 73"/>
                <a:gd name="T22" fmla="*/ 19 w 43"/>
                <a:gd name="T23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73">
                  <a:moveTo>
                    <a:pt x="19" y="14"/>
                  </a:moveTo>
                  <a:lnTo>
                    <a:pt x="5" y="24"/>
                  </a:lnTo>
                  <a:lnTo>
                    <a:pt x="0" y="12"/>
                  </a:lnTo>
                  <a:lnTo>
                    <a:pt x="22" y="0"/>
                  </a:lnTo>
                  <a:lnTo>
                    <a:pt x="34" y="0"/>
                  </a:lnTo>
                  <a:lnTo>
                    <a:pt x="34" y="64"/>
                  </a:lnTo>
                  <a:lnTo>
                    <a:pt x="43" y="64"/>
                  </a:lnTo>
                  <a:lnTo>
                    <a:pt x="43" y="73"/>
                  </a:lnTo>
                  <a:lnTo>
                    <a:pt x="10" y="73"/>
                  </a:lnTo>
                  <a:lnTo>
                    <a:pt x="10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76" name="Freeform 43">
              <a:extLst>
                <a:ext uri="{FF2B5EF4-FFF2-40B4-BE49-F238E27FC236}">
                  <a16:creationId xmlns:a16="http://schemas.microsoft.com/office/drawing/2014/main" id="{BB2C85E6-5A00-4AD1-BA97-9342ECFCD9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7960" y="6443440"/>
              <a:ext cx="63451" cy="93666"/>
            </a:xfrm>
            <a:custGeom>
              <a:avLst/>
              <a:gdLst>
                <a:gd name="T0" fmla="*/ 18 w 18"/>
                <a:gd name="T1" fmla="*/ 13 h 26"/>
                <a:gd name="T2" fmla="*/ 9 w 18"/>
                <a:gd name="T3" fmla="*/ 26 h 26"/>
                <a:gd name="T4" fmla="*/ 0 w 18"/>
                <a:gd name="T5" fmla="*/ 13 h 26"/>
                <a:gd name="T6" fmla="*/ 9 w 18"/>
                <a:gd name="T7" fmla="*/ 0 h 26"/>
                <a:gd name="T8" fmla="*/ 18 w 18"/>
                <a:gd name="T9" fmla="*/ 13 h 26"/>
                <a:gd name="T10" fmla="*/ 5 w 18"/>
                <a:gd name="T11" fmla="*/ 13 h 26"/>
                <a:gd name="T12" fmla="*/ 9 w 18"/>
                <a:gd name="T13" fmla="*/ 22 h 26"/>
                <a:gd name="T14" fmla="*/ 13 w 18"/>
                <a:gd name="T15" fmla="*/ 13 h 26"/>
                <a:gd name="T16" fmla="*/ 9 w 18"/>
                <a:gd name="T17" fmla="*/ 4 h 26"/>
                <a:gd name="T18" fmla="*/ 5 w 18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6">
                  <a:moveTo>
                    <a:pt x="18" y="13"/>
                  </a:moveTo>
                  <a:cubicBezTo>
                    <a:pt x="18" y="22"/>
                    <a:pt x="15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5"/>
                    <a:pt x="3" y="0"/>
                    <a:pt x="9" y="0"/>
                  </a:cubicBezTo>
                  <a:cubicBezTo>
                    <a:pt x="15" y="0"/>
                    <a:pt x="18" y="5"/>
                    <a:pt x="18" y="13"/>
                  </a:cubicBezTo>
                  <a:close/>
                  <a:moveTo>
                    <a:pt x="5" y="13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7"/>
                    <a:pt x="12" y="4"/>
                    <a:pt x="9" y="4"/>
                  </a:cubicBezTo>
                  <a:cubicBezTo>
                    <a:pt x="6" y="4"/>
                    <a:pt x="5" y="7"/>
                    <a:pt x="5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77" name="Freeform 44">
              <a:extLst>
                <a:ext uri="{FF2B5EF4-FFF2-40B4-BE49-F238E27FC236}">
                  <a16:creationId xmlns:a16="http://schemas.microsoft.com/office/drawing/2014/main" id="{4EF1524F-687E-4E22-867D-025981D24E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7960" y="6597536"/>
              <a:ext cx="63451" cy="92156"/>
            </a:xfrm>
            <a:custGeom>
              <a:avLst/>
              <a:gdLst>
                <a:gd name="T0" fmla="*/ 18 w 18"/>
                <a:gd name="T1" fmla="*/ 13 h 26"/>
                <a:gd name="T2" fmla="*/ 9 w 18"/>
                <a:gd name="T3" fmla="*/ 26 h 26"/>
                <a:gd name="T4" fmla="*/ 0 w 18"/>
                <a:gd name="T5" fmla="*/ 13 h 26"/>
                <a:gd name="T6" fmla="*/ 9 w 18"/>
                <a:gd name="T7" fmla="*/ 0 h 26"/>
                <a:gd name="T8" fmla="*/ 18 w 18"/>
                <a:gd name="T9" fmla="*/ 13 h 26"/>
                <a:gd name="T10" fmla="*/ 5 w 18"/>
                <a:gd name="T11" fmla="*/ 13 h 26"/>
                <a:gd name="T12" fmla="*/ 9 w 18"/>
                <a:gd name="T13" fmla="*/ 22 h 26"/>
                <a:gd name="T14" fmla="*/ 13 w 18"/>
                <a:gd name="T15" fmla="*/ 13 h 26"/>
                <a:gd name="T16" fmla="*/ 9 w 18"/>
                <a:gd name="T17" fmla="*/ 4 h 26"/>
                <a:gd name="T18" fmla="*/ 5 w 18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6">
                  <a:moveTo>
                    <a:pt x="18" y="13"/>
                  </a:moveTo>
                  <a:cubicBezTo>
                    <a:pt x="18" y="21"/>
                    <a:pt x="15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5" y="0"/>
                    <a:pt x="18" y="4"/>
                    <a:pt x="18" y="13"/>
                  </a:cubicBezTo>
                  <a:close/>
                  <a:moveTo>
                    <a:pt x="5" y="13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7"/>
                    <a:pt x="12" y="4"/>
                    <a:pt x="9" y="4"/>
                  </a:cubicBezTo>
                  <a:cubicBezTo>
                    <a:pt x="6" y="4"/>
                    <a:pt x="5" y="7"/>
                    <a:pt x="5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78" name="Freeform 45">
              <a:extLst>
                <a:ext uri="{FF2B5EF4-FFF2-40B4-BE49-F238E27FC236}">
                  <a16:creationId xmlns:a16="http://schemas.microsoft.com/office/drawing/2014/main" id="{5BADF5DE-B6D6-4488-AC70-B0D945BDC00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981" y="6904216"/>
              <a:ext cx="49855" cy="89134"/>
            </a:xfrm>
            <a:custGeom>
              <a:avLst/>
              <a:gdLst>
                <a:gd name="T0" fmla="*/ 17 w 33"/>
                <a:gd name="T1" fmla="*/ 12 h 59"/>
                <a:gd name="T2" fmla="*/ 5 w 33"/>
                <a:gd name="T3" fmla="*/ 19 h 59"/>
                <a:gd name="T4" fmla="*/ 0 w 33"/>
                <a:gd name="T5" fmla="*/ 9 h 59"/>
                <a:gd name="T6" fmla="*/ 19 w 33"/>
                <a:gd name="T7" fmla="*/ 0 h 59"/>
                <a:gd name="T8" fmla="*/ 26 w 33"/>
                <a:gd name="T9" fmla="*/ 0 h 59"/>
                <a:gd name="T10" fmla="*/ 26 w 33"/>
                <a:gd name="T11" fmla="*/ 49 h 59"/>
                <a:gd name="T12" fmla="*/ 33 w 33"/>
                <a:gd name="T13" fmla="*/ 49 h 59"/>
                <a:gd name="T14" fmla="*/ 33 w 33"/>
                <a:gd name="T15" fmla="*/ 59 h 59"/>
                <a:gd name="T16" fmla="*/ 10 w 33"/>
                <a:gd name="T17" fmla="*/ 59 h 59"/>
                <a:gd name="T18" fmla="*/ 10 w 33"/>
                <a:gd name="T19" fmla="*/ 49 h 59"/>
                <a:gd name="T20" fmla="*/ 17 w 33"/>
                <a:gd name="T21" fmla="*/ 49 h 59"/>
                <a:gd name="T22" fmla="*/ 17 w 33"/>
                <a:gd name="T23" fmla="*/ 1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9">
                  <a:moveTo>
                    <a:pt x="17" y="12"/>
                  </a:moveTo>
                  <a:lnTo>
                    <a:pt x="5" y="19"/>
                  </a:lnTo>
                  <a:lnTo>
                    <a:pt x="0" y="9"/>
                  </a:lnTo>
                  <a:lnTo>
                    <a:pt x="19" y="0"/>
                  </a:lnTo>
                  <a:lnTo>
                    <a:pt x="26" y="0"/>
                  </a:lnTo>
                  <a:lnTo>
                    <a:pt x="26" y="49"/>
                  </a:lnTo>
                  <a:lnTo>
                    <a:pt x="33" y="49"/>
                  </a:lnTo>
                  <a:lnTo>
                    <a:pt x="33" y="59"/>
                  </a:lnTo>
                  <a:lnTo>
                    <a:pt x="10" y="59"/>
                  </a:lnTo>
                  <a:lnTo>
                    <a:pt x="10" y="49"/>
                  </a:lnTo>
                  <a:lnTo>
                    <a:pt x="17" y="49"/>
                  </a:lnTo>
                  <a:lnTo>
                    <a:pt x="17" y="12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79" name="Freeform 63">
              <a:extLst>
                <a:ext uri="{FF2B5EF4-FFF2-40B4-BE49-F238E27FC236}">
                  <a16:creationId xmlns:a16="http://schemas.microsoft.com/office/drawing/2014/main" id="{B995FB91-5BC1-43B7-957C-745EF08339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98397" y="6443440"/>
              <a:ext cx="60430" cy="93666"/>
            </a:xfrm>
            <a:custGeom>
              <a:avLst/>
              <a:gdLst>
                <a:gd name="T0" fmla="*/ 17 w 17"/>
                <a:gd name="T1" fmla="*/ 13 h 26"/>
                <a:gd name="T2" fmla="*/ 9 w 17"/>
                <a:gd name="T3" fmla="*/ 26 h 26"/>
                <a:gd name="T4" fmla="*/ 0 w 17"/>
                <a:gd name="T5" fmla="*/ 13 h 26"/>
                <a:gd name="T6" fmla="*/ 9 w 17"/>
                <a:gd name="T7" fmla="*/ 0 h 26"/>
                <a:gd name="T8" fmla="*/ 17 w 17"/>
                <a:gd name="T9" fmla="*/ 13 h 26"/>
                <a:gd name="T10" fmla="*/ 4 w 17"/>
                <a:gd name="T11" fmla="*/ 13 h 26"/>
                <a:gd name="T12" fmla="*/ 9 w 17"/>
                <a:gd name="T13" fmla="*/ 22 h 26"/>
                <a:gd name="T14" fmla="*/ 13 w 17"/>
                <a:gd name="T15" fmla="*/ 13 h 26"/>
                <a:gd name="T16" fmla="*/ 9 w 17"/>
                <a:gd name="T17" fmla="*/ 4 h 26"/>
                <a:gd name="T18" fmla="*/ 4 w 17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6">
                  <a:moveTo>
                    <a:pt x="17" y="13"/>
                  </a:moveTo>
                  <a:cubicBezTo>
                    <a:pt x="17" y="22"/>
                    <a:pt x="14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5"/>
                    <a:pt x="3" y="0"/>
                    <a:pt x="9" y="0"/>
                  </a:cubicBezTo>
                  <a:cubicBezTo>
                    <a:pt x="14" y="0"/>
                    <a:pt x="17" y="5"/>
                    <a:pt x="17" y="13"/>
                  </a:cubicBezTo>
                  <a:close/>
                  <a:moveTo>
                    <a:pt x="4" y="13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7"/>
                    <a:pt x="11" y="4"/>
                    <a:pt x="9" y="4"/>
                  </a:cubicBezTo>
                  <a:cubicBezTo>
                    <a:pt x="6" y="4"/>
                    <a:pt x="4" y="7"/>
                    <a:pt x="4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80" name="Freeform 64">
              <a:extLst>
                <a:ext uri="{FF2B5EF4-FFF2-40B4-BE49-F238E27FC236}">
                  <a16:creationId xmlns:a16="http://schemas.microsoft.com/office/drawing/2014/main" id="{5B3BFEAD-D2AE-41A8-8A68-F7975B4AAF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98397" y="6597536"/>
              <a:ext cx="60430" cy="92156"/>
            </a:xfrm>
            <a:custGeom>
              <a:avLst/>
              <a:gdLst>
                <a:gd name="T0" fmla="*/ 17 w 17"/>
                <a:gd name="T1" fmla="*/ 13 h 26"/>
                <a:gd name="T2" fmla="*/ 9 w 17"/>
                <a:gd name="T3" fmla="*/ 26 h 26"/>
                <a:gd name="T4" fmla="*/ 0 w 17"/>
                <a:gd name="T5" fmla="*/ 13 h 26"/>
                <a:gd name="T6" fmla="*/ 9 w 17"/>
                <a:gd name="T7" fmla="*/ 0 h 26"/>
                <a:gd name="T8" fmla="*/ 17 w 17"/>
                <a:gd name="T9" fmla="*/ 13 h 26"/>
                <a:gd name="T10" fmla="*/ 4 w 17"/>
                <a:gd name="T11" fmla="*/ 13 h 26"/>
                <a:gd name="T12" fmla="*/ 9 w 17"/>
                <a:gd name="T13" fmla="*/ 22 h 26"/>
                <a:gd name="T14" fmla="*/ 13 w 17"/>
                <a:gd name="T15" fmla="*/ 13 h 26"/>
                <a:gd name="T16" fmla="*/ 9 w 17"/>
                <a:gd name="T17" fmla="*/ 4 h 26"/>
                <a:gd name="T18" fmla="*/ 4 w 17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6">
                  <a:moveTo>
                    <a:pt x="17" y="13"/>
                  </a:moveTo>
                  <a:cubicBezTo>
                    <a:pt x="17" y="21"/>
                    <a:pt x="14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4" y="0"/>
                    <a:pt x="17" y="4"/>
                    <a:pt x="17" y="13"/>
                  </a:cubicBezTo>
                  <a:close/>
                  <a:moveTo>
                    <a:pt x="4" y="13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7"/>
                    <a:pt x="11" y="4"/>
                    <a:pt x="9" y="4"/>
                  </a:cubicBezTo>
                  <a:cubicBezTo>
                    <a:pt x="6" y="4"/>
                    <a:pt x="4" y="7"/>
                    <a:pt x="4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81" name="Freeform 65">
              <a:extLst>
                <a:ext uri="{FF2B5EF4-FFF2-40B4-BE49-F238E27FC236}">
                  <a16:creationId xmlns:a16="http://schemas.microsoft.com/office/drawing/2014/main" id="{4B4BA5F0-7A30-4056-8BCF-B9510C70533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929" y="6904216"/>
              <a:ext cx="49855" cy="89134"/>
            </a:xfrm>
            <a:custGeom>
              <a:avLst/>
              <a:gdLst>
                <a:gd name="T0" fmla="*/ 16 w 33"/>
                <a:gd name="T1" fmla="*/ 12 h 59"/>
                <a:gd name="T2" fmla="*/ 4 w 33"/>
                <a:gd name="T3" fmla="*/ 19 h 59"/>
                <a:gd name="T4" fmla="*/ 0 w 33"/>
                <a:gd name="T5" fmla="*/ 9 h 59"/>
                <a:gd name="T6" fmla="*/ 16 w 33"/>
                <a:gd name="T7" fmla="*/ 0 h 59"/>
                <a:gd name="T8" fmla="*/ 26 w 33"/>
                <a:gd name="T9" fmla="*/ 0 h 59"/>
                <a:gd name="T10" fmla="*/ 26 w 33"/>
                <a:gd name="T11" fmla="*/ 49 h 59"/>
                <a:gd name="T12" fmla="*/ 33 w 33"/>
                <a:gd name="T13" fmla="*/ 49 h 59"/>
                <a:gd name="T14" fmla="*/ 33 w 33"/>
                <a:gd name="T15" fmla="*/ 59 h 59"/>
                <a:gd name="T16" fmla="*/ 7 w 33"/>
                <a:gd name="T17" fmla="*/ 59 h 59"/>
                <a:gd name="T18" fmla="*/ 7 w 33"/>
                <a:gd name="T19" fmla="*/ 49 h 59"/>
                <a:gd name="T20" fmla="*/ 16 w 33"/>
                <a:gd name="T21" fmla="*/ 49 h 59"/>
                <a:gd name="T22" fmla="*/ 16 w 33"/>
                <a:gd name="T23" fmla="*/ 1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9">
                  <a:moveTo>
                    <a:pt x="16" y="12"/>
                  </a:moveTo>
                  <a:lnTo>
                    <a:pt x="4" y="19"/>
                  </a:lnTo>
                  <a:lnTo>
                    <a:pt x="0" y="9"/>
                  </a:lnTo>
                  <a:lnTo>
                    <a:pt x="16" y="0"/>
                  </a:lnTo>
                  <a:lnTo>
                    <a:pt x="26" y="0"/>
                  </a:lnTo>
                  <a:lnTo>
                    <a:pt x="26" y="49"/>
                  </a:lnTo>
                  <a:lnTo>
                    <a:pt x="33" y="49"/>
                  </a:lnTo>
                  <a:lnTo>
                    <a:pt x="33" y="59"/>
                  </a:lnTo>
                  <a:lnTo>
                    <a:pt x="7" y="59"/>
                  </a:lnTo>
                  <a:lnTo>
                    <a:pt x="7" y="49"/>
                  </a:lnTo>
                  <a:lnTo>
                    <a:pt x="16" y="49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82" name="Freeform 83">
              <a:extLst>
                <a:ext uri="{FF2B5EF4-FFF2-40B4-BE49-F238E27FC236}">
                  <a16:creationId xmlns:a16="http://schemas.microsoft.com/office/drawing/2014/main" id="{4651F3B2-EC37-4C49-AD15-8C972A897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2097" y="6450993"/>
              <a:ext cx="92156" cy="157117"/>
            </a:xfrm>
            <a:custGeom>
              <a:avLst/>
              <a:gdLst>
                <a:gd name="T0" fmla="*/ 31 w 61"/>
                <a:gd name="T1" fmla="*/ 19 h 104"/>
                <a:gd name="T2" fmla="*/ 10 w 61"/>
                <a:gd name="T3" fmla="*/ 33 h 104"/>
                <a:gd name="T4" fmla="*/ 0 w 61"/>
                <a:gd name="T5" fmla="*/ 19 h 104"/>
                <a:gd name="T6" fmla="*/ 31 w 61"/>
                <a:gd name="T7" fmla="*/ 0 h 104"/>
                <a:gd name="T8" fmla="*/ 47 w 61"/>
                <a:gd name="T9" fmla="*/ 0 h 104"/>
                <a:gd name="T10" fmla="*/ 47 w 61"/>
                <a:gd name="T11" fmla="*/ 90 h 104"/>
                <a:gd name="T12" fmla="*/ 61 w 61"/>
                <a:gd name="T13" fmla="*/ 90 h 104"/>
                <a:gd name="T14" fmla="*/ 61 w 61"/>
                <a:gd name="T15" fmla="*/ 104 h 104"/>
                <a:gd name="T16" fmla="*/ 17 w 61"/>
                <a:gd name="T17" fmla="*/ 104 h 104"/>
                <a:gd name="T18" fmla="*/ 17 w 61"/>
                <a:gd name="T19" fmla="*/ 90 h 104"/>
                <a:gd name="T20" fmla="*/ 31 w 61"/>
                <a:gd name="T21" fmla="*/ 90 h 104"/>
                <a:gd name="T22" fmla="*/ 31 w 61"/>
                <a:gd name="T23" fmla="*/ 19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4">
                  <a:moveTo>
                    <a:pt x="31" y="19"/>
                  </a:moveTo>
                  <a:lnTo>
                    <a:pt x="10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0"/>
                  </a:lnTo>
                  <a:lnTo>
                    <a:pt x="61" y="90"/>
                  </a:lnTo>
                  <a:lnTo>
                    <a:pt x="61" y="104"/>
                  </a:lnTo>
                  <a:lnTo>
                    <a:pt x="17" y="104"/>
                  </a:lnTo>
                  <a:lnTo>
                    <a:pt x="17" y="90"/>
                  </a:lnTo>
                  <a:lnTo>
                    <a:pt x="31" y="90"/>
                  </a:lnTo>
                  <a:lnTo>
                    <a:pt x="31" y="19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83" name="Freeform 84">
              <a:extLst>
                <a:ext uri="{FF2B5EF4-FFF2-40B4-BE49-F238E27FC236}">
                  <a16:creationId xmlns:a16="http://schemas.microsoft.com/office/drawing/2014/main" id="{85E39150-35B4-4AB0-8490-D6F6DEB9F2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39076" y="6718395"/>
              <a:ext cx="110285" cy="164671"/>
            </a:xfrm>
            <a:custGeom>
              <a:avLst/>
              <a:gdLst>
                <a:gd name="T0" fmla="*/ 31 w 31"/>
                <a:gd name="T1" fmla="*/ 23 h 46"/>
                <a:gd name="T2" fmla="*/ 15 w 31"/>
                <a:gd name="T3" fmla="*/ 46 h 46"/>
                <a:gd name="T4" fmla="*/ 0 w 31"/>
                <a:gd name="T5" fmla="*/ 23 h 46"/>
                <a:gd name="T6" fmla="*/ 15 w 31"/>
                <a:gd name="T7" fmla="*/ 0 h 46"/>
                <a:gd name="T8" fmla="*/ 31 w 31"/>
                <a:gd name="T9" fmla="*/ 23 h 46"/>
                <a:gd name="T10" fmla="*/ 8 w 31"/>
                <a:gd name="T11" fmla="*/ 23 h 46"/>
                <a:gd name="T12" fmla="*/ 15 w 31"/>
                <a:gd name="T13" fmla="*/ 39 h 46"/>
                <a:gd name="T14" fmla="*/ 23 w 31"/>
                <a:gd name="T15" fmla="*/ 23 h 46"/>
                <a:gd name="T16" fmla="*/ 15 w 31"/>
                <a:gd name="T17" fmla="*/ 7 h 46"/>
                <a:gd name="T18" fmla="*/ 8 w 31"/>
                <a:gd name="T19" fmla="*/ 2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46">
                  <a:moveTo>
                    <a:pt x="31" y="23"/>
                  </a:moveTo>
                  <a:cubicBezTo>
                    <a:pt x="31" y="38"/>
                    <a:pt x="26" y="46"/>
                    <a:pt x="15" y="46"/>
                  </a:cubicBezTo>
                  <a:cubicBezTo>
                    <a:pt x="5" y="46"/>
                    <a:pt x="0" y="38"/>
                    <a:pt x="0" y="23"/>
                  </a:cubicBezTo>
                  <a:cubicBezTo>
                    <a:pt x="0" y="8"/>
                    <a:pt x="5" y="0"/>
                    <a:pt x="15" y="0"/>
                  </a:cubicBezTo>
                  <a:cubicBezTo>
                    <a:pt x="26" y="0"/>
                    <a:pt x="31" y="8"/>
                    <a:pt x="31" y="23"/>
                  </a:cubicBezTo>
                  <a:close/>
                  <a:moveTo>
                    <a:pt x="8" y="23"/>
                  </a:moveTo>
                  <a:cubicBezTo>
                    <a:pt x="8" y="34"/>
                    <a:pt x="10" y="39"/>
                    <a:pt x="15" y="39"/>
                  </a:cubicBezTo>
                  <a:cubicBezTo>
                    <a:pt x="20" y="39"/>
                    <a:pt x="23" y="34"/>
                    <a:pt x="23" y="23"/>
                  </a:cubicBezTo>
                  <a:cubicBezTo>
                    <a:pt x="23" y="12"/>
                    <a:pt x="20" y="7"/>
                    <a:pt x="15" y="7"/>
                  </a:cubicBezTo>
                  <a:cubicBezTo>
                    <a:pt x="10" y="7"/>
                    <a:pt x="8" y="12"/>
                    <a:pt x="8" y="2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84" name="Freeform 95">
              <a:extLst>
                <a:ext uri="{FF2B5EF4-FFF2-40B4-BE49-F238E27FC236}">
                  <a16:creationId xmlns:a16="http://schemas.microsoft.com/office/drawing/2014/main" id="{EE0D07B3-6432-40E0-999B-F8CCC50E497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4031" y="5565699"/>
              <a:ext cx="52876" cy="86113"/>
            </a:xfrm>
            <a:custGeom>
              <a:avLst/>
              <a:gdLst>
                <a:gd name="T0" fmla="*/ 16 w 35"/>
                <a:gd name="T1" fmla="*/ 14 h 57"/>
                <a:gd name="T2" fmla="*/ 7 w 35"/>
                <a:gd name="T3" fmla="*/ 21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7 h 57"/>
                <a:gd name="T12" fmla="*/ 35 w 35"/>
                <a:gd name="T13" fmla="*/ 47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7 h 57"/>
                <a:gd name="T20" fmla="*/ 16 w 35"/>
                <a:gd name="T21" fmla="*/ 47 h 57"/>
                <a:gd name="T22" fmla="*/ 16 w 35"/>
                <a:gd name="T23" fmla="*/ 1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4"/>
                  </a:moveTo>
                  <a:lnTo>
                    <a:pt x="7" y="21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85" name="Freeform 96">
              <a:extLst>
                <a:ext uri="{FF2B5EF4-FFF2-40B4-BE49-F238E27FC236}">
                  <a16:creationId xmlns:a16="http://schemas.microsoft.com/office/drawing/2014/main" id="{35AEEEE4-3B2F-49E3-B7F5-E4AEEA090E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09499" y="5712241"/>
              <a:ext cx="67984" cy="86113"/>
            </a:xfrm>
            <a:custGeom>
              <a:avLst/>
              <a:gdLst>
                <a:gd name="T0" fmla="*/ 17 w 19"/>
                <a:gd name="T1" fmla="*/ 4 h 24"/>
                <a:gd name="T2" fmla="*/ 19 w 19"/>
                <a:gd name="T3" fmla="*/ 12 h 24"/>
                <a:gd name="T4" fmla="*/ 17 w 19"/>
                <a:gd name="T5" fmla="*/ 21 h 24"/>
                <a:gd name="T6" fmla="*/ 10 w 19"/>
                <a:gd name="T7" fmla="*/ 24 h 24"/>
                <a:gd name="T8" fmla="*/ 2 w 19"/>
                <a:gd name="T9" fmla="*/ 20 h 24"/>
                <a:gd name="T10" fmla="*/ 0 w 19"/>
                <a:gd name="T11" fmla="*/ 12 h 24"/>
                <a:gd name="T12" fmla="*/ 10 w 19"/>
                <a:gd name="T13" fmla="*/ 0 h 24"/>
                <a:gd name="T14" fmla="*/ 17 w 19"/>
                <a:gd name="T15" fmla="*/ 4 h 24"/>
                <a:gd name="T16" fmla="*/ 6 w 19"/>
                <a:gd name="T17" fmla="*/ 12 h 24"/>
                <a:gd name="T18" fmla="*/ 10 w 19"/>
                <a:gd name="T19" fmla="*/ 20 h 24"/>
                <a:gd name="T20" fmla="*/ 14 w 19"/>
                <a:gd name="T21" fmla="*/ 12 h 24"/>
                <a:gd name="T22" fmla="*/ 10 w 19"/>
                <a:gd name="T23" fmla="*/ 4 h 24"/>
                <a:gd name="T24" fmla="*/ 6 w 19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4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6"/>
                    <a:pt x="18" y="19"/>
                    <a:pt x="17" y="21"/>
                  </a:cubicBezTo>
                  <a:cubicBezTo>
                    <a:pt x="15" y="23"/>
                    <a:pt x="13" y="24"/>
                    <a:pt x="10" y="24"/>
                  </a:cubicBezTo>
                  <a:cubicBezTo>
                    <a:pt x="6" y="24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1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86" name="Freeform 97">
              <a:extLst>
                <a:ext uri="{FF2B5EF4-FFF2-40B4-BE49-F238E27FC236}">
                  <a16:creationId xmlns:a16="http://schemas.microsoft.com/office/drawing/2014/main" id="{9F7894B0-0126-4225-A1B2-94F550F3B51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4031" y="5858783"/>
              <a:ext cx="52876" cy="84602"/>
            </a:xfrm>
            <a:custGeom>
              <a:avLst/>
              <a:gdLst>
                <a:gd name="T0" fmla="*/ 16 w 35"/>
                <a:gd name="T1" fmla="*/ 14 h 56"/>
                <a:gd name="T2" fmla="*/ 7 w 35"/>
                <a:gd name="T3" fmla="*/ 21 h 56"/>
                <a:gd name="T4" fmla="*/ 0 w 35"/>
                <a:gd name="T5" fmla="*/ 11 h 56"/>
                <a:gd name="T6" fmla="*/ 19 w 35"/>
                <a:gd name="T7" fmla="*/ 0 h 56"/>
                <a:gd name="T8" fmla="*/ 28 w 35"/>
                <a:gd name="T9" fmla="*/ 0 h 56"/>
                <a:gd name="T10" fmla="*/ 28 w 35"/>
                <a:gd name="T11" fmla="*/ 47 h 56"/>
                <a:gd name="T12" fmla="*/ 35 w 35"/>
                <a:gd name="T13" fmla="*/ 47 h 56"/>
                <a:gd name="T14" fmla="*/ 35 w 35"/>
                <a:gd name="T15" fmla="*/ 56 h 56"/>
                <a:gd name="T16" fmla="*/ 9 w 35"/>
                <a:gd name="T17" fmla="*/ 56 h 56"/>
                <a:gd name="T18" fmla="*/ 9 w 35"/>
                <a:gd name="T19" fmla="*/ 47 h 56"/>
                <a:gd name="T20" fmla="*/ 16 w 35"/>
                <a:gd name="T21" fmla="*/ 47 h 56"/>
                <a:gd name="T22" fmla="*/ 16 w 35"/>
                <a:gd name="T23" fmla="*/ 1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6">
                  <a:moveTo>
                    <a:pt x="16" y="14"/>
                  </a:moveTo>
                  <a:lnTo>
                    <a:pt x="7" y="21"/>
                  </a:lnTo>
                  <a:lnTo>
                    <a:pt x="0" y="11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6"/>
                  </a:lnTo>
                  <a:lnTo>
                    <a:pt x="9" y="56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87" name="Freeform 98">
              <a:extLst>
                <a:ext uri="{FF2B5EF4-FFF2-40B4-BE49-F238E27FC236}">
                  <a16:creationId xmlns:a16="http://schemas.microsoft.com/office/drawing/2014/main" id="{3025F38E-8E89-4D64-BA2F-230D50B752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09499" y="6005325"/>
              <a:ext cx="67984" cy="84602"/>
            </a:xfrm>
            <a:custGeom>
              <a:avLst/>
              <a:gdLst>
                <a:gd name="T0" fmla="*/ 17 w 19"/>
                <a:gd name="T1" fmla="*/ 4 h 24"/>
                <a:gd name="T2" fmla="*/ 19 w 19"/>
                <a:gd name="T3" fmla="*/ 12 h 24"/>
                <a:gd name="T4" fmla="*/ 17 w 19"/>
                <a:gd name="T5" fmla="*/ 21 h 24"/>
                <a:gd name="T6" fmla="*/ 10 w 19"/>
                <a:gd name="T7" fmla="*/ 24 h 24"/>
                <a:gd name="T8" fmla="*/ 2 w 19"/>
                <a:gd name="T9" fmla="*/ 20 h 24"/>
                <a:gd name="T10" fmla="*/ 0 w 19"/>
                <a:gd name="T11" fmla="*/ 12 h 24"/>
                <a:gd name="T12" fmla="*/ 10 w 19"/>
                <a:gd name="T13" fmla="*/ 0 h 24"/>
                <a:gd name="T14" fmla="*/ 17 w 19"/>
                <a:gd name="T15" fmla="*/ 4 h 24"/>
                <a:gd name="T16" fmla="*/ 6 w 19"/>
                <a:gd name="T17" fmla="*/ 12 h 24"/>
                <a:gd name="T18" fmla="*/ 10 w 19"/>
                <a:gd name="T19" fmla="*/ 20 h 24"/>
                <a:gd name="T20" fmla="*/ 14 w 19"/>
                <a:gd name="T21" fmla="*/ 12 h 24"/>
                <a:gd name="T22" fmla="*/ 10 w 19"/>
                <a:gd name="T23" fmla="*/ 4 h 24"/>
                <a:gd name="T24" fmla="*/ 6 w 19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4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6"/>
                    <a:pt x="18" y="19"/>
                    <a:pt x="17" y="21"/>
                  </a:cubicBezTo>
                  <a:cubicBezTo>
                    <a:pt x="15" y="23"/>
                    <a:pt x="13" y="24"/>
                    <a:pt x="10" y="24"/>
                  </a:cubicBezTo>
                  <a:cubicBezTo>
                    <a:pt x="6" y="24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1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88" name="Freeform 99">
              <a:extLst>
                <a:ext uri="{FF2B5EF4-FFF2-40B4-BE49-F238E27FC236}">
                  <a16:creationId xmlns:a16="http://schemas.microsoft.com/office/drawing/2014/main" id="{AFACA334-D11C-4280-BB9E-4C930BB430F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4031" y="6150356"/>
              <a:ext cx="52876" cy="86113"/>
            </a:xfrm>
            <a:custGeom>
              <a:avLst/>
              <a:gdLst>
                <a:gd name="T0" fmla="*/ 16 w 35"/>
                <a:gd name="T1" fmla="*/ 15 h 57"/>
                <a:gd name="T2" fmla="*/ 7 w 35"/>
                <a:gd name="T3" fmla="*/ 22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8 h 57"/>
                <a:gd name="T12" fmla="*/ 35 w 35"/>
                <a:gd name="T13" fmla="*/ 48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8 h 57"/>
                <a:gd name="T20" fmla="*/ 16 w 35"/>
                <a:gd name="T21" fmla="*/ 48 h 57"/>
                <a:gd name="T22" fmla="*/ 16 w 35"/>
                <a:gd name="T23" fmla="*/ 1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5"/>
                  </a:moveTo>
                  <a:lnTo>
                    <a:pt x="7" y="22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8"/>
                  </a:lnTo>
                  <a:lnTo>
                    <a:pt x="35" y="48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8"/>
                  </a:lnTo>
                  <a:lnTo>
                    <a:pt x="16" y="48"/>
                  </a:lnTo>
                  <a:lnTo>
                    <a:pt x="16" y="15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89" name="Freeform 100">
              <a:extLst>
                <a:ext uri="{FF2B5EF4-FFF2-40B4-BE49-F238E27FC236}">
                  <a16:creationId xmlns:a16="http://schemas.microsoft.com/office/drawing/2014/main" id="{BDE47888-A802-49A7-8400-859FFC8E8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09499" y="6296898"/>
              <a:ext cx="67984" cy="86113"/>
            </a:xfrm>
            <a:custGeom>
              <a:avLst/>
              <a:gdLst>
                <a:gd name="T0" fmla="*/ 17 w 19"/>
                <a:gd name="T1" fmla="*/ 4 h 24"/>
                <a:gd name="T2" fmla="*/ 19 w 19"/>
                <a:gd name="T3" fmla="*/ 12 h 24"/>
                <a:gd name="T4" fmla="*/ 17 w 19"/>
                <a:gd name="T5" fmla="*/ 21 h 24"/>
                <a:gd name="T6" fmla="*/ 10 w 19"/>
                <a:gd name="T7" fmla="*/ 24 h 24"/>
                <a:gd name="T8" fmla="*/ 2 w 19"/>
                <a:gd name="T9" fmla="*/ 20 h 24"/>
                <a:gd name="T10" fmla="*/ 0 w 19"/>
                <a:gd name="T11" fmla="*/ 12 h 24"/>
                <a:gd name="T12" fmla="*/ 10 w 19"/>
                <a:gd name="T13" fmla="*/ 0 h 24"/>
                <a:gd name="T14" fmla="*/ 17 w 19"/>
                <a:gd name="T15" fmla="*/ 4 h 24"/>
                <a:gd name="T16" fmla="*/ 6 w 19"/>
                <a:gd name="T17" fmla="*/ 12 h 24"/>
                <a:gd name="T18" fmla="*/ 10 w 19"/>
                <a:gd name="T19" fmla="*/ 20 h 24"/>
                <a:gd name="T20" fmla="*/ 14 w 19"/>
                <a:gd name="T21" fmla="*/ 12 h 24"/>
                <a:gd name="T22" fmla="*/ 10 w 19"/>
                <a:gd name="T23" fmla="*/ 4 h 24"/>
                <a:gd name="T24" fmla="*/ 6 w 19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4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6"/>
                    <a:pt x="18" y="19"/>
                    <a:pt x="17" y="21"/>
                  </a:cubicBezTo>
                  <a:cubicBezTo>
                    <a:pt x="15" y="23"/>
                    <a:pt x="13" y="24"/>
                    <a:pt x="10" y="24"/>
                  </a:cubicBezTo>
                  <a:cubicBezTo>
                    <a:pt x="6" y="24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1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90" name="Freeform 101">
              <a:extLst>
                <a:ext uri="{FF2B5EF4-FFF2-40B4-BE49-F238E27FC236}">
                  <a16:creationId xmlns:a16="http://schemas.microsoft.com/office/drawing/2014/main" id="{1720D382-D3B6-4B74-85DF-DB907C6AA8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4031" y="6443440"/>
              <a:ext cx="52876" cy="86113"/>
            </a:xfrm>
            <a:custGeom>
              <a:avLst/>
              <a:gdLst>
                <a:gd name="T0" fmla="*/ 16 w 35"/>
                <a:gd name="T1" fmla="*/ 14 h 57"/>
                <a:gd name="T2" fmla="*/ 7 w 35"/>
                <a:gd name="T3" fmla="*/ 21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7 h 57"/>
                <a:gd name="T12" fmla="*/ 35 w 35"/>
                <a:gd name="T13" fmla="*/ 47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7 h 57"/>
                <a:gd name="T20" fmla="*/ 16 w 35"/>
                <a:gd name="T21" fmla="*/ 47 h 57"/>
                <a:gd name="T22" fmla="*/ 16 w 35"/>
                <a:gd name="T23" fmla="*/ 1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4"/>
                  </a:moveTo>
                  <a:lnTo>
                    <a:pt x="7" y="21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91" name="Freeform 102">
              <a:extLst>
                <a:ext uri="{FF2B5EF4-FFF2-40B4-BE49-F238E27FC236}">
                  <a16:creationId xmlns:a16="http://schemas.microsoft.com/office/drawing/2014/main" id="{68C5112C-1184-42F8-8541-9EFCED4199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4031" y="6589982"/>
              <a:ext cx="52876" cy="86113"/>
            </a:xfrm>
            <a:custGeom>
              <a:avLst/>
              <a:gdLst>
                <a:gd name="T0" fmla="*/ 16 w 35"/>
                <a:gd name="T1" fmla="*/ 14 h 57"/>
                <a:gd name="T2" fmla="*/ 7 w 35"/>
                <a:gd name="T3" fmla="*/ 21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7 h 57"/>
                <a:gd name="T12" fmla="*/ 35 w 35"/>
                <a:gd name="T13" fmla="*/ 47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7 h 57"/>
                <a:gd name="T20" fmla="*/ 16 w 35"/>
                <a:gd name="T21" fmla="*/ 47 h 57"/>
                <a:gd name="T22" fmla="*/ 16 w 35"/>
                <a:gd name="T23" fmla="*/ 1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4"/>
                  </a:moveTo>
                  <a:lnTo>
                    <a:pt x="7" y="21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92" name="Freeform 103">
              <a:extLst>
                <a:ext uri="{FF2B5EF4-FFF2-40B4-BE49-F238E27FC236}">
                  <a16:creationId xmlns:a16="http://schemas.microsoft.com/office/drawing/2014/main" id="{089D7F96-4976-48DD-A3D1-EF086507B0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4031" y="6739546"/>
              <a:ext cx="52876" cy="83091"/>
            </a:xfrm>
            <a:custGeom>
              <a:avLst/>
              <a:gdLst>
                <a:gd name="T0" fmla="*/ 16 w 35"/>
                <a:gd name="T1" fmla="*/ 12 h 55"/>
                <a:gd name="T2" fmla="*/ 7 w 35"/>
                <a:gd name="T3" fmla="*/ 19 h 55"/>
                <a:gd name="T4" fmla="*/ 0 w 35"/>
                <a:gd name="T5" fmla="*/ 10 h 55"/>
                <a:gd name="T6" fmla="*/ 19 w 35"/>
                <a:gd name="T7" fmla="*/ 0 h 55"/>
                <a:gd name="T8" fmla="*/ 28 w 35"/>
                <a:gd name="T9" fmla="*/ 0 h 55"/>
                <a:gd name="T10" fmla="*/ 28 w 35"/>
                <a:gd name="T11" fmla="*/ 45 h 55"/>
                <a:gd name="T12" fmla="*/ 35 w 35"/>
                <a:gd name="T13" fmla="*/ 45 h 55"/>
                <a:gd name="T14" fmla="*/ 35 w 35"/>
                <a:gd name="T15" fmla="*/ 55 h 55"/>
                <a:gd name="T16" fmla="*/ 9 w 35"/>
                <a:gd name="T17" fmla="*/ 55 h 55"/>
                <a:gd name="T18" fmla="*/ 9 w 35"/>
                <a:gd name="T19" fmla="*/ 45 h 55"/>
                <a:gd name="T20" fmla="*/ 16 w 35"/>
                <a:gd name="T21" fmla="*/ 45 h 55"/>
                <a:gd name="T22" fmla="*/ 16 w 35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5">
                  <a:moveTo>
                    <a:pt x="16" y="12"/>
                  </a:moveTo>
                  <a:lnTo>
                    <a:pt x="7" y="19"/>
                  </a:lnTo>
                  <a:lnTo>
                    <a:pt x="0" y="10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5"/>
                  </a:lnTo>
                  <a:lnTo>
                    <a:pt x="35" y="45"/>
                  </a:lnTo>
                  <a:lnTo>
                    <a:pt x="35" y="55"/>
                  </a:lnTo>
                  <a:lnTo>
                    <a:pt x="9" y="55"/>
                  </a:lnTo>
                  <a:lnTo>
                    <a:pt x="9" y="45"/>
                  </a:lnTo>
                  <a:lnTo>
                    <a:pt x="16" y="45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93" name="Freeform 104">
              <a:extLst>
                <a:ext uri="{FF2B5EF4-FFF2-40B4-BE49-F238E27FC236}">
                  <a16:creationId xmlns:a16="http://schemas.microsoft.com/office/drawing/2014/main" id="{DDB7DAC6-0D38-4117-B3C1-8CF4CA8EB1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09499" y="6883066"/>
              <a:ext cx="67984" cy="89134"/>
            </a:xfrm>
            <a:custGeom>
              <a:avLst/>
              <a:gdLst>
                <a:gd name="T0" fmla="*/ 17 w 19"/>
                <a:gd name="T1" fmla="*/ 4 h 25"/>
                <a:gd name="T2" fmla="*/ 19 w 19"/>
                <a:gd name="T3" fmla="*/ 12 h 25"/>
                <a:gd name="T4" fmla="*/ 17 w 19"/>
                <a:gd name="T5" fmla="*/ 21 h 25"/>
                <a:gd name="T6" fmla="*/ 10 w 19"/>
                <a:gd name="T7" fmla="*/ 25 h 25"/>
                <a:gd name="T8" fmla="*/ 2 w 19"/>
                <a:gd name="T9" fmla="*/ 20 h 25"/>
                <a:gd name="T10" fmla="*/ 0 w 19"/>
                <a:gd name="T11" fmla="*/ 12 h 25"/>
                <a:gd name="T12" fmla="*/ 10 w 19"/>
                <a:gd name="T13" fmla="*/ 0 h 25"/>
                <a:gd name="T14" fmla="*/ 17 w 19"/>
                <a:gd name="T15" fmla="*/ 4 h 25"/>
                <a:gd name="T16" fmla="*/ 6 w 19"/>
                <a:gd name="T17" fmla="*/ 12 h 25"/>
                <a:gd name="T18" fmla="*/ 10 w 19"/>
                <a:gd name="T19" fmla="*/ 20 h 25"/>
                <a:gd name="T20" fmla="*/ 14 w 19"/>
                <a:gd name="T21" fmla="*/ 12 h 25"/>
                <a:gd name="T22" fmla="*/ 10 w 19"/>
                <a:gd name="T23" fmla="*/ 4 h 25"/>
                <a:gd name="T24" fmla="*/ 6 w 19"/>
                <a:gd name="T25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5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7"/>
                    <a:pt x="18" y="19"/>
                    <a:pt x="17" y="21"/>
                  </a:cubicBezTo>
                  <a:cubicBezTo>
                    <a:pt x="15" y="23"/>
                    <a:pt x="13" y="25"/>
                    <a:pt x="10" y="25"/>
                  </a:cubicBezTo>
                  <a:cubicBezTo>
                    <a:pt x="6" y="25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2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94" name="Freeform 135">
              <a:extLst>
                <a:ext uri="{FF2B5EF4-FFF2-40B4-BE49-F238E27FC236}">
                  <a16:creationId xmlns:a16="http://schemas.microsoft.com/office/drawing/2014/main" id="{8F08C620-495B-43B6-97B3-1015F5E195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4121" y="5932809"/>
              <a:ext cx="60430" cy="111795"/>
            </a:xfrm>
            <a:custGeom>
              <a:avLst/>
              <a:gdLst>
                <a:gd name="T0" fmla="*/ 19 w 40"/>
                <a:gd name="T1" fmla="*/ 14 h 74"/>
                <a:gd name="T2" fmla="*/ 4 w 40"/>
                <a:gd name="T3" fmla="*/ 24 h 74"/>
                <a:gd name="T4" fmla="*/ 0 w 40"/>
                <a:gd name="T5" fmla="*/ 14 h 74"/>
                <a:gd name="T6" fmla="*/ 21 w 40"/>
                <a:gd name="T7" fmla="*/ 0 h 74"/>
                <a:gd name="T8" fmla="*/ 30 w 40"/>
                <a:gd name="T9" fmla="*/ 0 h 74"/>
                <a:gd name="T10" fmla="*/ 30 w 40"/>
                <a:gd name="T11" fmla="*/ 64 h 74"/>
                <a:gd name="T12" fmla="*/ 40 w 40"/>
                <a:gd name="T13" fmla="*/ 64 h 74"/>
                <a:gd name="T14" fmla="*/ 40 w 40"/>
                <a:gd name="T15" fmla="*/ 74 h 74"/>
                <a:gd name="T16" fmla="*/ 9 w 40"/>
                <a:gd name="T17" fmla="*/ 74 h 74"/>
                <a:gd name="T18" fmla="*/ 9 w 40"/>
                <a:gd name="T19" fmla="*/ 64 h 74"/>
                <a:gd name="T20" fmla="*/ 19 w 40"/>
                <a:gd name="T21" fmla="*/ 64 h 74"/>
                <a:gd name="T22" fmla="*/ 19 w 40"/>
                <a:gd name="T23" fmla="*/ 1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4">
                  <a:moveTo>
                    <a:pt x="19" y="14"/>
                  </a:moveTo>
                  <a:lnTo>
                    <a:pt x="4" y="24"/>
                  </a:lnTo>
                  <a:lnTo>
                    <a:pt x="0" y="14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4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9" y="74"/>
                  </a:lnTo>
                  <a:lnTo>
                    <a:pt x="9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95" name="Freeform 136">
              <a:extLst>
                <a:ext uri="{FF2B5EF4-FFF2-40B4-BE49-F238E27FC236}">
                  <a16:creationId xmlns:a16="http://schemas.microsoft.com/office/drawing/2014/main" id="{1F321FC3-DBB8-4BFD-BB7E-C180A33D6A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9589" y="6121652"/>
              <a:ext cx="75537" cy="114816"/>
            </a:xfrm>
            <a:custGeom>
              <a:avLst/>
              <a:gdLst>
                <a:gd name="T0" fmla="*/ 21 w 21"/>
                <a:gd name="T1" fmla="*/ 16 h 32"/>
                <a:gd name="T2" fmla="*/ 10 w 21"/>
                <a:gd name="T3" fmla="*/ 32 h 32"/>
                <a:gd name="T4" fmla="*/ 0 w 21"/>
                <a:gd name="T5" fmla="*/ 16 h 32"/>
                <a:gd name="T6" fmla="*/ 10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0 w 21"/>
                <a:gd name="T13" fmla="*/ 28 h 32"/>
                <a:gd name="T14" fmla="*/ 16 w 21"/>
                <a:gd name="T15" fmla="*/ 16 h 32"/>
                <a:gd name="T16" fmla="*/ 10 w 21"/>
                <a:gd name="T17" fmla="*/ 5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7"/>
                    <a:pt x="18" y="32"/>
                    <a:pt x="10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0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8"/>
                    <a:pt x="10" y="28"/>
                  </a:cubicBezTo>
                  <a:cubicBezTo>
                    <a:pt x="14" y="28"/>
                    <a:pt x="16" y="24"/>
                    <a:pt x="16" y="16"/>
                  </a:cubicBezTo>
                  <a:cubicBezTo>
                    <a:pt x="16" y="8"/>
                    <a:pt x="14" y="5"/>
                    <a:pt x="10" y="5"/>
                  </a:cubicBezTo>
                  <a:cubicBezTo>
                    <a:pt x="7" y="5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96" name="Freeform 137">
              <a:extLst>
                <a:ext uri="{FF2B5EF4-FFF2-40B4-BE49-F238E27FC236}">
                  <a16:creationId xmlns:a16="http://schemas.microsoft.com/office/drawing/2014/main" id="{D2A0C8D5-D14F-438B-94B6-F43E02B59D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9589" y="6503870"/>
              <a:ext cx="75537" cy="114816"/>
            </a:xfrm>
            <a:custGeom>
              <a:avLst/>
              <a:gdLst>
                <a:gd name="T0" fmla="*/ 21 w 21"/>
                <a:gd name="T1" fmla="*/ 16 h 32"/>
                <a:gd name="T2" fmla="*/ 10 w 21"/>
                <a:gd name="T3" fmla="*/ 32 h 32"/>
                <a:gd name="T4" fmla="*/ 0 w 21"/>
                <a:gd name="T5" fmla="*/ 16 h 32"/>
                <a:gd name="T6" fmla="*/ 10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0 w 21"/>
                <a:gd name="T13" fmla="*/ 27 h 32"/>
                <a:gd name="T14" fmla="*/ 16 w 21"/>
                <a:gd name="T15" fmla="*/ 16 h 32"/>
                <a:gd name="T16" fmla="*/ 10 w 21"/>
                <a:gd name="T17" fmla="*/ 4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6"/>
                    <a:pt x="18" y="32"/>
                    <a:pt x="10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0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7"/>
                    <a:pt x="10" y="27"/>
                  </a:cubicBezTo>
                  <a:cubicBezTo>
                    <a:pt x="14" y="27"/>
                    <a:pt x="16" y="24"/>
                    <a:pt x="16" y="16"/>
                  </a:cubicBezTo>
                  <a:cubicBezTo>
                    <a:pt x="16" y="8"/>
                    <a:pt x="14" y="4"/>
                    <a:pt x="10" y="4"/>
                  </a:cubicBezTo>
                  <a:cubicBezTo>
                    <a:pt x="7" y="4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97" name="Freeform 138">
              <a:extLst>
                <a:ext uri="{FF2B5EF4-FFF2-40B4-BE49-F238E27FC236}">
                  <a16:creationId xmlns:a16="http://schemas.microsoft.com/office/drawing/2014/main" id="{A1124E27-3264-4437-A16F-2074CBD0A6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4121" y="6697245"/>
              <a:ext cx="60430" cy="107263"/>
            </a:xfrm>
            <a:custGeom>
              <a:avLst/>
              <a:gdLst>
                <a:gd name="T0" fmla="*/ 19 w 40"/>
                <a:gd name="T1" fmla="*/ 12 h 71"/>
                <a:gd name="T2" fmla="*/ 4 w 40"/>
                <a:gd name="T3" fmla="*/ 21 h 71"/>
                <a:gd name="T4" fmla="*/ 0 w 40"/>
                <a:gd name="T5" fmla="*/ 12 h 71"/>
                <a:gd name="T6" fmla="*/ 21 w 40"/>
                <a:gd name="T7" fmla="*/ 0 h 71"/>
                <a:gd name="T8" fmla="*/ 30 w 40"/>
                <a:gd name="T9" fmla="*/ 0 h 71"/>
                <a:gd name="T10" fmla="*/ 30 w 40"/>
                <a:gd name="T11" fmla="*/ 64 h 71"/>
                <a:gd name="T12" fmla="*/ 40 w 40"/>
                <a:gd name="T13" fmla="*/ 64 h 71"/>
                <a:gd name="T14" fmla="*/ 40 w 40"/>
                <a:gd name="T15" fmla="*/ 71 h 71"/>
                <a:gd name="T16" fmla="*/ 9 w 40"/>
                <a:gd name="T17" fmla="*/ 71 h 71"/>
                <a:gd name="T18" fmla="*/ 9 w 40"/>
                <a:gd name="T19" fmla="*/ 64 h 71"/>
                <a:gd name="T20" fmla="*/ 19 w 40"/>
                <a:gd name="T21" fmla="*/ 64 h 71"/>
                <a:gd name="T22" fmla="*/ 19 w 40"/>
                <a:gd name="T23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1">
                  <a:moveTo>
                    <a:pt x="19" y="12"/>
                  </a:moveTo>
                  <a:lnTo>
                    <a:pt x="4" y="21"/>
                  </a:lnTo>
                  <a:lnTo>
                    <a:pt x="0" y="12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4"/>
                  </a:lnTo>
                  <a:lnTo>
                    <a:pt x="40" y="64"/>
                  </a:lnTo>
                  <a:lnTo>
                    <a:pt x="40" y="71"/>
                  </a:lnTo>
                  <a:lnTo>
                    <a:pt x="9" y="71"/>
                  </a:lnTo>
                  <a:lnTo>
                    <a:pt x="9" y="64"/>
                  </a:lnTo>
                  <a:lnTo>
                    <a:pt x="19" y="64"/>
                  </a:lnTo>
                  <a:lnTo>
                    <a:pt x="19" y="12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98" name="Freeform 139">
              <a:extLst>
                <a:ext uri="{FF2B5EF4-FFF2-40B4-BE49-F238E27FC236}">
                  <a16:creationId xmlns:a16="http://schemas.microsoft.com/office/drawing/2014/main" id="{26FF2C98-72EC-4629-8694-DF2FA415F3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4121" y="6886087"/>
              <a:ext cx="60430" cy="110285"/>
            </a:xfrm>
            <a:custGeom>
              <a:avLst/>
              <a:gdLst>
                <a:gd name="T0" fmla="*/ 19 w 40"/>
                <a:gd name="T1" fmla="*/ 14 h 73"/>
                <a:gd name="T2" fmla="*/ 4 w 40"/>
                <a:gd name="T3" fmla="*/ 24 h 73"/>
                <a:gd name="T4" fmla="*/ 0 w 40"/>
                <a:gd name="T5" fmla="*/ 14 h 73"/>
                <a:gd name="T6" fmla="*/ 21 w 40"/>
                <a:gd name="T7" fmla="*/ 0 h 73"/>
                <a:gd name="T8" fmla="*/ 30 w 40"/>
                <a:gd name="T9" fmla="*/ 0 h 73"/>
                <a:gd name="T10" fmla="*/ 30 w 40"/>
                <a:gd name="T11" fmla="*/ 64 h 73"/>
                <a:gd name="T12" fmla="*/ 40 w 40"/>
                <a:gd name="T13" fmla="*/ 64 h 73"/>
                <a:gd name="T14" fmla="*/ 40 w 40"/>
                <a:gd name="T15" fmla="*/ 73 h 73"/>
                <a:gd name="T16" fmla="*/ 9 w 40"/>
                <a:gd name="T17" fmla="*/ 73 h 73"/>
                <a:gd name="T18" fmla="*/ 9 w 40"/>
                <a:gd name="T19" fmla="*/ 64 h 73"/>
                <a:gd name="T20" fmla="*/ 19 w 40"/>
                <a:gd name="T21" fmla="*/ 64 h 73"/>
                <a:gd name="T22" fmla="*/ 19 w 40"/>
                <a:gd name="T23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3">
                  <a:moveTo>
                    <a:pt x="19" y="14"/>
                  </a:moveTo>
                  <a:lnTo>
                    <a:pt x="4" y="24"/>
                  </a:lnTo>
                  <a:lnTo>
                    <a:pt x="0" y="14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4"/>
                  </a:lnTo>
                  <a:lnTo>
                    <a:pt x="40" y="64"/>
                  </a:lnTo>
                  <a:lnTo>
                    <a:pt x="40" y="73"/>
                  </a:lnTo>
                  <a:lnTo>
                    <a:pt x="9" y="73"/>
                  </a:lnTo>
                  <a:lnTo>
                    <a:pt x="9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99" name="Freeform 149">
              <a:extLst>
                <a:ext uri="{FF2B5EF4-FFF2-40B4-BE49-F238E27FC236}">
                  <a16:creationId xmlns:a16="http://schemas.microsoft.com/office/drawing/2014/main" id="{B9A196C6-2E9B-40E1-B078-B92115CDB63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0421" y="5576274"/>
              <a:ext cx="92156" cy="164671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5 h 109"/>
                <a:gd name="T12" fmla="*/ 61 w 61"/>
                <a:gd name="T13" fmla="*/ 95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5 h 109"/>
                <a:gd name="T20" fmla="*/ 28 w 61"/>
                <a:gd name="T21" fmla="*/ 95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5"/>
                  </a:lnTo>
                  <a:lnTo>
                    <a:pt x="61" y="95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5"/>
                  </a:lnTo>
                  <a:lnTo>
                    <a:pt x="28" y="95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00" name="Freeform 150">
              <a:extLst>
                <a:ext uri="{FF2B5EF4-FFF2-40B4-BE49-F238E27FC236}">
                  <a16:creationId xmlns:a16="http://schemas.microsoft.com/office/drawing/2014/main" id="{CD501DC8-E3B7-412D-8B75-F45D996606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2867" y="5858783"/>
              <a:ext cx="114816" cy="170714"/>
            </a:xfrm>
            <a:custGeom>
              <a:avLst/>
              <a:gdLst>
                <a:gd name="T0" fmla="*/ 32 w 32"/>
                <a:gd name="T1" fmla="*/ 24 h 48"/>
                <a:gd name="T2" fmla="*/ 16 w 32"/>
                <a:gd name="T3" fmla="*/ 48 h 48"/>
                <a:gd name="T4" fmla="*/ 0 w 32"/>
                <a:gd name="T5" fmla="*/ 24 h 48"/>
                <a:gd name="T6" fmla="*/ 16 w 32"/>
                <a:gd name="T7" fmla="*/ 0 h 48"/>
                <a:gd name="T8" fmla="*/ 32 w 32"/>
                <a:gd name="T9" fmla="*/ 24 h 48"/>
                <a:gd name="T10" fmla="*/ 8 w 32"/>
                <a:gd name="T11" fmla="*/ 24 h 48"/>
                <a:gd name="T12" fmla="*/ 16 w 32"/>
                <a:gd name="T13" fmla="*/ 41 h 48"/>
                <a:gd name="T14" fmla="*/ 24 w 32"/>
                <a:gd name="T15" fmla="*/ 24 h 48"/>
                <a:gd name="T16" fmla="*/ 16 w 32"/>
                <a:gd name="T17" fmla="*/ 7 h 48"/>
                <a:gd name="T18" fmla="*/ 8 w 32"/>
                <a:gd name="T19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8">
                  <a:moveTo>
                    <a:pt x="32" y="24"/>
                  </a:moveTo>
                  <a:cubicBezTo>
                    <a:pt x="32" y="40"/>
                    <a:pt x="27" y="48"/>
                    <a:pt x="16" y="48"/>
                  </a:cubicBezTo>
                  <a:cubicBezTo>
                    <a:pt x="5" y="48"/>
                    <a:pt x="0" y="40"/>
                    <a:pt x="0" y="24"/>
                  </a:cubicBezTo>
                  <a:cubicBezTo>
                    <a:pt x="0" y="8"/>
                    <a:pt x="5" y="0"/>
                    <a:pt x="16" y="0"/>
                  </a:cubicBezTo>
                  <a:cubicBezTo>
                    <a:pt x="27" y="0"/>
                    <a:pt x="32" y="8"/>
                    <a:pt x="32" y="24"/>
                  </a:cubicBezTo>
                  <a:close/>
                  <a:moveTo>
                    <a:pt x="8" y="24"/>
                  </a:moveTo>
                  <a:cubicBezTo>
                    <a:pt x="8" y="36"/>
                    <a:pt x="11" y="41"/>
                    <a:pt x="16" y="41"/>
                  </a:cubicBezTo>
                  <a:cubicBezTo>
                    <a:pt x="22" y="41"/>
                    <a:pt x="24" y="36"/>
                    <a:pt x="24" y="24"/>
                  </a:cubicBezTo>
                  <a:cubicBezTo>
                    <a:pt x="24" y="12"/>
                    <a:pt x="22" y="7"/>
                    <a:pt x="16" y="7"/>
                  </a:cubicBezTo>
                  <a:cubicBezTo>
                    <a:pt x="11" y="7"/>
                    <a:pt x="8" y="12"/>
                    <a:pt x="8" y="24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01" name="Freeform 151">
              <a:extLst>
                <a:ext uri="{FF2B5EF4-FFF2-40B4-BE49-F238E27FC236}">
                  <a16:creationId xmlns:a16="http://schemas.microsoft.com/office/drawing/2014/main" id="{0E8148BE-2646-43A0-B8BC-CECEBCCE47C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0421" y="6147335"/>
              <a:ext cx="92156" cy="164671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5 h 109"/>
                <a:gd name="T12" fmla="*/ 61 w 61"/>
                <a:gd name="T13" fmla="*/ 95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5 h 109"/>
                <a:gd name="T20" fmla="*/ 28 w 61"/>
                <a:gd name="T21" fmla="*/ 95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5"/>
                  </a:lnTo>
                  <a:lnTo>
                    <a:pt x="61" y="95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5"/>
                  </a:lnTo>
                  <a:lnTo>
                    <a:pt x="28" y="95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02" name="Freeform 152">
              <a:extLst>
                <a:ext uri="{FF2B5EF4-FFF2-40B4-BE49-F238E27FC236}">
                  <a16:creationId xmlns:a16="http://schemas.microsoft.com/office/drawing/2014/main" id="{B2B3D4A8-C3A4-4AC8-A1B3-6075520A4D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2867" y="6429843"/>
              <a:ext cx="114816" cy="170714"/>
            </a:xfrm>
            <a:custGeom>
              <a:avLst/>
              <a:gdLst>
                <a:gd name="T0" fmla="*/ 32 w 32"/>
                <a:gd name="T1" fmla="*/ 24 h 48"/>
                <a:gd name="T2" fmla="*/ 16 w 32"/>
                <a:gd name="T3" fmla="*/ 48 h 48"/>
                <a:gd name="T4" fmla="*/ 0 w 32"/>
                <a:gd name="T5" fmla="*/ 24 h 48"/>
                <a:gd name="T6" fmla="*/ 16 w 32"/>
                <a:gd name="T7" fmla="*/ 0 h 48"/>
                <a:gd name="T8" fmla="*/ 32 w 32"/>
                <a:gd name="T9" fmla="*/ 24 h 48"/>
                <a:gd name="T10" fmla="*/ 8 w 32"/>
                <a:gd name="T11" fmla="*/ 24 h 48"/>
                <a:gd name="T12" fmla="*/ 16 w 32"/>
                <a:gd name="T13" fmla="*/ 41 h 48"/>
                <a:gd name="T14" fmla="*/ 24 w 32"/>
                <a:gd name="T15" fmla="*/ 24 h 48"/>
                <a:gd name="T16" fmla="*/ 16 w 32"/>
                <a:gd name="T17" fmla="*/ 7 h 48"/>
                <a:gd name="T18" fmla="*/ 8 w 32"/>
                <a:gd name="T19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8">
                  <a:moveTo>
                    <a:pt x="32" y="24"/>
                  </a:moveTo>
                  <a:cubicBezTo>
                    <a:pt x="32" y="40"/>
                    <a:pt x="27" y="48"/>
                    <a:pt x="16" y="48"/>
                  </a:cubicBezTo>
                  <a:cubicBezTo>
                    <a:pt x="5" y="48"/>
                    <a:pt x="0" y="40"/>
                    <a:pt x="0" y="24"/>
                  </a:cubicBezTo>
                  <a:cubicBezTo>
                    <a:pt x="0" y="8"/>
                    <a:pt x="5" y="0"/>
                    <a:pt x="16" y="0"/>
                  </a:cubicBezTo>
                  <a:cubicBezTo>
                    <a:pt x="27" y="0"/>
                    <a:pt x="32" y="8"/>
                    <a:pt x="32" y="24"/>
                  </a:cubicBezTo>
                  <a:close/>
                  <a:moveTo>
                    <a:pt x="8" y="24"/>
                  </a:moveTo>
                  <a:cubicBezTo>
                    <a:pt x="8" y="36"/>
                    <a:pt x="11" y="41"/>
                    <a:pt x="16" y="41"/>
                  </a:cubicBezTo>
                  <a:cubicBezTo>
                    <a:pt x="22" y="41"/>
                    <a:pt x="24" y="36"/>
                    <a:pt x="24" y="24"/>
                  </a:cubicBezTo>
                  <a:cubicBezTo>
                    <a:pt x="24" y="12"/>
                    <a:pt x="22" y="7"/>
                    <a:pt x="16" y="7"/>
                  </a:cubicBezTo>
                  <a:cubicBezTo>
                    <a:pt x="11" y="7"/>
                    <a:pt x="8" y="12"/>
                    <a:pt x="8" y="24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03" name="Freeform 153">
              <a:extLst>
                <a:ext uri="{FF2B5EF4-FFF2-40B4-BE49-F238E27FC236}">
                  <a16:creationId xmlns:a16="http://schemas.microsoft.com/office/drawing/2014/main" id="{1CD37213-FA67-41AB-A7F0-65649381AE34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0421" y="6718395"/>
              <a:ext cx="92156" cy="164671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4 h 109"/>
                <a:gd name="T12" fmla="*/ 61 w 61"/>
                <a:gd name="T13" fmla="*/ 94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4 h 109"/>
                <a:gd name="T20" fmla="*/ 28 w 61"/>
                <a:gd name="T21" fmla="*/ 94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4"/>
                  </a:lnTo>
                  <a:lnTo>
                    <a:pt x="61" y="94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4"/>
                  </a:lnTo>
                  <a:lnTo>
                    <a:pt x="28" y="94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04" name="Line 8">
              <a:extLst>
                <a:ext uri="{FF2B5EF4-FFF2-40B4-BE49-F238E27FC236}">
                  <a16:creationId xmlns:a16="http://schemas.microsoft.com/office/drawing/2014/main" id="{D0DAD38A-DBF0-4F0F-9413-F82C1253849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81365" y="5104923"/>
              <a:ext cx="0" cy="0"/>
            </a:xfrm>
            <a:prstGeom prst="line">
              <a:avLst/>
            </a:pr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05" name="Line 9">
              <a:extLst>
                <a:ext uri="{FF2B5EF4-FFF2-40B4-BE49-F238E27FC236}">
                  <a16:creationId xmlns:a16="http://schemas.microsoft.com/office/drawing/2014/main" id="{76C61149-D73E-45E5-A981-B2642C17EE6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81365" y="5104923"/>
              <a:ext cx="0" cy="0"/>
            </a:xfrm>
            <a:prstGeom prst="line">
              <a:avLst/>
            </a:pr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06" name="Freeform 10">
              <a:extLst>
                <a:ext uri="{FF2B5EF4-FFF2-40B4-BE49-F238E27FC236}">
                  <a16:creationId xmlns:a16="http://schemas.microsoft.com/office/drawing/2014/main" id="{7B173A5A-4B6C-4B7B-A548-4FA2A19AC77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8475" y="6176038"/>
              <a:ext cx="99709" cy="157117"/>
            </a:xfrm>
            <a:custGeom>
              <a:avLst/>
              <a:gdLst>
                <a:gd name="T0" fmla="*/ 30 w 66"/>
                <a:gd name="T1" fmla="*/ 24 h 104"/>
                <a:gd name="T2" fmla="*/ 9 w 66"/>
                <a:gd name="T3" fmla="*/ 38 h 104"/>
                <a:gd name="T4" fmla="*/ 0 w 66"/>
                <a:gd name="T5" fmla="*/ 19 h 104"/>
                <a:gd name="T6" fmla="*/ 33 w 66"/>
                <a:gd name="T7" fmla="*/ 0 h 104"/>
                <a:gd name="T8" fmla="*/ 52 w 66"/>
                <a:gd name="T9" fmla="*/ 0 h 104"/>
                <a:gd name="T10" fmla="*/ 52 w 66"/>
                <a:gd name="T11" fmla="*/ 87 h 104"/>
                <a:gd name="T12" fmla="*/ 66 w 66"/>
                <a:gd name="T13" fmla="*/ 87 h 104"/>
                <a:gd name="T14" fmla="*/ 66 w 66"/>
                <a:gd name="T15" fmla="*/ 104 h 104"/>
                <a:gd name="T16" fmla="*/ 16 w 66"/>
                <a:gd name="T17" fmla="*/ 104 h 104"/>
                <a:gd name="T18" fmla="*/ 16 w 66"/>
                <a:gd name="T19" fmla="*/ 87 h 104"/>
                <a:gd name="T20" fmla="*/ 30 w 66"/>
                <a:gd name="T21" fmla="*/ 87 h 104"/>
                <a:gd name="T22" fmla="*/ 30 w 66"/>
                <a:gd name="T23" fmla="*/ 2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6" h="104">
                  <a:moveTo>
                    <a:pt x="30" y="24"/>
                  </a:moveTo>
                  <a:lnTo>
                    <a:pt x="9" y="38"/>
                  </a:lnTo>
                  <a:lnTo>
                    <a:pt x="0" y="19"/>
                  </a:lnTo>
                  <a:lnTo>
                    <a:pt x="33" y="0"/>
                  </a:lnTo>
                  <a:lnTo>
                    <a:pt x="52" y="0"/>
                  </a:lnTo>
                  <a:lnTo>
                    <a:pt x="52" y="87"/>
                  </a:lnTo>
                  <a:lnTo>
                    <a:pt x="66" y="87"/>
                  </a:lnTo>
                  <a:lnTo>
                    <a:pt x="66" y="104"/>
                  </a:lnTo>
                  <a:lnTo>
                    <a:pt x="16" y="104"/>
                  </a:lnTo>
                  <a:lnTo>
                    <a:pt x="16" y="87"/>
                  </a:lnTo>
                  <a:lnTo>
                    <a:pt x="30" y="87"/>
                  </a:lnTo>
                  <a:lnTo>
                    <a:pt x="30" y="2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07" name="Freeform 11">
              <a:extLst>
                <a:ext uri="{FF2B5EF4-FFF2-40B4-BE49-F238E27FC236}">
                  <a16:creationId xmlns:a16="http://schemas.microsoft.com/office/drawing/2014/main" id="{ECA535BA-3466-4EDE-8293-A8C8281089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34879" y="6443440"/>
              <a:ext cx="120859" cy="164671"/>
            </a:xfrm>
            <a:custGeom>
              <a:avLst/>
              <a:gdLst>
                <a:gd name="T0" fmla="*/ 32 w 34"/>
                <a:gd name="T1" fmla="*/ 8 h 46"/>
                <a:gd name="T2" fmla="*/ 34 w 34"/>
                <a:gd name="T3" fmla="*/ 23 h 46"/>
                <a:gd name="T4" fmla="*/ 31 w 34"/>
                <a:gd name="T5" fmla="*/ 39 h 46"/>
                <a:gd name="T6" fmla="*/ 17 w 34"/>
                <a:gd name="T7" fmla="*/ 46 h 46"/>
                <a:gd name="T8" fmla="*/ 3 w 34"/>
                <a:gd name="T9" fmla="*/ 37 h 46"/>
                <a:gd name="T10" fmla="*/ 0 w 34"/>
                <a:gd name="T11" fmla="*/ 23 h 46"/>
                <a:gd name="T12" fmla="*/ 17 w 34"/>
                <a:gd name="T13" fmla="*/ 0 h 46"/>
                <a:gd name="T14" fmla="*/ 32 w 34"/>
                <a:gd name="T15" fmla="*/ 8 h 46"/>
                <a:gd name="T16" fmla="*/ 10 w 34"/>
                <a:gd name="T17" fmla="*/ 23 h 46"/>
                <a:gd name="T18" fmla="*/ 17 w 34"/>
                <a:gd name="T19" fmla="*/ 38 h 46"/>
                <a:gd name="T20" fmla="*/ 25 w 34"/>
                <a:gd name="T21" fmla="*/ 23 h 46"/>
                <a:gd name="T22" fmla="*/ 17 w 34"/>
                <a:gd name="T23" fmla="*/ 8 h 46"/>
                <a:gd name="T24" fmla="*/ 10 w 34"/>
                <a:gd name="T25" fmla="*/ 2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" h="46">
                  <a:moveTo>
                    <a:pt x="32" y="8"/>
                  </a:moveTo>
                  <a:cubicBezTo>
                    <a:pt x="34" y="12"/>
                    <a:pt x="34" y="16"/>
                    <a:pt x="34" y="23"/>
                  </a:cubicBezTo>
                  <a:cubicBezTo>
                    <a:pt x="34" y="31"/>
                    <a:pt x="33" y="36"/>
                    <a:pt x="31" y="39"/>
                  </a:cubicBezTo>
                  <a:cubicBezTo>
                    <a:pt x="28" y="43"/>
                    <a:pt x="23" y="46"/>
                    <a:pt x="17" y="46"/>
                  </a:cubicBezTo>
                  <a:cubicBezTo>
                    <a:pt x="11" y="46"/>
                    <a:pt x="6" y="43"/>
                    <a:pt x="3" y="37"/>
                  </a:cubicBezTo>
                  <a:cubicBezTo>
                    <a:pt x="1" y="34"/>
                    <a:pt x="0" y="29"/>
                    <a:pt x="0" y="23"/>
                  </a:cubicBezTo>
                  <a:cubicBezTo>
                    <a:pt x="0" y="8"/>
                    <a:pt x="6" y="0"/>
                    <a:pt x="17" y="0"/>
                  </a:cubicBezTo>
                  <a:cubicBezTo>
                    <a:pt x="24" y="0"/>
                    <a:pt x="29" y="3"/>
                    <a:pt x="32" y="8"/>
                  </a:cubicBezTo>
                  <a:close/>
                  <a:moveTo>
                    <a:pt x="10" y="23"/>
                  </a:moveTo>
                  <a:cubicBezTo>
                    <a:pt x="10" y="33"/>
                    <a:pt x="12" y="38"/>
                    <a:pt x="17" y="38"/>
                  </a:cubicBezTo>
                  <a:cubicBezTo>
                    <a:pt x="22" y="38"/>
                    <a:pt x="25" y="33"/>
                    <a:pt x="25" y="23"/>
                  </a:cubicBezTo>
                  <a:cubicBezTo>
                    <a:pt x="25" y="13"/>
                    <a:pt x="22" y="8"/>
                    <a:pt x="17" y="8"/>
                  </a:cubicBezTo>
                  <a:cubicBezTo>
                    <a:pt x="12" y="8"/>
                    <a:pt x="10" y="13"/>
                    <a:pt x="10" y="2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08" name="Freeform 12">
              <a:extLst>
                <a:ext uri="{FF2B5EF4-FFF2-40B4-BE49-F238E27FC236}">
                  <a16:creationId xmlns:a16="http://schemas.microsoft.com/office/drawing/2014/main" id="{033BFE8A-A81A-4337-A099-764C0AF28A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8475" y="6718395"/>
              <a:ext cx="99709" cy="157117"/>
            </a:xfrm>
            <a:custGeom>
              <a:avLst/>
              <a:gdLst>
                <a:gd name="T0" fmla="*/ 30 w 66"/>
                <a:gd name="T1" fmla="*/ 24 h 104"/>
                <a:gd name="T2" fmla="*/ 9 w 66"/>
                <a:gd name="T3" fmla="*/ 36 h 104"/>
                <a:gd name="T4" fmla="*/ 0 w 66"/>
                <a:gd name="T5" fmla="*/ 19 h 104"/>
                <a:gd name="T6" fmla="*/ 33 w 66"/>
                <a:gd name="T7" fmla="*/ 0 h 104"/>
                <a:gd name="T8" fmla="*/ 52 w 66"/>
                <a:gd name="T9" fmla="*/ 0 h 104"/>
                <a:gd name="T10" fmla="*/ 52 w 66"/>
                <a:gd name="T11" fmla="*/ 87 h 104"/>
                <a:gd name="T12" fmla="*/ 66 w 66"/>
                <a:gd name="T13" fmla="*/ 87 h 104"/>
                <a:gd name="T14" fmla="*/ 66 w 66"/>
                <a:gd name="T15" fmla="*/ 104 h 104"/>
                <a:gd name="T16" fmla="*/ 16 w 66"/>
                <a:gd name="T17" fmla="*/ 104 h 104"/>
                <a:gd name="T18" fmla="*/ 16 w 66"/>
                <a:gd name="T19" fmla="*/ 87 h 104"/>
                <a:gd name="T20" fmla="*/ 30 w 66"/>
                <a:gd name="T21" fmla="*/ 87 h 104"/>
                <a:gd name="T22" fmla="*/ 30 w 66"/>
                <a:gd name="T23" fmla="*/ 2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6" h="104">
                  <a:moveTo>
                    <a:pt x="30" y="24"/>
                  </a:moveTo>
                  <a:lnTo>
                    <a:pt x="9" y="36"/>
                  </a:lnTo>
                  <a:lnTo>
                    <a:pt x="0" y="19"/>
                  </a:lnTo>
                  <a:lnTo>
                    <a:pt x="33" y="0"/>
                  </a:lnTo>
                  <a:lnTo>
                    <a:pt x="52" y="0"/>
                  </a:lnTo>
                  <a:lnTo>
                    <a:pt x="52" y="87"/>
                  </a:lnTo>
                  <a:lnTo>
                    <a:pt x="66" y="87"/>
                  </a:lnTo>
                  <a:lnTo>
                    <a:pt x="66" y="104"/>
                  </a:lnTo>
                  <a:lnTo>
                    <a:pt x="16" y="104"/>
                  </a:lnTo>
                  <a:lnTo>
                    <a:pt x="16" y="87"/>
                  </a:lnTo>
                  <a:lnTo>
                    <a:pt x="30" y="87"/>
                  </a:lnTo>
                  <a:lnTo>
                    <a:pt x="30" y="2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09" name="Freeform 23">
              <a:extLst>
                <a:ext uri="{FF2B5EF4-FFF2-40B4-BE49-F238E27FC236}">
                  <a16:creationId xmlns:a16="http://schemas.microsoft.com/office/drawing/2014/main" id="{99C228C5-E671-4AB6-AE1C-CE35DEB636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55156" y="5455415"/>
              <a:ext cx="75537" cy="113306"/>
            </a:xfrm>
            <a:custGeom>
              <a:avLst/>
              <a:gdLst>
                <a:gd name="T0" fmla="*/ 21 w 21"/>
                <a:gd name="T1" fmla="*/ 16 h 32"/>
                <a:gd name="T2" fmla="*/ 11 w 21"/>
                <a:gd name="T3" fmla="*/ 32 h 32"/>
                <a:gd name="T4" fmla="*/ 0 w 21"/>
                <a:gd name="T5" fmla="*/ 16 h 32"/>
                <a:gd name="T6" fmla="*/ 11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1 w 21"/>
                <a:gd name="T13" fmla="*/ 28 h 32"/>
                <a:gd name="T14" fmla="*/ 16 w 21"/>
                <a:gd name="T15" fmla="*/ 16 h 32"/>
                <a:gd name="T16" fmla="*/ 11 w 21"/>
                <a:gd name="T17" fmla="*/ 5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7"/>
                    <a:pt x="18" y="32"/>
                    <a:pt x="11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1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8"/>
                    <a:pt x="11" y="28"/>
                  </a:cubicBezTo>
                  <a:cubicBezTo>
                    <a:pt x="14" y="28"/>
                    <a:pt x="16" y="24"/>
                    <a:pt x="16" y="16"/>
                  </a:cubicBezTo>
                  <a:cubicBezTo>
                    <a:pt x="16" y="8"/>
                    <a:pt x="14" y="5"/>
                    <a:pt x="11" y="5"/>
                  </a:cubicBezTo>
                  <a:cubicBezTo>
                    <a:pt x="7" y="5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10" name="Freeform 24">
              <a:extLst>
                <a:ext uri="{FF2B5EF4-FFF2-40B4-BE49-F238E27FC236}">
                  <a16:creationId xmlns:a16="http://schemas.microsoft.com/office/drawing/2014/main" id="{2B02C615-676C-463C-A3D8-E2DD66CC1B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55156" y="5647279"/>
              <a:ext cx="75537" cy="111795"/>
            </a:xfrm>
            <a:custGeom>
              <a:avLst/>
              <a:gdLst>
                <a:gd name="T0" fmla="*/ 21 w 21"/>
                <a:gd name="T1" fmla="*/ 16 h 31"/>
                <a:gd name="T2" fmla="*/ 11 w 21"/>
                <a:gd name="T3" fmla="*/ 31 h 31"/>
                <a:gd name="T4" fmla="*/ 0 w 21"/>
                <a:gd name="T5" fmla="*/ 15 h 31"/>
                <a:gd name="T6" fmla="*/ 11 w 21"/>
                <a:gd name="T7" fmla="*/ 0 h 31"/>
                <a:gd name="T8" fmla="*/ 21 w 21"/>
                <a:gd name="T9" fmla="*/ 16 h 31"/>
                <a:gd name="T10" fmla="*/ 5 w 21"/>
                <a:gd name="T11" fmla="*/ 15 h 31"/>
                <a:gd name="T12" fmla="*/ 11 w 21"/>
                <a:gd name="T13" fmla="*/ 27 h 31"/>
                <a:gd name="T14" fmla="*/ 16 w 21"/>
                <a:gd name="T15" fmla="*/ 16 h 31"/>
                <a:gd name="T16" fmla="*/ 11 w 21"/>
                <a:gd name="T17" fmla="*/ 4 h 31"/>
                <a:gd name="T18" fmla="*/ 5 w 21"/>
                <a:gd name="T1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1">
                  <a:moveTo>
                    <a:pt x="21" y="16"/>
                  </a:moveTo>
                  <a:cubicBezTo>
                    <a:pt x="21" y="26"/>
                    <a:pt x="18" y="31"/>
                    <a:pt x="11" y="31"/>
                  </a:cubicBezTo>
                  <a:cubicBezTo>
                    <a:pt x="3" y="31"/>
                    <a:pt x="0" y="26"/>
                    <a:pt x="0" y="15"/>
                  </a:cubicBezTo>
                  <a:cubicBezTo>
                    <a:pt x="0" y="5"/>
                    <a:pt x="3" y="0"/>
                    <a:pt x="11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5"/>
                  </a:moveTo>
                  <a:cubicBezTo>
                    <a:pt x="5" y="23"/>
                    <a:pt x="7" y="27"/>
                    <a:pt x="11" y="27"/>
                  </a:cubicBezTo>
                  <a:cubicBezTo>
                    <a:pt x="14" y="27"/>
                    <a:pt x="16" y="23"/>
                    <a:pt x="16" y="16"/>
                  </a:cubicBezTo>
                  <a:cubicBezTo>
                    <a:pt x="16" y="8"/>
                    <a:pt x="14" y="4"/>
                    <a:pt x="11" y="4"/>
                  </a:cubicBezTo>
                  <a:cubicBezTo>
                    <a:pt x="7" y="4"/>
                    <a:pt x="5" y="8"/>
                    <a:pt x="5" y="15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11" name="Freeform 25">
              <a:extLst>
                <a:ext uri="{FF2B5EF4-FFF2-40B4-BE49-F238E27FC236}">
                  <a16:creationId xmlns:a16="http://schemas.microsoft.com/office/drawing/2014/main" id="{551604FF-47FB-4DB6-9605-D02FC01852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2709" y="6029497"/>
              <a:ext cx="64962" cy="110285"/>
            </a:xfrm>
            <a:custGeom>
              <a:avLst/>
              <a:gdLst>
                <a:gd name="T0" fmla="*/ 19 w 43"/>
                <a:gd name="T1" fmla="*/ 14 h 73"/>
                <a:gd name="T2" fmla="*/ 5 w 43"/>
                <a:gd name="T3" fmla="*/ 24 h 73"/>
                <a:gd name="T4" fmla="*/ 0 w 43"/>
                <a:gd name="T5" fmla="*/ 12 h 73"/>
                <a:gd name="T6" fmla="*/ 22 w 43"/>
                <a:gd name="T7" fmla="*/ 0 h 73"/>
                <a:gd name="T8" fmla="*/ 34 w 43"/>
                <a:gd name="T9" fmla="*/ 0 h 73"/>
                <a:gd name="T10" fmla="*/ 34 w 43"/>
                <a:gd name="T11" fmla="*/ 64 h 73"/>
                <a:gd name="T12" fmla="*/ 43 w 43"/>
                <a:gd name="T13" fmla="*/ 64 h 73"/>
                <a:gd name="T14" fmla="*/ 43 w 43"/>
                <a:gd name="T15" fmla="*/ 73 h 73"/>
                <a:gd name="T16" fmla="*/ 10 w 43"/>
                <a:gd name="T17" fmla="*/ 73 h 73"/>
                <a:gd name="T18" fmla="*/ 10 w 43"/>
                <a:gd name="T19" fmla="*/ 64 h 73"/>
                <a:gd name="T20" fmla="*/ 19 w 43"/>
                <a:gd name="T21" fmla="*/ 64 h 73"/>
                <a:gd name="T22" fmla="*/ 19 w 43"/>
                <a:gd name="T23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73">
                  <a:moveTo>
                    <a:pt x="19" y="14"/>
                  </a:moveTo>
                  <a:lnTo>
                    <a:pt x="5" y="24"/>
                  </a:lnTo>
                  <a:lnTo>
                    <a:pt x="0" y="12"/>
                  </a:lnTo>
                  <a:lnTo>
                    <a:pt x="22" y="0"/>
                  </a:lnTo>
                  <a:lnTo>
                    <a:pt x="34" y="0"/>
                  </a:lnTo>
                  <a:lnTo>
                    <a:pt x="34" y="64"/>
                  </a:lnTo>
                  <a:lnTo>
                    <a:pt x="43" y="64"/>
                  </a:lnTo>
                  <a:lnTo>
                    <a:pt x="43" y="73"/>
                  </a:lnTo>
                  <a:lnTo>
                    <a:pt x="10" y="73"/>
                  </a:lnTo>
                  <a:lnTo>
                    <a:pt x="10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12" name="Freeform 26">
              <a:extLst>
                <a:ext uri="{FF2B5EF4-FFF2-40B4-BE49-F238E27FC236}">
                  <a16:creationId xmlns:a16="http://schemas.microsoft.com/office/drawing/2014/main" id="{FF3DE360-4480-4181-9CAD-7FE33A65EB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55156" y="6218339"/>
              <a:ext cx="75537" cy="111795"/>
            </a:xfrm>
            <a:custGeom>
              <a:avLst/>
              <a:gdLst>
                <a:gd name="T0" fmla="*/ 21 w 21"/>
                <a:gd name="T1" fmla="*/ 16 h 31"/>
                <a:gd name="T2" fmla="*/ 11 w 21"/>
                <a:gd name="T3" fmla="*/ 31 h 31"/>
                <a:gd name="T4" fmla="*/ 0 w 21"/>
                <a:gd name="T5" fmla="*/ 15 h 31"/>
                <a:gd name="T6" fmla="*/ 11 w 21"/>
                <a:gd name="T7" fmla="*/ 0 h 31"/>
                <a:gd name="T8" fmla="*/ 21 w 21"/>
                <a:gd name="T9" fmla="*/ 16 h 31"/>
                <a:gd name="T10" fmla="*/ 5 w 21"/>
                <a:gd name="T11" fmla="*/ 16 h 31"/>
                <a:gd name="T12" fmla="*/ 11 w 21"/>
                <a:gd name="T13" fmla="*/ 27 h 31"/>
                <a:gd name="T14" fmla="*/ 16 w 21"/>
                <a:gd name="T15" fmla="*/ 16 h 31"/>
                <a:gd name="T16" fmla="*/ 11 w 21"/>
                <a:gd name="T17" fmla="*/ 4 h 31"/>
                <a:gd name="T18" fmla="*/ 5 w 21"/>
                <a:gd name="T19" fmla="*/ 1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1">
                  <a:moveTo>
                    <a:pt x="21" y="16"/>
                  </a:moveTo>
                  <a:cubicBezTo>
                    <a:pt x="21" y="26"/>
                    <a:pt x="18" y="31"/>
                    <a:pt x="11" y="31"/>
                  </a:cubicBezTo>
                  <a:cubicBezTo>
                    <a:pt x="3" y="31"/>
                    <a:pt x="0" y="26"/>
                    <a:pt x="0" y="15"/>
                  </a:cubicBezTo>
                  <a:cubicBezTo>
                    <a:pt x="0" y="5"/>
                    <a:pt x="3" y="0"/>
                    <a:pt x="11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3"/>
                    <a:pt x="7" y="27"/>
                    <a:pt x="11" y="27"/>
                  </a:cubicBezTo>
                  <a:cubicBezTo>
                    <a:pt x="14" y="27"/>
                    <a:pt x="16" y="23"/>
                    <a:pt x="16" y="16"/>
                  </a:cubicBezTo>
                  <a:cubicBezTo>
                    <a:pt x="16" y="8"/>
                    <a:pt x="14" y="4"/>
                    <a:pt x="11" y="4"/>
                  </a:cubicBezTo>
                  <a:cubicBezTo>
                    <a:pt x="7" y="4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13" name="Freeform 27">
              <a:extLst>
                <a:ext uri="{FF2B5EF4-FFF2-40B4-BE49-F238E27FC236}">
                  <a16:creationId xmlns:a16="http://schemas.microsoft.com/office/drawing/2014/main" id="{6F4A50DB-6914-4596-B4BF-64B68A1E75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55156" y="6408693"/>
              <a:ext cx="75537" cy="113306"/>
            </a:xfrm>
            <a:custGeom>
              <a:avLst/>
              <a:gdLst>
                <a:gd name="T0" fmla="*/ 21 w 21"/>
                <a:gd name="T1" fmla="*/ 16 h 32"/>
                <a:gd name="T2" fmla="*/ 11 w 21"/>
                <a:gd name="T3" fmla="*/ 32 h 32"/>
                <a:gd name="T4" fmla="*/ 0 w 21"/>
                <a:gd name="T5" fmla="*/ 16 h 32"/>
                <a:gd name="T6" fmla="*/ 11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1 w 21"/>
                <a:gd name="T13" fmla="*/ 27 h 32"/>
                <a:gd name="T14" fmla="*/ 16 w 21"/>
                <a:gd name="T15" fmla="*/ 16 h 32"/>
                <a:gd name="T16" fmla="*/ 11 w 21"/>
                <a:gd name="T17" fmla="*/ 4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7"/>
                    <a:pt x="18" y="32"/>
                    <a:pt x="11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1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7"/>
                    <a:pt x="11" y="27"/>
                  </a:cubicBezTo>
                  <a:cubicBezTo>
                    <a:pt x="14" y="27"/>
                    <a:pt x="16" y="24"/>
                    <a:pt x="16" y="16"/>
                  </a:cubicBezTo>
                  <a:cubicBezTo>
                    <a:pt x="16" y="8"/>
                    <a:pt x="14" y="4"/>
                    <a:pt x="11" y="4"/>
                  </a:cubicBezTo>
                  <a:cubicBezTo>
                    <a:pt x="7" y="4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14" name="Freeform 28">
              <a:extLst>
                <a:ext uri="{FF2B5EF4-FFF2-40B4-BE49-F238E27FC236}">
                  <a16:creationId xmlns:a16="http://schemas.microsoft.com/office/drawing/2014/main" id="{8D17AD4A-3029-4AED-8E87-EEDDF18996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2709" y="6789400"/>
              <a:ext cx="64962" cy="111795"/>
            </a:xfrm>
            <a:custGeom>
              <a:avLst/>
              <a:gdLst>
                <a:gd name="T0" fmla="*/ 19 w 43"/>
                <a:gd name="T1" fmla="*/ 14 h 74"/>
                <a:gd name="T2" fmla="*/ 5 w 43"/>
                <a:gd name="T3" fmla="*/ 24 h 74"/>
                <a:gd name="T4" fmla="*/ 0 w 43"/>
                <a:gd name="T5" fmla="*/ 14 h 74"/>
                <a:gd name="T6" fmla="*/ 22 w 43"/>
                <a:gd name="T7" fmla="*/ 0 h 74"/>
                <a:gd name="T8" fmla="*/ 34 w 43"/>
                <a:gd name="T9" fmla="*/ 0 h 74"/>
                <a:gd name="T10" fmla="*/ 34 w 43"/>
                <a:gd name="T11" fmla="*/ 64 h 74"/>
                <a:gd name="T12" fmla="*/ 43 w 43"/>
                <a:gd name="T13" fmla="*/ 64 h 74"/>
                <a:gd name="T14" fmla="*/ 43 w 43"/>
                <a:gd name="T15" fmla="*/ 74 h 74"/>
                <a:gd name="T16" fmla="*/ 10 w 43"/>
                <a:gd name="T17" fmla="*/ 74 h 74"/>
                <a:gd name="T18" fmla="*/ 10 w 43"/>
                <a:gd name="T19" fmla="*/ 64 h 74"/>
                <a:gd name="T20" fmla="*/ 19 w 43"/>
                <a:gd name="T21" fmla="*/ 64 h 74"/>
                <a:gd name="T22" fmla="*/ 19 w 43"/>
                <a:gd name="T23" fmla="*/ 1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74">
                  <a:moveTo>
                    <a:pt x="19" y="14"/>
                  </a:moveTo>
                  <a:lnTo>
                    <a:pt x="5" y="24"/>
                  </a:lnTo>
                  <a:lnTo>
                    <a:pt x="0" y="14"/>
                  </a:lnTo>
                  <a:lnTo>
                    <a:pt x="22" y="0"/>
                  </a:lnTo>
                  <a:lnTo>
                    <a:pt x="34" y="0"/>
                  </a:lnTo>
                  <a:lnTo>
                    <a:pt x="34" y="64"/>
                  </a:lnTo>
                  <a:lnTo>
                    <a:pt x="43" y="64"/>
                  </a:lnTo>
                  <a:lnTo>
                    <a:pt x="43" y="74"/>
                  </a:lnTo>
                  <a:lnTo>
                    <a:pt x="10" y="74"/>
                  </a:lnTo>
                  <a:lnTo>
                    <a:pt x="10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15" name="Freeform 43">
              <a:extLst>
                <a:ext uri="{FF2B5EF4-FFF2-40B4-BE49-F238E27FC236}">
                  <a16:creationId xmlns:a16="http://schemas.microsoft.com/office/drawing/2014/main" id="{7EB2EEE1-048D-469E-BF32-366F3BBC18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95364" y="5654833"/>
              <a:ext cx="63451" cy="93666"/>
            </a:xfrm>
            <a:custGeom>
              <a:avLst/>
              <a:gdLst>
                <a:gd name="T0" fmla="*/ 18 w 18"/>
                <a:gd name="T1" fmla="*/ 13 h 26"/>
                <a:gd name="T2" fmla="*/ 9 w 18"/>
                <a:gd name="T3" fmla="*/ 26 h 26"/>
                <a:gd name="T4" fmla="*/ 0 w 18"/>
                <a:gd name="T5" fmla="*/ 13 h 26"/>
                <a:gd name="T6" fmla="*/ 9 w 18"/>
                <a:gd name="T7" fmla="*/ 0 h 26"/>
                <a:gd name="T8" fmla="*/ 18 w 18"/>
                <a:gd name="T9" fmla="*/ 13 h 26"/>
                <a:gd name="T10" fmla="*/ 5 w 18"/>
                <a:gd name="T11" fmla="*/ 13 h 26"/>
                <a:gd name="T12" fmla="*/ 9 w 18"/>
                <a:gd name="T13" fmla="*/ 22 h 26"/>
                <a:gd name="T14" fmla="*/ 13 w 18"/>
                <a:gd name="T15" fmla="*/ 13 h 26"/>
                <a:gd name="T16" fmla="*/ 9 w 18"/>
                <a:gd name="T17" fmla="*/ 4 h 26"/>
                <a:gd name="T18" fmla="*/ 5 w 18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6">
                  <a:moveTo>
                    <a:pt x="18" y="13"/>
                  </a:moveTo>
                  <a:cubicBezTo>
                    <a:pt x="18" y="22"/>
                    <a:pt x="15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5"/>
                    <a:pt x="3" y="0"/>
                    <a:pt x="9" y="0"/>
                  </a:cubicBezTo>
                  <a:cubicBezTo>
                    <a:pt x="15" y="0"/>
                    <a:pt x="18" y="5"/>
                    <a:pt x="18" y="13"/>
                  </a:cubicBezTo>
                  <a:close/>
                  <a:moveTo>
                    <a:pt x="5" y="13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7"/>
                    <a:pt x="12" y="4"/>
                    <a:pt x="9" y="4"/>
                  </a:cubicBezTo>
                  <a:cubicBezTo>
                    <a:pt x="6" y="4"/>
                    <a:pt x="5" y="7"/>
                    <a:pt x="5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16" name="Freeform 44">
              <a:extLst>
                <a:ext uri="{FF2B5EF4-FFF2-40B4-BE49-F238E27FC236}">
                  <a16:creationId xmlns:a16="http://schemas.microsoft.com/office/drawing/2014/main" id="{8FB9F4E6-D157-4083-A253-2C84FA4184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95364" y="5808928"/>
              <a:ext cx="63451" cy="92156"/>
            </a:xfrm>
            <a:custGeom>
              <a:avLst/>
              <a:gdLst>
                <a:gd name="T0" fmla="*/ 18 w 18"/>
                <a:gd name="T1" fmla="*/ 13 h 26"/>
                <a:gd name="T2" fmla="*/ 9 w 18"/>
                <a:gd name="T3" fmla="*/ 26 h 26"/>
                <a:gd name="T4" fmla="*/ 0 w 18"/>
                <a:gd name="T5" fmla="*/ 13 h 26"/>
                <a:gd name="T6" fmla="*/ 9 w 18"/>
                <a:gd name="T7" fmla="*/ 0 h 26"/>
                <a:gd name="T8" fmla="*/ 18 w 18"/>
                <a:gd name="T9" fmla="*/ 13 h 26"/>
                <a:gd name="T10" fmla="*/ 5 w 18"/>
                <a:gd name="T11" fmla="*/ 13 h 26"/>
                <a:gd name="T12" fmla="*/ 9 w 18"/>
                <a:gd name="T13" fmla="*/ 22 h 26"/>
                <a:gd name="T14" fmla="*/ 13 w 18"/>
                <a:gd name="T15" fmla="*/ 13 h 26"/>
                <a:gd name="T16" fmla="*/ 9 w 18"/>
                <a:gd name="T17" fmla="*/ 4 h 26"/>
                <a:gd name="T18" fmla="*/ 5 w 18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6">
                  <a:moveTo>
                    <a:pt x="18" y="13"/>
                  </a:moveTo>
                  <a:cubicBezTo>
                    <a:pt x="18" y="21"/>
                    <a:pt x="15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5" y="0"/>
                    <a:pt x="18" y="4"/>
                    <a:pt x="18" y="13"/>
                  </a:cubicBezTo>
                  <a:close/>
                  <a:moveTo>
                    <a:pt x="5" y="13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7"/>
                    <a:pt x="12" y="4"/>
                    <a:pt x="9" y="4"/>
                  </a:cubicBezTo>
                  <a:cubicBezTo>
                    <a:pt x="6" y="4"/>
                    <a:pt x="5" y="7"/>
                    <a:pt x="5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17" name="Freeform 45">
              <a:extLst>
                <a:ext uri="{FF2B5EF4-FFF2-40B4-BE49-F238E27FC236}">
                  <a16:creationId xmlns:a16="http://schemas.microsoft.com/office/drawing/2014/main" id="{AD822791-826F-404C-9F4B-B4EB1DA241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5938" y="6115609"/>
              <a:ext cx="49855" cy="89134"/>
            </a:xfrm>
            <a:custGeom>
              <a:avLst/>
              <a:gdLst>
                <a:gd name="T0" fmla="*/ 17 w 33"/>
                <a:gd name="T1" fmla="*/ 12 h 59"/>
                <a:gd name="T2" fmla="*/ 5 w 33"/>
                <a:gd name="T3" fmla="*/ 19 h 59"/>
                <a:gd name="T4" fmla="*/ 0 w 33"/>
                <a:gd name="T5" fmla="*/ 9 h 59"/>
                <a:gd name="T6" fmla="*/ 19 w 33"/>
                <a:gd name="T7" fmla="*/ 0 h 59"/>
                <a:gd name="T8" fmla="*/ 26 w 33"/>
                <a:gd name="T9" fmla="*/ 0 h 59"/>
                <a:gd name="T10" fmla="*/ 26 w 33"/>
                <a:gd name="T11" fmla="*/ 49 h 59"/>
                <a:gd name="T12" fmla="*/ 33 w 33"/>
                <a:gd name="T13" fmla="*/ 49 h 59"/>
                <a:gd name="T14" fmla="*/ 33 w 33"/>
                <a:gd name="T15" fmla="*/ 59 h 59"/>
                <a:gd name="T16" fmla="*/ 10 w 33"/>
                <a:gd name="T17" fmla="*/ 59 h 59"/>
                <a:gd name="T18" fmla="*/ 10 w 33"/>
                <a:gd name="T19" fmla="*/ 49 h 59"/>
                <a:gd name="T20" fmla="*/ 17 w 33"/>
                <a:gd name="T21" fmla="*/ 49 h 59"/>
                <a:gd name="T22" fmla="*/ 17 w 33"/>
                <a:gd name="T23" fmla="*/ 1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9">
                  <a:moveTo>
                    <a:pt x="17" y="12"/>
                  </a:moveTo>
                  <a:lnTo>
                    <a:pt x="5" y="19"/>
                  </a:lnTo>
                  <a:lnTo>
                    <a:pt x="0" y="9"/>
                  </a:lnTo>
                  <a:lnTo>
                    <a:pt x="19" y="0"/>
                  </a:lnTo>
                  <a:lnTo>
                    <a:pt x="26" y="0"/>
                  </a:lnTo>
                  <a:lnTo>
                    <a:pt x="26" y="49"/>
                  </a:lnTo>
                  <a:lnTo>
                    <a:pt x="33" y="49"/>
                  </a:lnTo>
                  <a:lnTo>
                    <a:pt x="33" y="59"/>
                  </a:lnTo>
                  <a:lnTo>
                    <a:pt x="10" y="59"/>
                  </a:lnTo>
                  <a:lnTo>
                    <a:pt x="10" y="49"/>
                  </a:lnTo>
                  <a:lnTo>
                    <a:pt x="17" y="49"/>
                  </a:lnTo>
                  <a:lnTo>
                    <a:pt x="17" y="12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18" name="Freeform 46">
              <a:extLst>
                <a:ext uri="{FF2B5EF4-FFF2-40B4-BE49-F238E27FC236}">
                  <a16:creationId xmlns:a16="http://schemas.microsoft.com/office/drawing/2014/main" id="{3E673CFF-1DB9-4376-AAB4-9216C1D5D9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95364" y="6265173"/>
              <a:ext cx="63451" cy="92156"/>
            </a:xfrm>
            <a:custGeom>
              <a:avLst/>
              <a:gdLst>
                <a:gd name="T0" fmla="*/ 18 w 18"/>
                <a:gd name="T1" fmla="*/ 13 h 26"/>
                <a:gd name="T2" fmla="*/ 9 w 18"/>
                <a:gd name="T3" fmla="*/ 26 h 26"/>
                <a:gd name="T4" fmla="*/ 0 w 18"/>
                <a:gd name="T5" fmla="*/ 13 h 26"/>
                <a:gd name="T6" fmla="*/ 9 w 18"/>
                <a:gd name="T7" fmla="*/ 0 h 26"/>
                <a:gd name="T8" fmla="*/ 18 w 18"/>
                <a:gd name="T9" fmla="*/ 13 h 26"/>
                <a:gd name="T10" fmla="*/ 5 w 18"/>
                <a:gd name="T11" fmla="*/ 13 h 26"/>
                <a:gd name="T12" fmla="*/ 9 w 18"/>
                <a:gd name="T13" fmla="*/ 22 h 26"/>
                <a:gd name="T14" fmla="*/ 13 w 18"/>
                <a:gd name="T15" fmla="*/ 13 h 26"/>
                <a:gd name="T16" fmla="*/ 9 w 18"/>
                <a:gd name="T17" fmla="*/ 4 h 26"/>
                <a:gd name="T18" fmla="*/ 5 w 18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6">
                  <a:moveTo>
                    <a:pt x="18" y="13"/>
                  </a:moveTo>
                  <a:cubicBezTo>
                    <a:pt x="18" y="22"/>
                    <a:pt x="15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5" y="0"/>
                    <a:pt x="18" y="4"/>
                    <a:pt x="18" y="13"/>
                  </a:cubicBezTo>
                  <a:close/>
                  <a:moveTo>
                    <a:pt x="5" y="13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7"/>
                    <a:pt x="12" y="4"/>
                    <a:pt x="9" y="4"/>
                  </a:cubicBezTo>
                  <a:cubicBezTo>
                    <a:pt x="6" y="4"/>
                    <a:pt x="5" y="7"/>
                    <a:pt x="5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19" name="Freeform 47">
              <a:extLst>
                <a:ext uri="{FF2B5EF4-FFF2-40B4-BE49-F238E27FC236}">
                  <a16:creationId xmlns:a16="http://schemas.microsoft.com/office/drawing/2014/main" id="{79907B3B-BEB6-4983-899D-23A702194C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95364" y="6419268"/>
              <a:ext cx="63451" cy="89134"/>
            </a:xfrm>
            <a:custGeom>
              <a:avLst/>
              <a:gdLst>
                <a:gd name="T0" fmla="*/ 18 w 18"/>
                <a:gd name="T1" fmla="*/ 13 h 25"/>
                <a:gd name="T2" fmla="*/ 9 w 18"/>
                <a:gd name="T3" fmla="*/ 25 h 25"/>
                <a:gd name="T4" fmla="*/ 0 w 18"/>
                <a:gd name="T5" fmla="*/ 12 h 25"/>
                <a:gd name="T6" fmla="*/ 9 w 18"/>
                <a:gd name="T7" fmla="*/ 0 h 25"/>
                <a:gd name="T8" fmla="*/ 18 w 18"/>
                <a:gd name="T9" fmla="*/ 13 h 25"/>
                <a:gd name="T10" fmla="*/ 5 w 18"/>
                <a:gd name="T11" fmla="*/ 12 h 25"/>
                <a:gd name="T12" fmla="*/ 9 w 18"/>
                <a:gd name="T13" fmla="*/ 22 h 25"/>
                <a:gd name="T14" fmla="*/ 13 w 18"/>
                <a:gd name="T15" fmla="*/ 13 h 25"/>
                <a:gd name="T16" fmla="*/ 9 w 18"/>
                <a:gd name="T17" fmla="*/ 3 h 25"/>
                <a:gd name="T18" fmla="*/ 5 w 18"/>
                <a:gd name="T1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5">
                  <a:moveTo>
                    <a:pt x="18" y="13"/>
                  </a:moveTo>
                  <a:cubicBezTo>
                    <a:pt x="18" y="21"/>
                    <a:pt x="15" y="25"/>
                    <a:pt x="9" y="25"/>
                  </a:cubicBezTo>
                  <a:cubicBezTo>
                    <a:pt x="3" y="25"/>
                    <a:pt x="0" y="21"/>
                    <a:pt x="0" y="12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5" y="0"/>
                    <a:pt x="18" y="4"/>
                    <a:pt x="18" y="13"/>
                  </a:cubicBezTo>
                  <a:close/>
                  <a:moveTo>
                    <a:pt x="5" y="12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6"/>
                    <a:pt x="12" y="3"/>
                    <a:pt x="9" y="3"/>
                  </a:cubicBezTo>
                  <a:cubicBezTo>
                    <a:pt x="6" y="3"/>
                    <a:pt x="5" y="6"/>
                    <a:pt x="5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20" name="Freeform 48">
              <a:extLst>
                <a:ext uri="{FF2B5EF4-FFF2-40B4-BE49-F238E27FC236}">
                  <a16:creationId xmlns:a16="http://schemas.microsoft.com/office/drawing/2014/main" id="{8CC2C783-F397-4A44-AA28-D85E32BACBB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5938" y="6725948"/>
              <a:ext cx="49855" cy="84602"/>
            </a:xfrm>
            <a:custGeom>
              <a:avLst/>
              <a:gdLst>
                <a:gd name="T0" fmla="*/ 17 w 33"/>
                <a:gd name="T1" fmla="*/ 9 h 56"/>
                <a:gd name="T2" fmla="*/ 5 w 33"/>
                <a:gd name="T3" fmla="*/ 16 h 56"/>
                <a:gd name="T4" fmla="*/ 0 w 33"/>
                <a:gd name="T5" fmla="*/ 9 h 56"/>
                <a:gd name="T6" fmla="*/ 19 w 33"/>
                <a:gd name="T7" fmla="*/ 0 h 56"/>
                <a:gd name="T8" fmla="*/ 26 w 33"/>
                <a:gd name="T9" fmla="*/ 0 h 56"/>
                <a:gd name="T10" fmla="*/ 26 w 33"/>
                <a:gd name="T11" fmla="*/ 49 h 56"/>
                <a:gd name="T12" fmla="*/ 33 w 33"/>
                <a:gd name="T13" fmla="*/ 49 h 56"/>
                <a:gd name="T14" fmla="*/ 33 w 33"/>
                <a:gd name="T15" fmla="*/ 56 h 56"/>
                <a:gd name="T16" fmla="*/ 10 w 33"/>
                <a:gd name="T17" fmla="*/ 56 h 56"/>
                <a:gd name="T18" fmla="*/ 10 w 33"/>
                <a:gd name="T19" fmla="*/ 49 h 56"/>
                <a:gd name="T20" fmla="*/ 17 w 33"/>
                <a:gd name="T21" fmla="*/ 49 h 56"/>
                <a:gd name="T22" fmla="*/ 17 w 33"/>
                <a:gd name="T23" fmla="*/ 9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6">
                  <a:moveTo>
                    <a:pt x="17" y="9"/>
                  </a:moveTo>
                  <a:lnTo>
                    <a:pt x="5" y="16"/>
                  </a:lnTo>
                  <a:lnTo>
                    <a:pt x="0" y="9"/>
                  </a:lnTo>
                  <a:lnTo>
                    <a:pt x="19" y="0"/>
                  </a:lnTo>
                  <a:lnTo>
                    <a:pt x="26" y="0"/>
                  </a:lnTo>
                  <a:lnTo>
                    <a:pt x="26" y="49"/>
                  </a:lnTo>
                  <a:lnTo>
                    <a:pt x="33" y="49"/>
                  </a:lnTo>
                  <a:lnTo>
                    <a:pt x="33" y="56"/>
                  </a:lnTo>
                  <a:lnTo>
                    <a:pt x="10" y="56"/>
                  </a:lnTo>
                  <a:lnTo>
                    <a:pt x="10" y="49"/>
                  </a:lnTo>
                  <a:lnTo>
                    <a:pt x="17" y="49"/>
                  </a:lnTo>
                  <a:lnTo>
                    <a:pt x="17" y="9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21" name="Freeform 49">
              <a:extLst>
                <a:ext uri="{FF2B5EF4-FFF2-40B4-BE49-F238E27FC236}">
                  <a16:creationId xmlns:a16="http://schemas.microsoft.com/office/drawing/2014/main" id="{5E981211-6D7B-44DC-A889-9AFE550A8B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95364" y="6875512"/>
              <a:ext cx="63451" cy="89134"/>
            </a:xfrm>
            <a:custGeom>
              <a:avLst/>
              <a:gdLst>
                <a:gd name="T0" fmla="*/ 18 w 18"/>
                <a:gd name="T1" fmla="*/ 13 h 25"/>
                <a:gd name="T2" fmla="*/ 9 w 18"/>
                <a:gd name="T3" fmla="*/ 25 h 25"/>
                <a:gd name="T4" fmla="*/ 0 w 18"/>
                <a:gd name="T5" fmla="*/ 13 h 25"/>
                <a:gd name="T6" fmla="*/ 9 w 18"/>
                <a:gd name="T7" fmla="*/ 0 h 25"/>
                <a:gd name="T8" fmla="*/ 18 w 18"/>
                <a:gd name="T9" fmla="*/ 13 h 25"/>
                <a:gd name="T10" fmla="*/ 5 w 18"/>
                <a:gd name="T11" fmla="*/ 13 h 25"/>
                <a:gd name="T12" fmla="*/ 9 w 18"/>
                <a:gd name="T13" fmla="*/ 22 h 25"/>
                <a:gd name="T14" fmla="*/ 13 w 18"/>
                <a:gd name="T15" fmla="*/ 13 h 25"/>
                <a:gd name="T16" fmla="*/ 9 w 18"/>
                <a:gd name="T17" fmla="*/ 3 h 25"/>
                <a:gd name="T18" fmla="*/ 5 w 18"/>
                <a:gd name="T19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5">
                  <a:moveTo>
                    <a:pt x="18" y="13"/>
                  </a:moveTo>
                  <a:cubicBezTo>
                    <a:pt x="18" y="21"/>
                    <a:pt x="15" y="25"/>
                    <a:pt x="9" y="25"/>
                  </a:cubicBezTo>
                  <a:cubicBezTo>
                    <a:pt x="3" y="25"/>
                    <a:pt x="0" y="21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5" y="0"/>
                    <a:pt x="18" y="4"/>
                    <a:pt x="18" y="13"/>
                  </a:cubicBezTo>
                  <a:close/>
                  <a:moveTo>
                    <a:pt x="5" y="13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6"/>
                    <a:pt x="12" y="3"/>
                    <a:pt x="9" y="3"/>
                  </a:cubicBezTo>
                  <a:cubicBezTo>
                    <a:pt x="6" y="3"/>
                    <a:pt x="5" y="6"/>
                    <a:pt x="5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22" name="Freeform 63">
              <a:extLst>
                <a:ext uri="{FF2B5EF4-FFF2-40B4-BE49-F238E27FC236}">
                  <a16:creationId xmlns:a16="http://schemas.microsoft.com/office/drawing/2014/main" id="{4D949198-C7D3-473E-8618-E09C020A0C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67948" y="5654833"/>
              <a:ext cx="60430" cy="93666"/>
            </a:xfrm>
            <a:custGeom>
              <a:avLst/>
              <a:gdLst>
                <a:gd name="T0" fmla="*/ 17 w 17"/>
                <a:gd name="T1" fmla="*/ 13 h 26"/>
                <a:gd name="T2" fmla="*/ 9 w 17"/>
                <a:gd name="T3" fmla="*/ 26 h 26"/>
                <a:gd name="T4" fmla="*/ 0 w 17"/>
                <a:gd name="T5" fmla="*/ 13 h 26"/>
                <a:gd name="T6" fmla="*/ 9 w 17"/>
                <a:gd name="T7" fmla="*/ 0 h 26"/>
                <a:gd name="T8" fmla="*/ 17 w 17"/>
                <a:gd name="T9" fmla="*/ 13 h 26"/>
                <a:gd name="T10" fmla="*/ 4 w 17"/>
                <a:gd name="T11" fmla="*/ 13 h 26"/>
                <a:gd name="T12" fmla="*/ 9 w 17"/>
                <a:gd name="T13" fmla="*/ 22 h 26"/>
                <a:gd name="T14" fmla="*/ 13 w 17"/>
                <a:gd name="T15" fmla="*/ 13 h 26"/>
                <a:gd name="T16" fmla="*/ 9 w 17"/>
                <a:gd name="T17" fmla="*/ 4 h 26"/>
                <a:gd name="T18" fmla="*/ 4 w 17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6">
                  <a:moveTo>
                    <a:pt x="17" y="13"/>
                  </a:moveTo>
                  <a:cubicBezTo>
                    <a:pt x="17" y="22"/>
                    <a:pt x="14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5"/>
                    <a:pt x="3" y="0"/>
                    <a:pt x="9" y="0"/>
                  </a:cubicBezTo>
                  <a:cubicBezTo>
                    <a:pt x="14" y="0"/>
                    <a:pt x="17" y="5"/>
                    <a:pt x="17" y="13"/>
                  </a:cubicBezTo>
                  <a:close/>
                  <a:moveTo>
                    <a:pt x="4" y="13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7"/>
                    <a:pt x="11" y="4"/>
                    <a:pt x="9" y="4"/>
                  </a:cubicBezTo>
                  <a:cubicBezTo>
                    <a:pt x="6" y="4"/>
                    <a:pt x="4" y="7"/>
                    <a:pt x="4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23" name="Freeform 64">
              <a:extLst>
                <a:ext uri="{FF2B5EF4-FFF2-40B4-BE49-F238E27FC236}">
                  <a16:creationId xmlns:a16="http://schemas.microsoft.com/office/drawing/2014/main" id="{A56537AB-BE1F-4432-A069-63853BB305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67948" y="5808928"/>
              <a:ext cx="60430" cy="92156"/>
            </a:xfrm>
            <a:custGeom>
              <a:avLst/>
              <a:gdLst>
                <a:gd name="T0" fmla="*/ 17 w 17"/>
                <a:gd name="T1" fmla="*/ 13 h 26"/>
                <a:gd name="T2" fmla="*/ 9 w 17"/>
                <a:gd name="T3" fmla="*/ 26 h 26"/>
                <a:gd name="T4" fmla="*/ 0 w 17"/>
                <a:gd name="T5" fmla="*/ 13 h 26"/>
                <a:gd name="T6" fmla="*/ 9 w 17"/>
                <a:gd name="T7" fmla="*/ 0 h 26"/>
                <a:gd name="T8" fmla="*/ 17 w 17"/>
                <a:gd name="T9" fmla="*/ 13 h 26"/>
                <a:gd name="T10" fmla="*/ 4 w 17"/>
                <a:gd name="T11" fmla="*/ 13 h 26"/>
                <a:gd name="T12" fmla="*/ 9 w 17"/>
                <a:gd name="T13" fmla="*/ 22 h 26"/>
                <a:gd name="T14" fmla="*/ 13 w 17"/>
                <a:gd name="T15" fmla="*/ 13 h 26"/>
                <a:gd name="T16" fmla="*/ 9 w 17"/>
                <a:gd name="T17" fmla="*/ 4 h 26"/>
                <a:gd name="T18" fmla="*/ 4 w 17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6">
                  <a:moveTo>
                    <a:pt x="17" y="13"/>
                  </a:moveTo>
                  <a:cubicBezTo>
                    <a:pt x="17" y="21"/>
                    <a:pt x="14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4" y="0"/>
                    <a:pt x="17" y="4"/>
                    <a:pt x="17" y="13"/>
                  </a:cubicBezTo>
                  <a:close/>
                  <a:moveTo>
                    <a:pt x="4" y="13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7"/>
                    <a:pt x="11" y="4"/>
                    <a:pt x="9" y="4"/>
                  </a:cubicBezTo>
                  <a:cubicBezTo>
                    <a:pt x="6" y="4"/>
                    <a:pt x="4" y="7"/>
                    <a:pt x="4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24" name="Freeform 65">
              <a:extLst>
                <a:ext uri="{FF2B5EF4-FFF2-40B4-BE49-F238E27FC236}">
                  <a16:creationId xmlns:a16="http://schemas.microsoft.com/office/drawing/2014/main" id="{FCA08D93-6187-4742-87BA-264160A060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3991" y="6115609"/>
              <a:ext cx="49855" cy="89134"/>
            </a:xfrm>
            <a:custGeom>
              <a:avLst/>
              <a:gdLst>
                <a:gd name="T0" fmla="*/ 16 w 33"/>
                <a:gd name="T1" fmla="*/ 12 h 59"/>
                <a:gd name="T2" fmla="*/ 4 w 33"/>
                <a:gd name="T3" fmla="*/ 19 h 59"/>
                <a:gd name="T4" fmla="*/ 0 w 33"/>
                <a:gd name="T5" fmla="*/ 9 h 59"/>
                <a:gd name="T6" fmla="*/ 16 w 33"/>
                <a:gd name="T7" fmla="*/ 0 h 59"/>
                <a:gd name="T8" fmla="*/ 26 w 33"/>
                <a:gd name="T9" fmla="*/ 0 h 59"/>
                <a:gd name="T10" fmla="*/ 26 w 33"/>
                <a:gd name="T11" fmla="*/ 49 h 59"/>
                <a:gd name="T12" fmla="*/ 33 w 33"/>
                <a:gd name="T13" fmla="*/ 49 h 59"/>
                <a:gd name="T14" fmla="*/ 33 w 33"/>
                <a:gd name="T15" fmla="*/ 59 h 59"/>
                <a:gd name="T16" fmla="*/ 7 w 33"/>
                <a:gd name="T17" fmla="*/ 59 h 59"/>
                <a:gd name="T18" fmla="*/ 7 w 33"/>
                <a:gd name="T19" fmla="*/ 49 h 59"/>
                <a:gd name="T20" fmla="*/ 16 w 33"/>
                <a:gd name="T21" fmla="*/ 49 h 59"/>
                <a:gd name="T22" fmla="*/ 16 w 33"/>
                <a:gd name="T23" fmla="*/ 1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9">
                  <a:moveTo>
                    <a:pt x="16" y="12"/>
                  </a:moveTo>
                  <a:lnTo>
                    <a:pt x="4" y="19"/>
                  </a:lnTo>
                  <a:lnTo>
                    <a:pt x="0" y="9"/>
                  </a:lnTo>
                  <a:lnTo>
                    <a:pt x="16" y="0"/>
                  </a:lnTo>
                  <a:lnTo>
                    <a:pt x="26" y="0"/>
                  </a:lnTo>
                  <a:lnTo>
                    <a:pt x="26" y="49"/>
                  </a:lnTo>
                  <a:lnTo>
                    <a:pt x="33" y="49"/>
                  </a:lnTo>
                  <a:lnTo>
                    <a:pt x="33" y="59"/>
                  </a:lnTo>
                  <a:lnTo>
                    <a:pt x="7" y="59"/>
                  </a:lnTo>
                  <a:lnTo>
                    <a:pt x="7" y="49"/>
                  </a:lnTo>
                  <a:lnTo>
                    <a:pt x="16" y="49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25" name="Freeform 66">
              <a:extLst>
                <a:ext uri="{FF2B5EF4-FFF2-40B4-BE49-F238E27FC236}">
                  <a16:creationId xmlns:a16="http://schemas.microsoft.com/office/drawing/2014/main" id="{4408CC53-D916-4A06-BE1B-9E4C30C8DC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67948" y="6265173"/>
              <a:ext cx="60430" cy="92156"/>
            </a:xfrm>
            <a:custGeom>
              <a:avLst/>
              <a:gdLst>
                <a:gd name="T0" fmla="*/ 17 w 17"/>
                <a:gd name="T1" fmla="*/ 13 h 26"/>
                <a:gd name="T2" fmla="*/ 9 w 17"/>
                <a:gd name="T3" fmla="*/ 26 h 26"/>
                <a:gd name="T4" fmla="*/ 0 w 17"/>
                <a:gd name="T5" fmla="*/ 13 h 26"/>
                <a:gd name="T6" fmla="*/ 9 w 17"/>
                <a:gd name="T7" fmla="*/ 0 h 26"/>
                <a:gd name="T8" fmla="*/ 17 w 17"/>
                <a:gd name="T9" fmla="*/ 13 h 26"/>
                <a:gd name="T10" fmla="*/ 4 w 17"/>
                <a:gd name="T11" fmla="*/ 13 h 26"/>
                <a:gd name="T12" fmla="*/ 9 w 17"/>
                <a:gd name="T13" fmla="*/ 22 h 26"/>
                <a:gd name="T14" fmla="*/ 13 w 17"/>
                <a:gd name="T15" fmla="*/ 13 h 26"/>
                <a:gd name="T16" fmla="*/ 9 w 17"/>
                <a:gd name="T17" fmla="*/ 4 h 26"/>
                <a:gd name="T18" fmla="*/ 4 w 17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6">
                  <a:moveTo>
                    <a:pt x="17" y="13"/>
                  </a:moveTo>
                  <a:cubicBezTo>
                    <a:pt x="17" y="22"/>
                    <a:pt x="14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4" y="0"/>
                    <a:pt x="17" y="4"/>
                    <a:pt x="17" y="13"/>
                  </a:cubicBezTo>
                  <a:close/>
                  <a:moveTo>
                    <a:pt x="4" y="13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7"/>
                    <a:pt x="11" y="4"/>
                    <a:pt x="9" y="4"/>
                  </a:cubicBezTo>
                  <a:cubicBezTo>
                    <a:pt x="6" y="4"/>
                    <a:pt x="4" y="7"/>
                    <a:pt x="4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26" name="Freeform 67">
              <a:extLst>
                <a:ext uri="{FF2B5EF4-FFF2-40B4-BE49-F238E27FC236}">
                  <a16:creationId xmlns:a16="http://schemas.microsoft.com/office/drawing/2014/main" id="{662B6F89-0E1B-4FB3-95C0-F7E9F78A85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67948" y="6419268"/>
              <a:ext cx="60430" cy="89134"/>
            </a:xfrm>
            <a:custGeom>
              <a:avLst/>
              <a:gdLst>
                <a:gd name="T0" fmla="*/ 17 w 17"/>
                <a:gd name="T1" fmla="*/ 13 h 25"/>
                <a:gd name="T2" fmla="*/ 9 w 17"/>
                <a:gd name="T3" fmla="*/ 25 h 25"/>
                <a:gd name="T4" fmla="*/ 0 w 17"/>
                <a:gd name="T5" fmla="*/ 12 h 25"/>
                <a:gd name="T6" fmla="*/ 9 w 17"/>
                <a:gd name="T7" fmla="*/ 0 h 25"/>
                <a:gd name="T8" fmla="*/ 17 w 17"/>
                <a:gd name="T9" fmla="*/ 13 h 25"/>
                <a:gd name="T10" fmla="*/ 4 w 17"/>
                <a:gd name="T11" fmla="*/ 12 h 25"/>
                <a:gd name="T12" fmla="*/ 9 w 17"/>
                <a:gd name="T13" fmla="*/ 22 h 25"/>
                <a:gd name="T14" fmla="*/ 13 w 17"/>
                <a:gd name="T15" fmla="*/ 13 h 25"/>
                <a:gd name="T16" fmla="*/ 9 w 17"/>
                <a:gd name="T17" fmla="*/ 3 h 25"/>
                <a:gd name="T18" fmla="*/ 4 w 17"/>
                <a:gd name="T1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5">
                  <a:moveTo>
                    <a:pt x="17" y="13"/>
                  </a:moveTo>
                  <a:cubicBezTo>
                    <a:pt x="17" y="21"/>
                    <a:pt x="14" y="25"/>
                    <a:pt x="9" y="25"/>
                  </a:cubicBezTo>
                  <a:cubicBezTo>
                    <a:pt x="3" y="25"/>
                    <a:pt x="0" y="21"/>
                    <a:pt x="0" y="12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4" y="0"/>
                    <a:pt x="17" y="4"/>
                    <a:pt x="17" y="13"/>
                  </a:cubicBezTo>
                  <a:close/>
                  <a:moveTo>
                    <a:pt x="4" y="12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6"/>
                    <a:pt x="11" y="3"/>
                    <a:pt x="9" y="3"/>
                  </a:cubicBezTo>
                  <a:cubicBezTo>
                    <a:pt x="6" y="3"/>
                    <a:pt x="4" y="6"/>
                    <a:pt x="4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27" name="Freeform 68">
              <a:extLst>
                <a:ext uri="{FF2B5EF4-FFF2-40B4-BE49-F238E27FC236}">
                  <a16:creationId xmlns:a16="http://schemas.microsoft.com/office/drawing/2014/main" id="{8BA9481E-5CA4-4739-BAB4-B625DABC7C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3991" y="6725948"/>
              <a:ext cx="49855" cy="84602"/>
            </a:xfrm>
            <a:custGeom>
              <a:avLst/>
              <a:gdLst>
                <a:gd name="T0" fmla="*/ 16 w 33"/>
                <a:gd name="T1" fmla="*/ 9 h 56"/>
                <a:gd name="T2" fmla="*/ 4 w 33"/>
                <a:gd name="T3" fmla="*/ 16 h 56"/>
                <a:gd name="T4" fmla="*/ 0 w 33"/>
                <a:gd name="T5" fmla="*/ 9 h 56"/>
                <a:gd name="T6" fmla="*/ 16 w 33"/>
                <a:gd name="T7" fmla="*/ 0 h 56"/>
                <a:gd name="T8" fmla="*/ 26 w 33"/>
                <a:gd name="T9" fmla="*/ 0 h 56"/>
                <a:gd name="T10" fmla="*/ 26 w 33"/>
                <a:gd name="T11" fmla="*/ 49 h 56"/>
                <a:gd name="T12" fmla="*/ 33 w 33"/>
                <a:gd name="T13" fmla="*/ 49 h 56"/>
                <a:gd name="T14" fmla="*/ 33 w 33"/>
                <a:gd name="T15" fmla="*/ 56 h 56"/>
                <a:gd name="T16" fmla="*/ 7 w 33"/>
                <a:gd name="T17" fmla="*/ 56 h 56"/>
                <a:gd name="T18" fmla="*/ 7 w 33"/>
                <a:gd name="T19" fmla="*/ 49 h 56"/>
                <a:gd name="T20" fmla="*/ 16 w 33"/>
                <a:gd name="T21" fmla="*/ 49 h 56"/>
                <a:gd name="T22" fmla="*/ 16 w 33"/>
                <a:gd name="T23" fmla="*/ 9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6">
                  <a:moveTo>
                    <a:pt x="16" y="9"/>
                  </a:moveTo>
                  <a:lnTo>
                    <a:pt x="4" y="16"/>
                  </a:lnTo>
                  <a:lnTo>
                    <a:pt x="0" y="9"/>
                  </a:lnTo>
                  <a:lnTo>
                    <a:pt x="16" y="0"/>
                  </a:lnTo>
                  <a:lnTo>
                    <a:pt x="26" y="0"/>
                  </a:lnTo>
                  <a:lnTo>
                    <a:pt x="26" y="49"/>
                  </a:lnTo>
                  <a:lnTo>
                    <a:pt x="33" y="49"/>
                  </a:lnTo>
                  <a:lnTo>
                    <a:pt x="33" y="56"/>
                  </a:lnTo>
                  <a:lnTo>
                    <a:pt x="7" y="56"/>
                  </a:lnTo>
                  <a:lnTo>
                    <a:pt x="7" y="49"/>
                  </a:lnTo>
                  <a:lnTo>
                    <a:pt x="16" y="4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28" name="Freeform 69">
              <a:extLst>
                <a:ext uri="{FF2B5EF4-FFF2-40B4-BE49-F238E27FC236}">
                  <a16:creationId xmlns:a16="http://schemas.microsoft.com/office/drawing/2014/main" id="{4A504A85-3F35-43DC-8F40-C7D855E19A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67948" y="6875512"/>
              <a:ext cx="60430" cy="89134"/>
            </a:xfrm>
            <a:custGeom>
              <a:avLst/>
              <a:gdLst>
                <a:gd name="T0" fmla="*/ 17 w 17"/>
                <a:gd name="T1" fmla="*/ 13 h 25"/>
                <a:gd name="T2" fmla="*/ 9 w 17"/>
                <a:gd name="T3" fmla="*/ 25 h 25"/>
                <a:gd name="T4" fmla="*/ 0 w 17"/>
                <a:gd name="T5" fmla="*/ 13 h 25"/>
                <a:gd name="T6" fmla="*/ 9 w 17"/>
                <a:gd name="T7" fmla="*/ 0 h 25"/>
                <a:gd name="T8" fmla="*/ 17 w 17"/>
                <a:gd name="T9" fmla="*/ 13 h 25"/>
                <a:gd name="T10" fmla="*/ 4 w 17"/>
                <a:gd name="T11" fmla="*/ 13 h 25"/>
                <a:gd name="T12" fmla="*/ 9 w 17"/>
                <a:gd name="T13" fmla="*/ 22 h 25"/>
                <a:gd name="T14" fmla="*/ 13 w 17"/>
                <a:gd name="T15" fmla="*/ 13 h 25"/>
                <a:gd name="T16" fmla="*/ 9 w 17"/>
                <a:gd name="T17" fmla="*/ 3 h 25"/>
                <a:gd name="T18" fmla="*/ 4 w 17"/>
                <a:gd name="T19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5">
                  <a:moveTo>
                    <a:pt x="17" y="13"/>
                  </a:moveTo>
                  <a:cubicBezTo>
                    <a:pt x="17" y="21"/>
                    <a:pt x="14" y="25"/>
                    <a:pt x="9" y="25"/>
                  </a:cubicBezTo>
                  <a:cubicBezTo>
                    <a:pt x="3" y="25"/>
                    <a:pt x="0" y="21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4" y="0"/>
                    <a:pt x="17" y="4"/>
                    <a:pt x="17" y="13"/>
                  </a:cubicBezTo>
                  <a:close/>
                  <a:moveTo>
                    <a:pt x="4" y="13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6"/>
                    <a:pt x="11" y="3"/>
                    <a:pt x="9" y="3"/>
                  </a:cubicBezTo>
                  <a:cubicBezTo>
                    <a:pt x="6" y="3"/>
                    <a:pt x="4" y="6"/>
                    <a:pt x="4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29" name="Freeform 83">
              <a:extLst>
                <a:ext uri="{FF2B5EF4-FFF2-40B4-BE49-F238E27FC236}">
                  <a16:creationId xmlns:a16="http://schemas.microsoft.com/office/drawing/2014/main" id="{27E5970B-BCF5-40C7-B719-CC8C90C2259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2522" y="5662386"/>
              <a:ext cx="92156" cy="157117"/>
            </a:xfrm>
            <a:custGeom>
              <a:avLst/>
              <a:gdLst>
                <a:gd name="T0" fmla="*/ 31 w 61"/>
                <a:gd name="T1" fmla="*/ 19 h 104"/>
                <a:gd name="T2" fmla="*/ 10 w 61"/>
                <a:gd name="T3" fmla="*/ 33 h 104"/>
                <a:gd name="T4" fmla="*/ 0 w 61"/>
                <a:gd name="T5" fmla="*/ 19 h 104"/>
                <a:gd name="T6" fmla="*/ 31 w 61"/>
                <a:gd name="T7" fmla="*/ 0 h 104"/>
                <a:gd name="T8" fmla="*/ 47 w 61"/>
                <a:gd name="T9" fmla="*/ 0 h 104"/>
                <a:gd name="T10" fmla="*/ 47 w 61"/>
                <a:gd name="T11" fmla="*/ 90 h 104"/>
                <a:gd name="T12" fmla="*/ 61 w 61"/>
                <a:gd name="T13" fmla="*/ 90 h 104"/>
                <a:gd name="T14" fmla="*/ 61 w 61"/>
                <a:gd name="T15" fmla="*/ 104 h 104"/>
                <a:gd name="T16" fmla="*/ 17 w 61"/>
                <a:gd name="T17" fmla="*/ 104 h 104"/>
                <a:gd name="T18" fmla="*/ 17 w 61"/>
                <a:gd name="T19" fmla="*/ 90 h 104"/>
                <a:gd name="T20" fmla="*/ 31 w 61"/>
                <a:gd name="T21" fmla="*/ 90 h 104"/>
                <a:gd name="T22" fmla="*/ 31 w 61"/>
                <a:gd name="T23" fmla="*/ 19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4">
                  <a:moveTo>
                    <a:pt x="31" y="19"/>
                  </a:moveTo>
                  <a:lnTo>
                    <a:pt x="10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0"/>
                  </a:lnTo>
                  <a:lnTo>
                    <a:pt x="61" y="90"/>
                  </a:lnTo>
                  <a:lnTo>
                    <a:pt x="61" y="104"/>
                  </a:lnTo>
                  <a:lnTo>
                    <a:pt x="17" y="104"/>
                  </a:lnTo>
                  <a:lnTo>
                    <a:pt x="17" y="90"/>
                  </a:lnTo>
                  <a:lnTo>
                    <a:pt x="31" y="90"/>
                  </a:lnTo>
                  <a:lnTo>
                    <a:pt x="31" y="19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30" name="Freeform 84">
              <a:extLst>
                <a:ext uri="{FF2B5EF4-FFF2-40B4-BE49-F238E27FC236}">
                  <a16:creationId xmlns:a16="http://schemas.microsoft.com/office/drawing/2014/main" id="{5FB5B9C1-D368-47BD-8148-C5ED44DF9E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77415" y="5929788"/>
              <a:ext cx="110285" cy="164671"/>
            </a:xfrm>
            <a:custGeom>
              <a:avLst/>
              <a:gdLst>
                <a:gd name="T0" fmla="*/ 31 w 31"/>
                <a:gd name="T1" fmla="*/ 23 h 46"/>
                <a:gd name="T2" fmla="*/ 15 w 31"/>
                <a:gd name="T3" fmla="*/ 46 h 46"/>
                <a:gd name="T4" fmla="*/ 0 w 31"/>
                <a:gd name="T5" fmla="*/ 23 h 46"/>
                <a:gd name="T6" fmla="*/ 15 w 31"/>
                <a:gd name="T7" fmla="*/ 0 h 46"/>
                <a:gd name="T8" fmla="*/ 31 w 31"/>
                <a:gd name="T9" fmla="*/ 23 h 46"/>
                <a:gd name="T10" fmla="*/ 8 w 31"/>
                <a:gd name="T11" fmla="*/ 23 h 46"/>
                <a:gd name="T12" fmla="*/ 15 w 31"/>
                <a:gd name="T13" fmla="*/ 39 h 46"/>
                <a:gd name="T14" fmla="*/ 23 w 31"/>
                <a:gd name="T15" fmla="*/ 23 h 46"/>
                <a:gd name="T16" fmla="*/ 15 w 31"/>
                <a:gd name="T17" fmla="*/ 7 h 46"/>
                <a:gd name="T18" fmla="*/ 8 w 31"/>
                <a:gd name="T19" fmla="*/ 2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46">
                  <a:moveTo>
                    <a:pt x="31" y="23"/>
                  </a:moveTo>
                  <a:cubicBezTo>
                    <a:pt x="31" y="38"/>
                    <a:pt x="26" y="46"/>
                    <a:pt x="15" y="46"/>
                  </a:cubicBezTo>
                  <a:cubicBezTo>
                    <a:pt x="5" y="46"/>
                    <a:pt x="0" y="38"/>
                    <a:pt x="0" y="23"/>
                  </a:cubicBezTo>
                  <a:cubicBezTo>
                    <a:pt x="0" y="8"/>
                    <a:pt x="5" y="0"/>
                    <a:pt x="15" y="0"/>
                  </a:cubicBezTo>
                  <a:cubicBezTo>
                    <a:pt x="26" y="0"/>
                    <a:pt x="31" y="8"/>
                    <a:pt x="31" y="23"/>
                  </a:cubicBezTo>
                  <a:close/>
                  <a:moveTo>
                    <a:pt x="8" y="23"/>
                  </a:moveTo>
                  <a:cubicBezTo>
                    <a:pt x="8" y="34"/>
                    <a:pt x="10" y="39"/>
                    <a:pt x="15" y="39"/>
                  </a:cubicBezTo>
                  <a:cubicBezTo>
                    <a:pt x="20" y="39"/>
                    <a:pt x="23" y="34"/>
                    <a:pt x="23" y="23"/>
                  </a:cubicBezTo>
                  <a:cubicBezTo>
                    <a:pt x="23" y="12"/>
                    <a:pt x="20" y="7"/>
                    <a:pt x="15" y="7"/>
                  </a:cubicBezTo>
                  <a:cubicBezTo>
                    <a:pt x="10" y="7"/>
                    <a:pt x="8" y="12"/>
                    <a:pt x="8" y="2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31" name="Freeform 85">
              <a:extLst>
                <a:ext uri="{FF2B5EF4-FFF2-40B4-BE49-F238E27FC236}">
                  <a16:creationId xmlns:a16="http://schemas.microsoft.com/office/drawing/2014/main" id="{968800FD-F892-4F49-8DB4-277EF65115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77415" y="6201721"/>
              <a:ext cx="110285" cy="160139"/>
            </a:xfrm>
            <a:custGeom>
              <a:avLst/>
              <a:gdLst>
                <a:gd name="T0" fmla="*/ 31 w 31"/>
                <a:gd name="T1" fmla="*/ 23 h 45"/>
                <a:gd name="T2" fmla="*/ 15 w 31"/>
                <a:gd name="T3" fmla="*/ 45 h 45"/>
                <a:gd name="T4" fmla="*/ 0 w 31"/>
                <a:gd name="T5" fmla="*/ 23 h 45"/>
                <a:gd name="T6" fmla="*/ 15 w 31"/>
                <a:gd name="T7" fmla="*/ 0 h 45"/>
                <a:gd name="T8" fmla="*/ 31 w 31"/>
                <a:gd name="T9" fmla="*/ 23 h 45"/>
                <a:gd name="T10" fmla="*/ 8 w 31"/>
                <a:gd name="T11" fmla="*/ 23 h 45"/>
                <a:gd name="T12" fmla="*/ 15 w 31"/>
                <a:gd name="T13" fmla="*/ 39 h 45"/>
                <a:gd name="T14" fmla="*/ 23 w 31"/>
                <a:gd name="T15" fmla="*/ 23 h 45"/>
                <a:gd name="T16" fmla="*/ 15 w 31"/>
                <a:gd name="T17" fmla="*/ 6 h 45"/>
                <a:gd name="T18" fmla="*/ 8 w 31"/>
                <a:gd name="T19" fmla="*/ 2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45">
                  <a:moveTo>
                    <a:pt x="31" y="23"/>
                  </a:moveTo>
                  <a:cubicBezTo>
                    <a:pt x="31" y="38"/>
                    <a:pt x="26" y="45"/>
                    <a:pt x="15" y="45"/>
                  </a:cubicBezTo>
                  <a:cubicBezTo>
                    <a:pt x="5" y="45"/>
                    <a:pt x="0" y="38"/>
                    <a:pt x="0" y="23"/>
                  </a:cubicBezTo>
                  <a:cubicBezTo>
                    <a:pt x="0" y="8"/>
                    <a:pt x="5" y="0"/>
                    <a:pt x="15" y="0"/>
                  </a:cubicBezTo>
                  <a:cubicBezTo>
                    <a:pt x="26" y="0"/>
                    <a:pt x="31" y="8"/>
                    <a:pt x="31" y="23"/>
                  </a:cubicBezTo>
                  <a:close/>
                  <a:moveTo>
                    <a:pt x="8" y="23"/>
                  </a:moveTo>
                  <a:cubicBezTo>
                    <a:pt x="8" y="34"/>
                    <a:pt x="10" y="39"/>
                    <a:pt x="15" y="39"/>
                  </a:cubicBezTo>
                  <a:cubicBezTo>
                    <a:pt x="20" y="39"/>
                    <a:pt x="23" y="34"/>
                    <a:pt x="23" y="23"/>
                  </a:cubicBezTo>
                  <a:cubicBezTo>
                    <a:pt x="23" y="12"/>
                    <a:pt x="20" y="6"/>
                    <a:pt x="15" y="6"/>
                  </a:cubicBezTo>
                  <a:cubicBezTo>
                    <a:pt x="10" y="6"/>
                    <a:pt x="8" y="12"/>
                    <a:pt x="8" y="2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32" name="Freeform 86">
              <a:extLst>
                <a:ext uri="{FF2B5EF4-FFF2-40B4-BE49-F238E27FC236}">
                  <a16:creationId xmlns:a16="http://schemas.microsoft.com/office/drawing/2014/main" id="{161BD8D0-BB52-4363-9A01-1B39779E87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2522" y="6475165"/>
              <a:ext cx="92156" cy="157117"/>
            </a:xfrm>
            <a:custGeom>
              <a:avLst/>
              <a:gdLst>
                <a:gd name="T0" fmla="*/ 31 w 61"/>
                <a:gd name="T1" fmla="*/ 19 h 104"/>
                <a:gd name="T2" fmla="*/ 10 w 61"/>
                <a:gd name="T3" fmla="*/ 34 h 104"/>
                <a:gd name="T4" fmla="*/ 0 w 61"/>
                <a:gd name="T5" fmla="*/ 19 h 104"/>
                <a:gd name="T6" fmla="*/ 31 w 61"/>
                <a:gd name="T7" fmla="*/ 0 h 104"/>
                <a:gd name="T8" fmla="*/ 47 w 61"/>
                <a:gd name="T9" fmla="*/ 0 h 104"/>
                <a:gd name="T10" fmla="*/ 47 w 61"/>
                <a:gd name="T11" fmla="*/ 90 h 104"/>
                <a:gd name="T12" fmla="*/ 61 w 61"/>
                <a:gd name="T13" fmla="*/ 90 h 104"/>
                <a:gd name="T14" fmla="*/ 61 w 61"/>
                <a:gd name="T15" fmla="*/ 104 h 104"/>
                <a:gd name="T16" fmla="*/ 17 w 61"/>
                <a:gd name="T17" fmla="*/ 104 h 104"/>
                <a:gd name="T18" fmla="*/ 17 w 61"/>
                <a:gd name="T19" fmla="*/ 90 h 104"/>
                <a:gd name="T20" fmla="*/ 31 w 61"/>
                <a:gd name="T21" fmla="*/ 90 h 104"/>
                <a:gd name="T22" fmla="*/ 31 w 61"/>
                <a:gd name="T23" fmla="*/ 19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4">
                  <a:moveTo>
                    <a:pt x="31" y="19"/>
                  </a:moveTo>
                  <a:lnTo>
                    <a:pt x="10" y="34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0"/>
                  </a:lnTo>
                  <a:lnTo>
                    <a:pt x="61" y="90"/>
                  </a:lnTo>
                  <a:lnTo>
                    <a:pt x="61" y="104"/>
                  </a:lnTo>
                  <a:lnTo>
                    <a:pt x="17" y="104"/>
                  </a:lnTo>
                  <a:lnTo>
                    <a:pt x="17" y="90"/>
                  </a:lnTo>
                  <a:lnTo>
                    <a:pt x="31" y="90"/>
                  </a:lnTo>
                  <a:lnTo>
                    <a:pt x="31" y="19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33" name="Freeform 87">
              <a:extLst>
                <a:ext uri="{FF2B5EF4-FFF2-40B4-BE49-F238E27FC236}">
                  <a16:creationId xmlns:a16="http://schemas.microsoft.com/office/drawing/2014/main" id="{88AC7ED7-E6A4-4074-92E2-902ECB72BD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2522" y="6747099"/>
              <a:ext cx="92156" cy="157117"/>
            </a:xfrm>
            <a:custGeom>
              <a:avLst/>
              <a:gdLst>
                <a:gd name="T0" fmla="*/ 31 w 61"/>
                <a:gd name="T1" fmla="*/ 19 h 104"/>
                <a:gd name="T2" fmla="*/ 10 w 61"/>
                <a:gd name="T3" fmla="*/ 31 h 104"/>
                <a:gd name="T4" fmla="*/ 0 w 61"/>
                <a:gd name="T5" fmla="*/ 19 h 104"/>
                <a:gd name="T6" fmla="*/ 31 w 61"/>
                <a:gd name="T7" fmla="*/ 0 h 104"/>
                <a:gd name="T8" fmla="*/ 47 w 61"/>
                <a:gd name="T9" fmla="*/ 0 h 104"/>
                <a:gd name="T10" fmla="*/ 47 w 61"/>
                <a:gd name="T11" fmla="*/ 90 h 104"/>
                <a:gd name="T12" fmla="*/ 61 w 61"/>
                <a:gd name="T13" fmla="*/ 90 h 104"/>
                <a:gd name="T14" fmla="*/ 61 w 61"/>
                <a:gd name="T15" fmla="*/ 104 h 104"/>
                <a:gd name="T16" fmla="*/ 17 w 61"/>
                <a:gd name="T17" fmla="*/ 104 h 104"/>
                <a:gd name="T18" fmla="*/ 17 w 61"/>
                <a:gd name="T19" fmla="*/ 90 h 104"/>
                <a:gd name="T20" fmla="*/ 31 w 61"/>
                <a:gd name="T21" fmla="*/ 90 h 104"/>
                <a:gd name="T22" fmla="*/ 31 w 61"/>
                <a:gd name="T23" fmla="*/ 19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4">
                  <a:moveTo>
                    <a:pt x="31" y="19"/>
                  </a:moveTo>
                  <a:lnTo>
                    <a:pt x="10" y="31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0"/>
                  </a:lnTo>
                  <a:lnTo>
                    <a:pt x="61" y="90"/>
                  </a:lnTo>
                  <a:lnTo>
                    <a:pt x="61" y="104"/>
                  </a:lnTo>
                  <a:lnTo>
                    <a:pt x="17" y="104"/>
                  </a:lnTo>
                  <a:lnTo>
                    <a:pt x="17" y="90"/>
                  </a:lnTo>
                  <a:lnTo>
                    <a:pt x="31" y="90"/>
                  </a:lnTo>
                  <a:lnTo>
                    <a:pt x="31" y="19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34" name="Freeform 95">
              <a:extLst>
                <a:ext uri="{FF2B5EF4-FFF2-40B4-BE49-F238E27FC236}">
                  <a16:creationId xmlns:a16="http://schemas.microsoft.com/office/drawing/2014/main" id="{D7F950E5-EB81-4F7C-8E8B-3EFE469280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868" y="4777091"/>
              <a:ext cx="52876" cy="86113"/>
            </a:xfrm>
            <a:custGeom>
              <a:avLst/>
              <a:gdLst>
                <a:gd name="T0" fmla="*/ 16 w 35"/>
                <a:gd name="T1" fmla="*/ 14 h 57"/>
                <a:gd name="T2" fmla="*/ 7 w 35"/>
                <a:gd name="T3" fmla="*/ 21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7 h 57"/>
                <a:gd name="T12" fmla="*/ 35 w 35"/>
                <a:gd name="T13" fmla="*/ 47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7 h 57"/>
                <a:gd name="T20" fmla="*/ 16 w 35"/>
                <a:gd name="T21" fmla="*/ 47 h 57"/>
                <a:gd name="T22" fmla="*/ 16 w 35"/>
                <a:gd name="T23" fmla="*/ 1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4"/>
                  </a:moveTo>
                  <a:lnTo>
                    <a:pt x="7" y="21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35" name="Freeform 96">
              <a:extLst>
                <a:ext uri="{FF2B5EF4-FFF2-40B4-BE49-F238E27FC236}">
                  <a16:creationId xmlns:a16="http://schemas.microsoft.com/office/drawing/2014/main" id="{61CCB5CB-D9B5-40CD-A71B-4FF811DFC7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49292" y="4923634"/>
              <a:ext cx="67984" cy="86113"/>
            </a:xfrm>
            <a:custGeom>
              <a:avLst/>
              <a:gdLst>
                <a:gd name="T0" fmla="*/ 17 w 19"/>
                <a:gd name="T1" fmla="*/ 4 h 24"/>
                <a:gd name="T2" fmla="*/ 19 w 19"/>
                <a:gd name="T3" fmla="*/ 12 h 24"/>
                <a:gd name="T4" fmla="*/ 17 w 19"/>
                <a:gd name="T5" fmla="*/ 21 h 24"/>
                <a:gd name="T6" fmla="*/ 10 w 19"/>
                <a:gd name="T7" fmla="*/ 24 h 24"/>
                <a:gd name="T8" fmla="*/ 2 w 19"/>
                <a:gd name="T9" fmla="*/ 20 h 24"/>
                <a:gd name="T10" fmla="*/ 0 w 19"/>
                <a:gd name="T11" fmla="*/ 12 h 24"/>
                <a:gd name="T12" fmla="*/ 10 w 19"/>
                <a:gd name="T13" fmla="*/ 0 h 24"/>
                <a:gd name="T14" fmla="*/ 17 w 19"/>
                <a:gd name="T15" fmla="*/ 4 h 24"/>
                <a:gd name="T16" fmla="*/ 6 w 19"/>
                <a:gd name="T17" fmla="*/ 12 h 24"/>
                <a:gd name="T18" fmla="*/ 10 w 19"/>
                <a:gd name="T19" fmla="*/ 20 h 24"/>
                <a:gd name="T20" fmla="*/ 14 w 19"/>
                <a:gd name="T21" fmla="*/ 12 h 24"/>
                <a:gd name="T22" fmla="*/ 10 w 19"/>
                <a:gd name="T23" fmla="*/ 4 h 24"/>
                <a:gd name="T24" fmla="*/ 6 w 19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4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6"/>
                    <a:pt x="18" y="19"/>
                    <a:pt x="17" y="21"/>
                  </a:cubicBezTo>
                  <a:cubicBezTo>
                    <a:pt x="15" y="23"/>
                    <a:pt x="13" y="24"/>
                    <a:pt x="10" y="24"/>
                  </a:cubicBezTo>
                  <a:cubicBezTo>
                    <a:pt x="6" y="24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1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36" name="Freeform 97">
              <a:extLst>
                <a:ext uri="{FF2B5EF4-FFF2-40B4-BE49-F238E27FC236}">
                  <a16:creationId xmlns:a16="http://schemas.microsoft.com/office/drawing/2014/main" id="{BD2E8042-9878-4AD5-A57D-66F871BEC3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868" y="5070175"/>
              <a:ext cx="52876" cy="84602"/>
            </a:xfrm>
            <a:custGeom>
              <a:avLst/>
              <a:gdLst>
                <a:gd name="T0" fmla="*/ 16 w 35"/>
                <a:gd name="T1" fmla="*/ 14 h 56"/>
                <a:gd name="T2" fmla="*/ 7 w 35"/>
                <a:gd name="T3" fmla="*/ 21 h 56"/>
                <a:gd name="T4" fmla="*/ 0 w 35"/>
                <a:gd name="T5" fmla="*/ 11 h 56"/>
                <a:gd name="T6" fmla="*/ 19 w 35"/>
                <a:gd name="T7" fmla="*/ 0 h 56"/>
                <a:gd name="T8" fmla="*/ 28 w 35"/>
                <a:gd name="T9" fmla="*/ 0 h 56"/>
                <a:gd name="T10" fmla="*/ 28 w 35"/>
                <a:gd name="T11" fmla="*/ 47 h 56"/>
                <a:gd name="T12" fmla="*/ 35 w 35"/>
                <a:gd name="T13" fmla="*/ 47 h 56"/>
                <a:gd name="T14" fmla="*/ 35 w 35"/>
                <a:gd name="T15" fmla="*/ 56 h 56"/>
                <a:gd name="T16" fmla="*/ 9 w 35"/>
                <a:gd name="T17" fmla="*/ 56 h 56"/>
                <a:gd name="T18" fmla="*/ 9 w 35"/>
                <a:gd name="T19" fmla="*/ 47 h 56"/>
                <a:gd name="T20" fmla="*/ 16 w 35"/>
                <a:gd name="T21" fmla="*/ 47 h 56"/>
                <a:gd name="T22" fmla="*/ 16 w 35"/>
                <a:gd name="T23" fmla="*/ 1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6">
                  <a:moveTo>
                    <a:pt x="16" y="14"/>
                  </a:moveTo>
                  <a:lnTo>
                    <a:pt x="7" y="21"/>
                  </a:lnTo>
                  <a:lnTo>
                    <a:pt x="0" y="11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6"/>
                  </a:lnTo>
                  <a:lnTo>
                    <a:pt x="9" y="56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37" name="Freeform 98">
              <a:extLst>
                <a:ext uri="{FF2B5EF4-FFF2-40B4-BE49-F238E27FC236}">
                  <a16:creationId xmlns:a16="http://schemas.microsoft.com/office/drawing/2014/main" id="{9A3FE014-B4E7-4919-8D0C-7EA38E3BF4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49292" y="5216718"/>
              <a:ext cx="67984" cy="84602"/>
            </a:xfrm>
            <a:custGeom>
              <a:avLst/>
              <a:gdLst>
                <a:gd name="T0" fmla="*/ 17 w 19"/>
                <a:gd name="T1" fmla="*/ 4 h 24"/>
                <a:gd name="T2" fmla="*/ 19 w 19"/>
                <a:gd name="T3" fmla="*/ 12 h 24"/>
                <a:gd name="T4" fmla="*/ 17 w 19"/>
                <a:gd name="T5" fmla="*/ 21 h 24"/>
                <a:gd name="T6" fmla="*/ 10 w 19"/>
                <a:gd name="T7" fmla="*/ 24 h 24"/>
                <a:gd name="T8" fmla="*/ 2 w 19"/>
                <a:gd name="T9" fmla="*/ 20 h 24"/>
                <a:gd name="T10" fmla="*/ 0 w 19"/>
                <a:gd name="T11" fmla="*/ 12 h 24"/>
                <a:gd name="T12" fmla="*/ 10 w 19"/>
                <a:gd name="T13" fmla="*/ 0 h 24"/>
                <a:gd name="T14" fmla="*/ 17 w 19"/>
                <a:gd name="T15" fmla="*/ 4 h 24"/>
                <a:gd name="T16" fmla="*/ 6 w 19"/>
                <a:gd name="T17" fmla="*/ 12 h 24"/>
                <a:gd name="T18" fmla="*/ 10 w 19"/>
                <a:gd name="T19" fmla="*/ 20 h 24"/>
                <a:gd name="T20" fmla="*/ 14 w 19"/>
                <a:gd name="T21" fmla="*/ 12 h 24"/>
                <a:gd name="T22" fmla="*/ 10 w 19"/>
                <a:gd name="T23" fmla="*/ 4 h 24"/>
                <a:gd name="T24" fmla="*/ 6 w 19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4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6"/>
                    <a:pt x="18" y="19"/>
                    <a:pt x="17" y="21"/>
                  </a:cubicBezTo>
                  <a:cubicBezTo>
                    <a:pt x="15" y="23"/>
                    <a:pt x="13" y="24"/>
                    <a:pt x="10" y="24"/>
                  </a:cubicBezTo>
                  <a:cubicBezTo>
                    <a:pt x="6" y="24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1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38" name="Freeform 99">
              <a:extLst>
                <a:ext uri="{FF2B5EF4-FFF2-40B4-BE49-F238E27FC236}">
                  <a16:creationId xmlns:a16="http://schemas.microsoft.com/office/drawing/2014/main" id="{6C9C8DC9-9B76-4D2B-AA5B-2D82A542DDE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868" y="5361749"/>
              <a:ext cx="52876" cy="86113"/>
            </a:xfrm>
            <a:custGeom>
              <a:avLst/>
              <a:gdLst>
                <a:gd name="T0" fmla="*/ 16 w 35"/>
                <a:gd name="T1" fmla="*/ 15 h 57"/>
                <a:gd name="T2" fmla="*/ 7 w 35"/>
                <a:gd name="T3" fmla="*/ 22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8 h 57"/>
                <a:gd name="T12" fmla="*/ 35 w 35"/>
                <a:gd name="T13" fmla="*/ 48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8 h 57"/>
                <a:gd name="T20" fmla="*/ 16 w 35"/>
                <a:gd name="T21" fmla="*/ 48 h 57"/>
                <a:gd name="T22" fmla="*/ 16 w 35"/>
                <a:gd name="T23" fmla="*/ 1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5"/>
                  </a:moveTo>
                  <a:lnTo>
                    <a:pt x="7" y="22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8"/>
                  </a:lnTo>
                  <a:lnTo>
                    <a:pt x="35" y="48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8"/>
                  </a:lnTo>
                  <a:lnTo>
                    <a:pt x="16" y="48"/>
                  </a:lnTo>
                  <a:lnTo>
                    <a:pt x="16" y="15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39" name="Freeform 100">
              <a:extLst>
                <a:ext uri="{FF2B5EF4-FFF2-40B4-BE49-F238E27FC236}">
                  <a16:creationId xmlns:a16="http://schemas.microsoft.com/office/drawing/2014/main" id="{01EC1D06-37EA-4272-AC4C-F9E664AC43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49292" y="5508290"/>
              <a:ext cx="67984" cy="86113"/>
            </a:xfrm>
            <a:custGeom>
              <a:avLst/>
              <a:gdLst>
                <a:gd name="T0" fmla="*/ 17 w 19"/>
                <a:gd name="T1" fmla="*/ 4 h 24"/>
                <a:gd name="T2" fmla="*/ 19 w 19"/>
                <a:gd name="T3" fmla="*/ 12 h 24"/>
                <a:gd name="T4" fmla="*/ 17 w 19"/>
                <a:gd name="T5" fmla="*/ 21 h 24"/>
                <a:gd name="T6" fmla="*/ 10 w 19"/>
                <a:gd name="T7" fmla="*/ 24 h 24"/>
                <a:gd name="T8" fmla="*/ 2 w 19"/>
                <a:gd name="T9" fmla="*/ 20 h 24"/>
                <a:gd name="T10" fmla="*/ 0 w 19"/>
                <a:gd name="T11" fmla="*/ 12 h 24"/>
                <a:gd name="T12" fmla="*/ 10 w 19"/>
                <a:gd name="T13" fmla="*/ 0 h 24"/>
                <a:gd name="T14" fmla="*/ 17 w 19"/>
                <a:gd name="T15" fmla="*/ 4 h 24"/>
                <a:gd name="T16" fmla="*/ 6 w 19"/>
                <a:gd name="T17" fmla="*/ 12 h 24"/>
                <a:gd name="T18" fmla="*/ 10 w 19"/>
                <a:gd name="T19" fmla="*/ 20 h 24"/>
                <a:gd name="T20" fmla="*/ 14 w 19"/>
                <a:gd name="T21" fmla="*/ 12 h 24"/>
                <a:gd name="T22" fmla="*/ 10 w 19"/>
                <a:gd name="T23" fmla="*/ 4 h 24"/>
                <a:gd name="T24" fmla="*/ 6 w 19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4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6"/>
                    <a:pt x="18" y="19"/>
                    <a:pt x="17" y="21"/>
                  </a:cubicBezTo>
                  <a:cubicBezTo>
                    <a:pt x="15" y="23"/>
                    <a:pt x="13" y="24"/>
                    <a:pt x="10" y="24"/>
                  </a:cubicBezTo>
                  <a:cubicBezTo>
                    <a:pt x="6" y="24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1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40" name="Freeform 101">
              <a:extLst>
                <a:ext uri="{FF2B5EF4-FFF2-40B4-BE49-F238E27FC236}">
                  <a16:creationId xmlns:a16="http://schemas.microsoft.com/office/drawing/2014/main" id="{DCFB4C9A-5FBB-4953-B15E-C84561769B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868" y="5654833"/>
              <a:ext cx="52876" cy="86113"/>
            </a:xfrm>
            <a:custGeom>
              <a:avLst/>
              <a:gdLst>
                <a:gd name="T0" fmla="*/ 16 w 35"/>
                <a:gd name="T1" fmla="*/ 14 h 57"/>
                <a:gd name="T2" fmla="*/ 7 w 35"/>
                <a:gd name="T3" fmla="*/ 21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7 h 57"/>
                <a:gd name="T12" fmla="*/ 35 w 35"/>
                <a:gd name="T13" fmla="*/ 47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7 h 57"/>
                <a:gd name="T20" fmla="*/ 16 w 35"/>
                <a:gd name="T21" fmla="*/ 47 h 57"/>
                <a:gd name="T22" fmla="*/ 16 w 35"/>
                <a:gd name="T23" fmla="*/ 1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4"/>
                  </a:moveTo>
                  <a:lnTo>
                    <a:pt x="7" y="21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41" name="Freeform 102">
              <a:extLst>
                <a:ext uri="{FF2B5EF4-FFF2-40B4-BE49-F238E27FC236}">
                  <a16:creationId xmlns:a16="http://schemas.microsoft.com/office/drawing/2014/main" id="{1AF96BEF-B8EC-4040-8FBD-AC810651C25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868" y="5801374"/>
              <a:ext cx="52876" cy="86113"/>
            </a:xfrm>
            <a:custGeom>
              <a:avLst/>
              <a:gdLst>
                <a:gd name="T0" fmla="*/ 16 w 35"/>
                <a:gd name="T1" fmla="*/ 14 h 57"/>
                <a:gd name="T2" fmla="*/ 7 w 35"/>
                <a:gd name="T3" fmla="*/ 21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7 h 57"/>
                <a:gd name="T12" fmla="*/ 35 w 35"/>
                <a:gd name="T13" fmla="*/ 47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7 h 57"/>
                <a:gd name="T20" fmla="*/ 16 w 35"/>
                <a:gd name="T21" fmla="*/ 47 h 57"/>
                <a:gd name="T22" fmla="*/ 16 w 35"/>
                <a:gd name="T23" fmla="*/ 1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4"/>
                  </a:moveTo>
                  <a:lnTo>
                    <a:pt x="7" y="21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42" name="Freeform 103">
              <a:extLst>
                <a:ext uri="{FF2B5EF4-FFF2-40B4-BE49-F238E27FC236}">
                  <a16:creationId xmlns:a16="http://schemas.microsoft.com/office/drawing/2014/main" id="{F31327AF-F414-4968-BF5E-D0C6E56D8C4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868" y="5950938"/>
              <a:ext cx="52876" cy="83091"/>
            </a:xfrm>
            <a:custGeom>
              <a:avLst/>
              <a:gdLst>
                <a:gd name="T0" fmla="*/ 16 w 35"/>
                <a:gd name="T1" fmla="*/ 12 h 55"/>
                <a:gd name="T2" fmla="*/ 7 w 35"/>
                <a:gd name="T3" fmla="*/ 19 h 55"/>
                <a:gd name="T4" fmla="*/ 0 w 35"/>
                <a:gd name="T5" fmla="*/ 10 h 55"/>
                <a:gd name="T6" fmla="*/ 19 w 35"/>
                <a:gd name="T7" fmla="*/ 0 h 55"/>
                <a:gd name="T8" fmla="*/ 28 w 35"/>
                <a:gd name="T9" fmla="*/ 0 h 55"/>
                <a:gd name="T10" fmla="*/ 28 w 35"/>
                <a:gd name="T11" fmla="*/ 45 h 55"/>
                <a:gd name="T12" fmla="*/ 35 w 35"/>
                <a:gd name="T13" fmla="*/ 45 h 55"/>
                <a:gd name="T14" fmla="*/ 35 w 35"/>
                <a:gd name="T15" fmla="*/ 55 h 55"/>
                <a:gd name="T16" fmla="*/ 9 w 35"/>
                <a:gd name="T17" fmla="*/ 55 h 55"/>
                <a:gd name="T18" fmla="*/ 9 w 35"/>
                <a:gd name="T19" fmla="*/ 45 h 55"/>
                <a:gd name="T20" fmla="*/ 16 w 35"/>
                <a:gd name="T21" fmla="*/ 45 h 55"/>
                <a:gd name="T22" fmla="*/ 16 w 35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5">
                  <a:moveTo>
                    <a:pt x="16" y="12"/>
                  </a:moveTo>
                  <a:lnTo>
                    <a:pt x="7" y="19"/>
                  </a:lnTo>
                  <a:lnTo>
                    <a:pt x="0" y="10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5"/>
                  </a:lnTo>
                  <a:lnTo>
                    <a:pt x="35" y="45"/>
                  </a:lnTo>
                  <a:lnTo>
                    <a:pt x="35" y="55"/>
                  </a:lnTo>
                  <a:lnTo>
                    <a:pt x="9" y="55"/>
                  </a:lnTo>
                  <a:lnTo>
                    <a:pt x="9" y="45"/>
                  </a:lnTo>
                  <a:lnTo>
                    <a:pt x="16" y="45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43" name="Freeform 104">
              <a:extLst>
                <a:ext uri="{FF2B5EF4-FFF2-40B4-BE49-F238E27FC236}">
                  <a16:creationId xmlns:a16="http://schemas.microsoft.com/office/drawing/2014/main" id="{6539D0DA-0977-4688-8AD7-121EF9E542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49292" y="6094458"/>
              <a:ext cx="67984" cy="89134"/>
            </a:xfrm>
            <a:custGeom>
              <a:avLst/>
              <a:gdLst>
                <a:gd name="T0" fmla="*/ 17 w 19"/>
                <a:gd name="T1" fmla="*/ 4 h 25"/>
                <a:gd name="T2" fmla="*/ 19 w 19"/>
                <a:gd name="T3" fmla="*/ 12 h 25"/>
                <a:gd name="T4" fmla="*/ 17 w 19"/>
                <a:gd name="T5" fmla="*/ 21 h 25"/>
                <a:gd name="T6" fmla="*/ 10 w 19"/>
                <a:gd name="T7" fmla="*/ 25 h 25"/>
                <a:gd name="T8" fmla="*/ 2 w 19"/>
                <a:gd name="T9" fmla="*/ 20 h 25"/>
                <a:gd name="T10" fmla="*/ 0 w 19"/>
                <a:gd name="T11" fmla="*/ 12 h 25"/>
                <a:gd name="T12" fmla="*/ 10 w 19"/>
                <a:gd name="T13" fmla="*/ 0 h 25"/>
                <a:gd name="T14" fmla="*/ 17 w 19"/>
                <a:gd name="T15" fmla="*/ 4 h 25"/>
                <a:gd name="T16" fmla="*/ 6 w 19"/>
                <a:gd name="T17" fmla="*/ 12 h 25"/>
                <a:gd name="T18" fmla="*/ 10 w 19"/>
                <a:gd name="T19" fmla="*/ 20 h 25"/>
                <a:gd name="T20" fmla="*/ 14 w 19"/>
                <a:gd name="T21" fmla="*/ 12 h 25"/>
                <a:gd name="T22" fmla="*/ 10 w 19"/>
                <a:gd name="T23" fmla="*/ 4 h 25"/>
                <a:gd name="T24" fmla="*/ 6 w 19"/>
                <a:gd name="T25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5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7"/>
                    <a:pt x="18" y="19"/>
                    <a:pt x="17" y="21"/>
                  </a:cubicBezTo>
                  <a:cubicBezTo>
                    <a:pt x="15" y="23"/>
                    <a:pt x="13" y="25"/>
                    <a:pt x="10" y="25"/>
                  </a:cubicBezTo>
                  <a:cubicBezTo>
                    <a:pt x="6" y="25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2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44" name="Freeform 105">
              <a:extLst>
                <a:ext uri="{FF2B5EF4-FFF2-40B4-BE49-F238E27FC236}">
                  <a16:creationId xmlns:a16="http://schemas.microsoft.com/office/drawing/2014/main" id="{58BAC71A-B2F0-44A0-9C02-B04BFC1EF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868" y="6244022"/>
              <a:ext cx="52876" cy="81580"/>
            </a:xfrm>
            <a:custGeom>
              <a:avLst/>
              <a:gdLst>
                <a:gd name="T0" fmla="*/ 16 w 35"/>
                <a:gd name="T1" fmla="*/ 12 h 54"/>
                <a:gd name="T2" fmla="*/ 7 w 35"/>
                <a:gd name="T3" fmla="*/ 19 h 54"/>
                <a:gd name="T4" fmla="*/ 0 w 35"/>
                <a:gd name="T5" fmla="*/ 9 h 54"/>
                <a:gd name="T6" fmla="*/ 19 w 35"/>
                <a:gd name="T7" fmla="*/ 0 h 54"/>
                <a:gd name="T8" fmla="*/ 28 w 35"/>
                <a:gd name="T9" fmla="*/ 0 h 54"/>
                <a:gd name="T10" fmla="*/ 28 w 35"/>
                <a:gd name="T11" fmla="*/ 45 h 54"/>
                <a:gd name="T12" fmla="*/ 35 w 35"/>
                <a:gd name="T13" fmla="*/ 45 h 54"/>
                <a:gd name="T14" fmla="*/ 35 w 35"/>
                <a:gd name="T15" fmla="*/ 54 h 54"/>
                <a:gd name="T16" fmla="*/ 9 w 35"/>
                <a:gd name="T17" fmla="*/ 54 h 54"/>
                <a:gd name="T18" fmla="*/ 9 w 35"/>
                <a:gd name="T19" fmla="*/ 45 h 54"/>
                <a:gd name="T20" fmla="*/ 16 w 35"/>
                <a:gd name="T21" fmla="*/ 45 h 54"/>
                <a:gd name="T22" fmla="*/ 16 w 35"/>
                <a:gd name="T23" fmla="*/ 1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4">
                  <a:moveTo>
                    <a:pt x="16" y="12"/>
                  </a:moveTo>
                  <a:lnTo>
                    <a:pt x="7" y="19"/>
                  </a:lnTo>
                  <a:lnTo>
                    <a:pt x="0" y="9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5"/>
                  </a:lnTo>
                  <a:lnTo>
                    <a:pt x="35" y="45"/>
                  </a:lnTo>
                  <a:lnTo>
                    <a:pt x="35" y="54"/>
                  </a:lnTo>
                  <a:lnTo>
                    <a:pt x="9" y="54"/>
                  </a:lnTo>
                  <a:lnTo>
                    <a:pt x="9" y="45"/>
                  </a:lnTo>
                  <a:lnTo>
                    <a:pt x="16" y="45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45" name="Freeform 106">
              <a:extLst>
                <a:ext uri="{FF2B5EF4-FFF2-40B4-BE49-F238E27FC236}">
                  <a16:creationId xmlns:a16="http://schemas.microsoft.com/office/drawing/2014/main" id="{553E9297-F18A-409F-8F95-5326953E05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49292" y="6386032"/>
              <a:ext cx="67984" cy="89134"/>
            </a:xfrm>
            <a:custGeom>
              <a:avLst/>
              <a:gdLst>
                <a:gd name="T0" fmla="*/ 17 w 19"/>
                <a:gd name="T1" fmla="*/ 5 h 25"/>
                <a:gd name="T2" fmla="*/ 19 w 19"/>
                <a:gd name="T3" fmla="*/ 12 h 25"/>
                <a:gd name="T4" fmla="*/ 17 w 19"/>
                <a:gd name="T5" fmla="*/ 21 h 25"/>
                <a:gd name="T6" fmla="*/ 10 w 19"/>
                <a:gd name="T7" fmla="*/ 25 h 25"/>
                <a:gd name="T8" fmla="*/ 2 w 19"/>
                <a:gd name="T9" fmla="*/ 20 h 25"/>
                <a:gd name="T10" fmla="*/ 0 w 19"/>
                <a:gd name="T11" fmla="*/ 12 h 25"/>
                <a:gd name="T12" fmla="*/ 10 w 19"/>
                <a:gd name="T13" fmla="*/ 0 h 25"/>
                <a:gd name="T14" fmla="*/ 17 w 19"/>
                <a:gd name="T15" fmla="*/ 5 h 25"/>
                <a:gd name="T16" fmla="*/ 6 w 19"/>
                <a:gd name="T17" fmla="*/ 12 h 25"/>
                <a:gd name="T18" fmla="*/ 10 w 19"/>
                <a:gd name="T19" fmla="*/ 21 h 25"/>
                <a:gd name="T20" fmla="*/ 14 w 19"/>
                <a:gd name="T21" fmla="*/ 12 h 25"/>
                <a:gd name="T22" fmla="*/ 10 w 19"/>
                <a:gd name="T23" fmla="*/ 4 h 25"/>
                <a:gd name="T24" fmla="*/ 6 w 19"/>
                <a:gd name="T25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5">
                  <a:moveTo>
                    <a:pt x="17" y="5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7"/>
                    <a:pt x="18" y="19"/>
                    <a:pt x="17" y="21"/>
                  </a:cubicBezTo>
                  <a:cubicBezTo>
                    <a:pt x="15" y="24"/>
                    <a:pt x="13" y="25"/>
                    <a:pt x="10" y="25"/>
                  </a:cubicBezTo>
                  <a:cubicBezTo>
                    <a:pt x="6" y="25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2"/>
                    <a:pt x="17" y="5"/>
                  </a:cubicBezTo>
                  <a:close/>
                  <a:moveTo>
                    <a:pt x="6" y="12"/>
                  </a:moveTo>
                  <a:cubicBezTo>
                    <a:pt x="6" y="18"/>
                    <a:pt x="7" y="21"/>
                    <a:pt x="10" y="21"/>
                  </a:cubicBezTo>
                  <a:cubicBezTo>
                    <a:pt x="12" y="21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46" name="Freeform 107">
              <a:extLst>
                <a:ext uri="{FF2B5EF4-FFF2-40B4-BE49-F238E27FC236}">
                  <a16:creationId xmlns:a16="http://schemas.microsoft.com/office/drawing/2014/main" id="{A43C3A46-0451-42EA-B6C9-CEBE2B0A7D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49292" y="6532573"/>
              <a:ext cx="67984" cy="89134"/>
            </a:xfrm>
            <a:custGeom>
              <a:avLst/>
              <a:gdLst>
                <a:gd name="T0" fmla="*/ 17 w 19"/>
                <a:gd name="T1" fmla="*/ 5 h 25"/>
                <a:gd name="T2" fmla="*/ 19 w 19"/>
                <a:gd name="T3" fmla="*/ 12 h 25"/>
                <a:gd name="T4" fmla="*/ 17 w 19"/>
                <a:gd name="T5" fmla="*/ 21 h 25"/>
                <a:gd name="T6" fmla="*/ 10 w 19"/>
                <a:gd name="T7" fmla="*/ 25 h 25"/>
                <a:gd name="T8" fmla="*/ 2 w 19"/>
                <a:gd name="T9" fmla="*/ 20 h 25"/>
                <a:gd name="T10" fmla="*/ 0 w 19"/>
                <a:gd name="T11" fmla="*/ 12 h 25"/>
                <a:gd name="T12" fmla="*/ 10 w 19"/>
                <a:gd name="T13" fmla="*/ 0 h 25"/>
                <a:gd name="T14" fmla="*/ 17 w 19"/>
                <a:gd name="T15" fmla="*/ 5 h 25"/>
                <a:gd name="T16" fmla="*/ 6 w 19"/>
                <a:gd name="T17" fmla="*/ 12 h 25"/>
                <a:gd name="T18" fmla="*/ 10 w 19"/>
                <a:gd name="T19" fmla="*/ 21 h 25"/>
                <a:gd name="T20" fmla="*/ 14 w 19"/>
                <a:gd name="T21" fmla="*/ 12 h 25"/>
                <a:gd name="T22" fmla="*/ 10 w 19"/>
                <a:gd name="T23" fmla="*/ 4 h 25"/>
                <a:gd name="T24" fmla="*/ 6 w 19"/>
                <a:gd name="T25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5">
                  <a:moveTo>
                    <a:pt x="17" y="5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7"/>
                    <a:pt x="18" y="19"/>
                    <a:pt x="17" y="21"/>
                  </a:cubicBezTo>
                  <a:cubicBezTo>
                    <a:pt x="15" y="24"/>
                    <a:pt x="13" y="25"/>
                    <a:pt x="10" y="25"/>
                  </a:cubicBezTo>
                  <a:cubicBezTo>
                    <a:pt x="6" y="25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2"/>
                    <a:pt x="17" y="5"/>
                  </a:cubicBezTo>
                  <a:close/>
                  <a:moveTo>
                    <a:pt x="6" y="12"/>
                  </a:moveTo>
                  <a:cubicBezTo>
                    <a:pt x="6" y="18"/>
                    <a:pt x="7" y="21"/>
                    <a:pt x="10" y="21"/>
                  </a:cubicBezTo>
                  <a:cubicBezTo>
                    <a:pt x="12" y="21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47" name="Freeform 108">
              <a:extLst>
                <a:ext uri="{FF2B5EF4-FFF2-40B4-BE49-F238E27FC236}">
                  <a16:creationId xmlns:a16="http://schemas.microsoft.com/office/drawing/2014/main" id="{0F2DD511-A7EF-4F12-A1D2-F45FBD8E69D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868" y="6682137"/>
              <a:ext cx="52876" cy="83091"/>
            </a:xfrm>
            <a:custGeom>
              <a:avLst/>
              <a:gdLst>
                <a:gd name="T0" fmla="*/ 16 w 35"/>
                <a:gd name="T1" fmla="*/ 12 h 55"/>
                <a:gd name="T2" fmla="*/ 7 w 35"/>
                <a:gd name="T3" fmla="*/ 19 h 55"/>
                <a:gd name="T4" fmla="*/ 0 w 35"/>
                <a:gd name="T5" fmla="*/ 10 h 55"/>
                <a:gd name="T6" fmla="*/ 19 w 35"/>
                <a:gd name="T7" fmla="*/ 0 h 55"/>
                <a:gd name="T8" fmla="*/ 28 w 35"/>
                <a:gd name="T9" fmla="*/ 0 h 55"/>
                <a:gd name="T10" fmla="*/ 28 w 35"/>
                <a:gd name="T11" fmla="*/ 45 h 55"/>
                <a:gd name="T12" fmla="*/ 35 w 35"/>
                <a:gd name="T13" fmla="*/ 48 h 55"/>
                <a:gd name="T14" fmla="*/ 35 w 35"/>
                <a:gd name="T15" fmla="*/ 55 h 55"/>
                <a:gd name="T16" fmla="*/ 9 w 35"/>
                <a:gd name="T17" fmla="*/ 55 h 55"/>
                <a:gd name="T18" fmla="*/ 9 w 35"/>
                <a:gd name="T19" fmla="*/ 48 h 55"/>
                <a:gd name="T20" fmla="*/ 16 w 35"/>
                <a:gd name="T21" fmla="*/ 45 h 55"/>
                <a:gd name="T22" fmla="*/ 16 w 35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5">
                  <a:moveTo>
                    <a:pt x="16" y="12"/>
                  </a:moveTo>
                  <a:lnTo>
                    <a:pt x="7" y="19"/>
                  </a:lnTo>
                  <a:lnTo>
                    <a:pt x="0" y="10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5"/>
                  </a:lnTo>
                  <a:lnTo>
                    <a:pt x="35" y="48"/>
                  </a:lnTo>
                  <a:lnTo>
                    <a:pt x="35" y="55"/>
                  </a:lnTo>
                  <a:lnTo>
                    <a:pt x="9" y="55"/>
                  </a:lnTo>
                  <a:lnTo>
                    <a:pt x="9" y="48"/>
                  </a:lnTo>
                  <a:lnTo>
                    <a:pt x="16" y="45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48" name="Freeform 109">
              <a:extLst>
                <a:ext uri="{FF2B5EF4-FFF2-40B4-BE49-F238E27FC236}">
                  <a16:creationId xmlns:a16="http://schemas.microsoft.com/office/drawing/2014/main" id="{0A0F31DC-879B-41D3-92E8-4B7D1EC606B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868" y="6828679"/>
              <a:ext cx="52876" cy="83091"/>
            </a:xfrm>
            <a:custGeom>
              <a:avLst/>
              <a:gdLst>
                <a:gd name="T0" fmla="*/ 16 w 35"/>
                <a:gd name="T1" fmla="*/ 12 h 55"/>
                <a:gd name="T2" fmla="*/ 7 w 35"/>
                <a:gd name="T3" fmla="*/ 19 h 55"/>
                <a:gd name="T4" fmla="*/ 0 w 35"/>
                <a:gd name="T5" fmla="*/ 10 h 55"/>
                <a:gd name="T6" fmla="*/ 19 w 35"/>
                <a:gd name="T7" fmla="*/ 0 h 55"/>
                <a:gd name="T8" fmla="*/ 28 w 35"/>
                <a:gd name="T9" fmla="*/ 0 h 55"/>
                <a:gd name="T10" fmla="*/ 28 w 35"/>
                <a:gd name="T11" fmla="*/ 48 h 55"/>
                <a:gd name="T12" fmla="*/ 35 w 35"/>
                <a:gd name="T13" fmla="*/ 48 h 55"/>
                <a:gd name="T14" fmla="*/ 35 w 35"/>
                <a:gd name="T15" fmla="*/ 55 h 55"/>
                <a:gd name="T16" fmla="*/ 9 w 35"/>
                <a:gd name="T17" fmla="*/ 55 h 55"/>
                <a:gd name="T18" fmla="*/ 9 w 35"/>
                <a:gd name="T19" fmla="*/ 48 h 55"/>
                <a:gd name="T20" fmla="*/ 16 w 35"/>
                <a:gd name="T21" fmla="*/ 48 h 55"/>
                <a:gd name="T22" fmla="*/ 16 w 35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5">
                  <a:moveTo>
                    <a:pt x="16" y="12"/>
                  </a:moveTo>
                  <a:lnTo>
                    <a:pt x="7" y="19"/>
                  </a:lnTo>
                  <a:lnTo>
                    <a:pt x="0" y="10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8"/>
                  </a:lnTo>
                  <a:lnTo>
                    <a:pt x="35" y="48"/>
                  </a:lnTo>
                  <a:lnTo>
                    <a:pt x="35" y="55"/>
                  </a:lnTo>
                  <a:lnTo>
                    <a:pt x="9" y="55"/>
                  </a:lnTo>
                  <a:lnTo>
                    <a:pt x="9" y="48"/>
                  </a:lnTo>
                  <a:lnTo>
                    <a:pt x="16" y="48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49" name="Freeform 135">
              <a:extLst>
                <a:ext uri="{FF2B5EF4-FFF2-40B4-BE49-F238E27FC236}">
                  <a16:creationId xmlns:a16="http://schemas.microsoft.com/office/drawing/2014/main" id="{350D2BE0-F55C-4EB7-A87C-836296F29D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2225" y="5144202"/>
              <a:ext cx="60430" cy="111795"/>
            </a:xfrm>
            <a:custGeom>
              <a:avLst/>
              <a:gdLst>
                <a:gd name="T0" fmla="*/ 19 w 40"/>
                <a:gd name="T1" fmla="*/ 14 h 74"/>
                <a:gd name="T2" fmla="*/ 4 w 40"/>
                <a:gd name="T3" fmla="*/ 24 h 74"/>
                <a:gd name="T4" fmla="*/ 0 w 40"/>
                <a:gd name="T5" fmla="*/ 14 h 74"/>
                <a:gd name="T6" fmla="*/ 21 w 40"/>
                <a:gd name="T7" fmla="*/ 0 h 74"/>
                <a:gd name="T8" fmla="*/ 30 w 40"/>
                <a:gd name="T9" fmla="*/ 0 h 74"/>
                <a:gd name="T10" fmla="*/ 30 w 40"/>
                <a:gd name="T11" fmla="*/ 64 h 74"/>
                <a:gd name="T12" fmla="*/ 40 w 40"/>
                <a:gd name="T13" fmla="*/ 64 h 74"/>
                <a:gd name="T14" fmla="*/ 40 w 40"/>
                <a:gd name="T15" fmla="*/ 74 h 74"/>
                <a:gd name="T16" fmla="*/ 9 w 40"/>
                <a:gd name="T17" fmla="*/ 74 h 74"/>
                <a:gd name="T18" fmla="*/ 9 w 40"/>
                <a:gd name="T19" fmla="*/ 64 h 74"/>
                <a:gd name="T20" fmla="*/ 19 w 40"/>
                <a:gd name="T21" fmla="*/ 64 h 74"/>
                <a:gd name="T22" fmla="*/ 19 w 40"/>
                <a:gd name="T23" fmla="*/ 1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4">
                  <a:moveTo>
                    <a:pt x="19" y="14"/>
                  </a:moveTo>
                  <a:lnTo>
                    <a:pt x="4" y="24"/>
                  </a:lnTo>
                  <a:lnTo>
                    <a:pt x="0" y="14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4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9" y="74"/>
                  </a:lnTo>
                  <a:lnTo>
                    <a:pt x="9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50" name="Freeform 136">
              <a:extLst>
                <a:ext uri="{FF2B5EF4-FFF2-40B4-BE49-F238E27FC236}">
                  <a16:creationId xmlns:a16="http://schemas.microsoft.com/office/drawing/2014/main" id="{B38FBCF3-9DCF-487A-9F6D-AC9A4147E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91649" y="5333044"/>
              <a:ext cx="75537" cy="114816"/>
            </a:xfrm>
            <a:custGeom>
              <a:avLst/>
              <a:gdLst>
                <a:gd name="T0" fmla="*/ 21 w 21"/>
                <a:gd name="T1" fmla="*/ 16 h 32"/>
                <a:gd name="T2" fmla="*/ 10 w 21"/>
                <a:gd name="T3" fmla="*/ 32 h 32"/>
                <a:gd name="T4" fmla="*/ 0 w 21"/>
                <a:gd name="T5" fmla="*/ 16 h 32"/>
                <a:gd name="T6" fmla="*/ 10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0 w 21"/>
                <a:gd name="T13" fmla="*/ 28 h 32"/>
                <a:gd name="T14" fmla="*/ 16 w 21"/>
                <a:gd name="T15" fmla="*/ 16 h 32"/>
                <a:gd name="T16" fmla="*/ 10 w 21"/>
                <a:gd name="T17" fmla="*/ 5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7"/>
                    <a:pt x="18" y="32"/>
                    <a:pt x="10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0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8"/>
                    <a:pt x="10" y="28"/>
                  </a:cubicBezTo>
                  <a:cubicBezTo>
                    <a:pt x="14" y="28"/>
                    <a:pt x="16" y="24"/>
                    <a:pt x="16" y="16"/>
                  </a:cubicBezTo>
                  <a:cubicBezTo>
                    <a:pt x="16" y="8"/>
                    <a:pt x="14" y="5"/>
                    <a:pt x="10" y="5"/>
                  </a:cubicBezTo>
                  <a:cubicBezTo>
                    <a:pt x="7" y="5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51" name="Freeform 137">
              <a:extLst>
                <a:ext uri="{FF2B5EF4-FFF2-40B4-BE49-F238E27FC236}">
                  <a16:creationId xmlns:a16="http://schemas.microsoft.com/office/drawing/2014/main" id="{02FF5095-6F95-4E11-B4EC-53C9B4052A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91649" y="5715262"/>
              <a:ext cx="75537" cy="114816"/>
            </a:xfrm>
            <a:custGeom>
              <a:avLst/>
              <a:gdLst>
                <a:gd name="T0" fmla="*/ 21 w 21"/>
                <a:gd name="T1" fmla="*/ 16 h 32"/>
                <a:gd name="T2" fmla="*/ 10 w 21"/>
                <a:gd name="T3" fmla="*/ 32 h 32"/>
                <a:gd name="T4" fmla="*/ 0 w 21"/>
                <a:gd name="T5" fmla="*/ 16 h 32"/>
                <a:gd name="T6" fmla="*/ 10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0 w 21"/>
                <a:gd name="T13" fmla="*/ 27 h 32"/>
                <a:gd name="T14" fmla="*/ 16 w 21"/>
                <a:gd name="T15" fmla="*/ 16 h 32"/>
                <a:gd name="T16" fmla="*/ 10 w 21"/>
                <a:gd name="T17" fmla="*/ 4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6"/>
                    <a:pt x="18" y="32"/>
                    <a:pt x="10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0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7"/>
                    <a:pt x="10" y="27"/>
                  </a:cubicBezTo>
                  <a:cubicBezTo>
                    <a:pt x="14" y="27"/>
                    <a:pt x="16" y="24"/>
                    <a:pt x="16" y="16"/>
                  </a:cubicBezTo>
                  <a:cubicBezTo>
                    <a:pt x="16" y="8"/>
                    <a:pt x="14" y="4"/>
                    <a:pt x="10" y="4"/>
                  </a:cubicBezTo>
                  <a:cubicBezTo>
                    <a:pt x="7" y="4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52" name="Freeform 138">
              <a:extLst>
                <a:ext uri="{FF2B5EF4-FFF2-40B4-BE49-F238E27FC236}">
                  <a16:creationId xmlns:a16="http://schemas.microsoft.com/office/drawing/2014/main" id="{252A547F-B1FC-4709-A1BF-49BB605E1AF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2225" y="5908637"/>
              <a:ext cx="60430" cy="107263"/>
            </a:xfrm>
            <a:custGeom>
              <a:avLst/>
              <a:gdLst>
                <a:gd name="T0" fmla="*/ 19 w 40"/>
                <a:gd name="T1" fmla="*/ 12 h 71"/>
                <a:gd name="T2" fmla="*/ 4 w 40"/>
                <a:gd name="T3" fmla="*/ 21 h 71"/>
                <a:gd name="T4" fmla="*/ 0 w 40"/>
                <a:gd name="T5" fmla="*/ 12 h 71"/>
                <a:gd name="T6" fmla="*/ 21 w 40"/>
                <a:gd name="T7" fmla="*/ 0 h 71"/>
                <a:gd name="T8" fmla="*/ 30 w 40"/>
                <a:gd name="T9" fmla="*/ 0 h 71"/>
                <a:gd name="T10" fmla="*/ 30 w 40"/>
                <a:gd name="T11" fmla="*/ 64 h 71"/>
                <a:gd name="T12" fmla="*/ 40 w 40"/>
                <a:gd name="T13" fmla="*/ 64 h 71"/>
                <a:gd name="T14" fmla="*/ 40 w 40"/>
                <a:gd name="T15" fmla="*/ 71 h 71"/>
                <a:gd name="T16" fmla="*/ 9 w 40"/>
                <a:gd name="T17" fmla="*/ 71 h 71"/>
                <a:gd name="T18" fmla="*/ 9 w 40"/>
                <a:gd name="T19" fmla="*/ 64 h 71"/>
                <a:gd name="T20" fmla="*/ 19 w 40"/>
                <a:gd name="T21" fmla="*/ 64 h 71"/>
                <a:gd name="T22" fmla="*/ 19 w 40"/>
                <a:gd name="T23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1">
                  <a:moveTo>
                    <a:pt x="19" y="12"/>
                  </a:moveTo>
                  <a:lnTo>
                    <a:pt x="4" y="21"/>
                  </a:lnTo>
                  <a:lnTo>
                    <a:pt x="0" y="12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4"/>
                  </a:lnTo>
                  <a:lnTo>
                    <a:pt x="40" y="64"/>
                  </a:lnTo>
                  <a:lnTo>
                    <a:pt x="40" y="71"/>
                  </a:lnTo>
                  <a:lnTo>
                    <a:pt x="9" y="71"/>
                  </a:lnTo>
                  <a:lnTo>
                    <a:pt x="9" y="64"/>
                  </a:lnTo>
                  <a:lnTo>
                    <a:pt x="19" y="64"/>
                  </a:lnTo>
                  <a:lnTo>
                    <a:pt x="19" y="12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53" name="Freeform 139">
              <a:extLst>
                <a:ext uri="{FF2B5EF4-FFF2-40B4-BE49-F238E27FC236}">
                  <a16:creationId xmlns:a16="http://schemas.microsoft.com/office/drawing/2014/main" id="{0B5F6083-7EAC-478F-AEBA-505B2A175BA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2225" y="6097480"/>
              <a:ext cx="60430" cy="110285"/>
            </a:xfrm>
            <a:custGeom>
              <a:avLst/>
              <a:gdLst>
                <a:gd name="T0" fmla="*/ 19 w 40"/>
                <a:gd name="T1" fmla="*/ 14 h 73"/>
                <a:gd name="T2" fmla="*/ 4 w 40"/>
                <a:gd name="T3" fmla="*/ 24 h 73"/>
                <a:gd name="T4" fmla="*/ 0 w 40"/>
                <a:gd name="T5" fmla="*/ 14 h 73"/>
                <a:gd name="T6" fmla="*/ 21 w 40"/>
                <a:gd name="T7" fmla="*/ 0 h 73"/>
                <a:gd name="T8" fmla="*/ 30 w 40"/>
                <a:gd name="T9" fmla="*/ 0 h 73"/>
                <a:gd name="T10" fmla="*/ 30 w 40"/>
                <a:gd name="T11" fmla="*/ 64 h 73"/>
                <a:gd name="T12" fmla="*/ 40 w 40"/>
                <a:gd name="T13" fmla="*/ 64 h 73"/>
                <a:gd name="T14" fmla="*/ 40 w 40"/>
                <a:gd name="T15" fmla="*/ 73 h 73"/>
                <a:gd name="T16" fmla="*/ 9 w 40"/>
                <a:gd name="T17" fmla="*/ 73 h 73"/>
                <a:gd name="T18" fmla="*/ 9 w 40"/>
                <a:gd name="T19" fmla="*/ 64 h 73"/>
                <a:gd name="T20" fmla="*/ 19 w 40"/>
                <a:gd name="T21" fmla="*/ 64 h 73"/>
                <a:gd name="T22" fmla="*/ 19 w 40"/>
                <a:gd name="T23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3">
                  <a:moveTo>
                    <a:pt x="19" y="14"/>
                  </a:moveTo>
                  <a:lnTo>
                    <a:pt x="4" y="24"/>
                  </a:lnTo>
                  <a:lnTo>
                    <a:pt x="0" y="14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4"/>
                  </a:lnTo>
                  <a:lnTo>
                    <a:pt x="40" y="64"/>
                  </a:lnTo>
                  <a:lnTo>
                    <a:pt x="40" y="73"/>
                  </a:lnTo>
                  <a:lnTo>
                    <a:pt x="9" y="73"/>
                  </a:lnTo>
                  <a:lnTo>
                    <a:pt x="9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54" name="Freeform 140">
              <a:extLst>
                <a:ext uri="{FF2B5EF4-FFF2-40B4-BE49-F238E27FC236}">
                  <a16:creationId xmlns:a16="http://schemas.microsoft.com/office/drawing/2014/main" id="{88FB09AB-2739-4FFE-A631-761E672DA26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2225" y="6286323"/>
              <a:ext cx="60430" cy="110285"/>
            </a:xfrm>
            <a:custGeom>
              <a:avLst/>
              <a:gdLst>
                <a:gd name="T0" fmla="*/ 19 w 40"/>
                <a:gd name="T1" fmla="*/ 14 h 73"/>
                <a:gd name="T2" fmla="*/ 4 w 40"/>
                <a:gd name="T3" fmla="*/ 24 h 73"/>
                <a:gd name="T4" fmla="*/ 0 w 40"/>
                <a:gd name="T5" fmla="*/ 14 h 73"/>
                <a:gd name="T6" fmla="*/ 21 w 40"/>
                <a:gd name="T7" fmla="*/ 0 h 73"/>
                <a:gd name="T8" fmla="*/ 30 w 40"/>
                <a:gd name="T9" fmla="*/ 0 h 73"/>
                <a:gd name="T10" fmla="*/ 30 w 40"/>
                <a:gd name="T11" fmla="*/ 64 h 73"/>
                <a:gd name="T12" fmla="*/ 40 w 40"/>
                <a:gd name="T13" fmla="*/ 64 h 73"/>
                <a:gd name="T14" fmla="*/ 40 w 40"/>
                <a:gd name="T15" fmla="*/ 73 h 73"/>
                <a:gd name="T16" fmla="*/ 9 w 40"/>
                <a:gd name="T17" fmla="*/ 73 h 73"/>
                <a:gd name="T18" fmla="*/ 9 w 40"/>
                <a:gd name="T19" fmla="*/ 64 h 73"/>
                <a:gd name="T20" fmla="*/ 19 w 40"/>
                <a:gd name="T21" fmla="*/ 64 h 73"/>
                <a:gd name="T22" fmla="*/ 19 w 40"/>
                <a:gd name="T23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3">
                  <a:moveTo>
                    <a:pt x="19" y="14"/>
                  </a:moveTo>
                  <a:lnTo>
                    <a:pt x="4" y="24"/>
                  </a:lnTo>
                  <a:lnTo>
                    <a:pt x="0" y="14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4"/>
                  </a:lnTo>
                  <a:lnTo>
                    <a:pt x="40" y="64"/>
                  </a:lnTo>
                  <a:lnTo>
                    <a:pt x="40" y="73"/>
                  </a:lnTo>
                  <a:lnTo>
                    <a:pt x="9" y="73"/>
                  </a:lnTo>
                  <a:lnTo>
                    <a:pt x="9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55" name="Freeform 141">
              <a:extLst>
                <a:ext uri="{FF2B5EF4-FFF2-40B4-BE49-F238E27FC236}">
                  <a16:creationId xmlns:a16="http://schemas.microsoft.com/office/drawing/2014/main" id="{539C8711-3BC8-4205-86E3-601EB5CFC6F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2225" y="6479698"/>
              <a:ext cx="60430" cy="110285"/>
            </a:xfrm>
            <a:custGeom>
              <a:avLst/>
              <a:gdLst>
                <a:gd name="T0" fmla="*/ 19 w 40"/>
                <a:gd name="T1" fmla="*/ 14 h 73"/>
                <a:gd name="T2" fmla="*/ 4 w 40"/>
                <a:gd name="T3" fmla="*/ 21 h 73"/>
                <a:gd name="T4" fmla="*/ 0 w 40"/>
                <a:gd name="T5" fmla="*/ 12 h 73"/>
                <a:gd name="T6" fmla="*/ 21 w 40"/>
                <a:gd name="T7" fmla="*/ 0 h 73"/>
                <a:gd name="T8" fmla="*/ 30 w 40"/>
                <a:gd name="T9" fmla="*/ 0 h 73"/>
                <a:gd name="T10" fmla="*/ 30 w 40"/>
                <a:gd name="T11" fmla="*/ 64 h 73"/>
                <a:gd name="T12" fmla="*/ 40 w 40"/>
                <a:gd name="T13" fmla="*/ 64 h 73"/>
                <a:gd name="T14" fmla="*/ 40 w 40"/>
                <a:gd name="T15" fmla="*/ 73 h 73"/>
                <a:gd name="T16" fmla="*/ 9 w 40"/>
                <a:gd name="T17" fmla="*/ 73 h 73"/>
                <a:gd name="T18" fmla="*/ 9 w 40"/>
                <a:gd name="T19" fmla="*/ 64 h 73"/>
                <a:gd name="T20" fmla="*/ 19 w 40"/>
                <a:gd name="T21" fmla="*/ 64 h 73"/>
                <a:gd name="T22" fmla="*/ 19 w 40"/>
                <a:gd name="T23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3">
                  <a:moveTo>
                    <a:pt x="19" y="14"/>
                  </a:moveTo>
                  <a:lnTo>
                    <a:pt x="4" y="21"/>
                  </a:lnTo>
                  <a:lnTo>
                    <a:pt x="0" y="12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4"/>
                  </a:lnTo>
                  <a:lnTo>
                    <a:pt x="40" y="64"/>
                  </a:lnTo>
                  <a:lnTo>
                    <a:pt x="40" y="73"/>
                  </a:lnTo>
                  <a:lnTo>
                    <a:pt x="9" y="73"/>
                  </a:lnTo>
                  <a:lnTo>
                    <a:pt x="9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56" name="Freeform 142">
              <a:extLst>
                <a:ext uri="{FF2B5EF4-FFF2-40B4-BE49-F238E27FC236}">
                  <a16:creationId xmlns:a16="http://schemas.microsoft.com/office/drawing/2014/main" id="{5D359D53-0313-4B12-A671-278B7E7065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91649" y="6668540"/>
              <a:ext cx="75537" cy="110285"/>
            </a:xfrm>
            <a:custGeom>
              <a:avLst/>
              <a:gdLst>
                <a:gd name="T0" fmla="*/ 21 w 21"/>
                <a:gd name="T1" fmla="*/ 15 h 31"/>
                <a:gd name="T2" fmla="*/ 10 w 21"/>
                <a:gd name="T3" fmla="*/ 31 h 31"/>
                <a:gd name="T4" fmla="*/ 0 w 21"/>
                <a:gd name="T5" fmla="*/ 15 h 31"/>
                <a:gd name="T6" fmla="*/ 10 w 21"/>
                <a:gd name="T7" fmla="*/ 0 h 31"/>
                <a:gd name="T8" fmla="*/ 21 w 21"/>
                <a:gd name="T9" fmla="*/ 15 h 31"/>
                <a:gd name="T10" fmla="*/ 5 w 21"/>
                <a:gd name="T11" fmla="*/ 15 h 31"/>
                <a:gd name="T12" fmla="*/ 10 w 21"/>
                <a:gd name="T13" fmla="*/ 27 h 31"/>
                <a:gd name="T14" fmla="*/ 16 w 21"/>
                <a:gd name="T15" fmla="*/ 15 h 31"/>
                <a:gd name="T16" fmla="*/ 10 w 21"/>
                <a:gd name="T17" fmla="*/ 4 h 31"/>
                <a:gd name="T18" fmla="*/ 5 w 21"/>
                <a:gd name="T1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1">
                  <a:moveTo>
                    <a:pt x="21" y="15"/>
                  </a:moveTo>
                  <a:cubicBezTo>
                    <a:pt x="21" y="26"/>
                    <a:pt x="18" y="31"/>
                    <a:pt x="10" y="31"/>
                  </a:cubicBezTo>
                  <a:cubicBezTo>
                    <a:pt x="3" y="31"/>
                    <a:pt x="0" y="26"/>
                    <a:pt x="0" y="15"/>
                  </a:cubicBezTo>
                  <a:cubicBezTo>
                    <a:pt x="0" y="5"/>
                    <a:pt x="3" y="0"/>
                    <a:pt x="10" y="0"/>
                  </a:cubicBezTo>
                  <a:cubicBezTo>
                    <a:pt x="18" y="0"/>
                    <a:pt x="21" y="5"/>
                    <a:pt x="21" y="15"/>
                  </a:cubicBezTo>
                  <a:close/>
                  <a:moveTo>
                    <a:pt x="5" y="15"/>
                  </a:moveTo>
                  <a:cubicBezTo>
                    <a:pt x="5" y="23"/>
                    <a:pt x="7" y="27"/>
                    <a:pt x="10" y="27"/>
                  </a:cubicBezTo>
                  <a:cubicBezTo>
                    <a:pt x="14" y="27"/>
                    <a:pt x="16" y="23"/>
                    <a:pt x="16" y="15"/>
                  </a:cubicBezTo>
                  <a:cubicBezTo>
                    <a:pt x="16" y="8"/>
                    <a:pt x="14" y="4"/>
                    <a:pt x="10" y="4"/>
                  </a:cubicBezTo>
                  <a:cubicBezTo>
                    <a:pt x="7" y="4"/>
                    <a:pt x="5" y="8"/>
                    <a:pt x="5" y="15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57" name="Freeform 143">
              <a:extLst>
                <a:ext uri="{FF2B5EF4-FFF2-40B4-BE49-F238E27FC236}">
                  <a16:creationId xmlns:a16="http://schemas.microsoft.com/office/drawing/2014/main" id="{88523765-F96F-42F0-9ACE-B7C88AD3CE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91649" y="6857383"/>
              <a:ext cx="75537" cy="114816"/>
            </a:xfrm>
            <a:custGeom>
              <a:avLst/>
              <a:gdLst>
                <a:gd name="T0" fmla="*/ 21 w 21"/>
                <a:gd name="T1" fmla="*/ 16 h 32"/>
                <a:gd name="T2" fmla="*/ 10 w 21"/>
                <a:gd name="T3" fmla="*/ 32 h 32"/>
                <a:gd name="T4" fmla="*/ 0 w 21"/>
                <a:gd name="T5" fmla="*/ 16 h 32"/>
                <a:gd name="T6" fmla="*/ 10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0 w 21"/>
                <a:gd name="T13" fmla="*/ 27 h 32"/>
                <a:gd name="T14" fmla="*/ 16 w 21"/>
                <a:gd name="T15" fmla="*/ 16 h 32"/>
                <a:gd name="T16" fmla="*/ 10 w 21"/>
                <a:gd name="T17" fmla="*/ 4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7"/>
                    <a:pt x="18" y="32"/>
                    <a:pt x="10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0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7"/>
                    <a:pt x="10" y="27"/>
                  </a:cubicBezTo>
                  <a:cubicBezTo>
                    <a:pt x="14" y="27"/>
                    <a:pt x="16" y="24"/>
                    <a:pt x="16" y="16"/>
                  </a:cubicBezTo>
                  <a:cubicBezTo>
                    <a:pt x="16" y="8"/>
                    <a:pt x="14" y="4"/>
                    <a:pt x="10" y="4"/>
                  </a:cubicBezTo>
                  <a:cubicBezTo>
                    <a:pt x="7" y="4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58" name="Freeform 149">
              <a:extLst>
                <a:ext uri="{FF2B5EF4-FFF2-40B4-BE49-F238E27FC236}">
                  <a16:creationId xmlns:a16="http://schemas.microsoft.com/office/drawing/2014/main" id="{45BEEB1B-4B87-4389-8C16-7ACBF7E9A6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4198" y="4787667"/>
              <a:ext cx="92156" cy="164671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5 h 109"/>
                <a:gd name="T12" fmla="*/ 61 w 61"/>
                <a:gd name="T13" fmla="*/ 95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5 h 109"/>
                <a:gd name="T20" fmla="*/ 28 w 61"/>
                <a:gd name="T21" fmla="*/ 95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5"/>
                  </a:lnTo>
                  <a:lnTo>
                    <a:pt x="61" y="95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5"/>
                  </a:lnTo>
                  <a:lnTo>
                    <a:pt x="28" y="95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59" name="Freeform 150">
              <a:extLst>
                <a:ext uri="{FF2B5EF4-FFF2-40B4-BE49-F238E27FC236}">
                  <a16:creationId xmlns:a16="http://schemas.microsoft.com/office/drawing/2014/main" id="{6CEF58DA-562A-416B-BECE-586F762B9E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99092" y="5070175"/>
              <a:ext cx="114816" cy="170714"/>
            </a:xfrm>
            <a:custGeom>
              <a:avLst/>
              <a:gdLst>
                <a:gd name="T0" fmla="*/ 32 w 32"/>
                <a:gd name="T1" fmla="*/ 24 h 48"/>
                <a:gd name="T2" fmla="*/ 16 w 32"/>
                <a:gd name="T3" fmla="*/ 48 h 48"/>
                <a:gd name="T4" fmla="*/ 0 w 32"/>
                <a:gd name="T5" fmla="*/ 24 h 48"/>
                <a:gd name="T6" fmla="*/ 16 w 32"/>
                <a:gd name="T7" fmla="*/ 0 h 48"/>
                <a:gd name="T8" fmla="*/ 32 w 32"/>
                <a:gd name="T9" fmla="*/ 24 h 48"/>
                <a:gd name="T10" fmla="*/ 8 w 32"/>
                <a:gd name="T11" fmla="*/ 24 h 48"/>
                <a:gd name="T12" fmla="*/ 16 w 32"/>
                <a:gd name="T13" fmla="*/ 41 h 48"/>
                <a:gd name="T14" fmla="*/ 24 w 32"/>
                <a:gd name="T15" fmla="*/ 24 h 48"/>
                <a:gd name="T16" fmla="*/ 16 w 32"/>
                <a:gd name="T17" fmla="*/ 7 h 48"/>
                <a:gd name="T18" fmla="*/ 8 w 32"/>
                <a:gd name="T19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8">
                  <a:moveTo>
                    <a:pt x="32" y="24"/>
                  </a:moveTo>
                  <a:cubicBezTo>
                    <a:pt x="32" y="40"/>
                    <a:pt x="27" y="48"/>
                    <a:pt x="16" y="48"/>
                  </a:cubicBezTo>
                  <a:cubicBezTo>
                    <a:pt x="5" y="48"/>
                    <a:pt x="0" y="40"/>
                    <a:pt x="0" y="24"/>
                  </a:cubicBezTo>
                  <a:cubicBezTo>
                    <a:pt x="0" y="8"/>
                    <a:pt x="5" y="0"/>
                    <a:pt x="16" y="0"/>
                  </a:cubicBezTo>
                  <a:cubicBezTo>
                    <a:pt x="27" y="0"/>
                    <a:pt x="32" y="8"/>
                    <a:pt x="32" y="24"/>
                  </a:cubicBezTo>
                  <a:close/>
                  <a:moveTo>
                    <a:pt x="8" y="24"/>
                  </a:moveTo>
                  <a:cubicBezTo>
                    <a:pt x="8" y="36"/>
                    <a:pt x="11" y="41"/>
                    <a:pt x="16" y="41"/>
                  </a:cubicBezTo>
                  <a:cubicBezTo>
                    <a:pt x="22" y="41"/>
                    <a:pt x="24" y="36"/>
                    <a:pt x="24" y="24"/>
                  </a:cubicBezTo>
                  <a:cubicBezTo>
                    <a:pt x="24" y="12"/>
                    <a:pt x="22" y="7"/>
                    <a:pt x="16" y="7"/>
                  </a:cubicBezTo>
                  <a:cubicBezTo>
                    <a:pt x="11" y="7"/>
                    <a:pt x="8" y="12"/>
                    <a:pt x="8" y="24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60" name="Freeform 151">
              <a:extLst>
                <a:ext uri="{FF2B5EF4-FFF2-40B4-BE49-F238E27FC236}">
                  <a16:creationId xmlns:a16="http://schemas.microsoft.com/office/drawing/2014/main" id="{CA45694F-4F02-47BE-A59C-65C810689C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4198" y="5358727"/>
              <a:ext cx="92156" cy="164671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5 h 109"/>
                <a:gd name="T12" fmla="*/ 61 w 61"/>
                <a:gd name="T13" fmla="*/ 95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5 h 109"/>
                <a:gd name="T20" fmla="*/ 28 w 61"/>
                <a:gd name="T21" fmla="*/ 95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5"/>
                  </a:lnTo>
                  <a:lnTo>
                    <a:pt x="61" y="95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5"/>
                  </a:lnTo>
                  <a:lnTo>
                    <a:pt x="28" y="95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61" name="Freeform 152">
              <a:extLst>
                <a:ext uri="{FF2B5EF4-FFF2-40B4-BE49-F238E27FC236}">
                  <a16:creationId xmlns:a16="http://schemas.microsoft.com/office/drawing/2014/main" id="{337EBD41-06D7-48D8-8BC4-085DB42B5D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99092" y="5641236"/>
              <a:ext cx="114816" cy="170714"/>
            </a:xfrm>
            <a:custGeom>
              <a:avLst/>
              <a:gdLst>
                <a:gd name="T0" fmla="*/ 32 w 32"/>
                <a:gd name="T1" fmla="*/ 24 h 48"/>
                <a:gd name="T2" fmla="*/ 16 w 32"/>
                <a:gd name="T3" fmla="*/ 48 h 48"/>
                <a:gd name="T4" fmla="*/ 0 w 32"/>
                <a:gd name="T5" fmla="*/ 24 h 48"/>
                <a:gd name="T6" fmla="*/ 16 w 32"/>
                <a:gd name="T7" fmla="*/ 0 h 48"/>
                <a:gd name="T8" fmla="*/ 32 w 32"/>
                <a:gd name="T9" fmla="*/ 24 h 48"/>
                <a:gd name="T10" fmla="*/ 8 w 32"/>
                <a:gd name="T11" fmla="*/ 24 h 48"/>
                <a:gd name="T12" fmla="*/ 16 w 32"/>
                <a:gd name="T13" fmla="*/ 41 h 48"/>
                <a:gd name="T14" fmla="*/ 24 w 32"/>
                <a:gd name="T15" fmla="*/ 24 h 48"/>
                <a:gd name="T16" fmla="*/ 16 w 32"/>
                <a:gd name="T17" fmla="*/ 7 h 48"/>
                <a:gd name="T18" fmla="*/ 8 w 32"/>
                <a:gd name="T19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8">
                  <a:moveTo>
                    <a:pt x="32" y="24"/>
                  </a:moveTo>
                  <a:cubicBezTo>
                    <a:pt x="32" y="40"/>
                    <a:pt x="27" y="48"/>
                    <a:pt x="16" y="48"/>
                  </a:cubicBezTo>
                  <a:cubicBezTo>
                    <a:pt x="5" y="48"/>
                    <a:pt x="0" y="40"/>
                    <a:pt x="0" y="24"/>
                  </a:cubicBezTo>
                  <a:cubicBezTo>
                    <a:pt x="0" y="8"/>
                    <a:pt x="5" y="0"/>
                    <a:pt x="16" y="0"/>
                  </a:cubicBezTo>
                  <a:cubicBezTo>
                    <a:pt x="27" y="0"/>
                    <a:pt x="32" y="8"/>
                    <a:pt x="32" y="24"/>
                  </a:cubicBezTo>
                  <a:close/>
                  <a:moveTo>
                    <a:pt x="8" y="24"/>
                  </a:moveTo>
                  <a:cubicBezTo>
                    <a:pt x="8" y="36"/>
                    <a:pt x="11" y="41"/>
                    <a:pt x="16" y="41"/>
                  </a:cubicBezTo>
                  <a:cubicBezTo>
                    <a:pt x="22" y="41"/>
                    <a:pt x="24" y="36"/>
                    <a:pt x="24" y="24"/>
                  </a:cubicBezTo>
                  <a:cubicBezTo>
                    <a:pt x="24" y="12"/>
                    <a:pt x="22" y="7"/>
                    <a:pt x="16" y="7"/>
                  </a:cubicBezTo>
                  <a:cubicBezTo>
                    <a:pt x="11" y="7"/>
                    <a:pt x="8" y="12"/>
                    <a:pt x="8" y="24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62" name="Freeform 153">
              <a:extLst>
                <a:ext uri="{FF2B5EF4-FFF2-40B4-BE49-F238E27FC236}">
                  <a16:creationId xmlns:a16="http://schemas.microsoft.com/office/drawing/2014/main" id="{F11C6282-5872-475B-87F4-69A85EAD533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4198" y="5929788"/>
              <a:ext cx="92156" cy="164671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4 h 109"/>
                <a:gd name="T12" fmla="*/ 61 w 61"/>
                <a:gd name="T13" fmla="*/ 94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4 h 109"/>
                <a:gd name="T20" fmla="*/ 28 w 61"/>
                <a:gd name="T21" fmla="*/ 94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4"/>
                  </a:lnTo>
                  <a:lnTo>
                    <a:pt x="61" y="94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4"/>
                  </a:lnTo>
                  <a:lnTo>
                    <a:pt x="28" y="94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63" name="Freeform 154">
              <a:extLst>
                <a:ext uri="{FF2B5EF4-FFF2-40B4-BE49-F238E27FC236}">
                  <a16:creationId xmlns:a16="http://schemas.microsoft.com/office/drawing/2014/main" id="{8F04B5FC-DD25-4943-897A-EF3491924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4198" y="6215318"/>
              <a:ext cx="92156" cy="164671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4 h 109"/>
                <a:gd name="T12" fmla="*/ 61 w 61"/>
                <a:gd name="T13" fmla="*/ 94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4 h 109"/>
                <a:gd name="T20" fmla="*/ 28 w 61"/>
                <a:gd name="T21" fmla="*/ 94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4"/>
                  </a:lnTo>
                  <a:lnTo>
                    <a:pt x="61" y="94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4"/>
                  </a:lnTo>
                  <a:lnTo>
                    <a:pt x="28" y="94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64" name="Freeform 155">
              <a:extLst>
                <a:ext uri="{FF2B5EF4-FFF2-40B4-BE49-F238E27FC236}">
                  <a16:creationId xmlns:a16="http://schemas.microsoft.com/office/drawing/2014/main" id="{F8D6D3D0-A24F-4F1D-8007-94527E9502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4198" y="6500848"/>
              <a:ext cx="92156" cy="164671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4 h 109"/>
                <a:gd name="T12" fmla="*/ 61 w 61"/>
                <a:gd name="T13" fmla="*/ 97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7 h 109"/>
                <a:gd name="T20" fmla="*/ 28 w 61"/>
                <a:gd name="T21" fmla="*/ 94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4"/>
                  </a:lnTo>
                  <a:lnTo>
                    <a:pt x="61" y="97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7"/>
                  </a:lnTo>
                  <a:lnTo>
                    <a:pt x="28" y="94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65" name="Freeform 156">
              <a:extLst>
                <a:ext uri="{FF2B5EF4-FFF2-40B4-BE49-F238E27FC236}">
                  <a16:creationId xmlns:a16="http://schemas.microsoft.com/office/drawing/2014/main" id="{0378EA92-3F49-4FD0-A377-C4A6DFF6224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4198" y="6786378"/>
              <a:ext cx="92156" cy="164671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5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4 h 109"/>
                <a:gd name="T12" fmla="*/ 61 w 61"/>
                <a:gd name="T13" fmla="*/ 97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7 h 109"/>
                <a:gd name="T20" fmla="*/ 28 w 61"/>
                <a:gd name="T21" fmla="*/ 94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5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4"/>
                  </a:lnTo>
                  <a:lnTo>
                    <a:pt x="61" y="97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7"/>
                  </a:lnTo>
                  <a:lnTo>
                    <a:pt x="28" y="94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66" name="Line 8">
              <a:extLst>
                <a:ext uri="{FF2B5EF4-FFF2-40B4-BE49-F238E27FC236}">
                  <a16:creationId xmlns:a16="http://schemas.microsoft.com/office/drawing/2014/main" id="{CAC08552-5D81-46E5-BDBD-703AE39310A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49918" y="3678777"/>
              <a:ext cx="0" cy="0"/>
            </a:xfrm>
            <a:prstGeom prst="lin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67" name="Line 9">
              <a:extLst>
                <a:ext uri="{FF2B5EF4-FFF2-40B4-BE49-F238E27FC236}">
                  <a16:creationId xmlns:a16="http://schemas.microsoft.com/office/drawing/2014/main" id="{3273D864-4A97-4525-A7A9-5753D89277D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49918" y="3678777"/>
              <a:ext cx="0" cy="0"/>
            </a:xfrm>
            <a:prstGeom prst="lin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68" name="Freeform 10">
              <a:extLst>
                <a:ext uri="{FF2B5EF4-FFF2-40B4-BE49-F238E27FC236}">
                  <a16:creationId xmlns:a16="http://schemas.microsoft.com/office/drawing/2014/main" id="{5F4D24D4-33E4-463F-8869-C8E6DA81DB32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3099" y="4749893"/>
              <a:ext cx="99709" cy="157117"/>
            </a:xfrm>
            <a:custGeom>
              <a:avLst/>
              <a:gdLst>
                <a:gd name="T0" fmla="*/ 30 w 66"/>
                <a:gd name="T1" fmla="*/ 24 h 104"/>
                <a:gd name="T2" fmla="*/ 9 w 66"/>
                <a:gd name="T3" fmla="*/ 38 h 104"/>
                <a:gd name="T4" fmla="*/ 0 w 66"/>
                <a:gd name="T5" fmla="*/ 19 h 104"/>
                <a:gd name="T6" fmla="*/ 33 w 66"/>
                <a:gd name="T7" fmla="*/ 0 h 104"/>
                <a:gd name="T8" fmla="*/ 52 w 66"/>
                <a:gd name="T9" fmla="*/ 0 h 104"/>
                <a:gd name="T10" fmla="*/ 52 w 66"/>
                <a:gd name="T11" fmla="*/ 87 h 104"/>
                <a:gd name="T12" fmla="*/ 66 w 66"/>
                <a:gd name="T13" fmla="*/ 87 h 104"/>
                <a:gd name="T14" fmla="*/ 66 w 66"/>
                <a:gd name="T15" fmla="*/ 104 h 104"/>
                <a:gd name="T16" fmla="*/ 16 w 66"/>
                <a:gd name="T17" fmla="*/ 104 h 104"/>
                <a:gd name="T18" fmla="*/ 16 w 66"/>
                <a:gd name="T19" fmla="*/ 87 h 104"/>
                <a:gd name="T20" fmla="*/ 30 w 66"/>
                <a:gd name="T21" fmla="*/ 87 h 104"/>
                <a:gd name="T22" fmla="*/ 30 w 66"/>
                <a:gd name="T23" fmla="*/ 2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6" h="104">
                  <a:moveTo>
                    <a:pt x="30" y="24"/>
                  </a:moveTo>
                  <a:lnTo>
                    <a:pt x="9" y="38"/>
                  </a:lnTo>
                  <a:lnTo>
                    <a:pt x="0" y="19"/>
                  </a:lnTo>
                  <a:lnTo>
                    <a:pt x="33" y="0"/>
                  </a:lnTo>
                  <a:lnTo>
                    <a:pt x="52" y="0"/>
                  </a:lnTo>
                  <a:lnTo>
                    <a:pt x="52" y="87"/>
                  </a:lnTo>
                  <a:lnTo>
                    <a:pt x="66" y="87"/>
                  </a:lnTo>
                  <a:lnTo>
                    <a:pt x="66" y="104"/>
                  </a:lnTo>
                  <a:lnTo>
                    <a:pt x="16" y="104"/>
                  </a:lnTo>
                  <a:lnTo>
                    <a:pt x="16" y="87"/>
                  </a:lnTo>
                  <a:lnTo>
                    <a:pt x="30" y="87"/>
                  </a:lnTo>
                  <a:lnTo>
                    <a:pt x="30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69" name="Freeform 11">
              <a:extLst>
                <a:ext uri="{FF2B5EF4-FFF2-40B4-BE49-F238E27FC236}">
                  <a16:creationId xmlns:a16="http://schemas.microsoft.com/office/drawing/2014/main" id="{60F58849-42AE-4530-9853-D6D2D8B3BC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5545" y="5017295"/>
              <a:ext cx="120859" cy="164671"/>
            </a:xfrm>
            <a:custGeom>
              <a:avLst/>
              <a:gdLst>
                <a:gd name="T0" fmla="*/ 32 w 34"/>
                <a:gd name="T1" fmla="*/ 8 h 46"/>
                <a:gd name="T2" fmla="*/ 34 w 34"/>
                <a:gd name="T3" fmla="*/ 23 h 46"/>
                <a:gd name="T4" fmla="*/ 31 w 34"/>
                <a:gd name="T5" fmla="*/ 39 h 46"/>
                <a:gd name="T6" fmla="*/ 17 w 34"/>
                <a:gd name="T7" fmla="*/ 46 h 46"/>
                <a:gd name="T8" fmla="*/ 3 w 34"/>
                <a:gd name="T9" fmla="*/ 37 h 46"/>
                <a:gd name="T10" fmla="*/ 0 w 34"/>
                <a:gd name="T11" fmla="*/ 23 h 46"/>
                <a:gd name="T12" fmla="*/ 17 w 34"/>
                <a:gd name="T13" fmla="*/ 0 h 46"/>
                <a:gd name="T14" fmla="*/ 32 w 34"/>
                <a:gd name="T15" fmla="*/ 8 h 46"/>
                <a:gd name="T16" fmla="*/ 10 w 34"/>
                <a:gd name="T17" fmla="*/ 23 h 46"/>
                <a:gd name="T18" fmla="*/ 17 w 34"/>
                <a:gd name="T19" fmla="*/ 38 h 46"/>
                <a:gd name="T20" fmla="*/ 25 w 34"/>
                <a:gd name="T21" fmla="*/ 23 h 46"/>
                <a:gd name="T22" fmla="*/ 17 w 34"/>
                <a:gd name="T23" fmla="*/ 8 h 46"/>
                <a:gd name="T24" fmla="*/ 10 w 34"/>
                <a:gd name="T25" fmla="*/ 2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" h="46">
                  <a:moveTo>
                    <a:pt x="32" y="8"/>
                  </a:moveTo>
                  <a:cubicBezTo>
                    <a:pt x="34" y="12"/>
                    <a:pt x="34" y="16"/>
                    <a:pt x="34" y="23"/>
                  </a:cubicBezTo>
                  <a:cubicBezTo>
                    <a:pt x="34" y="31"/>
                    <a:pt x="33" y="36"/>
                    <a:pt x="31" y="39"/>
                  </a:cubicBezTo>
                  <a:cubicBezTo>
                    <a:pt x="28" y="43"/>
                    <a:pt x="23" y="46"/>
                    <a:pt x="17" y="46"/>
                  </a:cubicBezTo>
                  <a:cubicBezTo>
                    <a:pt x="11" y="46"/>
                    <a:pt x="6" y="43"/>
                    <a:pt x="3" y="37"/>
                  </a:cubicBezTo>
                  <a:cubicBezTo>
                    <a:pt x="1" y="34"/>
                    <a:pt x="0" y="29"/>
                    <a:pt x="0" y="23"/>
                  </a:cubicBezTo>
                  <a:cubicBezTo>
                    <a:pt x="0" y="8"/>
                    <a:pt x="6" y="0"/>
                    <a:pt x="17" y="0"/>
                  </a:cubicBezTo>
                  <a:cubicBezTo>
                    <a:pt x="24" y="0"/>
                    <a:pt x="29" y="3"/>
                    <a:pt x="32" y="8"/>
                  </a:cubicBezTo>
                  <a:close/>
                  <a:moveTo>
                    <a:pt x="10" y="23"/>
                  </a:moveTo>
                  <a:cubicBezTo>
                    <a:pt x="10" y="33"/>
                    <a:pt x="12" y="38"/>
                    <a:pt x="17" y="38"/>
                  </a:cubicBezTo>
                  <a:cubicBezTo>
                    <a:pt x="22" y="38"/>
                    <a:pt x="25" y="33"/>
                    <a:pt x="25" y="23"/>
                  </a:cubicBezTo>
                  <a:cubicBezTo>
                    <a:pt x="25" y="13"/>
                    <a:pt x="22" y="8"/>
                    <a:pt x="17" y="8"/>
                  </a:cubicBezTo>
                  <a:cubicBezTo>
                    <a:pt x="12" y="8"/>
                    <a:pt x="10" y="13"/>
                    <a:pt x="10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70" name="Freeform 12">
              <a:extLst>
                <a:ext uri="{FF2B5EF4-FFF2-40B4-BE49-F238E27FC236}">
                  <a16:creationId xmlns:a16="http://schemas.microsoft.com/office/drawing/2014/main" id="{32483588-AE1B-43AD-A528-0E4BAA02B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3099" y="5292250"/>
              <a:ext cx="99709" cy="157117"/>
            </a:xfrm>
            <a:custGeom>
              <a:avLst/>
              <a:gdLst>
                <a:gd name="T0" fmla="*/ 30 w 66"/>
                <a:gd name="T1" fmla="*/ 24 h 104"/>
                <a:gd name="T2" fmla="*/ 9 w 66"/>
                <a:gd name="T3" fmla="*/ 36 h 104"/>
                <a:gd name="T4" fmla="*/ 0 w 66"/>
                <a:gd name="T5" fmla="*/ 19 h 104"/>
                <a:gd name="T6" fmla="*/ 33 w 66"/>
                <a:gd name="T7" fmla="*/ 0 h 104"/>
                <a:gd name="T8" fmla="*/ 52 w 66"/>
                <a:gd name="T9" fmla="*/ 0 h 104"/>
                <a:gd name="T10" fmla="*/ 52 w 66"/>
                <a:gd name="T11" fmla="*/ 87 h 104"/>
                <a:gd name="T12" fmla="*/ 66 w 66"/>
                <a:gd name="T13" fmla="*/ 87 h 104"/>
                <a:gd name="T14" fmla="*/ 66 w 66"/>
                <a:gd name="T15" fmla="*/ 104 h 104"/>
                <a:gd name="T16" fmla="*/ 16 w 66"/>
                <a:gd name="T17" fmla="*/ 104 h 104"/>
                <a:gd name="T18" fmla="*/ 16 w 66"/>
                <a:gd name="T19" fmla="*/ 87 h 104"/>
                <a:gd name="T20" fmla="*/ 30 w 66"/>
                <a:gd name="T21" fmla="*/ 87 h 104"/>
                <a:gd name="T22" fmla="*/ 30 w 66"/>
                <a:gd name="T23" fmla="*/ 2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6" h="104">
                  <a:moveTo>
                    <a:pt x="30" y="24"/>
                  </a:moveTo>
                  <a:lnTo>
                    <a:pt x="9" y="36"/>
                  </a:lnTo>
                  <a:lnTo>
                    <a:pt x="0" y="19"/>
                  </a:lnTo>
                  <a:lnTo>
                    <a:pt x="33" y="0"/>
                  </a:lnTo>
                  <a:lnTo>
                    <a:pt x="52" y="0"/>
                  </a:lnTo>
                  <a:lnTo>
                    <a:pt x="52" y="87"/>
                  </a:lnTo>
                  <a:lnTo>
                    <a:pt x="66" y="87"/>
                  </a:lnTo>
                  <a:lnTo>
                    <a:pt x="66" y="104"/>
                  </a:lnTo>
                  <a:lnTo>
                    <a:pt x="16" y="104"/>
                  </a:lnTo>
                  <a:lnTo>
                    <a:pt x="16" y="87"/>
                  </a:lnTo>
                  <a:lnTo>
                    <a:pt x="30" y="87"/>
                  </a:lnTo>
                  <a:lnTo>
                    <a:pt x="30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71" name="Freeform 13">
              <a:extLst>
                <a:ext uri="{FF2B5EF4-FFF2-40B4-BE49-F238E27FC236}">
                  <a16:creationId xmlns:a16="http://schemas.microsoft.com/office/drawing/2014/main" id="{915818F0-C726-4135-82DD-46CD45E3D6E2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3099" y="5564184"/>
              <a:ext cx="99709" cy="157117"/>
            </a:xfrm>
            <a:custGeom>
              <a:avLst/>
              <a:gdLst>
                <a:gd name="T0" fmla="*/ 30 w 66"/>
                <a:gd name="T1" fmla="*/ 23 h 104"/>
                <a:gd name="T2" fmla="*/ 9 w 66"/>
                <a:gd name="T3" fmla="*/ 35 h 104"/>
                <a:gd name="T4" fmla="*/ 0 w 66"/>
                <a:gd name="T5" fmla="*/ 19 h 104"/>
                <a:gd name="T6" fmla="*/ 33 w 66"/>
                <a:gd name="T7" fmla="*/ 0 h 104"/>
                <a:gd name="T8" fmla="*/ 52 w 66"/>
                <a:gd name="T9" fmla="*/ 0 h 104"/>
                <a:gd name="T10" fmla="*/ 52 w 66"/>
                <a:gd name="T11" fmla="*/ 85 h 104"/>
                <a:gd name="T12" fmla="*/ 66 w 66"/>
                <a:gd name="T13" fmla="*/ 87 h 104"/>
                <a:gd name="T14" fmla="*/ 66 w 66"/>
                <a:gd name="T15" fmla="*/ 104 h 104"/>
                <a:gd name="T16" fmla="*/ 16 w 66"/>
                <a:gd name="T17" fmla="*/ 104 h 104"/>
                <a:gd name="T18" fmla="*/ 16 w 66"/>
                <a:gd name="T19" fmla="*/ 87 h 104"/>
                <a:gd name="T20" fmla="*/ 30 w 66"/>
                <a:gd name="T21" fmla="*/ 85 h 104"/>
                <a:gd name="T22" fmla="*/ 30 w 66"/>
                <a:gd name="T23" fmla="*/ 23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6" h="104">
                  <a:moveTo>
                    <a:pt x="30" y="23"/>
                  </a:moveTo>
                  <a:lnTo>
                    <a:pt x="9" y="35"/>
                  </a:lnTo>
                  <a:lnTo>
                    <a:pt x="0" y="19"/>
                  </a:lnTo>
                  <a:lnTo>
                    <a:pt x="33" y="0"/>
                  </a:lnTo>
                  <a:lnTo>
                    <a:pt x="52" y="0"/>
                  </a:lnTo>
                  <a:lnTo>
                    <a:pt x="52" y="85"/>
                  </a:lnTo>
                  <a:lnTo>
                    <a:pt x="66" y="87"/>
                  </a:lnTo>
                  <a:lnTo>
                    <a:pt x="66" y="104"/>
                  </a:lnTo>
                  <a:lnTo>
                    <a:pt x="16" y="104"/>
                  </a:lnTo>
                  <a:lnTo>
                    <a:pt x="16" y="87"/>
                  </a:lnTo>
                  <a:lnTo>
                    <a:pt x="30" y="85"/>
                  </a:lnTo>
                  <a:lnTo>
                    <a:pt x="30" y="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72" name="Freeform 14">
              <a:extLst>
                <a:ext uri="{FF2B5EF4-FFF2-40B4-BE49-F238E27FC236}">
                  <a16:creationId xmlns:a16="http://schemas.microsoft.com/office/drawing/2014/main" id="{DFE4789A-58D1-4938-8421-04606809E8E6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3099" y="5834606"/>
              <a:ext cx="99709" cy="157117"/>
            </a:xfrm>
            <a:custGeom>
              <a:avLst/>
              <a:gdLst>
                <a:gd name="T0" fmla="*/ 30 w 66"/>
                <a:gd name="T1" fmla="*/ 24 h 104"/>
                <a:gd name="T2" fmla="*/ 9 w 66"/>
                <a:gd name="T3" fmla="*/ 36 h 104"/>
                <a:gd name="T4" fmla="*/ 0 w 66"/>
                <a:gd name="T5" fmla="*/ 19 h 104"/>
                <a:gd name="T6" fmla="*/ 33 w 66"/>
                <a:gd name="T7" fmla="*/ 0 h 104"/>
                <a:gd name="T8" fmla="*/ 52 w 66"/>
                <a:gd name="T9" fmla="*/ 0 h 104"/>
                <a:gd name="T10" fmla="*/ 52 w 66"/>
                <a:gd name="T11" fmla="*/ 85 h 104"/>
                <a:gd name="T12" fmla="*/ 66 w 66"/>
                <a:gd name="T13" fmla="*/ 88 h 104"/>
                <a:gd name="T14" fmla="*/ 66 w 66"/>
                <a:gd name="T15" fmla="*/ 104 h 104"/>
                <a:gd name="T16" fmla="*/ 16 w 66"/>
                <a:gd name="T17" fmla="*/ 104 h 104"/>
                <a:gd name="T18" fmla="*/ 16 w 66"/>
                <a:gd name="T19" fmla="*/ 88 h 104"/>
                <a:gd name="T20" fmla="*/ 30 w 66"/>
                <a:gd name="T21" fmla="*/ 85 h 104"/>
                <a:gd name="T22" fmla="*/ 30 w 66"/>
                <a:gd name="T23" fmla="*/ 2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6" h="104">
                  <a:moveTo>
                    <a:pt x="30" y="24"/>
                  </a:moveTo>
                  <a:lnTo>
                    <a:pt x="9" y="36"/>
                  </a:lnTo>
                  <a:lnTo>
                    <a:pt x="0" y="19"/>
                  </a:lnTo>
                  <a:lnTo>
                    <a:pt x="33" y="0"/>
                  </a:lnTo>
                  <a:lnTo>
                    <a:pt x="52" y="0"/>
                  </a:lnTo>
                  <a:lnTo>
                    <a:pt x="52" y="85"/>
                  </a:lnTo>
                  <a:lnTo>
                    <a:pt x="66" y="88"/>
                  </a:lnTo>
                  <a:lnTo>
                    <a:pt x="66" y="104"/>
                  </a:lnTo>
                  <a:lnTo>
                    <a:pt x="16" y="104"/>
                  </a:lnTo>
                  <a:lnTo>
                    <a:pt x="16" y="88"/>
                  </a:lnTo>
                  <a:lnTo>
                    <a:pt x="30" y="85"/>
                  </a:lnTo>
                  <a:lnTo>
                    <a:pt x="30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73" name="Freeform 15">
              <a:extLst>
                <a:ext uri="{FF2B5EF4-FFF2-40B4-BE49-F238E27FC236}">
                  <a16:creationId xmlns:a16="http://schemas.microsoft.com/office/drawing/2014/main" id="{CEEB0B71-52D6-4714-8A20-BFEA02F2AA1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3099" y="6106539"/>
              <a:ext cx="99709" cy="152585"/>
            </a:xfrm>
            <a:custGeom>
              <a:avLst/>
              <a:gdLst>
                <a:gd name="T0" fmla="*/ 30 w 66"/>
                <a:gd name="T1" fmla="*/ 23 h 101"/>
                <a:gd name="T2" fmla="*/ 9 w 66"/>
                <a:gd name="T3" fmla="*/ 35 h 101"/>
                <a:gd name="T4" fmla="*/ 0 w 66"/>
                <a:gd name="T5" fmla="*/ 19 h 101"/>
                <a:gd name="T6" fmla="*/ 33 w 66"/>
                <a:gd name="T7" fmla="*/ 0 h 101"/>
                <a:gd name="T8" fmla="*/ 52 w 66"/>
                <a:gd name="T9" fmla="*/ 0 h 101"/>
                <a:gd name="T10" fmla="*/ 52 w 66"/>
                <a:gd name="T11" fmla="*/ 85 h 101"/>
                <a:gd name="T12" fmla="*/ 66 w 66"/>
                <a:gd name="T13" fmla="*/ 85 h 101"/>
                <a:gd name="T14" fmla="*/ 66 w 66"/>
                <a:gd name="T15" fmla="*/ 101 h 101"/>
                <a:gd name="T16" fmla="*/ 16 w 66"/>
                <a:gd name="T17" fmla="*/ 101 h 101"/>
                <a:gd name="T18" fmla="*/ 16 w 66"/>
                <a:gd name="T19" fmla="*/ 85 h 101"/>
                <a:gd name="T20" fmla="*/ 30 w 66"/>
                <a:gd name="T21" fmla="*/ 85 h 101"/>
                <a:gd name="T22" fmla="*/ 30 w 66"/>
                <a:gd name="T23" fmla="*/ 23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6" h="101">
                  <a:moveTo>
                    <a:pt x="30" y="23"/>
                  </a:moveTo>
                  <a:lnTo>
                    <a:pt x="9" y="35"/>
                  </a:lnTo>
                  <a:lnTo>
                    <a:pt x="0" y="19"/>
                  </a:lnTo>
                  <a:lnTo>
                    <a:pt x="33" y="0"/>
                  </a:lnTo>
                  <a:lnTo>
                    <a:pt x="52" y="0"/>
                  </a:lnTo>
                  <a:lnTo>
                    <a:pt x="52" y="85"/>
                  </a:lnTo>
                  <a:lnTo>
                    <a:pt x="66" y="85"/>
                  </a:lnTo>
                  <a:lnTo>
                    <a:pt x="66" y="101"/>
                  </a:lnTo>
                  <a:lnTo>
                    <a:pt x="16" y="101"/>
                  </a:lnTo>
                  <a:lnTo>
                    <a:pt x="16" y="85"/>
                  </a:lnTo>
                  <a:lnTo>
                    <a:pt x="30" y="85"/>
                  </a:lnTo>
                  <a:lnTo>
                    <a:pt x="30" y="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74" name="Freeform 16">
              <a:extLst>
                <a:ext uri="{FF2B5EF4-FFF2-40B4-BE49-F238E27FC236}">
                  <a16:creationId xmlns:a16="http://schemas.microsoft.com/office/drawing/2014/main" id="{0463A1FF-7BE4-4595-851C-009909C92F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5545" y="6644364"/>
              <a:ext cx="120859" cy="161650"/>
            </a:xfrm>
            <a:custGeom>
              <a:avLst/>
              <a:gdLst>
                <a:gd name="T0" fmla="*/ 32 w 34"/>
                <a:gd name="T1" fmla="*/ 8 h 45"/>
                <a:gd name="T2" fmla="*/ 34 w 34"/>
                <a:gd name="T3" fmla="*/ 22 h 45"/>
                <a:gd name="T4" fmla="*/ 31 w 34"/>
                <a:gd name="T5" fmla="*/ 39 h 45"/>
                <a:gd name="T6" fmla="*/ 17 w 34"/>
                <a:gd name="T7" fmla="*/ 45 h 45"/>
                <a:gd name="T8" fmla="*/ 3 w 34"/>
                <a:gd name="T9" fmla="*/ 37 h 45"/>
                <a:gd name="T10" fmla="*/ 0 w 34"/>
                <a:gd name="T11" fmla="*/ 22 h 45"/>
                <a:gd name="T12" fmla="*/ 17 w 34"/>
                <a:gd name="T13" fmla="*/ 0 h 45"/>
                <a:gd name="T14" fmla="*/ 32 w 34"/>
                <a:gd name="T15" fmla="*/ 8 h 45"/>
                <a:gd name="T16" fmla="*/ 10 w 34"/>
                <a:gd name="T17" fmla="*/ 22 h 45"/>
                <a:gd name="T18" fmla="*/ 17 w 34"/>
                <a:gd name="T19" fmla="*/ 37 h 45"/>
                <a:gd name="T20" fmla="*/ 25 w 34"/>
                <a:gd name="T21" fmla="*/ 22 h 45"/>
                <a:gd name="T22" fmla="*/ 17 w 34"/>
                <a:gd name="T23" fmla="*/ 7 h 45"/>
                <a:gd name="T24" fmla="*/ 10 w 34"/>
                <a:gd name="T25" fmla="*/ 2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" h="45">
                  <a:moveTo>
                    <a:pt x="32" y="8"/>
                  </a:moveTo>
                  <a:cubicBezTo>
                    <a:pt x="34" y="11"/>
                    <a:pt x="34" y="16"/>
                    <a:pt x="34" y="22"/>
                  </a:cubicBezTo>
                  <a:cubicBezTo>
                    <a:pt x="34" y="30"/>
                    <a:pt x="33" y="35"/>
                    <a:pt x="31" y="39"/>
                  </a:cubicBezTo>
                  <a:cubicBezTo>
                    <a:pt x="28" y="43"/>
                    <a:pt x="23" y="45"/>
                    <a:pt x="17" y="45"/>
                  </a:cubicBezTo>
                  <a:cubicBezTo>
                    <a:pt x="11" y="45"/>
                    <a:pt x="6" y="42"/>
                    <a:pt x="3" y="37"/>
                  </a:cubicBezTo>
                  <a:cubicBezTo>
                    <a:pt x="1" y="33"/>
                    <a:pt x="0" y="29"/>
                    <a:pt x="0" y="22"/>
                  </a:cubicBezTo>
                  <a:cubicBezTo>
                    <a:pt x="0" y="7"/>
                    <a:pt x="6" y="0"/>
                    <a:pt x="17" y="0"/>
                  </a:cubicBezTo>
                  <a:cubicBezTo>
                    <a:pt x="24" y="0"/>
                    <a:pt x="29" y="2"/>
                    <a:pt x="32" y="8"/>
                  </a:cubicBezTo>
                  <a:close/>
                  <a:moveTo>
                    <a:pt x="10" y="22"/>
                  </a:moveTo>
                  <a:cubicBezTo>
                    <a:pt x="10" y="33"/>
                    <a:pt x="12" y="37"/>
                    <a:pt x="17" y="37"/>
                  </a:cubicBezTo>
                  <a:cubicBezTo>
                    <a:pt x="22" y="37"/>
                    <a:pt x="25" y="33"/>
                    <a:pt x="25" y="22"/>
                  </a:cubicBezTo>
                  <a:cubicBezTo>
                    <a:pt x="25" y="12"/>
                    <a:pt x="22" y="7"/>
                    <a:pt x="17" y="7"/>
                  </a:cubicBezTo>
                  <a:cubicBezTo>
                    <a:pt x="12" y="7"/>
                    <a:pt x="10" y="12"/>
                    <a:pt x="10" y="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75" name="Freeform 17">
              <a:extLst>
                <a:ext uri="{FF2B5EF4-FFF2-40B4-BE49-F238E27FC236}">
                  <a16:creationId xmlns:a16="http://schemas.microsoft.com/office/drawing/2014/main" id="{A3887D7C-DF6C-48F3-BD2A-144378D6B3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5545" y="6916297"/>
              <a:ext cx="120859" cy="160139"/>
            </a:xfrm>
            <a:custGeom>
              <a:avLst/>
              <a:gdLst>
                <a:gd name="T0" fmla="*/ 32 w 34"/>
                <a:gd name="T1" fmla="*/ 8 h 45"/>
                <a:gd name="T2" fmla="*/ 34 w 34"/>
                <a:gd name="T3" fmla="*/ 22 h 45"/>
                <a:gd name="T4" fmla="*/ 31 w 34"/>
                <a:gd name="T5" fmla="*/ 39 h 45"/>
                <a:gd name="T6" fmla="*/ 17 w 34"/>
                <a:gd name="T7" fmla="*/ 45 h 45"/>
                <a:gd name="T8" fmla="*/ 3 w 34"/>
                <a:gd name="T9" fmla="*/ 37 h 45"/>
                <a:gd name="T10" fmla="*/ 0 w 34"/>
                <a:gd name="T11" fmla="*/ 22 h 45"/>
                <a:gd name="T12" fmla="*/ 17 w 34"/>
                <a:gd name="T13" fmla="*/ 0 h 45"/>
                <a:gd name="T14" fmla="*/ 32 w 34"/>
                <a:gd name="T15" fmla="*/ 8 h 45"/>
                <a:gd name="T16" fmla="*/ 10 w 34"/>
                <a:gd name="T17" fmla="*/ 22 h 45"/>
                <a:gd name="T18" fmla="*/ 17 w 34"/>
                <a:gd name="T19" fmla="*/ 37 h 45"/>
                <a:gd name="T20" fmla="*/ 25 w 34"/>
                <a:gd name="T21" fmla="*/ 22 h 45"/>
                <a:gd name="T22" fmla="*/ 17 w 34"/>
                <a:gd name="T23" fmla="*/ 7 h 45"/>
                <a:gd name="T24" fmla="*/ 10 w 34"/>
                <a:gd name="T25" fmla="*/ 2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" h="45">
                  <a:moveTo>
                    <a:pt x="32" y="8"/>
                  </a:moveTo>
                  <a:cubicBezTo>
                    <a:pt x="34" y="11"/>
                    <a:pt x="34" y="16"/>
                    <a:pt x="34" y="22"/>
                  </a:cubicBezTo>
                  <a:cubicBezTo>
                    <a:pt x="34" y="30"/>
                    <a:pt x="33" y="35"/>
                    <a:pt x="31" y="39"/>
                  </a:cubicBezTo>
                  <a:cubicBezTo>
                    <a:pt x="28" y="43"/>
                    <a:pt x="23" y="45"/>
                    <a:pt x="17" y="45"/>
                  </a:cubicBezTo>
                  <a:cubicBezTo>
                    <a:pt x="11" y="45"/>
                    <a:pt x="6" y="42"/>
                    <a:pt x="3" y="37"/>
                  </a:cubicBezTo>
                  <a:cubicBezTo>
                    <a:pt x="1" y="33"/>
                    <a:pt x="0" y="29"/>
                    <a:pt x="0" y="22"/>
                  </a:cubicBezTo>
                  <a:cubicBezTo>
                    <a:pt x="0" y="7"/>
                    <a:pt x="6" y="0"/>
                    <a:pt x="17" y="0"/>
                  </a:cubicBezTo>
                  <a:cubicBezTo>
                    <a:pt x="24" y="0"/>
                    <a:pt x="29" y="2"/>
                    <a:pt x="32" y="8"/>
                  </a:cubicBezTo>
                  <a:close/>
                  <a:moveTo>
                    <a:pt x="10" y="22"/>
                  </a:moveTo>
                  <a:cubicBezTo>
                    <a:pt x="10" y="33"/>
                    <a:pt x="12" y="37"/>
                    <a:pt x="17" y="37"/>
                  </a:cubicBezTo>
                  <a:cubicBezTo>
                    <a:pt x="22" y="37"/>
                    <a:pt x="25" y="33"/>
                    <a:pt x="25" y="22"/>
                  </a:cubicBezTo>
                  <a:cubicBezTo>
                    <a:pt x="25" y="12"/>
                    <a:pt x="22" y="7"/>
                    <a:pt x="17" y="7"/>
                  </a:cubicBezTo>
                  <a:cubicBezTo>
                    <a:pt x="12" y="7"/>
                    <a:pt x="10" y="12"/>
                    <a:pt x="10" y="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76" name="Freeform 23">
              <a:extLst>
                <a:ext uri="{FF2B5EF4-FFF2-40B4-BE49-F238E27FC236}">
                  <a16:creationId xmlns:a16="http://schemas.microsoft.com/office/drawing/2014/main" id="{B15AD628-448D-4284-8181-D12EAE87C3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00590" y="4029270"/>
              <a:ext cx="75537" cy="113306"/>
            </a:xfrm>
            <a:custGeom>
              <a:avLst/>
              <a:gdLst>
                <a:gd name="T0" fmla="*/ 21 w 21"/>
                <a:gd name="T1" fmla="*/ 16 h 32"/>
                <a:gd name="T2" fmla="*/ 11 w 21"/>
                <a:gd name="T3" fmla="*/ 32 h 32"/>
                <a:gd name="T4" fmla="*/ 0 w 21"/>
                <a:gd name="T5" fmla="*/ 16 h 32"/>
                <a:gd name="T6" fmla="*/ 11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1 w 21"/>
                <a:gd name="T13" fmla="*/ 28 h 32"/>
                <a:gd name="T14" fmla="*/ 16 w 21"/>
                <a:gd name="T15" fmla="*/ 16 h 32"/>
                <a:gd name="T16" fmla="*/ 11 w 21"/>
                <a:gd name="T17" fmla="*/ 5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7"/>
                    <a:pt x="18" y="32"/>
                    <a:pt x="11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1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8"/>
                    <a:pt x="11" y="28"/>
                  </a:cubicBezTo>
                  <a:cubicBezTo>
                    <a:pt x="14" y="28"/>
                    <a:pt x="16" y="24"/>
                    <a:pt x="16" y="16"/>
                  </a:cubicBezTo>
                  <a:cubicBezTo>
                    <a:pt x="16" y="8"/>
                    <a:pt x="14" y="5"/>
                    <a:pt x="11" y="5"/>
                  </a:cubicBezTo>
                  <a:cubicBezTo>
                    <a:pt x="7" y="5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77" name="Freeform 24">
              <a:extLst>
                <a:ext uri="{FF2B5EF4-FFF2-40B4-BE49-F238E27FC236}">
                  <a16:creationId xmlns:a16="http://schemas.microsoft.com/office/drawing/2014/main" id="{35AB842D-7145-454A-BEFB-A48BB98130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00590" y="4221133"/>
              <a:ext cx="75537" cy="111795"/>
            </a:xfrm>
            <a:custGeom>
              <a:avLst/>
              <a:gdLst>
                <a:gd name="T0" fmla="*/ 21 w 21"/>
                <a:gd name="T1" fmla="*/ 16 h 31"/>
                <a:gd name="T2" fmla="*/ 11 w 21"/>
                <a:gd name="T3" fmla="*/ 31 h 31"/>
                <a:gd name="T4" fmla="*/ 0 w 21"/>
                <a:gd name="T5" fmla="*/ 15 h 31"/>
                <a:gd name="T6" fmla="*/ 11 w 21"/>
                <a:gd name="T7" fmla="*/ 0 h 31"/>
                <a:gd name="T8" fmla="*/ 21 w 21"/>
                <a:gd name="T9" fmla="*/ 16 h 31"/>
                <a:gd name="T10" fmla="*/ 5 w 21"/>
                <a:gd name="T11" fmla="*/ 15 h 31"/>
                <a:gd name="T12" fmla="*/ 11 w 21"/>
                <a:gd name="T13" fmla="*/ 27 h 31"/>
                <a:gd name="T14" fmla="*/ 16 w 21"/>
                <a:gd name="T15" fmla="*/ 16 h 31"/>
                <a:gd name="T16" fmla="*/ 11 w 21"/>
                <a:gd name="T17" fmla="*/ 4 h 31"/>
                <a:gd name="T18" fmla="*/ 5 w 21"/>
                <a:gd name="T1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1">
                  <a:moveTo>
                    <a:pt x="21" y="16"/>
                  </a:moveTo>
                  <a:cubicBezTo>
                    <a:pt x="21" y="26"/>
                    <a:pt x="18" y="31"/>
                    <a:pt x="11" y="31"/>
                  </a:cubicBezTo>
                  <a:cubicBezTo>
                    <a:pt x="3" y="31"/>
                    <a:pt x="0" y="26"/>
                    <a:pt x="0" y="15"/>
                  </a:cubicBezTo>
                  <a:cubicBezTo>
                    <a:pt x="0" y="5"/>
                    <a:pt x="3" y="0"/>
                    <a:pt x="11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5"/>
                  </a:moveTo>
                  <a:cubicBezTo>
                    <a:pt x="5" y="23"/>
                    <a:pt x="7" y="27"/>
                    <a:pt x="11" y="27"/>
                  </a:cubicBezTo>
                  <a:cubicBezTo>
                    <a:pt x="14" y="27"/>
                    <a:pt x="16" y="23"/>
                    <a:pt x="16" y="16"/>
                  </a:cubicBezTo>
                  <a:cubicBezTo>
                    <a:pt x="16" y="8"/>
                    <a:pt x="14" y="4"/>
                    <a:pt x="11" y="4"/>
                  </a:cubicBezTo>
                  <a:cubicBezTo>
                    <a:pt x="7" y="4"/>
                    <a:pt x="5" y="8"/>
                    <a:pt x="5" y="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78" name="Freeform 25">
              <a:extLst>
                <a:ext uri="{FF2B5EF4-FFF2-40B4-BE49-F238E27FC236}">
                  <a16:creationId xmlns:a16="http://schemas.microsoft.com/office/drawing/2014/main" id="{A8D38897-6D0B-4B1B-9186-FAD7D05F7A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3612" y="4603352"/>
              <a:ext cx="64962" cy="110285"/>
            </a:xfrm>
            <a:custGeom>
              <a:avLst/>
              <a:gdLst>
                <a:gd name="T0" fmla="*/ 19 w 43"/>
                <a:gd name="T1" fmla="*/ 14 h 73"/>
                <a:gd name="T2" fmla="*/ 5 w 43"/>
                <a:gd name="T3" fmla="*/ 24 h 73"/>
                <a:gd name="T4" fmla="*/ 0 w 43"/>
                <a:gd name="T5" fmla="*/ 12 h 73"/>
                <a:gd name="T6" fmla="*/ 22 w 43"/>
                <a:gd name="T7" fmla="*/ 0 h 73"/>
                <a:gd name="T8" fmla="*/ 34 w 43"/>
                <a:gd name="T9" fmla="*/ 0 h 73"/>
                <a:gd name="T10" fmla="*/ 34 w 43"/>
                <a:gd name="T11" fmla="*/ 64 h 73"/>
                <a:gd name="T12" fmla="*/ 43 w 43"/>
                <a:gd name="T13" fmla="*/ 64 h 73"/>
                <a:gd name="T14" fmla="*/ 43 w 43"/>
                <a:gd name="T15" fmla="*/ 73 h 73"/>
                <a:gd name="T16" fmla="*/ 10 w 43"/>
                <a:gd name="T17" fmla="*/ 73 h 73"/>
                <a:gd name="T18" fmla="*/ 10 w 43"/>
                <a:gd name="T19" fmla="*/ 64 h 73"/>
                <a:gd name="T20" fmla="*/ 19 w 43"/>
                <a:gd name="T21" fmla="*/ 64 h 73"/>
                <a:gd name="T22" fmla="*/ 19 w 43"/>
                <a:gd name="T23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73">
                  <a:moveTo>
                    <a:pt x="19" y="14"/>
                  </a:moveTo>
                  <a:lnTo>
                    <a:pt x="5" y="24"/>
                  </a:lnTo>
                  <a:lnTo>
                    <a:pt x="0" y="12"/>
                  </a:lnTo>
                  <a:lnTo>
                    <a:pt x="22" y="0"/>
                  </a:lnTo>
                  <a:lnTo>
                    <a:pt x="34" y="0"/>
                  </a:lnTo>
                  <a:lnTo>
                    <a:pt x="34" y="64"/>
                  </a:lnTo>
                  <a:lnTo>
                    <a:pt x="43" y="64"/>
                  </a:lnTo>
                  <a:lnTo>
                    <a:pt x="43" y="73"/>
                  </a:lnTo>
                  <a:lnTo>
                    <a:pt x="10" y="73"/>
                  </a:lnTo>
                  <a:lnTo>
                    <a:pt x="10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79" name="Freeform 26">
              <a:extLst>
                <a:ext uri="{FF2B5EF4-FFF2-40B4-BE49-F238E27FC236}">
                  <a16:creationId xmlns:a16="http://schemas.microsoft.com/office/drawing/2014/main" id="{DA99D147-BE58-458C-A7C1-A19AF91BAD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00590" y="4792194"/>
              <a:ext cx="75537" cy="111795"/>
            </a:xfrm>
            <a:custGeom>
              <a:avLst/>
              <a:gdLst>
                <a:gd name="T0" fmla="*/ 21 w 21"/>
                <a:gd name="T1" fmla="*/ 16 h 31"/>
                <a:gd name="T2" fmla="*/ 11 w 21"/>
                <a:gd name="T3" fmla="*/ 31 h 31"/>
                <a:gd name="T4" fmla="*/ 0 w 21"/>
                <a:gd name="T5" fmla="*/ 15 h 31"/>
                <a:gd name="T6" fmla="*/ 11 w 21"/>
                <a:gd name="T7" fmla="*/ 0 h 31"/>
                <a:gd name="T8" fmla="*/ 21 w 21"/>
                <a:gd name="T9" fmla="*/ 16 h 31"/>
                <a:gd name="T10" fmla="*/ 5 w 21"/>
                <a:gd name="T11" fmla="*/ 16 h 31"/>
                <a:gd name="T12" fmla="*/ 11 w 21"/>
                <a:gd name="T13" fmla="*/ 27 h 31"/>
                <a:gd name="T14" fmla="*/ 16 w 21"/>
                <a:gd name="T15" fmla="*/ 16 h 31"/>
                <a:gd name="T16" fmla="*/ 11 w 21"/>
                <a:gd name="T17" fmla="*/ 4 h 31"/>
                <a:gd name="T18" fmla="*/ 5 w 21"/>
                <a:gd name="T19" fmla="*/ 1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1">
                  <a:moveTo>
                    <a:pt x="21" y="16"/>
                  </a:moveTo>
                  <a:cubicBezTo>
                    <a:pt x="21" y="26"/>
                    <a:pt x="18" y="31"/>
                    <a:pt x="11" y="31"/>
                  </a:cubicBezTo>
                  <a:cubicBezTo>
                    <a:pt x="3" y="31"/>
                    <a:pt x="0" y="26"/>
                    <a:pt x="0" y="15"/>
                  </a:cubicBezTo>
                  <a:cubicBezTo>
                    <a:pt x="0" y="5"/>
                    <a:pt x="3" y="0"/>
                    <a:pt x="11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3"/>
                    <a:pt x="7" y="27"/>
                    <a:pt x="11" y="27"/>
                  </a:cubicBezTo>
                  <a:cubicBezTo>
                    <a:pt x="14" y="27"/>
                    <a:pt x="16" y="23"/>
                    <a:pt x="16" y="16"/>
                  </a:cubicBezTo>
                  <a:cubicBezTo>
                    <a:pt x="16" y="8"/>
                    <a:pt x="14" y="4"/>
                    <a:pt x="11" y="4"/>
                  </a:cubicBezTo>
                  <a:cubicBezTo>
                    <a:pt x="7" y="4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80" name="Freeform 27">
              <a:extLst>
                <a:ext uri="{FF2B5EF4-FFF2-40B4-BE49-F238E27FC236}">
                  <a16:creationId xmlns:a16="http://schemas.microsoft.com/office/drawing/2014/main" id="{8002F1D6-3BFF-49F8-963F-ED4C3A098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00590" y="4982547"/>
              <a:ext cx="75537" cy="113306"/>
            </a:xfrm>
            <a:custGeom>
              <a:avLst/>
              <a:gdLst>
                <a:gd name="T0" fmla="*/ 21 w 21"/>
                <a:gd name="T1" fmla="*/ 16 h 32"/>
                <a:gd name="T2" fmla="*/ 11 w 21"/>
                <a:gd name="T3" fmla="*/ 32 h 32"/>
                <a:gd name="T4" fmla="*/ 0 w 21"/>
                <a:gd name="T5" fmla="*/ 16 h 32"/>
                <a:gd name="T6" fmla="*/ 11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1 w 21"/>
                <a:gd name="T13" fmla="*/ 27 h 32"/>
                <a:gd name="T14" fmla="*/ 16 w 21"/>
                <a:gd name="T15" fmla="*/ 16 h 32"/>
                <a:gd name="T16" fmla="*/ 11 w 21"/>
                <a:gd name="T17" fmla="*/ 4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7"/>
                    <a:pt x="18" y="32"/>
                    <a:pt x="11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1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7"/>
                    <a:pt x="11" y="27"/>
                  </a:cubicBezTo>
                  <a:cubicBezTo>
                    <a:pt x="14" y="27"/>
                    <a:pt x="16" y="24"/>
                    <a:pt x="16" y="16"/>
                  </a:cubicBezTo>
                  <a:cubicBezTo>
                    <a:pt x="16" y="8"/>
                    <a:pt x="14" y="4"/>
                    <a:pt x="11" y="4"/>
                  </a:cubicBezTo>
                  <a:cubicBezTo>
                    <a:pt x="7" y="4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81" name="Freeform 28">
              <a:extLst>
                <a:ext uri="{FF2B5EF4-FFF2-40B4-BE49-F238E27FC236}">
                  <a16:creationId xmlns:a16="http://schemas.microsoft.com/office/drawing/2014/main" id="{B14F2779-836A-4FD8-9ED6-EAD4DE20D97C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3612" y="5363254"/>
              <a:ext cx="64962" cy="111795"/>
            </a:xfrm>
            <a:custGeom>
              <a:avLst/>
              <a:gdLst>
                <a:gd name="T0" fmla="*/ 19 w 43"/>
                <a:gd name="T1" fmla="*/ 14 h 74"/>
                <a:gd name="T2" fmla="*/ 5 w 43"/>
                <a:gd name="T3" fmla="*/ 24 h 74"/>
                <a:gd name="T4" fmla="*/ 0 w 43"/>
                <a:gd name="T5" fmla="*/ 14 h 74"/>
                <a:gd name="T6" fmla="*/ 22 w 43"/>
                <a:gd name="T7" fmla="*/ 0 h 74"/>
                <a:gd name="T8" fmla="*/ 34 w 43"/>
                <a:gd name="T9" fmla="*/ 0 h 74"/>
                <a:gd name="T10" fmla="*/ 34 w 43"/>
                <a:gd name="T11" fmla="*/ 64 h 74"/>
                <a:gd name="T12" fmla="*/ 43 w 43"/>
                <a:gd name="T13" fmla="*/ 64 h 74"/>
                <a:gd name="T14" fmla="*/ 43 w 43"/>
                <a:gd name="T15" fmla="*/ 74 h 74"/>
                <a:gd name="T16" fmla="*/ 10 w 43"/>
                <a:gd name="T17" fmla="*/ 74 h 74"/>
                <a:gd name="T18" fmla="*/ 10 w 43"/>
                <a:gd name="T19" fmla="*/ 64 h 74"/>
                <a:gd name="T20" fmla="*/ 19 w 43"/>
                <a:gd name="T21" fmla="*/ 64 h 74"/>
                <a:gd name="T22" fmla="*/ 19 w 43"/>
                <a:gd name="T23" fmla="*/ 1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74">
                  <a:moveTo>
                    <a:pt x="19" y="14"/>
                  </a:moveTo>
                  <a:lnTo>
                    <a:pt x="5" y="24"/>
                  </a:lnTo>
                  <a:lnTo>
                    <a:pt x="0" y="14"/>
                  </a:lnTo>
                  <a:lnTo>
                    <a:pt x="22" y="0"/>
                  </a:lnTo>
                  <a:lnTo>
                    <a:pt x="34" y="0"/>
                  </a:lnTo>
                  <a:lnTo>
                    <a:pt x="34" y="64"/>
                  </a:lnTo>
                  <a:lnTo>
                    <a:pt x="43" y="64"/>
                  </a:lnTo>
                  <a:lnTo>
                    <a:pt x="43" y="74"/>
                  </a:lnTo>
                  <a:lnTo>
                    <a:pt x="10" y="74"/>
                  </a:lnTo>
                  <a:lnTo>
                    <a:pt x="10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82" name="Freeform 29">
              <a:extLst>
                <a:ext uri="{FF2B5EF4-FFF2-40B4-BE49-F238E27FC236}">
                  <a16:creationId xmlns:a16="http://schemas.microsoft.com/office/drawing/2014/main" id="{22D13050-9418-44D5-83E5-F9358FD7E4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00590" y="5553608"/>
              <a:ext cx="75537" cy="113306"/>
            </a:xfrm>
            <a:custGeom>
              <a:avLst/>
              <a:gdLst>
                <a:gd name="T0" fmla="*/ 21 w 21"/>
                <a:gd name="T1" fmla="*/ 16 h 32"/>
                <a:gd name="T2" fmla="*/ 11 w 21"/>
                <a:gd name="T3" fmla="*/ 32 h 32"/>
                <a:gd name="T4" fmla="*/ 0 w 21"/>
                <a:gd name="T5" fmla="*/ 16 h 32"/>
                <a:gd name="T6" fmla="*/ 11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1 w 21"/>
                <a:gd name="T13" fmla="*/ 28 h 32"/>
                <a:gd name="T14" fmla="*/ 16 w 21"/>
                <a:gd name="T15" fmla="*/ 16 h 32"/>
                <a:gd name="T16" fmla="*/ 11 w 21"/>
                <a:gd name="T17" fmla="*/ 5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7"/>
                    <a:pt x="18" y="32"/>
                    <a:pt x="11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1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8"/>
                    <a:pt x="11" y="28"/>
                  </a:cubicBezTo>
                  <a:cubicBezTo>
                    <a:pt x="14" y="28"/>
                    <a:pt x="16" y="24"/>
                    <a:pt x="16" y="16"/>
                  </a:cubicBezTo>
                  <a:cubicBezTo>
                    <a:pt x="16" y="8"/>
                    <a:pt x="14" y="5"/>
                    <a:pt x="11" y="5"/>
                  </a:cubicBezTo>
                  <a:cubicBezTo>
                    <a:pt x="7" y="5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83" name="Freeform 30">
              <a:extLst>
                <a:ext uri="{FF2B5EF4-FFF2-40B4-BE49-F238E27FC236}">
                  <a16:creationId xmlns:a16="http://schemas.microsoft.com/office/drawing/2014/main" id="{2229BA10-A225-4917-8886-860C4FE11E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3612" y="5745473"/>
              <a:ext cx="64962" cy="110285"/>
            </a:xfrm>
            <a:custGeom>
              <a:avLst/>
              <a:gdLst>
                <a:gd name="T0" fmla="*/ 19 w 43"/>
                <a:gd name="T1" fmla="*/ 14 h 73"/>
                <a:gd name="T2" fmla="*/ 5 w 43"/>
                <a:gd name="T3" fmla="*/ 24 h 73"/>
                <a:gd name="T4" fmla="*/ 0 w 43"/>
                <a:gd name="T5" fmla="*/ 14 h 73"/>
                <a:gd name="T6" fmla="*/ 22 w 43"/>
                <a:gd name="T7" fmla="*/ 0 h 73"/>
                <a:gd name="T8" fmla="*/ 34 w 43"/>
                <a:gd name="T9" fmla="*/ 0 h 73"/>
                <a:gd name="T10" fmla="*/ 34 w 43"/>
                <a:gd name="T11" fmla="*/ 64 h 73"/>
                <a:gd name="T12" fmla="*/ 43 w 43"/>
                <a:gd name="T13" fmla="*/ 64 h 73"/>
                <a:gd name="T14" fmla="*/ 43 w 43"/>
                <a:gd name="T15" fmla="*/ 73 h 73"/>
                <a:gd name="T16" fmla="*/ 10 w 43"/>
                <a:gd name="T17" fmla="*/ 73 h 73"/>
                <a:gd name="T18" fmla="*/ 10 w 43"/>
                <a:gd name="T19" fmla="*/ 64 h 73"/>
                <a:gd name="T20" fmla="*/ 19 w 43"/>
                <a:gd name="T21" fmla="*/ 64 h 73"/>
                <a:gd name="T22" fmla="*/ 19 w 43"/>
                <a:gd name="T23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73">
                  <a:moveTo>
                    <a:pt x="19" y="14"/>
                  </a:moveTo>
                  <a:lnTo>
                    <a:pt x="5" y="24"/>
                  </a:lnTo>
                  <a:lnTo>
                    <a:pt x="0" y="14"/>
                  </a:lnTo>
                  <a:lnTo>
                    <a:pt x="22" y="0"/>
                  </a:lnTo>
                  <a:lnTo>
                    <a:pt x="34" y="0"/>
                  </a:lnTo>
                  <a:lnTo>
                    <a:pt x="34" y="64"/>
                  </a:lnTo>
                  <a:lnTo>
                    <a:pt x="43" y="64"/>
                  </a:lnTo>
                  <a:lnTo>
                    <a:pt x="43" y="73"/>
                  </a:lnTo>
                  <a:lnTo>
                    <a:pt x="10" y="73"/>
                  </a:lnTo>
                  <a:lnTo>
                    <a:pt x="10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84" name="Freeform 31">
              <a:extLst>
                <a:ext uri="{FF2B5EF4-FFF2-40B4-BE49-F238E27FC236}">
                  <a16:creationId xmlns:a16="http://schemas.microsoft.com/office/drawing/2014/main" id="{FDC72CB3-96C4-4681-9E61-BE9285C192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00590" y="5934315"/>
              <a:ext cx="75537" cy="114816"/>
            </a:xfrm>
            <a:custGeom>
              <a:avLst/>
              <a:gdLst>
                <a:gd name="T0" fmla="*/ 21 w 21"/>
                <a:gd name="T1" fmla="*/ 16 h 32"/>
                <a:gd name="T2" fmla="*/ 11 w 21"/>
                <a:gd name="T3" fmla="*/ 32 h 32"/>
                <a:gd name="T4" fmla="*/ 0 w 21"/>
                <a:gd name="T5" fmla="*/ 16 h 32"/>
                <a:gd name="T6" fmla="*/ 11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1 w 21"/>
                <a:gd name="T13" fmla="*/ 27 h 32"/>
                <a:gd name="T14" fmla="*/ 16 w 21"/>
                <a:gd name="T15" fmla="*/ 16 h 32"/>
                <a:gd name="T16" fmla="*/ 11 w 21"/>
                <a:gd name="T17" fmla="*/ 4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7"/>
                    <a:pt x="18" y="32"/>
                    <a:pt x="11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1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7"/>
                    <a:pt x="11" y="27"/>
                  </a:cubicBezTo>
                  <a:cubicBezTo>
                    <a:pt x="14" y="27"/>
                    <a:pt x="16" y="24"/>
                    <a:pt x="16" y="16"/>
                  </a:cubicBezTo>
                  <a:cubicBezTo>
                    <a:pt x="16" y="8"/>
                    <a:pt x="14" y="4"/>
                    <a:pt x="11" y="4"/>
                  </a:cubicBezTo>
                  <a:cubicBezTo>
                    <a:pt x="7" y="4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85" name="Freeform 32">
              <a:extLst>
                <a:ext uri="{FF2B5EF4-FFF2-40B4-BE49-F238E27FC236}">
                  <a16:creationId xmlns:a16="http://schemas.microsoft.com/office/drawing/2014/main" id="{0B60B88D-9752-48DA-B95F-8E94DF120E5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3612" y="6127690"/>
              <a:ext cx="64962" cy="107263"/>
            </a:xfrm>
            <a:custGeom>
              <a:avLst/>
              <a:gdLst>
                <a:gd name="T0" fmla="*/ 19 w 43"/>
                <a:gd name="T1" fmla="*/ 12 h 71"/>
                <a:gd name="T2" fmla="*/ 5 w 43"/>
                <a:gd name="T3" fmla="*/ 21 h 71"/>
                <a:gd name="T4" fmla="*/ 0 w 43"/>
                <a:gd name="T5" fmla="*/ 12 h 71"/>
                <a:gd name="T6" fmla="*/ 22 w 43"/>
                <a:gd name="T7" fmla="*/ 0 h 71"/>
                <a:gd name="T8" fmla="*/ 34 w 43"/>
                <a:gd name="T9" fmla="*/ 0 h 71"/>
                <a:gd name="T10" fmla="*/ 34 w 43"/>
                <a:gd name="T11" fmla="*/ 64 h 71"/>
                <a:gd name="T12" fmla="*/ 43 w 43"/>
                <a:gd name="T13" fmla="*/ 64 h 71"/>
                <a:gd name="T14" fmla="*/ 43 w 43"/>
                <a:gd name="T15" fmla="*/ 71 h 71"/>
                <a:gd name="T16" fmla="*/ 10 w 43"/>
                <a:gd name="T17" fmla="*/ 71 h 71"/>
                <a:gd name="T18" fmla="*/ 10 w 43"/>
                <a:gd name="T19" fmla="*/ 64 h 71"/>
                <a:gd name="T20" fmla="*/ 19 w 43"/>
                <a:gd name="T21" fmla="*/ 64 h 71"/>
                <a:gd name="T22" fmla="*/ 19 w 43"/>
                <a:gd name="T23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71">
                  <a:moveTo>
                    <a:pt x="19" y="12"/>
                  </a:moveTo>
                  <a:lnTo>
                    <a:pt x="5" y="21"/>
                  </a:lnTo>
                  <a:lnTo>
                    <a:pt x="0" y="12"/>
                  </a:lnTo>
                  <a:lnTo>
                    <a:pt x="22" y="0"/>
                  </a:lnTo>
                  <a:lnTo>
                    <a:pt x="34" y="0"/>
                  </a:lnTo>
                  <a:lnTo>
                    <a:pt x="34" y="64"/>
                  </a:lnTo>
                  <a:lnTo>
                    <a:pt x="43" y="64"/>
                  </a:lnTo>
                  <a:lnTo>
                    <a:pt x="43" y="71"/>
                  </a:lnTo>
                  <a:lnTo>
                    <a:pt x="10" y="71"/>
                  </a:lnTo>
                  <a:lnTo>
                    <a:pt x="10" y="64"/>
                  </a:lnTo>
                  <a:lnTo>
                    <a:pt x="19" y="64"/>
                  </a:lnTo>
                  <a:lnTo>
                    <a:pt x="19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86" name="Freeform 33">
              <a:extLst>
                <a:ext uri="{FF2B5EF4-FFF2-40B4-BE49-F238E27FC236}">
                  <a16:creationId xmlns:a16="http://schemas.microsoft.com/office/drawing/2014/main" id="{C36CA979-59FE-41F3-AFBD-2E5BE5178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3612" y="6316533"/>
              <a:ext cx="64962" cy="110285"/>
            </a:xfrm>
            <a:custGeom>
              <a:avLst/>
              <a:gdLst>
                <a:gd name="T0" fmla="*/ 19 w 43"/>
                <a:gd name="T1" fmla="*/ 14 h 73"/>
                <a:gd name="T2" fmla="*/ 5 w 43"/>
                <a:gd name="T3" fmla="*/ 24 h 73"/>
                <a:gd name="T4" fmla="*/ 0 w 43"/>
                <a:gd name="T5" fmla="*/ 14 h 73"/>
                <a:gd name="T6" fmla="*/ 22 w 43"/>
                <a:gd name="T7" fmla="*/ 0 h 73"/>
                <a:gd name="T8" fmla="*/ 34 w 43"/>
                <a:gd name="T9" fmla="*/ 0 h 73"/>
                <a:gd name="T10" fmla="*/ 34 w 43"/>
                <a:gd name="T11" fmla="*/ 64 h 73"/>
                <a:gd name="T12" fmla="*/ 43 w 43"/>
                <a:gd name="T13" fmla="*/ 64 h 73"/>
                <a:gd name="T14" fmla="*/ 43 w 43"/>
                <a:gd name="T15" fmla="*/ 73 h 73"/>
                <a:gd name="T16" fmla="*/ 10 w 43"/>
                <a:gd name="T17" fmla="*/ 73 h 73"/>
                <a:gd name="T18" fmla="*/ 10 w 43"/>
                <a:gd name="T19" fmla="*/ 64 h 73"/>
                <a:gd name="T20" fmla="*/ 19 w 43"/>
                <a:gd name="T21" fmla="*/ 64 h 73"/>
                <a:gd name="T22" fmla="*/ 19 w 43"/>
                <a:gd name="T23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73">
                  <a:moveTo>
                    <a:pt x="19" y="14"/>
                  </a:moveTo>
                  <a:lnTo>
                    <a:pt x="5" y="24"/>
                  </a:lnTo>
                  <a:lnTo>
                    <a:pt x="0" y="14"/>
                  </a:lnTo>
                  <a:lnTo>
                    <a:pt x="22" y="0"/>
                  </a:lnTo>
                  <a:lnTo>
                    <a:pt x="34" y="0"/>
                  </a:lnTo>
                  <a:lnTo>
                    <a:pt x="34" y="64"/>
                  </a:lnTo>
                  <a:lnTo>
                    <a:pt x="43" y="64"/>
                  </a:lnTo>
                  <a:lnTo>
                    <a:pt x="43" y="73"/>
                  </a:lnTo>
                  <a:lnTo>
                    <a:pt x="10" y="73"/>
                  </a:lnTo>
                  <a:lnTo>
                    <a:pt x="10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87" name="Freeform 34">
              <a:extLst>
                <a:ext uri="{FF2B5EF4-FFF2-40B4-BE49-F238E27FC236}">
                  <a16:creationId xmlns:a16="http://schemas.microsoft.com/office/drawing/2014/main" id="{E045B6CB-6A18-4771-B3F7-4DA80C199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3612" y="6505375"/>
              <a:ext cx="64962" cy="110285"/>
            </a:xfrm>
            <a:custGeom>
              <a:avLst/>
              <a:gdLst>
                <a:gd name="T0" fmla="*/ 19 w 43"/>
                <a:gd name="T1" fmla="*/ 14 h 73"/>
                <a:gd name="T2" fmla="*/ 5 w 43"/>
                <a:gd name="T3" fmla="*/ 24 h 73"/>
                <a:gd name="T4" fmla="*/ 0 w 43"/>
                <a:gd name="T5" fmla="*/ 14 h 73"/>
                <a:gd name="T6" fmla="*/ 22 w 43"/>
                <a:gd name="T7" fmla="*/ 0 h 73"/>
                <a:gd name="T8" fmla="*/ 34 w 43"/>
                <a:gd name="T9" fmla="*/ 0 h 73"/>
                <a:gd name="T10" fmla="*/ 34 w 43"/>
                <a:gd name="T11" fmla="*/ 64 h 73"/>
                <a:gd name="T12" fmla="*/ 43 w 43"/>
                <a:gd name="T13" fmla="*/ 64 h 73"/>
                <a:gd name="T14" fmla="*/ 43 w 43"/>
                <a:gd name="T15" fmla="*/ 73 h 73"/>
                <a:gd name="T16" fmla="*/ 10 w 43"/>
                <a:gd name="T17" fmla="*/ 73 h 73"/>
                <a:gd name="T18" fmla="*/ 10 w 43"/>
                <a:gd name="T19" fmla="*/ 64 h 73"/>
                <a:gd name="T20" fmla="*/ 19 w 43"/>
                <a:gd name="T21" fmla="*/ 64 h 73"/>
                <a:gd name="T22" fmla="*/ 19 w 43"/>
                <a:gd name="T23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73">
                  <a:moveTo>
                    <a:pt x="19" y="14"/>
                  </a:moveTo>
                  <a:lnTo>
                    <a:pt x="5" y="24"/>
                  </a:lnTo>
                  <a:lnTo>
                    <a:pt x="0" y="14"/>
                  </a:lnTo>
                  <a:lnTo>
                    <a:pt x="22" y="0"/>
                  </a:lnTo>
                  <a:lnTo>
                    <a:pt x="34" y="0"/>
                  </a:lnTo>
                  <a:lnTo>
                    <a:pt x="34" y="64"/>
                  </a:lnTo>
                  <a:lnTo>
                    <a:pt x="43" y="64"/>
                  </a:lnTo>
                  <a:lnTo>
                    <a:pt x="43" y="73"/>
                  </a:lnTo>
                  <a:lnTo>
                    <a:pt x="10" y="73"/>
                  </a:lnTo>
                  <a:lnTo>
                    <a:pt x="10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88" name="Freeform 43">
              <a:extLst>
                <a:ext uri="{FF2B5EF4-FFF2-40B4-BE49-F238E27FC236}">
                  <a16:creationId xmlns:a16="http://schemas.microsoft.com/office/drawing/2014/main" id="{32F4BD43-86C9-47EB-B35E-C6491D4283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72468" y="4228688"/>
              <a:ext cx="63451" cy="93666"/>
            </a:xfrm>
            <a:custGeom>
              <a:avLst/>
              <a:gdLst>
                <a:gd name="T0" fmla="*/ 18 w 18"/>
                <a:gd name="T1" fmla="*/ 13 h 26"/>
                <a:gd name="T2" fmla="*/ 9 w 18"/>
                <a:gd name="T3" fmla="*/ 26 h 26"/>
                <a:gd name="T4" fmla="*/ 0 w 18"/>
                <a:gd name="T5" fmla="*/ 13 h 26"/>
                <a:gd name="T6" fmla="*/ 9 w 18"/>
                <a:gd name="T7" fmla="*/ 0 h 26"/>
                <a:gd name="T8" fmla="*/ 18 w 18"/>
                <a:gd name="T9" fmla="*/ 13 h 26"/>
                <a:gd name="T10" fmla="*/ 5 w 18"/>
                <a:gd name="T11" fmla="*/ 13 h 26"/>
                <a:gd name="T12" fmla="*/ 9 w 18"/>
                <a:gd name="T13" fmla="*/ 22 h 26"/>
                <a:gd name="T14" fmla="*/ 13 w 18"/>
                <a:gd name="T15" fmla="*/ 13 h 26"/>
                <a:gd name="T16" fmla="*/ 9 w 18"/>
                <a:gd name="T17" fmla="*/ 4 h 26"/>
                <a:gd name="T18" fmla="*/ 5 w 18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6">
                  <a:moveTo>
                    <a:pt x="18" y="13"/>
                  </a:moveTo>
                  <a:cubicBezTo>
                    <a:pt x="18" y="22"/>
                    <a:pt x="15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5"/>
                    <a:pt x="3" y="0"/>
                    <a:pt x="9" y="0"/>
                  </a:cubicBezTo>
                  <a:cubicBezTo>
                    <a:pt x="15" y="0"/>
                    <a:pt x="18" y="5"/>
                    <a:pt x="18" y="13"/>
                  </a:cubicBezTo>
                  <a:close/>
                  <a:moveTo>
                    <a:pt x="5" y="13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7"/>
                    <a:pt x="12" y="4"/>
                    <a:pt x="9" y="4"/>
                  </a:cubicBezTo>
                  <a:cubicBezTo>
                    <a:pt x="6" y="4"/>
                    <a:pt x="5" y="7"/>
                    <a:pt x="5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89" name="Freeform 44">
              <a:extLst>
                <a:ext uri="{FF2B5EF4-FFF2-40B4-BE49-F238E27FC236}">
                  <a16:creationId xmlns:a16="http://schemas.microsoft.com/office/drawing/2014/main" id="{49BADA24-7C2F-4FD9-AC47-FDCC61ACF2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72468" y="4382783"/>
              <a:ext cx="63451" cy="92156"/>
            </a:xfrm>
            <a:custGeom>
              <a:avLst/>
              <a:gdLst>
                <a:gd name="T0" fmla="*/ 18 w 18"/>
                <a:gd name="T1" fmla="*/ 13 h 26"/>
                <a:gd name="T2" fmla="*/ 9 w 18"/>
                <a:gd name="T3" fmla="*/ 26 h 26"/>
                <a:gd name="T4" fmla="*/ 0 w 18"/>
                <a:gd name="T5" fmla="*/ 13 h 26"/>
                <a:gd name="T6" fmla="*/ 9 w 18"/>
                <a:gd name="T7" fmla="*/ 0 h 26"/>
                <a:gd name="T8" fmla="*/ 18 w 18"/>
                <a:gd name="T9" fmla="*/ 13 h 26"/>
                <a:gd name="T10" fmla="*/ 5 w 18"/>
                <a:gd name="T11" fmla="*/ 13 h 26"/>
                <a:gd name="T12" fmla="*/ 9 w 18"/>
                <a:gd name="T13" fmla="*/ 22 h 26"/>
                <a:gd name="T14" fmla="*/ 13 w 18"/>
                <a:gd name="T15" fmla="*/ 13 h 26"/>
                <a:gd name="T16" fmla="*/ 9 w 18"/>
                <a:gd name="T17" fmla="*/ 4 h 26"/>
                <a:gd name="T18" fmla="*/ 5 w 18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6">
                  <a:moveTo>
                    <a:pt x="18" y="13"/>
                  </a:moveTo>
                  <a:cubicBezTo>
                    <a:pt x="18" y="21"/>
                    <a:pt x="15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5" y="0"/>
                    <a:pt x="18" y="4"/>
                    <a:pt x="18" y="13"/>
                  </a:cubicBezTo>
                  <a:close/>
                  <a:moveTo>
                    <a:pt x="5" y="13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7"/>
                    <a:pt x="12" y="4"/>
                    <a:pt x="9" y="4"/>
                  </a:cubicBezTo>
                  <a:cubicBezTo>
                    <a:pt x="6" y="4"/>
                    <a:pt x="5" y="7"/>
                    <a:pt x="5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90" name="Freeform 45">
              <a:extLst>
                <a:ext uri="{FF2B5EF4-FFF2-40B4-BE49-F238E27FC236}">
                  <a16:creationId xmlns:a16="http://schemas.microsoft.com/office/drawing/2014/main" id="{B3B39C9A-F9E9-4310-B7F5-7528CB769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075490" y="4689463"/>
              <a:ext cx="49855" cy="89134"/>
            </a:xfrm>
            <a:custGeom>
              <a:avLst/>
              <a:gdLst>
                <a:gd name="T0" fmla="*/ 17 w 33"/>
                <a:gd name="T1" fmla="*/ 12 h 59"/>
                <a:gd name="T2" fmla="*/ 5 w 33"/>
                <a:gd name="T3" fmla="*/ 19 h 59"/>
                <a:gd name="T4" fmla="*/ 0 w 33"/>
                <a:gd name="T5" fmla="*/ 9 h 59"/>
                <a:gd name="T6" fmla="*/ 19 w 33"/>
                <a:gd name="T7" fmla="*/ 0 h 59"/>
                <a:gd name="T8" fmla="*/ 26 w 33"/>
                <a:gd name="T9" fmla="*/ 0 h 59"/>
                <a:gd name="T10" fmla="*/ 26 w 33"/>
                <a:gd name="T11" fmla="*/ 49 h 59"/>
                <a:gd name="T12" fmla="*/ 33 w 33"/>
                <a:gd name="T13" fmla="*/ 49 h 59"/>
                <a:gd name="T14" fmla="*/ 33 w 33"/>
                <a:gd name="T15" fmla="*/ 59 h 59"/>
                <a:gd name="T16" fmla="*/ 10 w 33"/>
                <a:gd name="T17" fmla="*/ 59 h 59"/>
                <a:gd name="T18" fmla="*/ 10 w 33"/>
                <a:gd name="T19" fmla="*/ 49 h 59"/>
                <a:gd name="T20" fmla="*/ 17 w 33"/>
                <a:gd name="T21" fmla="*/ 49 h 59"/>
                <a:gd name="T22" fmla="*/ 17 w 33"/>
                <a:gd name="T23" fmla="*/ 1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9">
                  <a:moveTo>
                    <a:pt x="17" y="12"/>
                  </a:moveTo>
                  <a:lnTo>
                    <a:pt x="5" y="19"/>
                  </a:lnTo>
                  <a:lnTo>
                    <a:pt x="0" y="9"/>
                  </a:lnTo>
                  <a:lnTo>
                    <a:pt x="19" y="0"/>
                  </a:lnTo>
                  <a:lnTo>
                    <a:pt x="26" y="0"/>
                  </a:lnTo>
                  <a:lnTo>
                    <a:pt x="26" y="49"/>
                  </a:lnTo>
                  <a:lnTo>
                    <a:pt x="33" y="49"/>
                  </a:lnTo>
                  <a:lnTo>
                    <a:pt x="33" y="59"/>
                  </a:lnTo>
                  <a:lnTo>
                    <a:pt x="10" y="59"/>
                  </a:lnTo>
                  <a:lnTo>
                    <a:pt x="10" y="49"/>
                  </a:lnTo>
                  <a:lnTo>
                    <a:pt x="17" y="49"/>
                  </a:lnTo>
                  <a:lnTo>
                    <a:pt x="17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91" name="Freeform 46">
              <a:extLst>
                <a:ext uri="{FF2B5EF4-FFF2-40B4-BE49-F238E27FC236}">
                  <a16:creationId xmlns:a16="http://schemas.microsoft.com/office/drawing/2014/main" id="{55A13F81-E902-4EF2-B227-84D9E077BB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72468" y="4839027"/>
              <a:ext cx="63451" cy="92156"/>
            </a:xfrm>
            <a:custGeom>
              <a:avLst/>
              <a:gdLst>
                <a:gd name="T0" fmla="*/ 18 w 18"/>
                <a:gd name="T1" fmla="*/ 13 h 26"/>
                <a:gd name="T2" fmla="*/ 9 w 18"/>
                <a:gd name="T3" fmla="*/ 26 h 26"/>
                <a:gd name="T4" fmla="*/ 0 w 18"/>
                <a:gd name="T5" fmla="*/ 13 h 26"/>
                <a:gd name="T6" fmla="*/ 9 w 18"/>
                <a:gd name="T7" fmla="*/ 0 h 26"/>
                <a:gd name="T8" fmla="*/ 18 w 18"/>
                <a:gd name="T9" fmla="*/ 13 h 26"/>
                <a:gd name="T10" fmla="*/ 5 w 18"/>
                <a:gd name="T11" fmla="*/ 13 h 26"/>
                <a:gd name="T12" fmla="*/ 9 w 18"/>
                <a:gd name="T13" fmla="*/ 22 h 26"/>
                <a:gd name="T14" fmla="*/ 13 w 18"/>
                <a:gd name="T15" fmla="*/ 13 h 26"/>
                <a:gd name="T16" fmla="*/ 9 w 18"/>
                <a:gd name="T17" fmla="*/ 4 h 26"/>
                <a:gd name="T18" fmla="*/ 5 w 18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6">
                  <a:moveTo>
                    <a:pt x="18" y="13"/>
                  </a:moveTo>
                  <a:cubicBezTo>
                    <a:pt x="18" y="22"/>
                    <a:pt x="15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5" y="0"/>
                    <a:pt x="18" y="4"/>
                    <a:pt x="18" y="13"/>
                  </a:cubicBezTo>
                  <a:close/>
                  <a:moveTo>
                    <a:pt x="5" y="13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7"/>
                    <a:pt x="12" y="4"/>
                    <a:pt x="9" y="4"/>
                  </a:cubicBezTo>
                  <a:cubicBezTo>
                    <a:pt x="6" y="4"/>
                    <a:pt x="5" y="7"/>
                    <a:pt x="5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92" name="Freeform 47">
              <a:extLst>
                <a:ext uri="{FF2B5EF4-FFF2-40B4-BE49-F238E27FC236}">
                  <a16:creationId xmlns:a16="http://schemas.microsoft.com/office/drawing/2014/main" id="{57362514-A007-441A-B577-58836843D3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72468" y="4993123"/>
              <a:ext cx="63451" cy="89134"/>
            </a:xfrm>
            <a:custGeom>
              <a:avLst/>
              <a:gdLst>
                <a:gd name="T0" fmla="*/ 18 w 18"/>
                <a:gd name="T1" fmla="*/ 13 h 25"/>
                <a:gd name="T2" fmla="*/ 9 w 18"/>
                <a:gd name="T3" fmla="*/ 25 h 25"/>
                <a:gd name="T4" fmla="*/ 0 w 18"/>
                <a:gd name="T5" fmla="*/ 12 h 25"/>
                <a:gd name="T6" fmla="*/ 9 w 18"/>
                <a:gd name="T7" fmla="*/ 0 h 25"/>
                <a:gd name="T8" fmla="*/ 18 w 18"/>
                <a:gd name="T9" fmla="*/ 13 h 25"/>
                <a:gd name="T10" fmla="*/ 5 w 18"/>
                <a:gd name="T11" fmla="*/ 12 h 25"/>
                <a:gd name="T12" fmla="*/ 9 w 18"/>
                <a:gd name="T13" fmla="*/ 22 h 25"/>
                <a:gd name="T14" fmla="*/ 13 w 18"/>
                <a:gd name="T15" fmla="*/ 13 h 25"/>
                <a:gd name="T16" fmla="*/ 9 w 18"/>
                <a:gd name="T17" fmla="*/ 3 h 25"/>
                <a:gd name="T18" fmla="*/ 5 w 18"/>
                <a:gd name="T1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5">
                  <a:moveTo>
                    <a:pt x="18" y="13"/>
                  </a:moveTo>
                  <a:cubicBezTo>
                    <a:pt x="18" y="21"/>
                    <a:pt x="15" y="25"/>
                    <a:pt x="9" y="25"/>
                  </a:cubicBezTo>
                  <a:cubicBezTo>
                    <a:pt x="3" y="25"/>
                    <a:pt x="0" y="21"/>
                    <a:pt x="0" y="12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5" y="0"/>
                    <a:pt x="18" y="4"/>
                    <a:pt x="18" y="13"/>
                  </a:cubicBezTo>
                  <a:close/>
                  <a:moveTo>
                    <a:pt x="5" y="12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6"/>
                    <a:pt x="12" y="3"/>
                    <a:pt x="9" y="3"/>
                  </a:cubicBezTo>
                  <a:cubicBezTo>
                    <a:pt x="6" y="3"/>
                    <a:pt x="5" y="6"/>
                    <a:pt x="5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93" name="Freeform 48">
              <a:extLst>
                <a:ext uri="{FF2B5EF4-FFF2-40B4-BE49-F238E27FC236}">
                  <a16:creationId xmlns:a16="http://schemas.microsoft.com/office/drawing/2014/main" id="{18EC8ECE-76EF-4463-BEAE-363F64913450}"/>
                </a:ext>
              </a:extLst>
            </p:cNvPr>
            <p:cNvSpPr>
              <a:spLocks/>
            </p:cNvSpPr>
            <p:nvPr/>
          </p:nvSpPr>
          <p:spPr bwMode="auto">
            <a:xfrm>
              <a:off x="8075490" y="5299803"/>
              <a:ext cx="49855" cy="84602"/>
            </a:xfrm>
            <a:custGeom>
              <a:avLst/>
              <a:gdLst>
                <a:gd name="T0" fmla="*/ 17 w 33"/>
                <a:gd name="T1" fmla="*/ 9 h 56"/>
                <a:gd name="T2" fmla="*/ 5 w 33"/>
                <a:gd name="T3" fmla="*/ 16 h 56"/>
                <a:gd name="T4" fmla="*/ 0 w 33"/>
                <a:gd name="T5" fmla="*/ 9 h 56"/>
                <a:gd name="T6" fmla="*/ 19 w 33"/>
                <a:gd name="T7" fmla="*/ 0 h 56"/>
                <a:gd name="T8" fmla="*/ 26 w 33"/>
                <a:gd name="T9" fmla="*/ 0 h 56"/>
                <a:gd name="T10" fmla="*/ 26 w 33"/>
                <a:gd name="T11" fmla="*/ 49 h 56"/>
                <a:gd name="T12" fmla="*/ 33 w 33"/>
                <a:gd name="T13" fmla="*/ 49 h 56"/>
                <a:gd name="T14" fmla="*/ 33 w 33"/>
                <a:gd name="T15" fmla="*/ 56 h 56"/>
                <a:gd name="T16" fmla="*/ 10 w 33"/>
                <a:gd name="T17" fmla="*/ 56 h 56"/>
                <a:gd name="T18" fmla="*/ 10 w 33"/>
                <a:gd name="T19" fmla="*/ 49 h 56"/>
                <a:gd name="T20" fmla="*/ 17 w 33"/>
                <a:gd name="T21" fmla="*/ 49 h 56"/>
                <a:gd name="T22" fmla="*/ 17 w 33"/>
                <a:gd name="T23" fmla="*/ 9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6">
                  <a:moveTo>
                    <a:pt x="17" y="9"/>
                  </a:moveTo>
                  <a:lnTo>
                    <a:pt x="5" y="16"/>
                  </a:lnTo>
                  <a:lnTo>
                    <a:pt x="0" y="9"/>
                  </a:lnTo>
                  <a:lnTo>
                    <a:pt x="19" y="0"/>
                  </a:lnTo>
                  <a:lnTo>
                    <a:pt x="26" y="0"/>
                  </a:lnTo>
                  <a:lnTo>
                    <a:pt x="26" y="49"/>
                  </a:lnTo>
                  <a:lnTo>
                    <a:pt x="33" y="49"/>
                  </a:lnTo>
                  <a:lnTo>
                    <a:pt x="33" y="56"/>
                  </a:lnTo>
                  <a:lnTo>
                    <a:pt x="10" y="56"/>
                  </a:lnTo>
                  <a:lnTo>
                    <a:pt x="10" y="49"/>
                  </a:lnTo>
                  <a:lnTo>
                    <a:pt x="17" y="49"/>
                  </a:lnTo>
                  <a:lnTo>
                    <a:pt x="17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94" name="Freeform 49">
              <a:extLst>
                <a:ext uri="{FF2B5EF4-FFF2-40B4-BE49-F238E27FC236}">
                  <a16:creationId xmlns:a16="http://schemas.microsoft.com/office/drawing/2014/main" id="{2700DC38-EF71-4040-ADEF-F2BE718B11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72468" y="5449367"/>
              <a:ext cx="63451" cy="89134"/>
            </a:xfrm>
            <a:custGeom>
              <a:avLst/>
              <a:gdLst>
                <a:gd name="T0" fmla="*/ 18 w 18"/>
                <a:gd name="T1" fmla="*/ 13 h 25"/>
                <a:gd name="T2" fmla="*/ 9 w 18"/>
                <a:gd name="T3" fmla="*/ 25 h 25"/>
                <a:gd name="T4" fmla="*/ 0 w 18"/>
                <a:gd name="T5" fmla="*/ 13 h 25"/>
                <a:gd name="T6" fmla="*/ 9 w 18"/>
                <a:gd name="T7" fmla="*/ 0 h 25"/>
                <a:gd name="T8" fmla="*/ 18 w 18"/>
                <a:gd name="T9" fmla="*/ 13 h 25"/>
                <a:gd name="T10" fmla="*/ 5 w 18"/>
                <a:gd name="T11" fmla="*/ 13 h 25"/>
                <a:gd name="T12" fmla="*/ 9 w 18"/>
                <a:gd name="T13" fmla="*/ 22 h 25"/>
                <a:gd name="T14" fmla="*/ 13 w 18"/>
                <a:gd name="T15" fmla="*/ 13 h 25"/>
                <a:gd name="T16" fmla="*/ 9 w 18"/>
                <a:gd name="T17" fmla="*/ 3 h 25"/>
                <a:gd name="T18" fmla="*/ 5 w 18"/>
                <a:gd name="T19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5">
                  <a:moveTo>
                    <a:pt x="18" y="13"/>
                  </a:moveTo>
                  <a:cubicBezTo>
                    <a:pt x="18" y="21"/>
                    <a:pt x="15" y="25"/>
                    <a:pt x="9" y="25"/>
                  </a:cubicBezTo>
                  <a:cubicBezTo>
                    <a:pt x="3" y="25"/>
                    <a:pt x="0" y="21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5" y="0"/>
                    <a:pt x="18" y="4"/>
                    <a:pt x="18" y="13"/>
                  </a:cubicBezTo>
                  <a:close/>
                  <a:moveTo>
                    <a:pt x="5" y="13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6"/>
                    <a:pt x="12" y="3"/>
                    <a:pt x="9" y="3"/>
                  </a:cubicBezTo>
                  <a:cubicBezTo>
                    <a:pt x="6" y="3"/>
                    <a:pt x="5" y="6"/>
                    <a:pt x="5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95" name="Freeform 50">
              <a:extLst>
                <a:ext uri="{FF2B5EF4-FFF2-40B4-BE49-F238E27FC236}">
                  <a16:creationId xmlns:a16="http://schemas.microsoft.com/office/drawing/2014/main" id="{2FB4B491-88B5-4427-AB10-2BFDD9A02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075490" y="5603463"/>
              <a:ext cx="49855" cy="89134"/>
            </a:xfrm>
            <a:custGeom>
              <a:avLst/>
              <a:gdLst>
                <a:gd name="T0" fmla="*/ 17 w 33"/>
                <a:gd name="T1" fmla="*/ 11 h 59"/>
                <a:gd name="T2" fmla="*/ 5 w 33"/>
                <a:gd name="T3" fmla="*/ 18 h 59"/>
                <a:gd name="T4" fmla="*/ 0 w 33"/>
                <a:gd name="T5" fmla="*/ 9 h 59"/>
                <a:gd name="T6" fmla="*/ 19 w 33"/>
                <a:gd name="T7" fmla="*/ 0 h 59"/>
                <a:gd name="T8" fmla="*/ 26 w 33"/>
                <a:gd name="T9" fmla="*/ 0 h 59"/>
                <a:gd name="T10" fmla="*/ 26 w 33"/>
                <a:gd name="T11" fmla="*/ 49 h 59"/>
                <a:gd name="T12" fmla="*/ 33 w 33"/>
                <a:gd name="T13" fmla="*/ 52 h 59"/>
                <a:gd name="T14" fmla="*/ 33 w 33"/>
                <a:gd name="T15" fmla="*/ 59 h 59"/>
                <a:gd name="T16" fmla="*/ 10 w 33"/>
                <a:gd name="T17" fmla="*/ 59 h 59"/>
                <a:gd name="T18" fmla="*/ 10 w 33"/>
                <a:gd name="T19" fmla="*/ 52 h 59"/>
                <a:gd name="T20" fmla="*/ 17 w 33"/>
                <a:gd name="T21" fmla="*/ 49 h 59"/>
                <a:gd name="T22" fmla="*/ 17 w 33"/>
                <a:gd name="T23" fmla="*/ 1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9">
                  <a:moveTo>
                    <a:pt x="17" y="11"/>
                  </a:moveTo>
                  <a:lnTo>
                    <a:pt x="5" y="18"/>
                  </a:lnTo>
                  <a:lnTo>
                    <a:pt x="0" y="9"/>
                  </a:lnTo>
                  <a:lnTo>
                    <a:pt x="19" y="0"/>
                  </a:lnTo>
                  <a:lnTo>
                    <a:pt x="26" y="0"/>
                  </a:lnTo>
                  <a:lnTo>
                    <a:pt x="26" y="49"/>
                  </a:lnTo>
                  <a:lnTo>
                    <a:pt x="33" y="52"/>
                  </a:lnTo>
                  <a:lnTo>
                    <a:pt x="33" y="59"/>
                  </a:lnTo>
                  <a:lnTo>
                    <a:pt x="10" y="59"/>
                  </a:lnTo>
                  <a:lnTo>
                    <a:pt x="10" y="52"/>
                  </a:lnTo>
                  <a:lnTo>
                    <a:pt x="17" y="49"/>
                  </a:lnTo>
                  <a:lnTo>
                    <a:pt x="17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96" name="Freeform 51">
              <a:extLst>
                <a:ext uri="{FF2B5EF4-FFF2-40B4-BE49-F238E27FC236}">
                  <a16:creationId xmlns:a16="http://schemas.microsoft.com/office/drawing/2014/main" id="{3083274D-5857-4CFF-BAC6-D64D2519A7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72468" y="5753026"/>
              <a:ext cx="63451" cy="92156"/>
            </a:xfrm>
            <a:custGeom>
              <a:avLst/>
              <a:gdLst>
                <a:gd name="T0" fmla="*/ 18 w 18"/>
                <a:gd name="T1" fmla="*/ 13 h 26"/>
                <a:gd name="T2" fmla="*/ 9 w 18"/>
                <a:gd name="T3" fmla="*/ 26 h 26"/>
                <a:gd name="T4" fmla="*/ 0 w 18"/>
                <a:gd name="T5" fmla="*/ 13 h 26"/>
                <a:gd name="T6" fmla="*/ 9 w 18"/>
                <a:gd name="T7" fmla="*/ 0 h 26"/>
                <a:gd name="T8" fmla="*/ 18 w 18"/>
                <a:gd name="T9" fmla="*/ 13 h 26"/>
                <a:gd name="T10" fmla="*/ 5 w 18"/>
                <a:gd name="T11" fmla="*/ 13 h 26"/>
                <a:gd name="T12" fmla="*/ 9 w 18"/>
                <a:gd name="T13" fmla="*/ 22 h 26"/>
                <a:gd name="T14" fmla="*/ 13 w 18"/>
                <a:gd name="T15" fmla="*/ 13 h 26"/>
                <a:gd name="T16" fmla="*/ 9 w 18"/>
                <a:gd name="T17" fmla="*/ 4 h 26"/>
                <a:gd name="T18" fmla="*/ 5 w 18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6">
                  <a:moveTo>
                    <a:pt x="18" y="13"/>
                  </a:moveTo>
                  <a:cubicBezTo>
                    <a:pt x="18" y="22"/>
                    <a:pt x="15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5" y="0"/>
                    <a:pt x="18" y="4"/>
                    <a:pt x="18" y="13"/>
                  </a:cubicBezTo>
                  <a:close/>
                  <a:moveTo>
                    <a:pt x="5" y="13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7"/>
                    <a:pt x="12" y="4"/>
                    <a:pt x="9" y="4"/>
                  </a:cubicBezTo>
                  <a:cubicBezTo>
                    <a:pt x="6" y="4"/>
                    <a:pt x="5" y="7"/>
                    <a:pt x="5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97" name="Freeform 52">
              <a:extLst>
                <a:ext uri="{FF2B5EF4-FFF2-40B4-BE49-F238E27FC236}">
                  <a16:creationId xmlns:a16="http://schemas.microsoft.com/office/drawing/2014/main" id="{56A43538-5FA4-40CC-B159-E08E7BB699CD}"/>
                </a:ext>
              </a:extLst>
            </p:cNvPr>
            <p:cNvSpPr>
              <a:spLocks/>
            </p:cNvSpPr>
            <p:nvPr/>
          </p:nvSpPr>
          <p:spPr bwMode="auto">
            <a:xfrm>
              <a:off x="8075490" y="5905611"/>
              <a:ext cx="49855" cy="89134"/>
            </a:xfrm>
            <a:custGeom>
              <a:avLst/>
              <a:gdLst>
                <a:gd name="T0" fmla="*/ 17 w 33"/>
                <a:gd name="T1" fmla="*/ 12 h 59"/>
                <a:gd name="T2" fmla="*/ 5 w 33"/>
                <a:gd name="T3" fmla="*/ 19 h 59"/>
                <a:gd name="T4" fmla="*/ 0 w 33"/>
                <a:gd name="T5" fmla="*/ 12 h 59"/>
                <a:gd name="T6" fmla="*/ 19 w 33"/>
                <a:gd name="T7" fmla="*/ 0 h 59"/>
                <a:gd name="T8" fmla="*/ 26 w 33"/>
                <a:gd name="T9" fmla="*/ 0 h 59"/>
                <a:gd name="T10" fmla="*/ 26 w 33"/>
                <a:gd name="T11" fmla="*/ 52 h 59"/>
                <a:gd name="T12" fmla="*/ 33 w 33"/>
                <a:gd name="T13" fmla="*/ 52 h 59"/>
                <a:gd name="T14" fmla="*/ 33 w 33"/>
                <a:gd name="T15" fmla="*/ 59 h 59"/>
                <a:gd name="T16" fmla="*/ 10 w 33"/>
                <a:gd name="T17" fmla="*/ 59 h 59"/>
                <a:gd name="T18" fmla="*/ 10 w 33"/>
                <a:gd name="T19" fmla="*/ 52 h 59"/>
                <a:gd name="T20" fmla="*/ 17 w 33"/>
                <a:gd name="T21" fmla="*/ 52 h 59"/>
                <a:gd name="T22" fmla="*/ 17 w 33"/>
                <a:gd name="T23" fmla="*/ 1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9">
                  <a:moveTo>
                    <a:pt x="17" y="12"/>
                  </a:moveTo>
                  <a:lnTo>
                    <a:pt x="5" y="19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6" y="0"/>
                  </a:lnTo>
                  <a:lnTo>
                    <a:pt x="26" y="52"/>
                  </a:lnTo>
                  <a:lnTo>
                    <a:pt x="33" y="52"/>
                  </a:lnTo>
                  <a:lnTo>
                    <a:pt x="33" y="59"/>
                  </a:lnTo>
                  <a:lnTo>
                    <a:pt x="10" y="59"/>
                  </a:lnTo>
                  <a:lnTo>
                    <a:pt x="10" y="52"/>
                  </a:lnTo>
                  <a:lnTo>
                    <a:pt x="17" y="52"/>
                  </a:lnTo>
                  <a:lnTo>
                    <a:pt x="17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98" name="Freeform 53">
              <a:extLst>
                <a:ext uri="{FF2B5EF4-FFF2-40B4-BE49-F238E27FC236}">
                  <a16:creationId xmlns:a16="http://schemas.microsoft.com/office/drawing/2014/main" id="{291BF066-6422-42A8-9377-ECBBD481B37F}"/>
                </a:ext>
              </a:extLst>
            </p:cNvPr>
            <p:cNvSpPr>
              <a:spLocks/>
            </p:cNvSpPr>
            <p:nvPr/>
          </p:nvSpPr>
          <p:spPr bwMode="auto">
            <a:xfrm>
              <a:off x="8075490" y="6059707"/>
              <a:ext cx="49855" cy="89134"/>
            </a:xfrm>
            <a:custGeom>
              <a:avLst/>
              <a:gdLst>
                <a:gd name="T0" fmla="*/ 17 w 33"/>
                <a:gd name="T1" fmla="*/ 12 h 59"/>
                <a:gd name="T2" fmla="*/ 5 w 33"/>
                <a:gd name="T3" fmla="*/ 19 h 59"/>
                <a:gd name="T4" fmla="*/ 0 w 33"/>
                <a:gd name="T5" fmla="*/ 9 h 59"/>
                <a:gd name="T6" fmla="*/ 19 w 33"/>
                <a:gd name="T7" fmla="*/ 0 h 59"/>
                <a:gd name="T8" fmla="*/ 26 w 33"/>
                <a:gd name="T9" fmla="*/ 0 h 59"/>
                <a:gd name="T10" fmla="*/ 26 w 33"/>
                <a:gd name="T11" fmla="*/ 52 h 59"/>
                <a:gd name="T12" fmla="*/ 33 w 33"/>
                <a:gd name="T13" fmla="*/ 52 h 59"/>
                <a:gd name="T14" fmla="*/ 33 w 33"/>
                <a:gd name="T15" fmla="*/ 59 h 59"/>
                <a:gd name="T16" fmla="*/ 10 w 33"/>
                <a:gd name="T17" fmla="*/ 59 h 59"/>
                <a:gd name="T18" fmla="*/ 10 w 33"/>
                <a:gd name="T19" fmla="*/ 52 h 59"/>
                <a:gd name="T20" fmla="*/ 17 w 33"/>
                <a:gd name="T21" fmla="*/ 52 h 59"/>
                <a:gd name="T22" fmla="*/ 17 w 33"/>
                <a:gd name="T23" fmla="*/ 1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9">
                  <a:moveTo>
                    <a:pt x="17" y="12"/>
                  </a:moveTo>
                  <a:lnTo>
                    <a:pt x="5" y="19"/>
                  </a:lnTo>
                  <a:lnTo>
                    <a:pt x="0" y="9"/>
                  </a:lnTo>
                  <a:lnTo>
                    <a:pt x="19" y="0"/>
                  </a:lnTo>
                  <a:lnTo>
                    <a:pt x="26" y="0"/>
                  </a:lnTo>
                  <a:lnTo>
                    <a:pt x="26" y="52"/>
                  </a:lnTo>
                  <a:lnTo>
                    <a:pt x="33" y="52"/>
                  </a:lnTo>
                  <a:lnTo>
                    <a:pt x="33" y="59"/>
                  </a:lnTo>
                  <a:lnTo>
                    <a:pt x="10" y="59"/>
                  </a:lnTo>
                  <a:lnTo>
                    <a:pt x="10" y="52"/>
                  </a:lnTo>
                  <a:lnTo>
                    <a:pt x="17" y="52"/>
                  </a:lnTo>
                  <a:lnTo>
                    <a:pt x="17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99" name="Freeform 54">
              <a:extLst>
                <a:ext uri="{FF2B5EF4-FFF2-40B4-BE49-F238E27FC236}">
                  <a16:creationId xmlns:a16="http://schemas.microsoft.com/office/drawing/2014/main" id="{4ECAD57F-BC3B-410A-B935-F6C1510E12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075490" y="6213803"/>
              <a:ext cx="49855" cy="84602"/>
            </a:xfrm>
            <a:custGeom>
              <a:avLst/>
              <a:gdLst>
                <a:gd name="T0" fmla="*/ 17 w 33"/>
                <a:gd name="T1" fmla="*/ 9 h 56"/>
                <a:gd name="T2" fmla="*/ 5 w 33"/>
                <a:gd name="T3" fmla="*/ 16 h 56"/>
                <a:gd name="T4" fmla="*/ 0 w 33"/>
                <a:gd name="T5" fmla="*/ 9 h 56"/>
                <a:gd name="T6" fmla="*/ 19 w 33"/>
                <a:gd name="T7" fmla="*/ 0 h 56"/>
                <a:gd name="T8" fmla="*/ 26 w 33"/>
                <a:gd name="T9" fmla="*/ 0 h 56"/>
                <a:gd name="T10" fmla="*/ 26 w 33"/>
                <a:gd name="T11" fmla="*/ 49 h 56"/>
                <a:gd name="T12" fmla="*/ 33 w 33"/>
                <a:gd name="T13" fmla="*/ 49 h 56"/>
                <a:gd name="T14" fmla="*/ 33 w 33"/>
                <a:gd name="T15" fmla="*/ 56 h 56"/>
                <a:gd name="T16" fmla="*/ 10 w 33"/>
                <a:gd name="T17" fmla="*/ 56 h 56"/>
                <a:gd name="T18" fmla="*/ 10 w 33"/>
                <a:gd name="T19" fmla="*/ 49 h 56"/>
                <a:gd name="T20" fmla="*/ 17 w 33"/>
                <a:gd name="T21" fmla="*/ 49 h 56"/>
                <a:gd name="T22" fmla="*/ 17 w 33"/>
                <a:gd name="T23" fmla="*/ 9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6">
                  <a:moveTo>
                    <a:pt x="17" y="9"/>
                  </a:moveTo>
                  <a:lnTo>
                    <a:pt x="5" y="16"/>
                  </a:lnTo>
                  <a:lnTo>
                    <a:pt x="0" y="9"/>
                  </a:lnTo>
                  <a:lnTo>
                    <a:pt x="19" y="0"/>
                  </a:lnTo>
                  <a:lnTo>
                    <a:pt x="26" y="0"/>
                  </a:lnTo>
                  <a:lnTo>
                    <a:pt x="26" y="49"/>
                  </a:lnTo>
                  <a:lnTo>
                    <a:pt x="33" y="49"/>
                  </a:lnTo>
                  <a:lnTo>
                    <a:pt x="33" y="56"/>
                  </a:lnTo>
                  <a:lnTo>
                    <a:pt x="10" y="56"/>
                  </a:lnTo>
                  <a:lnTo>
                    <a:pt x="10" y="49"/>
                  </a:lnTo>
                  <a:lnTo>
                    <a:pt x="17" y="49"/>
                  </a:lnTo>
                  <a:lnTo>
                    <a:pt x="17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00" name="Freeform 55">
              <a:extLst>
                <a:ext uri="{FF2B5EF4-FFF2-40B4-BE49-F238E27FC236}">
                  <a16:creationId xmlns:a16="http://schemas.microsoft.com/office/drawing/2014/main" id="{928087B1-B06C-4126-B9C0-23C628962E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72468" y="6667025"/>
              <a:ext cx="63451" cy="92156"/>
            </a:xfrm>
            <a:custGeom>
              <a:avLst/>
              <a:gdLst>
                <a:gd name="T0" fmla="*/ 18 w 18"/>
                <a:gd name="T1" fmla="*/ 13 h 26"/>
                <a:gd name="T2" fmla="*/ 9 w 18"/>
                <a:gd name="T3" fmla="*/ 26 h 26"/>
                <a:gd name="T4" fmla="*/ 0 w 18"/>
                <a:gd name="T5" fmla="*/ 13 h 26"/>
                <a:gd name="T6" fmla="*/ 9 w 18"/>
                <a:gd name="T7" fmla="*/ 0 h 26"/>
                <a:gd name="T8" fmla="*/ 18 w 18"/>
                <a:gd name="T9" fmla="*/ 13 h 26"/>
                <a:gd name="T10" fmla="*/ 5 w 18"/>
                <a:gd name="T11" fmla="*/ 13 h 26"/>
                <a:gd name="T12" fmla="*/ 9 w 18"/>
                <a:gd name="T13" fmla="*/ 22 h 26"/>
                <a:gd name="T14" fmla="*/ 13 w 18"/>
                <a:gd name="T15" fmla="*/ 13 h 26"/>
                <a:gd name="T16" fmla="*/ 9 w 18"/>
                <a:gd name="T17" fmla="*/ 4 h 26"/>
                <a:gd name="T18" fmla="*/ 5 w 18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6">
                  <a:moveTo>
                    <a:pt x="18" y="13"/>
                  </a:moveTo>
                  <a:cubicBezTo>
                    <a:pt x="18" y="22"/>
                    <a:pt x="15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5" y="0"/>
                    <a:pt x="18" y="4"/>
                    <a:pt x="18" y="13"/>
                  </a:cubicBezTo>
                  <a:close/>
                  <a:moveTo>
                    <a:pt x="5" y="13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7"/>
                    <a:pt x="12" y="4"/>
                    <a:pt x="9" y="4"/>
                  </a:cubicBezTo>
                  <a:cubicBezTo>
                    <a:pt x="6" y="4"/>
                    <a:pt x="5" y="7"/>
                    <a:pt x="5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01" name="Freeform 56">
              <a:extLst>
                <a:ext uri="{FF2B5EF4-FFF2-40B4-BE49-F238E27FC236}">
                  <a16:creationId xmlns:a16="http://schemas.microsoft.com/office/drawing/2014/main" id="{68AF655A-E983-4311-81FF-D8404D16BC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72468" y="6819610"/>
              <a:ext cx="63451" cy="89134"/>
            </a:xfrm>
            <a:custGeom>
              <a:avLst/>
              <a:gdLst>
                <a:gd name="T0" fmla="*/ 18 w 18"/>
                <a:gd name="T1" fmla="*/ 13 h 25"/>
                <a:gd name="T2" fmla="*/ 9 w 18"/>
                <a:gd name="T3" fmla="*/ 25 h 25"/>
                <a:gd name="T4" fmla="*/ 0 w 18"/>
                <a:gd name="T5" fmla="*/ 13 h 25"/>
                <a:gd name="T6" fmla="*/ 9 w 18"/>
                <a:gd name="T7" fmla="*/ 0 h 25"/>
                <a:gd name="T8" fmla="*/ 18 w 18"/>
                <a:gd name="T9" fmla="*/ 13 h 25"/>
                <a:gd name="T10" fmla="*/ 5 w 18"/>
                <a:gd name="T11" fmla="*/ 13 h 25"/>
                <a:gd name="T12" fmla="*/ 9 w 18"/>
                <a:gd name="T13" fmla="*/ 22 h 25"/>
                <a:gd name="T14" fmla="*/ 13 w 18"/>
                <a:gd name="T15" fmla="*/ 13 h 25"/>
                <a:gd name="T16" fmla="*/ 9 w 18"/>
                <a:gd name="T17" fmla="*/ 4 h 25"/>
                <a:gd name="T18" fmla="*/ 5 w 18"/>
                <a:gd name="T19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5">
                  <a:moveTo>
                    <a:pt x="18" y="13"/>
                  </a:moveTo>
                  <a:cubicBezTo>
                    <a:pt x="18" y="21"/>
                    <a:pt x="15" y="25"/>
                    <a:pt x="9" y="25"/>
                  </a:cubicBezTo>
                  <a:cubicBezTo>
                    <a:pt x="3" y="25"/>
                    <a:pt x="0" y="21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5" y="0"/>
                    <a:pt x="18" y="4"/>
                    <a:pt x="18" y="13"/>
                  </a:cubicBezTo>
                  <a:close/>
                  <a:moveTo>
                    <a:pt x="5" y="13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7"/>
                    <a:pt x="12" y="4"/>
                    <a:pt x="9" y="4"/>
                  </a:cubicBezTo>
                  <a:cubicBezTo>
                    <a:pt x="6" y="4"/>
                    <a:pt x="5" y="7"/>
                    <a:pt x="5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02" name="Freeform 63">
              <a:extLst>
                <a:ext uri="{FF2B5EF4-FFF2-40B4-BE49-F238E27FC236}">
                  <a16:creationId xmlns:a16="http://schemas.microsoft.com/office/drawing/2014/main" id="{7B19ABAE-25ED-43DE-9C59-642841EDB8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02906" y="4228688"/>
              <a:ext cx="60430" cy="93666"/>
            </a:xfrm>
            <a:custGeom>
              <a:avLst/>
              <a:gdLst>
                <a:gd name="T0" fmla="*/ 17 w 17"/>
                <a:gd name="T1" fmla="*/ 13 h 26"/>
                <a:gd name="T2" fmla="*/ 9 w 17"/>
                <a:gd name="T3" fmla="*/ 26 h 26"/>
                <a:gd name="T4" fmla="*/ 0 w 17"/>
                <a:gd name="T5" fmla="*/ 13 h 26"/>
                <a:gd name="T6" fmla="*/ 9 w 17"/>
                <a:gd name="T7" fmla="*/ 0 h 26"/>
                <a:gd name="T8" fmla="*/ 17 w 17"/>
                <a:gd name="T9" fmla="*/ 13 h 26"/>
                <a:gd name="T10" fmla="*/ 4 w 17"/>
                <a:gd name="T11" fmla="*/ 13 h 26"/>
                <a:gd name="T12" fmla="*/ 9 w 17"/>
                <a:gd name="T13" fmla="*/ 22 h 26"/>
                <a:gd name="T14" fmla="*/ 13 w 17"/>
                <a:gd name="T15" fmla="*/ 13 h 26"/>
                <a:gd name="T16" fmla="*/ 9 w 17"/>
                <a:gd name="T17" fmla="*/ 4 h 26"/>
                <a:gd name="T18" fmla="*/ 4 w 17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6">
                  <a:moveTo>
                    <a:pt x="17" y="13"/>
                  </a:moveTo>
                  <a:cubicBezTo>
                    <a:pt x="17" y="22"/>
                    <a:pt x="14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5"/>
                    <a:pt x="3" y="0"/>
                    <a:pt x="9" y="0"/>
                  </a:cubicBezTo>
                  <a:cubicBezTo>
                    <a:pt x="14" y="0"/>
                    <a:pt x="17" y="5"/>
                    <a:pt x="17" y="13"/>
                  </a:cubicBezTo>
                  <a:close/>
                  <a:moveTo>
                    <a:pt x="4" y="13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7"/>
                    <a:pt x="11" y="4"/>
                    <a:pt x="9" y="4"/>
                  </a:cubicBezTo>
                  <a:cubicBezTo>
                    <a:pt x="6" y="4"/>
                    <a:pt x="4" y="7"/>
                    <a:pt x="4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03" name="Freeform 64">
              <a:extLst>
                <a:ext uri="{FF2B5EF4-FFF2-40B4-BE49-F238E27FC236}">
                  <a16:creationId xmlns:a16="http://schemas.microsoft.com/office/drawing/2014/main" id="{A9EB6EEA-0E1B-4155-8803-6E1A89B257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02906" y="4382783"/>
              <a:ext cx="60430" cy="92156"/>
            </a:xfrm>
            <a:custGeom>
              <a:avLst/>
              <a:gdLst>
                <a:gd name="T0" fmla="*/ 17 w 17"/>
                <a:gd name="T1" fmla="*/ 13 h 26"/>
                <a:gd name="T2" fmla="*/ 9 w 17"/>
                <a:gd name="T3" fmla="*/ 26 h 26"/>
                <a:gd name="T4" fmla="*/ 0 w 17"/>
                <a:gd name="T5" fmla="*/ 13 h 26"/>
                <a:gd name="T6" fmla="*/ 9 w 17"/>
                <a:gd name="T7" fmla="*/ 0 h 26"/>
                <a:gd name="T8" fmla="*/ 17 w 17"/>
                <a:gd name="T9" fmla="*/ 13 h 26"/>
                <a:gd name="T10" fmla="*/ 4 w 17"/>
                <a:gd name="T11" fmla="*/ 13 h 26"/>
                <a:gd name="T12" fmla="*/ 9 w 17"/>
                <a:gd name="T13" fmla="*/ 22 h 26"/>
                <a:gd name="T14" fmla="*/ 13 w 17"/>
                <a:gd name="T15" fmla="*/ 13 h 26"/>
                <a:gd name="T16" fmla="*/ 9 w 17"/>
                <a:gd name="T17" fmla="*/ 4 h 26"/>
                <a:gd name="T18" fmla="*/ 4 w 17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6">
                  <a:moveTo>
                    <a:pt x="17" y="13"/>
                  </a:moveTo>
                  <a:cubicBezTo>
                    <a:pt x="17" y="21"/>
                    <a:pt x="14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4" y="0"/>
                    <a:pt x="17" y="4"/>
                    <a:pt x="17" y="13"/>
                  </a:cubicBezTo>
                  <a:close/>
                  <a:moveTo>
                    <a:pt x="4" y="13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7"/>
                    <a:pt x="11" y="4"/>
                    <a:pt x="9" y="4"/>
                  </a:cubicBezTo>
                  <a:cubicBezTo>
                    <a:pt x="6" y="4"/>
                    <a:pt x="4" y="7"/>
                    <a:pt x="4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04" name="Freeform 65">
              <a:extLst>
                <a:ext uri="{FF2B5EF4-FFF2-40B4-BE49-F238E27FC236}">
                  <a16:creationId xmlns:a16="http://schemas.microsoft.com/office/drawing/2014/main" id="{2CC5F30A-BDEA-421B-BA90-0B9422E059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7438" y="4689463"/>
              <a:ext cx="49855" cy="89134"/>
            </a:xfrm>
            <a:custGeom>
              <a:avLst/>
              <a:gdLst>
                <a:gd name="T0" fmla="*/ 16 w 33"/>
                <a:gd name="T1" fmla="*/ 12 h 59"/>
                <a:gd name="T2" fmla="*/ 4 w 33"/>
                <a:gd name="T3" fmla="*/ 19 h 59"/>
                <a:gd name="T4" fmla="*/ 0 w 33"/>
                <a:gd name="T5" fmla="*/ 9 h 59"/>
                <a:gd name="T6" fmla="*/ 16 w 33"/>
                <a:gd name="T7" fmla="*/ 0 h 59"/>
                <a:gd name="T8" fmla="*/ 26 w 33"/>
                <a:gd name="T9" fmla="*/ 0 h 59"/>
                <a:gd name="T10" fmla="*/ 26 w 33"/>
                <a:gd name="T11" fmla="*/ 49 h 59"/>
                <a:gd name="T12" fmla="*/ 33 w 33"/>
                <a:gd name="T13" fmla="*/ 49 h 59"/>
                <a:gd name="T14" fmla="*/ 33 w 33"/>
                <a:gd name="T15" fmla="*/ 59 h 59"/>
                <a:gd name="T16" fmla="*/ 7 w 33"/>
                <a:gd name="T17" fmla="*/ 59 h 59"/>
                <a:gd name="T18" fmla="*/ 7 w 33"/>
                <a:gd name="T19" fmla="*/ 49 h 59"/>
                <a:gd name="T20" fmla="*/ 16 w 33"/>
                <a:gd name="T21" fmla="*/ 49 h 59"/>
                <a:gd name="T22" fmla="*/ 16 w 33"/>
                <a:gd name="T23" fmla="*/ 1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9">
                  <a:moveTo>
                    <a:pt x="16" y="12"/>
                  </a:moveTo>
                  <a:lnTo>
                    <a:pt x="4" y="19"/>
                  </a:lnTo>
                  <a:lnTo>
                    <a:pt x="0" y="9"/>
                  </a:lnTo>
                  <a:lnTo>
                    <a:pt x="16" y="0"/>
                  </a:lnTo>
                  <a:lnTo>
                    <a:pt x="26" y="0"/>
                  </a:lnTo>
                  <a:lnTo>
                    <a:pt x="26" y="49"/>
                  </a:lnTo>
                  <a:lnTo>
                    <a:pt x="33" y="49"/>
                  </a:lnTo>
                  <a:lnTo>
                    <a:pt x="33" y="59"/>
                  </a:lnTo>
                  <a:lnTo>
                    <a:pt x="7" y="59"/>
                  </a:lnTo>
                  <a:lnTo>
                    <a:pt x="7" y="49"/>
                  </a:lnTo>
                  <a:lnTo>
                    <a:pt x="16" y="49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05" name="Freeform 66">
              <a:extLst>
                <a:ext uri="{FF2B5EF4-FFF2-40B4-BE49-F238E27FC236}">
                  <a16:creationId xmlns:a16="http://schemas.microsoft.com/office/drawing/2014/main" id="{60FE98C4-50D8-4C2E-A7D9-86FAA25C6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02906" y="4839027"/>
              <a:ext cx="60430" cy="92156"/>
            </a:xfrm>
            <a:custGeom>
              <a:avLst/>
              <a:gdLst>
                <a:gd name="T0" fmla="*/ 17 w 17"/>
                <a:gd name="T1" fmla="*/ 13 h 26"/>
                <a:gd name="T2" fmla="*/ 9 w 17"/>
                <a:gd name="T3" fmla="*/ 26 h 26"/>
                <a:gd name="T4" fmla="*/ 0 w 17"/>
                <a:gd name="T5" fmla="*/ 13 h 26"/>
                <a:gd name="T6" fmla="*/ 9 w 17"/>
                <a:gd name="T7" fmla="*/ 0 h 26"/>
                <a:gd name="T8" fmla="*/ 17 w 17"/>
                <a:gd name="T9" fmla="*/ 13 h 26"/>
                <a:gd name="T10" fmla="*/ 4 w 17"/>
                <a:gd name="T11" fmla="*/ 13 h 26"/>
                <a:gd name="T12" fmla="*/ 9 w 17"/>
                <a:gd name="T13" fmla="*/ 22 h 26"/>
                <a:gd name="T14" fmla="*/ 13 w 17"/>
                <a:gd name="T15" fmla="*/ 13 h 26"/>
                <a:gd name="T16" fmla="*/ 9 w 17"/>
                <a:gd name="T17" fmla="*/ 4 h 26"/>
                <a:gd name="T18" fmla="*/ 4 w 17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6">
                  <a:moveTo>
                    <a:pt x="17" y="13"/>
                  </a:moveTo>
                  <a:cubicBezTo>
                    <a:pt x="17" y="22"/>
                    <a:pt x="14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4" y="0"/>
                    <a:pt x="17" y="4"/>
                    <a:pt x="17" y="13"/>
                  </a:cubicBezTo>
                  <a:close/>
                  <a:moveTo>
                    <a:pt x="4" y="13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7"/>
                    <a:pt x="11" y="4"/>
                    <a:pt x="9" y="4"/>
                  </a:cubicBezTo>
                  <a:cubicBezTo>
                    <a:pt x="6" y="4"/>
                    <a:pt x="4" y="7"/>
                    <a:pt x="4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06" name="Freeform 67">
              <a:extLst>
                <a:ext uri="{FF2B5EF4-FFF2-40B4-BE49-F238E27FC236}">
                  <a16:creationId xmlns:a16="http://schemas.microsoft.com/office/drawing/2014/main" id="{609734BC-ED69-4467-8C04-2DD3936E56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02906" y="4993123"/>
              <a:ext cx="60430" cy="89134"/>
            </a:xfrm>
            <a:custGeom>
              <a:avLst/>
              <a:gdLst>
                <a:gd name="T0" fmla="*/ 17 w 17"/>
                <a:gd name="T1" fmla="*/ 13 h 25"/>
                <a:gd name="T2" fmla="*/ 9 w 17"/>
                <a:gd name="T3" fmla="*/ 25 h 25"/>
                <a:gd name="T4" fmla="*/ 0 w 17"/>
                <a:gd name="T5" fmla="*/ 12 h 25"/>
                <a:gd name="T6" fmla="*/ 9 w 17"/>
                <a:gd name="T7" fmla="*/ 0 h 25"/>
                <a:gd name="T8" fmla="*/ 17 w 17"/>
                <a:gd name="T9" fmla="*/ 13 h 25"/>
                <a:gd name="T10" fmla="*/ 4 w 17"/>
                <a:gd name="T11" fmla="*/ 12 h 25"/>
                <a:gd name="T12" fmla="*/ 9 w 17"/>
                <a:gd name="T13" fmla="*/ 22 h 25"/>
                <a:gd name="T14" fmla="*/ 13 w 17"/>
                <a:gd name="T15" fmla="*/ 13 h 25"/>
                <a:gd name="T16" fmla="*/ 9 w 17"/>
                <a:gd name="T17" fmla="*/ 3 h 25"/>
                <a:gd name="T18" fmla="*/ 4 w 17"/>
                <a:gd name="T1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5">
                  <a:moveTo>
                    <a:pt x="17" y="13"/>
                  </a:moveTo>
                  <a:cubicBezTo>
                    <a:pt x="17" y="21"/>
                    <a:pt x="14" y="25"/>
                    <a:pt x="9" y="25"/>
                  </a:cubicBezTo>
                  <a:cubicBezTo>
                    <a:pt x="3" y="25"/>
                    <a:pt x="0" y="21"/>
                    <a:pt x="0" y="12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4" y="0"/>
                    <a:pt x="17" y="4"/>
                    <a:pt x="17" y="13"/>
                  </a:cubicBezTo>
                  <a:close/>
                  <a:moveTo>
                    <a:pt x="4" y="12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6"/>
                    <a:pt x="11" y="3"/>
                    <a:pt x="9" y="3"/>
                  </a:cubicBezTo>
                  <a:cubicBezTo>
                    <a:pt x="6" y="3"/>
                    <a:pt x="4" y="6"/>
                    <a:pt x="4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07" name="Freeform 68">
              <a:extLst>
                <a:ext uri="{FF2B5EF4-FFF2-40B4-BE49-F238E27FC236}">
                  <a16:creationId xmlns:a16="http://schemas.microsoft.com/office/drawing/2014/main" id="{F428D630-9356-4B63-8FFD-188EC62EE2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7438" y="5299803"/>
              <a:ext cx="49855" cy="84602"/>
            </a:xfrm>
            <a:custGeom>
              <a:avLst/>
              <a:gdLst>
                <a:gd name="T0" fmla="*/ 16 w 33"/>
                <a:gd name="T1" fmla="*/ 9 h 56"/>
                <a:gd name="T2" fmla="*/ 4 w 33"/>
                <a:gd name="T3" fmla="*/ 16 h 56"/>
                <a:gd name="T4" fmla="*/ 0 w 33"/>
                <a:gd name="T5" fmla="*/ 9 h 56"/>
                <a:gd name="T6" fmla="*/ 16 w 33"/>
                <a:gd name="T7" fmla="*/ 0 h 56"/>
                <a:gd name="T8" fmla="*/ 26 w 33"/>
                <a:gd name="T9" fmla="*/ 0 h 56"/>
                <a:gd name="T10" fmla="*/ 26 w 33"/>
                <a:gd name="T11" fmla="*/ 49 h 56"/>
                <a:gd name="T12" fmla="*/ 33 w 33"/>
                <a:gd name="T13" fmla="*/ 49 h 56"/>
                <a:gd name="T14" fmla="*/ 33 w 33"/>
                <a:gd name="T15" fmla="*/ 56 h 56"/>
                <a:gd name="T16" fmla="*/ 7 w 33"/>
                <a:gd name="T17" fmla="*/ 56 h 56"/>
                <a:gd name="T18" fmla="*/ 7 w 33"/>
                <a:gd name="T19" fmla="*/ 49 h 56"/>
                <a:gd name="T20" fmla="*/ 16 w 33"/>
                <a:gd name="T21" fmla="*/ 49 h 56"/>
                <a:gd name="T22" fmla="*/ 16 w 33"/>
                <a:gd name="T23" fmla="*/ 9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6">
                  <a:moveTo>
                    <a:pt x="16" y="9"/>
                  </a:moveTo>
                  <a:lnTo>
                    <a:pt x="4" y="16"/>
                  </a:lnTo>
                  <a:lnTo>
                    <a:pt x="0" y="9"/>
                  </a:lnTo>
                  <a:lnTo>
                    <a:pt x="16" y="0"/>
                  </a:lnTo>
                  <a:lnTo>
                    <a:pt x="26" y="0"/>
                  </a:lnTo>
                  <a:lnTo>
                    <a:pt x="26" y="49"/>
                  </a:lnTo>
                  <a:lnTo>
                    <a:pt x="33" y="49"/>
                  </a:lnTo>
                  <a:lnTo>
                    <a:pt x="33" y="56"/>
                  </a:lnTo>
                  <a:lnTo>
                    <a:pt x="7" y="56"/>
                  </a:lnTo>
                  <a:lnTo>
                    <a:pt x="7" y="49"/>
                  </a:lnTo>
                  <a:lnTo>
                    <a:pt x="16" y="4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08" name="Freeform 69">
              <a:extLst>
                <a:ext uri="{FF2B5EF4-FFF2-40B4-BE49-F238E27FC236}">
                  <a16:creationId xmlns:a16="http://schemas.microsoft.com/office/drawing/2014/main" id="{CF1422A8-83F0-48BB-8092-65CD101126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02906" y="5449367"/>
              <a:ext cx="60430" cy="89134"/>
            </a:xfrm>
            <a:custGeom>
              <a:avLst/>
              <a:gdLst>
                <a:gd name="T0" fmla="*/ 17 w 17"/>
                <a:gd name="T1" fmla="*/ 13 h 25"/>
                <a:gd name="T2" fmla="*/ 9 w 17"/>
                <a:gd name="T3" fmla="*/ 25 h 25"/>
                <a:gd name="T4" fmla="*/ 0 w 17"/>
                <a:gd name="T5" fmla="*/ 13 h 25"/>
                <a:gd name="T6" fmla="*/ 9 w 17"/>
                <a:gd name="T7" fmla="*/ 0 h 25"/>
                <a:gd name="T8" fmla="*/ 17 w 17"/>
                <a:gd name="T9" fmla="*/ 13 h 25"/>
                <a:gd name="T10" fmla="*/ 4 w 17"/>
                <a:gd name="T11" fmla="*/ 13 h 25"/>
                <a:gd name="T12" fmla="*/ 9 w 17"/>
                <a:gd name="T13" fmla="*/ 22 h 25"/>
                <a:gd name="T14" fmla="*/ 13 w 17"/>
                <a:gd name="T15" fmla="*/ 13 h 25"/>
                <a:gd name="T16" fmla="*/ 9 w 17"/>
                <a:gd name="T17" fmla="*/ 3 h 25"/>
                <a:gd name="T18" fmla="*/ 4 w 17"/>
                <a:gd name="T19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5">
                  <a:moveTo>
                    <a:pt x="17" y="13"/>
                  </a:moveTo>
                  <a:cubicBezTo>
                    <a:pt x="17" y="21"/>
                    <a:pt x="14" y="25"/>
                    <a:pt x="9" y="25"/>
                  </a:cubicBezTo>
                  <a:cubicBezTo>
                    <a:pt x="3" y="25"/>
                    <a:pt x="0" y="21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4" y="0"/>
                    <a:pt x="17" y="4"/>
                    <a:pt x="17" y="13"/>
                  </a:cubicBezTo>
                  <a:close/>
                  <a:moveTo>
                    <a:pt x="4" y="13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6"/>
                    <a:pt x="11" y="3"/>
                    <a:pt x="9" y="3"/>
                  </a:cubicBezTo>
                  <a:cubicBezTo>
                    <a:pt x="6" y="3"/>
                    <a:pt x="4" y="6"/>
                    <a:pt x="4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09" name="Freeform 70">
              <a:extLst>
                <a:ext uri="{FF2B5EF4-FFF2-40B4-BE49-F238E27FC236}">
                  <a16:creationId xmlns:a16="http://schemas.microsoft.com/office/drawing/2014/main" id="{A8FED9AA-328F-40DC-A353-9CA59839F6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7438" y="5603463"/>
              <a:ext cx="49855" cy="89134"/>
            </a:xfrm>
            <a:custGeom>
              <a:avLst/>
              <a:gdLst>
                <a:gd name="T0" fmla="*/ 16 w 33"/>
                <a:gd name="T1" fmla="*/ 11 h 59"/>
                <a:gd name="T2" fmla="*/ 4 w 33"/>
                <a:gd name="T3" fmla="*/ 18 h 59"/>
                <a:gd name="T4" fmla="*/ 0 w 33"/>
                <a:gd name="T5" fmla="*/ 9 h 59"/>
                <a:gd name="T6" fmla="*/ 16 w 33"/>
                <a:gd name="T7" fmla="*/ 0 h 59"/>
                <a:gd name="T8" fmla="*/ 26 w 33"/>
                <a:gd name="T9" fmla="*/ 0 h 59"/>
                <a:gd name="T10" fmla="*/ 26 w 33"/>
                <a:gd name="T11" fmla="*/ 49 h 59"/>
                <a:gd name="T12" fmla="*/ 33 w 33"/>
                <a:gd name="T13" fmla="*/ 52 h 59"/>
                <a:gd name="T14" fmla="*/ 33 w 33"/>
                <a:gd name="T15" fmla="*/ 59 h 59"/>
                <a:gd name="T16" fmla="*/ 7 w 33"/>
                <a:gd name="T17" fmla="*/ 59 h 59"/>
                <a:gd name="T18" fmla="*/ 7 w 33"/>
                <a:gd name="T19" fmla="*/ 52 h 59"/>
                <a:gd name="T20" fmla="*/ 16 w 33"/>
                <a:gd name="T21" fmla="*/ 49 h 59"/>
                <a:gd name="T22" fmla="*/ 16 w 33"/>
                <a:gd name="T23" fmla="*/ 1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9">
                  <a:moveTo>
                    <a:pt x="16" y="11"/>
                  </a:moveTo>
                  <a:lnTo>
                    <a:pt x="4" y="18"/>
                  </a:lnTo>
                  <a:lnTo>
                    <a:pt x="0" y="9"/>
                  </a:lnTo>
                  <a:lnTo>
                    <a:pt x="16" y="0"/>
                  </a:lnTo>
                  <a:lnTo>
                    <a:pt x="26" y="0"/>
                  </a:lnTo>
                  <a:lnTo>
                    <a:pt x="26" y="49"/>
                  </a:lnTo>
                  <a:lnTo>
                    <a:pt x="33" y="52"/>
                  </a:lnTo>
                  <a:lnTo>
                    <a:pt x="33" y="59"/>
                  </a:lnTo>
                  <a:lnTo>
                    <a:pt x="7" y="59"/>
                  </a:lnTo>
                  <a:lnTo>
                    <a:pt x="7" y="52"/>
                  </a:lnTo>
                  <a:lnTo>
                    <a:pt x="16" y="49"/>
                  </a:lnTo>
                  <a:lnTo>
                    <a:pt x="16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10" name="Freeform 71">
              <a:extLst>
                <a:ext uri="{FF2B5EF4-FFF2-40B4-BE49-F238E27FC236}">
                  <a16:creationId xmlns:a16="http://schemas.microsoft.com/office/drawing/2014/main" id="{BBA6928A-071F-4CE3-8AC6-E7BFF542B8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02906" y="5753026"/>
              <a:ext cx="60430" cy="92156"/>
            </a:xfrm>
            <a:custGeom>
              <a:avLst/>
              <a:gdLst>
                <a:gd name="T0" fmla="*/ 17 w 17"/>
                <a:gd name="T1" fmla="*/ 13 h 26"/>
                <a:gd name="T2" fmla="*/ 9 w 17"/>
                <a:gd name="T3" fmla="*/ 26 h 26"/>
                <a:gd name="T4" fmla="*/ 0 w 17"/>
                <a:gd name="T5" fmla="*/ 13 h 26"/>
                <a:gd name="T6" fmla="*/ 9 w 17"/>
                <a:gd name="T7" fmla="*/ 0 h 26"/>
                <a:gd name="T8" fmla="*/ 17 w 17"/>
                <a:gd name="T9" fmla="*/ 13 h 26"/>
                <a:gd name="T10" fmla="*/ 4 w 17"/>
                <a:gd name="T11" fmla="*/ 13 h 26"/>
                <a:gd name="T12" fmla="*/ 9 w 17"/>
                <a:gd name="T13" fmla="*/ 22 h 26"/>
                <a:gd name="T14" fmla="*/ 13 w 17"/>
                <a:gd name="T15" fmla="*/ 13 h 26"/>
                <a:gd name="T16" fmla="*/ 9 w 17"/>
                <a:gd name="T17" fmla="*/ 4 h 26"/>
                <a:gd name="T18" fmla="*/ 4 w 17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6">
                  <a:moveTo>
                    <a:pt x="17" y="13"/>
                  </a:moveTo>
                  <a:cubicBezTo>
                    <a:pt x="17" y="22"/>
                    <a:pt x="14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4" y="0"/>
                    <a:pt x="17" y="4"/>
                    <a:pt x="17" y="13"/>
                  </a:cubicBezTo>
                  <a:close/>
                  <a:moveTo>
                    <a:pt x="4" y="13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7"/>
                    <a:pt x="11" y="4"/>
                    <a:pt x="9" y="4"/>
                  </a:cubicBezTo>
                  <a:cubicBezTo>
                    <a:pt x="6" y="4"/>
                    <a:pt x="4" y="7"/>
                    <a:pt x="4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11" name="Freeform 72">
              <a:extLst>
                <a:ext uri="{FF2B5EF4-FFF2-40B4-BE49-F238E27FC236}">
                  <a16:creationId xmlns:a16="http://schemas.microsoft.com/office/drawing/2014/main" id="{5321725F-374E-4C09-8561-4683FD9CCE3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7438" y="5905611"/>
              <a:ext cx="49855" cy="89134"/>
            </a:xfrm>
            <a:custGeom>
              <a:avLst/>
              <a:gdLst>
                <a:gd name="T0" fmla="*/ 16 w 33"/>
                <a:gd name="T1" fmla="*/ 12 h 59"/>
                <a:gd name="T2" fmla="*/ 4 w 33"/>
                <a:gd name="T3" fmla="*/ 19 h 59"/>
                <a:gd name="T4" fmla="*/ 0 w 33"/>
                <a:gd name="T5" fmla="*/ 12 h 59"/>
                <a:gd name="T6" fmla="*/ 16 w 33"/>
                <a:gd name="T7" fmla="*/ 0 h 59"/>
                <a:gd name="T8" fmla="*/ 26 w 33"/>
                <a:gd name="T9" fmla="*/ 0 h 59"/>
                <a:gd name="T10" fmla="*/ 26 w 33"/>
                <a:gd name="T11" fmla="*/ 52 h 59"/>
                <a:gd name="T12" fmla="*/ 33 w 33"/>
                <a:gd name="T13" fmla="*/ 52 h 59"/>
                <a:gd name="T14" fmla="*/ 33 w 33"/>
                <a:gd name="T15" fmla="*/ 59 h 59"/>
                <a:gd name="T16" fmla="*/ 7 w 33"/>
                <a:gd name="T17" fmla="*/ 59 h 59"/>
                <a:gd name="T18" fmla="*/ 7 w 33"/>
                <a:gd name="T19" fmla="*/ 52 h 59"/>
                <a:gd name="T20" fmla="*/ 16 w 33"/>
                <a:gd name="T21" fmla="*/ 52 h 59"/>
                <a:gd name="T22" fmla="*/ 16 w 33"/>
                <a:gd name="T23" fmla="*/ 1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9">
                  <a:moveTo>
                    <a:pt x="16" y="12"/>
                  </a:moveTo>
                  <a:lnTo>
                    <a:pt x="4" y="19"/>
                  </a:lnTo>
                  <a:lnTo>
                    <a:pt x="0" y="12"/>
                  </a:lnTo>
                  <a:lnTo>
                    <a:pt x="16" y="0"/>
                  </a:lnTo>
                  <a:lnTo>
                    <a:pt x="26" y="0"/>
                  </a:lnTo>
                  <a:lnTo>
                    <a:pt x="26" y="52"/>
                  </a:lnTo>
                  <a:lnTo>
                    <a:pt x="33" y="52"/>
                  </a:lnTo>
                  <a:lnTo>
                    <a:pt x="33" y="59"/>
                  </a:lnTo>
                  <a:lnTo>
                    <a:pt x="7" y="59"/>
                  </a:lnTo>
                  <a:lnTo>
                    <a:pt x="7" y="52"/>
                  </a:lnTo>
                  <a:lnTo>
                    <a:pt x="16" y="52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12" name="Freeform 73">
              <a:extLst>
                <a:ext uri="{FF2B5EF4-FFF2-40B4-BE49-F238E27FC236}">
                  <a16:creationId xmlns:a16="http://schemas.microsoft.com/office/drawing/2014/main" id="{1A1F356B-82FE-4AFA-9455-473B0E4FF9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7438" y="6059707"/>
              <a:ext cx="49855" cy="89134"/>
            </a:xfrm>
            <a:custGeom>
              <a:avLst/>
              <a:gdLst>
                <a:gd name="T0" fmla="*/ 16 w 33"/>
                <a:gd name="T1" fmla="*/ 12 h 59"/>
                <a:gd name="T2" fmla="*/ 4 w 33"/>
                <a:gd name="T3" fmla="*/ 19 h 59"/>
                <a:gd name="T4" fmla="*/ 0 w 33"/>
                <a:gd name="T5" fmla="*/ 9 h 59"/>
                <a:gd name="T6" fmla="*/ 16 w 33"/>
                <a:gd name="T7" fmla="*/ 0 h 59"/>
                <a:gd name="T8" fmla="*/ 26 w 33"/>
                <a:gd name="T9" fmla="*/ 0 h 59"/>
                <a:gd name="T10" fmla="*/ 26 w 33"/>
                <a:gd name="T11" fmla="*/ 52 h 59"/>
                <a:gd name="T12" fmla="*/ 33 w 33"/>
                <a:gd name="T13" fmla="*/ 52 h 59"/>
                <a:gd name="T14" fmla="*/ 33 w 33"/>
                <a:gd name="T15" fmla="*/ 59 h 59"/>
                <a:gd name="T16" fmla="*/ 7 w 33"/>
                <a:gd name="T17" fmla="*/ 59 h 59"/>
                <a:gd name="T18" fmla="*/ 7 w 33"/>
                <a:gd name="T19" fmla="*/ 52 h 59"/>
                <a:gd name="T20" fmla="*/ 16 w 33"/>
                <a:gd name="T21" fmla="*/ 52 h 59"/>
                <a:gd name="T22" fmla="*/ 16 w 33"/>
                <a:gd name="T23" fmla="*/ 1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9">
                  <a:moveTo>
                    <a:pt x="16" y="12"/>
                  </a:moveTo>
                  <a:lnTo>
                    <a:pt x="4" y="19"/>
                  </a:lnTo>
                  <a:lnTo>
                    <a:pt x="0" y="9"/>
                  </a:lnTo>
                  <a:lnTo>
                    <a:pt x="16" y="0"/>
                  </a:lnTo>
                  <a:lnTo>
                    <a:pt x="26" y="0"/>
                  </a:lnTo>
                  <a:lnTo>
                    <a:pt x="26" y="52"/>
                  </a:lnTo>
                  <a:lnTo>
                    <a:pt x="33" y="52"/>
                  </a:lnTo>
                  <a:lnTo>
                    <a:pt x="33" y="59"/>
                  </a:lnTo>
                  <a:lnTo>
                    <a:pt x="7" y="59"/>
                  </a:lnTo>
                  <a:lnTo>
                    <a:pt x="7" y="52"/>
                  </a:lnTo>
                  <a:lnTo>
                    <a:pt x="16" y="52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13" name="Freeform 74">
              <a:extLst>
                <a:ext uri="{FF2B5EF4-FFF2-40B4-BE49-F238E27FC236}">
                  <a16:creationId xmlns:a16="http://schemas.microsoft.com/office/drawing/2014/main" id="{BB8148E0-DA60-484A-8F6B-A6AF58D04E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7438" y="6213803"/>
              <a:ext cx="49855" cy="84602"/>
            </a:xfrm>
            <a:custGeom>
              <a:avLst/>
              <a:gdLst>
                <a:gd name="T0" fmla="*/ 16 w 33"/>
                <a:gd name="T1" fmla="*/ 9 h 56"/>
                <a:gd name="T2" fmla="*/ 4 w 33"/>
                <a:gd name="T3" fmla="*/ 16 h 56"/>
                <a:gd name="T4" fmla="*/ 0 w 33"/>
                <a:gd name="T5" fmla="*/ 9 h 56"/>
                <a:gd name="T6" fmla="*/ 16 w 33"/>
                <a:gd name="T7" fmla="*/ 0 h 56"/>
                <a:gd name="T8" fmla="*/ 26 w 33"/>
                <a:gd name="T9" fmla="*/ 0 h 56"/>
                <a:gd name="T10" fmla="*/ 26 w 33"/>
                <a:gd name="T11" fmla="*/ 49 h 56"/>
                <a:gd name="T12" fmla="*/ 33 w 33"/>
                <a:gd name="T13" fmla="*/ 49 h 56"/>
                <a:gd name="T14" fmla="*/ 33 w 33"/>
                <a:gd name="T15" fmla="*/ 56 h 56"/>
                <a:gd name="T16" fmla="*/ 7 w 33"/>
                <a:gd name="T17" fmla="*/ 56 h 56"/>
                <a:gd name="T18" fmla="*/ 7 w 33"/>
                <a:gd name="T19" fmla="*/ 49 h 56"/>
                <a:gd name="T20" fmla="*/ 16 w 33"/>
                <a:gd name="T21" fmla="*/ 49 h 56"/>
                <a:gd name="T22" fmla="*/ 16 w 33"/>
                <a:gd name="T23" fmla="*/ 9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6">
                  <a:moveTo>
                    <a:pt x="16" y="9"/>
                  </a:moveTo>
                  <a:lnTo>
                    <a:pt x="4" y="16"/>
                  </a:lnTo>
                  <a:lnTo>
                    <a:pt x="0" y="9"/>
                  </a:lnTo>
                  <a:lnTo>
                    <a:pt x="16" y="0"/>
                  </a:lnTo>
                  <a:lnTo>
                    <a:pt x="26" y="0"/>
                  </a:lnTo>
                  <a:lnTo>
                    <a:pt x="26" y="49"/>
                  </a:lnTo>
                  <a:lnTo>
                    <a:pt x="33" y="49"/>
                  </a:lnTo>
                  <a:lnTo>
                    <a:pt x="33" y="56"/>
                  </a:lnTo>
                  <a:lnTo>
                    <a:pt x="7" y="56"/>
                  </a:lnTo>
                  <a:lnTo>
                    <a:pt x="7" y="49"/>
                  </a:lnTo>
                  <a:lnTo>
                    <a:pt x="16" y="49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14" name="Freeform 75">
              <a:extLst>
                <a:ext uri="{FF2B5EF4-FFF2-40B4-BE49-F238E27FC236}">
                  <a16:creationId xmlns:a16="http://schemas.microsoft.com/office/drawing/2014/main" id="{DE2DEF1B-4CC7-40A2-836F-2EF5C71B3C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02906" y="6667025"/>
              <a:ext cx="60430" cy="92156"/>
            </a:xfrm>
            <a:custGeom>
              <a:avLst/>
              <a:gdLst>
                <a:gd name="T0" fmla="*/ 17 w 17"/>
                <a:gd name="T1" fmla="*/ 13 h 26"/>
                <a:gd name="T2" fmla="*/ 9 w 17"/>
                <a:gd name="T3" fmla="*/ 26 h 26"/>
                <a:gd name="T4" fmla="*/ 0 w 17"/>
                <a:gd name="T5" fmla="*/ 13 h 26"/>
                <a:gd name="T6" fmla="*/ 9 w 17"/>
                <a:gd name="T7" fmla="*/ 0 h 26"/>
                <a:gd name="T8" fmla="*/ 17 w 17"/>
                <a:gd name="T9" fmla="*/ 13 h 26"/>
                <a:gd name="T10" fmla="*/ 4 w 17"/>
                <a:gd name="T11" fmla="*/ 13 h 26"/>
                <a:gd name="T12" fmla="*/ 9 w 17"/>
                <a:gd name="T13" fmla="*/ 22 h 26"/>
                <a:gd name="T14" fmla="*/ 13 w 17"/>
                <a:gd name="T15" fmla="*/ 13 h 26"/>
                <a:gd name="T16" fmla="*/ 9 w 17"/>
                <a:gd name="T17" fmla="*/ 4 h 26"/>
                <a:gd name="T18" fmla="*/ 4 w 17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6">
                  <a:moveTo>
                    <a:pt x="17" y="13"/>
                  </a:moveTo>
                  <a:cubicBezTo>
                    <a:pt x="17" y="22"/>
                    <a:pt x="14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4" y="0"/>
                    <a:pt x="17" y="4"/>
                    <a:pt x="17" y="13"/>
                  </a:cubicBezTo>
                  <a:close/>
                  <a:moveTo>
                    <a:pt x="4" y="13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7"/>
                    <a:pt x="11" y="4"/>
                    <a:pt x="9" y="4"/>
                  </a:cubicBezTo>
                  <a:cubicBezTo>
                    <a:pt x="6" y="4"/>
                    <a:pt x="4" y="7"/>
                    <a:pt x="4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15" name="Freeform 76">
              <a:extLst>
                <a:ext uri="{FF2B5EF4-FFF2-40B4-BE49-F238E27FC236}">
                  <a16:creationId xmlns:a16="http://schemas.microsoft.com/office/drawing/2014/main" id="{6012F834-E2DB-4086-BD80-2BD2B721CD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02906" y="6819610"/>
              <a:ext cx="60430" cy="89134"/>
            </a:xfrm>
            <a:custGeom>
              <a:avLst/>
              <a:gdLst>
                <a:gd name="T0" fmla="*/ 17 w 17"/>
                <a:gd name="T1" fmla="*/ 13 h 25"/>
                <a:gd name="T2" fmla="*/ 9 w 17"/>
                <a:gd name="T3" fmla="*/ 25 h 25"/>
                <a:gd name="T4" fmla="*/ 0 w 17"/>
                <a:gd name="T5" fmla="*/ 13 h 25"/>
                <a:gd name="T6" fmla="*/ 9 w 17"/>
                <a:gd name="T7" fmla="*/ 0 h 25"/>
                <a:gd name="T8" fmla="*/ 17 w 17"/>
                <a:gd name="T9" fmla="*/ 13 h 25"/>
                <a:gd name="T10" fmla="*/ 4 w 17"/>
                <a:gd name="T11" fmla="*/ 13 h 25"/>
                <a:gd name="T12" fmla="*/ 9 w 17"/>
                <a:gd name="T13" fmla="*/ 22 h 25"/>
                <a:gd name="T14" fmla="*/ 13 w 17"/>
                <a:gd name="T15" fmla="*/ 13 h 25"/>
                <a:gd name="T16" fmla="*/ 9 w 17"/>
                <a:gd name="T17" fmla="*/ 4 h 25"/>
                <a:gd name="T18" fmla="*/ 4 w 17"/>
                <a:gd name="T19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5">
                  <a:moveTo>
                    <a:pt x="17" y="13"/>
                  </a:moveTo>
                  <a:cubicBezTo>
                    <a:pt x="17" y="21"/>
                    <a:pt x="14" y="25"/>
                    <a:pt x="9" y="25"/>
                  </a:cubicBezTo>
                  <a:cubicBezTo>
                    <a:pt x="3" y="25"/>
                    <a:pt x="0" y="21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4" y="0"/>
                    <a:pt x="17" y="4"/>
                    <a:pt x="17" y="13"/>
                  </a:cubicBezTo>
                  <a:close/>
                  <a:moveTo>
                    <a:pt x="4" y="13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7"/>
                    <a:pt x="11" y="4"/>
                    <a:pt x="9" y="4"/>
                  </a:cubicBezTo>
                  <a:cubicBezTo>
                    <a:pt x="6" y="4"/>
                    <a:pt x="4" y="7"/>
                    <a:pt x="4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16" name="Freeform 83">
              <a:extLst>
                <a:ext uri="{FF2B5EF4-FFF2-40B4-BE49-F238E27FC236}">
                  <a16:creationId xmlns:a16="http://schemas.microsoft.com/office/drawing/2014/main" id="{4C42C02E-5300-490E-9D3B-EFEC5A8A71E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6606" y="4236241"/>
              <a:ext cx="92156" cy="157117"/>
            </a:xfrm>
            <a:custGeom>
              <a:avLst/>
              <a:gdLst>
                <a:gd name="T0" fmla="*/ 31 w 61"/>
                <a:gd name="T1" fmla="*/ 19 h 104"/>
                <a:gd name="T2" fmla="*/ 10 w 61"/>
                <a:gd name="T3" fmla="*/ 33 h 104"/>
                <a:gd name="T4" fmla="*/ 0 w 61"/>
                <a:gd name="T5" fmla="*/ 19 h 104"/>
                <a:gd name="T6" fmla="*/ 31 w 61"/>
                <a:gd name="T7" fmla="*/ 0 h 104"/>
                <a:gd name="T8" fmla="*/ 47 w 61"/>
                <a:gd name="T9" fmla="*/ 0 h 104"/>
                <a:gd name="T10" fmla="*/ 47 w 61"/>
                <a:gd name="T11" fmla="*/ 90 h 104"/>
                <a:gd name="T12" fmla="*/ 61 w 61"/>
                <a:gd name="T13" fmla="*/ 90 h 104"/>
                <a:gd name="T14" fmla="*/ 61 w 61"/>
                <a:gd name="T15" fmla="*/ 104 h 104"/>
                <a:gd name="T16" fmla="*/ 17 w 61"/>
                <a:gd name="T17" fmla="*/ 104 h 104"/>
                <a:gd name="T18" fmla="*/ 17 w 61"/>
                <a:gd name="T19" fmla="*/ 90 h 104"/>
                <a:gd name="T20" fmla="*/ 31 w 61"/>
                <a:gd name="T21" fmla="*/ 90 h 104"/>
                <a:gd name="T22" fmla="*/ 31 w 61"/>
                <a:gd name="T23" fmla="*/ 19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4">
                  <a:moveTo>
                    <a:pt x="31" y="19"/>
                  </a:moveTo>
                  <a:lnTo>
                    <a:pt x="10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0"/>
                  </a:lnTo>
                  <a:lnTo>
                    <a:pt x="61" y="90"/>
                  </a:lnTo>
                  <a:lnTo>
                    <a:pt x="61" y="104"/>
                  </a:lnTo>
                  <a:lnTo>
                    <a:pt x="17" y="104"/>
                  </a:lnTo>
                  <a:lnTo>
                    <a:pt x="17" y="90"/>
                  </a:lnTo>
                  <a:lnTo>
                    <a:pt x="31" y="90"/>
                  </a:lnTo>
                  <a:lnTo>
                    <a:pt x="31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17" name="Freeform 84">
              <a:extLst>
                <a:ext uri="{FF2B5EF4-FFF2-40B4-BE49-F238E27FC236}">
                  <a16:creationId xmlns:a16="http://schemas.microsoft.com/office/drawing/2014/main" id="{051BBAA8-F5C2-4337-A1D5-D1A23D831C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43584" y="4503643"/>
              <a:ext cx="110285" cy="164671"/>
            </a:xfrm>
            <a:custGeom>
              <a:avLst/>
              <a:gdLst>
                <a:gd name="T0" fmla="*/ 31 w 31"/>
                <a:gd name="T1" fmla="*/ 23 h 46"/>
                <a:gd name="T2" fmla="*/ 15 w 31"/>
                <a:gd name="T3" fmla="*/ 46 h 46"/>
                <a:gd name="T4" fmla="*/ 0 w 31"/>
                <a:gd name="T5" fmla="*/ 23 h 46"/>
                <a:gd name="T6" fmla="*/ 15 w 31"/>
                <a:gd name="T7" fmla="*/ 0 h 46"/>
                <a:gd name="T8" fmla="*/ 31 w 31"/>
                <a:gd name="T9" fmla="*/ 23 h 46"/>
                <a:gd name="T10" fmla="*/ 8 w 31"/>
                <a:gd name="T11" fmla="*/ 23 h 46"/>
                <a:gd name="T12" fmla="*/ 15 w 31"/>
                <a:gd name="T13" fmla="*/ 39 h 46"/>
                <a:gd name="T14" fmla="*/ 23 w 31"/>
                <a:gd name="T15" fmla="*/ 23 h 46"/>
                <a:gd name="T16" fmla="*/ 15 w 31"/>
                <a:gd name="T17" fmla="*/ 7 h 46"/>
                <a:gd name="T18" fmla="*/ 8 w 31"/>
                <a:gd name="T19" fmla="*/ 2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46">
                  <a:moveTo>
                    <a:pt x="31" y="23"/>
                  </a:moveTo>
                  <a:cubicBezTo>
                    <a:pt x="31" y="38"/>
                    <a:pt x="26" y="46"/>
                    <a:pt x="15" y="46"/>
                  </a:cubicBezTo>
                  <a:cubicBezTo>
                    <a:pt x="5" y="46"/>
                    <a:pt x="0" y="38"/>
                    <a:pt x="0" y="23"/>
                  </a:cubicBezTo>
                  <a:cubicBezTo>
                    <a:pt x="0" y="8"/>
                    <a:pt x="5" y="0"/>
                    <a:pt x="15" y="0"/>
                  </a:cubicBezTo>
                  <a:cubicBezTo>
                    <a:pt x="26" y="0"/>
                    <a:pt x="31" y="8"/>
                    <a:pt x="31" y="23"/>
                  </a:cubicBezTo>
                  <a:close/>
                  <a:moveTo>
                    <a:pt x="8" y="23"/>
                  </a:moveTo>
                  <a:cubicBezTo>
                    <a:pt x="8" y="34"/>
                    <a:pt x="10" y="39"/>
                    <a:pt x="15" y="39"/>
                  </a:cubicBezTo>
                  <a:cubicBezTo>
                    <a:pt x="20" y="39"/>
                    <a:pt x="23" y="34"/>
                    <a:pt x="23" y="23"/>
                  </a:cubicBezTo>
                  <a:cubicBezTo>
                    <a:pt x="23" y="12"/>
                    <a:pt x="20" y="7"/>
                    <a:pt x="15" y="7"/>
                  </a:cubicBezTo>
                  <a:cubicBezTo>
                    <a:pt x="10" y="7"/>
                    <a:pt x="8" y="12"/>
                    <a:pt x="8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18" name="Freeform 85">
              <a:extLst>
                <a:ext uri="{FF2B5EF4-FFF2-40B4-BE49-F238E27FC236}">
                  <a16:creationId xmlns:a16="http://schemas.microsoft.com/office/drawing/2014/main" id="{75799985-5DC8-436F-8402-0115A5F367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43584" y="4775576"/>
              <a:ext cx="110285" cy="160139"/>
            </a:xfrm>
            <a:custGeom>
              <a:avLst/>
              <a:gdLst>
                <a:gd name="T0" fmla="*/ 31 w 31"/>
                <a:gd name="T1" fmla="*/ 23 h 45"/>
                <a:gd name="T2" fmla="*/ 15 w 31"/>
                <a:gd name="T3" fmla="*/ 45 h 45"/>
                <a:gd name="T4" fmla="*/ 0 w 31"/>
                <a:gd name="T5" fmla="*/ 23 h 45"/>
                <a:gd name="T6" fmla="*/ 15 w 31"/>
                <a:gd name="T7" fmla="*/ 0 h 45"/>
                <a:gd name="T8" fmla="*/ 31 w 31"/>
                <a:gd name="T9" fmla="*/ 23 h 45"/>
                <a:gd name="T10" fmla="*/ 8 w 31"/>
                <a:gd name="T11" fmla="*/ 23 h 45"/>
                <a:gd name="T12" fmla="*/ 15 w 31"/>
                <a:gd name="T13" fmla="*/ 39 h 45"/>
                <a:gd name="T14" fmla="*/ 23 w 31"/>
                <a:gd name="T15" fmla="*/ 23 h 45"/>
                <a:gd name="T16" fmla="*/ 15 w 31"/>
                <a:gd name="T17" fmla="*/ 6 h 45"/>
                <a:gd name="T18" fmla="*/ 8 w 31"/>
                <a:gd name="T19" fmla="*/ 2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45">
                  <a:moveTo>
                    <a:pt x="31" y="23"/>
                  </a:moveTo>
                  <a:cubicBezTo>
                    <a:pt x="31" y="38"/>
                    <a:pt x="26" y="45"/>
                    <a:pt x="15" y="45"/>
                  </a:cubicBezTo>
                  <a:cubicBezTo>
                    <a:pt x="5" y="45"/>
                    <a:pt x="0" y="38"/>
                    <a:pt x="0" y="23"/>
                  </a:cubicBezTo>
                  <a:cubicBezTo>
                    <a:pt x="0" y="8"/>
                    <a:pt x="5" y="0"/>
                    <a:pt x="15" y="0"/>
                  </a:cubicBezTo>
                  <a:cubicBezTo>
                    <a:pt x="26" y="0"/>
                    <a:pt x="31" y="8"/>
                    <a:pt x="31" y="23"/>
                  </a:cubicBezTo>
                  <a:close/>
                  <a:moveTo>
                    <a:pt x="8" y="23"/>
                  </a:moveTo>
                  <a:cubicBezTo>
                    <a:pt x="8" y="34"/>
                    <a:pt x="10" y="39"/>
                    <a:pt x="15" y="39"/>
                  </a:cubicBezTo>
                  <a:cubicBezTo>
                    <a:pt x="20" y="39"/>
                    <a:pt x="23" y="34"/>
                    <a:pt x="23" y="23"/>
                  </a:cubicBezTo>
                  <a:cubicBezTo>
                    <a:pt x="23" y="12"/>
                    <a:pt x="20" y="6"/>
                    <a:pt x="15" y="6"/>
                  </a:cubicBezTo>
                  <a:cubicBezTo>
                    <a:pt x="10" y="6"/>
                    <a:pt x="8" y="12"/>
                    <a:pt x="8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19" name="Freeform 86">
              <a:extLst>
                <a:ext uri="{FF2B5EF4-FFF2-40B4-BE49-F238E27FC236}">
                  <a16:creationId xmlns:a16="http://schemas.microsoft.com/office/drawing/2014/main" id="{FBCBDDF7-6BFC-47FA-939A-A4870F346CF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6606" y="5049020"/>
              <a:ext cx="92156" cy="157117"/>
            </a:xfrm>
            <a:custGeom>
              <a:avLst/>
              <a:gdLst>
                <a:gd name="T0" fmla="*/ 31 w 61"/>
                <a:gd name="T1" fmla="*/ 19 h 104"/>
                <a:gd name="T2" fmla="*/ 10 w 61"/>
                <a:gd name="T3" fmla="*/ 34 h 104"/>
                <a:gd name="T4" fmla="*/ 0 w 61"/>
                <a:gd name="T5" fmla="*/ 19 h 104"/>
                <a:gd name="T6" fmla="*/ 31 w 61"/>
                <a:gd name="T7" fmla="*/ 0 h 104"/>
                <a:gd name="T8" fmla="*/ 47 w 61"/>
                <a:gd name="T9" fmla="*/ 0 h 104"/>
                <a:gd name="T10" fmla="*/ 47 w 61"/>
                <a:gd name="T11" fmla="*/ 90 h 104"/>
                <a:gd name="T12" fmla="*/ 61 w 61"/>
                <a:gd name="T13" fmla="*/ 90 h 104"/>
                <a:gd name="T14" fmla="*/ 61 w 61"/>
                <a:gd name="T15" fmla="*/ 104 h 104"/>
                <a:gd name="T16" fmla="*/ 17 w 61"/>
                <a:gd name="T17" fmla="*/ 104 h 104"/>
                <a:gd name="T18" fmla="*/ 17 w 61"/>
                <a:gd name="T19" fmla="*/ 90 h 104"/>
                <a:gd name="T20" fmla="*/ 31 w 61"/>
                <a:gd name="T21" fmla="*/ 90 h 104"/>
                <a:gd name="T22" fmla="*/ 31 w 61"/>
                <a:gd name="T23" fmla="*/ 19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4">
                  <a:moveTo>
                    <a:pt x="31" y="19"/>
                  </a:moveTo>
                  <a:lnTo>
                    <a:pt x="10" y="34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0"/>
                  </a:lnTo>
                  <a:lnTo>
                    <a:pt x="61" y="90"/>
                  </a:lnTo>
                  <a:lnTo>
                    <a:pt x="61" y="104"/>
                  </a:lnTo>
                  <a:lnTo>
                    <a:pt x="17" y="104"/>
                  </a:lnTo>
                  <a:lnTo>
                    <a:pt x="17" y="90"/>
                  </a:lnTo>
                  <a:lnTo>
                    <a:pt x="31" y="90"/>
                  </a:lnTo>
                  <a:lnTo>
                    <a:pt x="31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20" name="Freeform 87">
              <a:extLst>
                <a:ext uri="{FF2B5EF4-FFF2-40B4-BE49-F238E27FC236}">
                  <a16:creationId xmlns:a16="http://schemas.microsoft.com/office/drawing/2014/main" id="{30AA9FE6-09E5-4CA8-A56D-56D7F50A245C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6606" y="5320954"/>
              <a:ext cx="92156" cy="157117"/>
            </a:xfrm>
            <a:custGeom>
              <a:avLst/>
              <a:gdLst>
                <a:gd name="T0" fmla="*/ 31 w 61"/>
                <a:gd name="T1" fmla="*/ 19 h 104"/>
                <a:gd name="T2" fmla="*/ 10 w 61"/>
                <a:gd name="T3" fmla="*/ 31 h 104"/>
                <a:gd name="T4" fmla="*/ 0 w 61"/>
                <a:gd name="T5" fmla="*/ 19 h 104"/>
                <a:gd name="T6" fmla="*/ 31 w 61"/>
                <a:gd name="T7" fmla="*/ 0 h 104"/>
                <a:gd name="T8" fmla="*/ 47 w 61"/>
                <a:gd name="T9" fmla="*/ 0 h 104"/>
                <a:gd name="T10" fmla="*/ 47 w 61"/>
                <a:gd name="T11" fmla="*/ 90 h 104"/>
                <a:gd name="T12" fmla="*/ 61 w 61"/>
                <a:gd name="T13" fmla="*/ 90 h 104"/>
                <a:gd name="T14" fmla="*/ 61 w 61"/>
                <a:gd name="T15" fmla="*/ 104 h 104"/>
                <a:gd name="T16" fmla="*/ 17 w 61"/>
                <a:gd name="T17" fmla="*/ 104 h 104"/>
                <a:gd name="T18" fmla="*/ 17 w 61"/>
                <a:gd name="T19" fmla="*/ 90 h 104"/>
                <a:gd name="T20" fmla="*/ 31 w 61"/>
                <a:gd name="T21" fmla="*/ 90 h 104"/>
                <a:gd name="T22" fmla="*/ 31 w 61"/>
                <a:gd name="T23" fmla="*/ 19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4">
                  <a:moveTo>
                    <a:pt x="31" y="19"/>
                  </a:moveTo>
                  <a:lnTo>
                    <a:pt x="10" y="31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0"/>
                  </a:lnTo>
                  <a:lnTo>
                    <a:pt x="61" y="90"/>
                  </a:lnTo>
                  <a:lnTo>
                    <a:pt x="61" y="104"/>
                  </a:lnTo>
                  <a:lnTo>
                    <a:pt x="17" y="104"/>
                  </a:lnTo>
                  <a:lnTo>
                    <a:pt x="17" y="90"/>
                  </a:lnTo>
                  <a:lnTo>
                    <a:pt x="31" y="90"/>
                  </a:lnTo>
                  <a:lnTo>
                    <a:pt x="31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21" name="Freeform 88">
              <a:extLst>
                <a:ext uri="{FF2B5EF4-FFF2-40B4-BE49-F238E27FC236}">
                  <a16:creationId xmlns:a16="http://schemas.microsoft.com/office/drawing/2014/main" id="{9015A23D-0899-4C3E-8E6B-725BF11D38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6606" y="5592887"/>
              <a:ext cx="92156" cy="155607"/>
            </a:xfrm>
            <a:custGeom>
              <a:avLst/>
              <a:gdLst>
                <a:gd name="T0" fmla="*/ 31 w 61"/>
                <a:gd name="T1" fmla="*/ 18 h 103"/>
                <a:gd name="T2" fmla="*/ 10 w 61"/>
                <a:gd name="T3" fmla="*/ 30 h 103"/>
                <a:gd name="T4" fmla="*/ 0 w 61"/>
                <a:gd name="T5" fmla="*/ 18 h 103"/>
                <a:gd name="T6" fmla="*/ 31 w 61"/>
                <a:gd name="T7" fmla="*/ 0 h 103"/>
                <a:gd name="T8" fmla="*/ 47 w 61"/>
                <a:gd name="T9" fmla="*/ 0 h 103"/>
                <a:gd name="T10" fmla="*/ 47 w 61"/>
                <a:gd name="T11" fmla="*/ 89 h 103"/>
                <a:gd name="T12" fmla="*/ 61 w 61"/>
                <a:gd name="T13" fmla="*/ 89 h 103"/>
                <a:gd name="T14" fmla="*/ 61 w 61"/>
                <a:gd name="T15" fmla="*/ 103 h 103"/>
                <a:gd name="T16" fmla="*/ 17 w 61"/>
                <a:gd name="T17" fmla="*/ 103 h 103"/>
                <a:gd name="T18" fmla="*/ 17 w 61"/>
                <a:gd name="T19" fmla="*/ 89 h 103"/>
                <a:gd name="T20" fmla="*/ 31 w 61"/>
                <a:gd name="T21" fmla="*/ 89 h 103"/>
                <a:gd name="T22" fmla="*/ 31 w 61"/>
                <a:gd name="T23" fmla="*/ 1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3">
                  <a:moveTo>
                    <a:pt x="31" y="18"/>
                  </a:moveTo>
                  <a:lnTo>
                    <a:pt x="10" y="30"/>
                  </a:lnTo>
                  <a:lnTo>
                    <a:pt x="0" y="18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89"/>
                  </a:lnTo>
                  <a:lnTo>
                    <a:pt x="61" y="89"/>
                  </a:lnTo>
                  <a:lnTo>
                    <a:pt x="61" y="103"/>
                  </a:lnTo>
                  <a:lnTo>
                    <a:pt x="17" y="103"/>
                  </a:lnTo>
                  <a:lnTo>
                    <a:pt x="17" y="89"/>
                  </a:lnTo>
                  <a:lnTo>
                    <a:pt x="31" y="89"/>
                  </a:lnTo>
                  <a:lnTo>
                    <a:pt x="31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22" name="Freeform 89">
              <a:extLst>
                <a:ext uri="{FF2B5EF4-FFF2-40B4-BE49-F238E27FC236}">
                  <a16:creationId xmlns:a16="http://schemas.microsoft.com/office/drawing/2014/main" id="{66834842-66C6-4B04-82F4-9DD8066E1C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43584" y="5860289"/>
              <a:ext cx="110285" cy="160139"/>
            </a:xfrm>
            <a:custGeom>
              <a:avLst/>
              <a:gdLst>
                <a:gd name="T0" fmla="*/ 31 w 31"/>
                <a:gd name="T1" fmla="*/ 23 h 45"/>
                <a:gd name="T2" fmla="*/ 15 w 31"/>
                <a:gd name="T3" fmla="*/ 45 h 45"/>
                <a:gd name="T4" fmla="*/ 0 w 31"/>
                <a:gd name="T5" fmla="*/ 22 h 45"/>
                <a:gd name="T6" fmla="*/ 15 w 31"/>
                <a:gd name="T7" fmla="*/ 0 h 45"/>
                <a:gd name="T8" fmla="*/ 31 w 31"/>
                <a:gd name="T9" fmla="*/ 23 h 45"/>
                <a:gd name="T10" fmla="*/ 8 w 31"/>
                <a:gd name="T11" fmla="*/ 22 h 45"/>
                <a:gd name="T12" fmla="*/ 15 w 31"/>
                <a:gd name="T13" fmla="*/ 39 h 45"/>
                <a:gd name="T14" fmla="*/ 23 w 31"/>
                <a:gd name="T15" fmla="*/ 23 h 45"/>
                <a:gd name="T16" fmla="*/ 15 w 31"/>
                <a:gd name="T17" fmla="*/ 6 h 45"/>
                <a:gd name="T18" fmla="*/ 8 w 31"/>
                <a:gd name="T19" fmla="*/ 2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45">
                  <a:moveTo>
                    <a:pt x="31" y="23"/>
                  </a:moveTo>
                  <a:cubicBezTo>
                    <a:pt x="31" y="38"/>
                    <a:pt x="26" y="45"/>
                    <a:pt x="15" y="45"/>
                  </a:cubicBezTo>
                  <a:cubicBezTo>
                    <a:pt x="5" y="45"/>
                    <a:pt x="0" y="38"/>
                    <a:pt x="0" y="22"/>
                  </a:cubicBezTo>
                  <a:cubicBezTo>
                    <a:pt x="0" y="7"/>
                    <a:pt x="5" y="0"/>
                    <a:pt x="15" y="0"/>
                  </a:cubicBezTo>
                  <a:cubicBezTo>
                    <a:pt x="26" y="0"/>
                    <a:pt x="31" y="7"/>
                    <a:pt x="31" y="23"/>
                  </a:cubicBezTo>
                  <a:close/>
                  <a:moveTo>
                    <a:pt x="8" y="22"/>
                  </a:moveTo>
                  <a:cubicBezTo>
                    <a:pt x="8" y="34"/>
                    <a:pt x="10" y="39"/>
                    <a:pt x="15" y="39"/>
                  </a:cubicBezTo>
                  <a:cubicBezTo>
                    <a:pt x="20" y="39"/>
                    <a:pt x="23" y="34"/>
                    <a:pt x="23" y="23"/>
                  </a:cubicBezTo>
                  <a:cubicBezTo>
                    <a:pt x="23" y="11"/>
                    <a:pt x="20" y="6"/>
                    <a:pt x="15" y="6"/>
                  </a:cubicBezTo>
                  <a:cubicBezTo>
                    <a:pt x="10" y="6"/>
                    <a:pt x="8" y="11"/>
                    <a:pt x="8" y="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23" name="Freeform 90">
              <a:extLst>
                <a:ext uri="{FF2B5EF4-FFF2-40B4-BE49-F238E27FC236}">
                  <a16:creationId xmlns:a16="http://schemas.microsoft.com/office/drawing/2014/main" id="{54FEA29D-CD10-4EB9-A067-C21637509A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43584" y="6673068"/>
              <a:ext cx="110285" cy="161650"/>
            </a:xfrm>
            <a:custGeom>
              <a:avLst/>
              <a:gdLst>
                <a:gd name="T0" fmla="*/ 31 w 31"/>
                <a:gd name="T1" fmla="*/ 22 h 45"/>
                <a:gd name="T2" fmla="*/ 15 w 31"/>
                <a:gd name="T3" fmla="*/ 45 h 45"/>
                <a:gd name="T4" fmla="*/ 0 w 31"/>
                <a:gd name="T5" fmla="*/ 22 h 45"/>
                <a:gd name="T6" fmla="*/ 15 w 31"/>
                <a:gd name="T7" fmla="*/ 0 h 45"/>
                <a:gd name="T8" fmla="*/ 31 w 31"/>
                <a:gd name="T9" fmla="*/ 22 h 45"/>
                <a:gd name="T10" fmla="*/ 8 w 31"/>
                <a:gd name="T11" fmla="*/ 22 h 45"/>
                <a:gd name="T12" fmla="*/ 15 w 31"/>
                <a:gd name="T13" fmla="*/ 39 h 45"/>
                <a:gd name="T14" fmla="*/ 23 w 31"/>
                <a:gd name="T15" fmla="*/ 22 h 45"/>
                <a:gd name="T16" fmla="*/ 15 w 31"/>
                <a:gd name="T17" fmla="*/ 6 h 45"/>
                <a:gd name="T18" fmla="*/ 8 w 31"/>
                <a:gd name="T19" fmla="*/ 2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45">
                  <a:moveTo>
                    <a:pt x="31" y="22"/>
                  </a:moveTo>
                  <a:cubicBezTo>
                    <a:pt x="31" y="38"/>
                    <a:pt x="26" y="45"/>
                    <a:pt x="15" y="45"/>
                  </a:cubicBezTo>
                  <a:cubicBezTo>
                    <a:pt x="5" y="45"/>
                    <a:pt x="0" y="38"/>
                    <a:pt x="0" y="22"/>
                  </a:cubicBezTo>
                  <a:cubicBezTo>
                    <a:pt x="0" y="7"/>
                    <a:pt x="5" y="0"/>
                    <a:pt x="15" y="0"/>
                  </a:cubicBezTo>
                  <a:cubicBezTo>
                    <a:pt x="26" y="0"/>
                    <a:pt x="31" y="7"/>
                    <a:pt x="31" y="22"/>
                  </a:cubicBezTo>
                  <a:close/>
                  <a:moveTo>
                    <a:pt x="8" y="22"/>
                  </a:moveTo>
                  <a:cubicBezTo>
                    <a:pt x="8" y="33"/>
                    <a:pt x="10" y="39"/>
                    <a:pt x="15" y="39"/>
                  </a:cubicBezTo>
                  <a:cubicBezTo>
                    <a:pt x="20" y="39"/>
                    <a:pt x="23" y="33"/>
                    <a:pt x="23" y="22"/>
                  </a:cubicBezTo>
                  <a:cubicBezTo>
                    <a:pt x="23" y="11"/>
                    <a:pt x="20" y="6"/>
                    <a:pt x="15" y="6"/>
                  </a:cubicBezTo>
                  <a:cubicBezTo>
                    <a:pt x="10" y="6"/>
                    <a:pt x="8" y="11"/>
                    <a:pt x="8" y="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24" name="Freeform 95">
              <a:extLst>
                <a:ext uri="{FF2B5EF4-FFF2-40B4-BE49-F238E27FC236}">
                  <a16:creationId xmlns:a16="http://schemas.microsoft.com/office/drawing/2014/main" id="{B705DAE2-05F3-4E21-A440-7D4FB38D4EB3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8539" y="3350946"/>
              <a:ext cx="52876" cy="86113"/>
            </a:xfrm>
            <a:custGeom>
              <a:avLst/>
              <a:gdLst>
                <a:gd name="T0" fmla="*/ 16 w 35"/>
                <a:gd name="T1" fmla="*/ 14 h 57"/>
                <a:gd name="T2" fmla="*/ 7 w 35"/>
                <a:gd name="T3" fmla="*/ 21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7 h 57"/>
                <a:gd name="T12" fmla="*/ 35 w 35"/>
                <a:gd name="T13" fmla="*/ 47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7 h 57"/>
                <a:gd name="T20" fmla="*/ 16 w 35"/>
                <a:gd name="T21" fmla="*/ 47 h 57"/>
                <a:gd name="T22" fmla="*/ 16 w 35"/>
                <a:gd name="T23" fmla="*/ 1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4"/>
                  </a:moveTo>
                  <a:lnTo>
                    <a:pt x="7" y="21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25" name="Freeform 96">
              <a:extLst>
                <a:ext uri="{FF2B5EF4-FFF2-40B4-BE49-F238E27FC236}">
                  <a16:creationId xmlns:a16="http://schemas.microsoft.com/office/drawing/2014/main" id="{C533887F-CE3C-4F87-8091-DEF257DB17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14007" y="3497488"/>
              <a:ext cx="67984" cy="86113"/>
            </a:xfrm>
            <a:custGeom>
              <a:avLst/>
              <a:gdLst>
                <a:gd name="T0" fmla="*/ 17 w 19"/>
                <a:gd name="T1" fmla="*/ 4 h 24"/>
                <a:gd name="T2" fmla="*/ 19 w 19"/>
                <a:gd name="T3" fmla="*/ 12 h 24"/>
                <a:gd name="T4" fmla="*/ 17 w 19"/>
                <a:gd name="T5" fmla="*/ 21 h 24"/>
                <a:gd name="T6" fmla="*/ 10 w 19"/>
                <a:gd name="T7" fmla="*/ 24 h 24"/>
                <a:gd name="T8" fmla="*/ 2 w 19"/>
                <a:gd name="T9" fmla="*/ 20 h 24"/>
                <a:gd name="T10" fmla="*/ 0 w 19"/>
                <a:gd name="T11" fmla="*/ 12 h 24"/>
                <a:gd name="T12" fmla="*/ 10 w 19"/>
                <a:gd name="T13" fmla="*/ 0 h 24"/>
                <a:gd name="T14" fmla="*/ 17 w 19"/>
                <a:gd name="T15" fmla="*/ 4 h 24"/>
                <a:gd name="T16" fmla="*/ 6 w 19"/>
                <a:gd name="T17" fmla="*/ 12 h 24"/>
                <a:gd name="T18" fmla="*/ 10 w 19"/>
                <a:gd name="T19" fmla="*/ 20 h 24"/>
                <a:gd name="T20" fmla="*/ 14 w 19"/>
                <a:gd name="T21" fmla="*/ 12 h 24"/>
                <a:gd name="T22" fmla="*/ 10 w 19"/>
                <a:gd name="T23" fmla="*/ 4 h 24"/>
                <a:gd name="T24" fmla="*/ 6 w 19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4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6"/>
                    <a:pt x="18" y="19"/>
                    <a:pt x="17" y="21"/>
                  </a:cubicBezTo>
                  <a:cubicBezTo>
                    <a:pt x="15" y="23"/>
                    <a:pt x="13" y="24"/>
                    <a:pt x="10" y="24"/>
                  </a:cubicBezTo>
                  <a:cubicBezTo>
                    <a:pt x="6" y="24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1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26" name="Freeform 97">
              <a:extLst>
                <a:ext uri="{FF2B5EF4-FFF2-40B4-BE49-F238E27FC236}">
                  <a16:creationId xmlns:a16="http://schemas.microsoft.com/office/drawing/2014/main" id="{D6CCC90B-B834-42F9-8A71-B0E4C75ACBE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8539" y="3644030"/>
              <a:ext cx="52876" cy="84602"/>
            </a:xfrm>
            <a:custGeom>
              <a:avLst/>
              <a:gdLst>
                <a:gd name="T0" fmla="*/ 16 w 35"/>
                <a:gd name="T1" fmla="*/ 14 h 56"/>
                <a:gd name="T2" fmla="*/ 7 w 35"/>
                <a:gd name="T3" fmla="*/ 21 h 56"/>
                <a:gd name="T4" fmla="*/ 0 w 35"/>
                <a:gd name="T5" fmla="*/ 11 h 56"/>
                <a:gd name="T6" fmla="*/ 19 w 35"/>
                <a:gd name="T7" fmla="*/ 0 h 56"/>
                <a:gd name="T8" fmla="*/ 28 w 35"/>
                <a:gd name="T9" fmla="*/ 0 h 56"/>
                <a:gd name="T10" fmla="*/ 28 w 35"/>
                <a:gd name="T11" fmla="*/ 47 h 56"/>
                <a:gd name="T12" fmla="*/ 35 w 35"/>
                <a:gd name="T13" fmla="*/ 47 h 56"/>
                <a:gd name="T14" fmla="*/ 35 w 35"/>
                <a:gd name="T15" fmla="*/ 56 h 56"/>
                <a:gd name="T16" fmla="*/ 9 w 35"/>
                <a:gd name="T17" fmla="*/ 56 h 56"/>
                <a:gd name="T18" fmla="*/ 9 w 35"/>
                <a:gd name="T19" fmla="*/ 47 h 56"/>
                <a:gd name="T20" fmla="*/ 16 w 35"/>
                <a:gd name="T21" fmla="*/ 47 h 56"/>
                <a:gd name="T22" fmla="*/ 16 w 35"/>
                <a:gd name="T23" fmla="*/ 1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6">
                  <a:moveTo>
                    <a:pt x="16" y="14"/>
                  </a:moveTo>
                  <a:lnTo>
                    <a:pt x="7" y="21"/>
                  </a:lnTo>
                  <a:lnTo>
                    <a:pt x="0" y="11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6"/>
                  </a:lnTo>
                  <a:lnTo>
                    <a:pt x="9" y="56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27" name="Freeform 98">
              <a:extLst>
                <a:ext uri="{FF2B5EF4-FFF2-40B4-BE49-F238E27FC236}">
                  <a16:creationId xmlns:a16="http://schemas.microsoft.com/office/drawing/2014/main" id="{23A80536-7366-4F01-9925-577E2B2189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14007" y="3790572"/>
              <a:ext cx="67984" cy="84602"/>
            </a:xfrm>
            <a:custGeom>
              <a:avLst/>
              <a:gdLst>
                <a:gd name="T0" fmla="*/ 17 w 19"/>
                <a:gd name="T1" fmla="*/ 4 h 24"/>
                <a:gd name="T2" fmla="*/ 19 w 19"/>
                <a:gd name="T3" fmla="*/ 12 h 24"/>
                <a:gd name="T4" fmla="*/ 17 w 19"/>
                <a:gd name="T5" fmla="*/ 21 h 24"/>
                <a:gd name="T6" fmla="*/ 10 w 19"/>
                <a:gd name="T7" fmla="*/ 24 h 24"/>
                <a:gd name="T8" fmla="*/ 2 w 19"/>
                <a:gd name="T9" fmla="*/ 20 h 24"/>
                <a:gd name="T10" fmla="*/ 0 w 19"/>
                <a:gd name="T11" fmla="*/ 12 h 24"/>
                <a:gd name="T12" fmla="*/ 10 w 19"/>
                <a:gd name="T13" fmla="*/ 0 h 24"/>
                <a:gd name="T14" fmla="*/ 17 w 19"/>
                <a:gd name="T15" fmla="*/ 4 h 24"/>
                <a:gd name="T16" fmla="*/ 6 w 19"/>
                <a:gd name="T17" fmla="*/ 12 h 24"/>
                <a:gd name="T18" fmla="*/ 10 w 19"/>
                <a:gd name="T19" fmla="*/ 20 h 24"/>
                <a:gd name="T20" fmla="*/ 14 w 19"/>
                <a:gd name="T21" fmla="*/ 12 h 24"/>
                <a:gd name="T22" fmla="*/ 10 w 19"/>
                <a:gd name="T23" fmla="*/ 4 h 24"/>
                <a:gd name="T24" fmla="*/ 6 w 19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4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6"/>
                    <a:pt x="18" y="19"/>
                    <a:pt x="17" y="21"/>
                  </a:cubicBezTo>
                  <a:cubicBezTo>
                    <a:pt x="15" y="23"/>
                    <a:pt x="13" y="24"/>
                    <a:pt x="10" y="24"/>
                  </a:cubicBezTo>
                  <a:cubicBezTo>
                    <a:pt x="6" y="24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1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28" name="Freeform 99">
              <a:extLst>
                <a:ext uri="{FF2B5EF4-FFF2-40B4-BE49-F238E27FC236}">
                  <a16:creationId xmlns:a16="http://schemas.microsoft.com/office/drawing/2014/main" id="{60A5DCA3-640A-4DA3-8DDA-2D1DB806DE0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8539" y="3935604"/>
              <a:ext cx="52876" cy="86113"/>
            </a:xfrm>
            <a:custGeom>
              <a:avLst/>
              <a:gdLst>
                <a:gd name="T0" fmla="*/ 16 w 35"/>
                <a:gd name="T1" fmla="*/ 15 h 57"/>
                <a:gd name="T2" fmla="*/ 7 w 35"/>
                <a:gd name="T3" fmla="*/ 22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8 h 57"/>
                <a:gd name="T12" fmla="*/ 35 w 35"/>
                <a:gd name="T13" fmla="*/ 48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8 h 57"/>
                <a:gd name="T20" fmla="*/ 16 w 35"/>
                <a:gd name="T21" fmla="*/ 48 h 57"/>
                <a:gd name="T22" fmla="*/ 16 w 35"/>
                <a:gd name="T23" fmla="*/ 1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5"/>
                  </a:moveTo>
                  <a:lnTo>
                    <a:pt x="7" y="22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8"/>
                  </a:lnTo>
                  <a:lnTo>
                    <a:pt x="35" y="48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8"/>
                  </a:lnTo>
                  <a:lnTo>
                    <a:pt x="16" y="48"/>
                  </a:lnTo>
                  <a:lnTo>
                    <a:pt x="16" y="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29" name="Freeform 100">
              <a:extLst>
                <a:ext uri="{FF2B5EF4-FFF2-40B4-BE49-F238E27FC236}">
                  <a16:creationId xmlns:a16="http://schemas.microsoft.com/office/drawing/2014/main" id="{B31987E5-A60D-44FC-97FE-FA0C4BDE94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14007" y="4082145"/>
              <a:ext cx="67984" cy="86113"/>
            </a:xfrm>
            <a:custGeom>
              <a:avLst/>
              <a:gdLst>
                <a:gd name="T0" fmla="*/ 17 w 19"/>
                <a:gd name="T1" fmla="*/ 4 h 24"/>
                <a:gd name="T2" fmla="*/ 19 w 19"/>
                <a:gd name="T3" fmla="*/ 12 h 24"/>
                <a:gd name="T4" fmla="*/ 17 w 19"/>
                <a:gd name="T5" fmla="*/ 21 h 24"/>
                <a:gd name="T6" fmla="*/ 10 w 19"/>
                <a:gd name="T7" fmla="*/ 24 h 24"/>
                <a:gd name="T8" fmla="*/ 2 w 19"/>
                <a:gd name="T9" fmla="*/ 20 h 24"/>
                <a:gd name="T10" fmla="*/ 0 w 19"/>
                <a:gd name="T11" fmla="*/ 12 h 24"/>
                <a:gd name="T12" fmla="*/ 10 w 19"/>
                <a:gd name="T13" fmla="*/ 0 h 24"/>
                <a:gd name="T14" fmla="*/ 17 w 19"/>
                <a:gd name="T15" fmla="*/ 4 h 24"/>
                <a:gd name="T16" fmla="*/ 6 w 19"/>
                <a:gd name="T17" fmla="*/ 12 h 24"/>
                <a:gd name="T18" fmla="*/ 10 w 19"/>
                <a:gd name="T19" fmla="*/ 20 h 24"/>
                <a:gd name="T20" fmla="*/ 14 w 19"/>
                <a:gd name="T21" fmla="*/ 12 h 24"/>
                <a:gd name="T22" fmla="*/ 10 w 19"/>
                <a:gd name="T23" fmla="*/ 4 h 24"/>
                <a:gd name="T24" fmla="*/ 6 w 19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4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6"/>
                    <a:pt x="18" y="19"/>
                    <a:pt x="17" y="21"/>
                  </a:cubicBezTo>
                  <a:cubicBezTo>
                    <a:pt x="15" y="23"/>
                    <a:pt x="13" y="24"/>
                    <a:pt x="10" y="24"/>
                  </a:cubicBezTo>
                  <a:cubicBezTo>
                    <a:pt x="6" y="24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1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30" name="Freeform 101">
              <a:extLst>
                <a:ext uri="{FF2B5EF4-FFF2-40B4-BE49-F238E27FC236}">
                  <a16:creationId xmlns:a16="http://schemas.microsoft.com/office/drawing/2014/main" id="{E16A576A-93D7-499C-86A5-806929C997E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8539" y="4228688"/>
              <a:ext cx="52876" cy="86113"/>
            </a:xfrm>
            <a:custGeom>
              <a:avLst/>
              <a:gdLst>
                <a:gd name="T0" fmla="*/ 16 w 35"/>
                <a:gd name="T1" fmla="*/ 14 h 57"/>
                <a:gd name="T2" fmla="*/ 7 w 35"/>
                <a:gd name="T3" fmla="*/ 21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7 h 57"/>
                <a:gd name="T12" fmla="*/ 35 w 35"/>
                <a:gd name="T13" fmla="*/ 47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7 h 57"/>
                <a:gd name="T20" fmla="*/ 16 w 35"/>
                <a:gd name="T21" fmla="*/ 47 h 57"/>
                <a:gd name="T22" fmla="*/ 16 w 35"/>
                <a:gd name="T23" fmla="*/ 1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4"/>
                  </a:moveTo>
                  <a:lnTo>
                    <a:pt x="7" y="21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31" name="Freeform 102">
              <a:extLst>
                <a:ext uri="{FF2B5EF4-FFF2-40B4-BE49-F238E27FC236}">
                  <a16:creationId xmlns:a16="http://schemas.microsoft.com/office/drawing/2014/main" id="{21B85D71-4B4C-4B83-9EA1-2762E5F946A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8539" y="4375229"/>
              <a:ext cx="52876" cy="86113"/>
            </a:xfrm>
            <a:custGeom>
              <a:avLst/>
              <a:gdLst>
                <a:gd name="T0" fmla="*/ 16 w 35"/>
                <a:gd name="T1" fmla="*/ 14 h 57"/>
                <a:gd name="T2" fmla="*/ 7 w 35"/>
                <a:gd name="T3" fmla="*/ 21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7 h 57"/>
                <a:gd name="T12" fmla="*/ 35 w 35"/>
                <a:gd name="T13" fmla="*/ 47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7 h 57"/>
                <a:gd name="T20" fmla="*/ 16 w 35"/>
                <a:gd name="T21" fmla="*/ 47 h 57"/>
                <a:gd name="T22" fmla="*/ 16 w 35"/>
                <a:gd name="T23" fmla="*/ 1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4"/>
                  </a:moveTo>
                  <a:lnTo>
                    <a:pt x="7" y="21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32" name="Freeform 103">
              <a:extLst>
                <a:ext uri="{FF2B5EF4-FFF2-40B4-BE49-F238E27FC236}">
                  <a16:creationId xmlns:a16="http://schemas.microsoft.com/office/drawing/2014/main" id="{8A776D0E-0A31-4938-80BA-177DB3E557B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8539" y="4524793"/>
              <a:ext cx="52876" cy="83091"/>
            </a:xfrm>
            <a:custGeom>
              <a:avLst/>
              <a:gdLst>
                <a:gd name="T0" fmla="*/ 16 w 35"/>
                <a:gd name="T1" fmla="*/ 12 h 55"/>
                <a:gd name="T2" fmla="*/ 7 w 35"/>
                <a:gd name="T3" fmla="*/ 19 h 55"/>
                <a:gd name="T4" fmla="*/ 0 w 35"/>
                <a:gd name="T5" fmla="*/ 10 h 55"/>
                <a:gd name="T6" fmla="*/ 19 w 35"/>
                <a:gd name="T7" fmla="*/ 0 h 55"/>
                <a:gd name="T8" fmla="*/ 28 w 35"/>
                <a:gd name="T9" fmla="*/ 0 h 55"/>
                <a:gd name="T10" fmla="*/ 28 w 35"/>
                <a:gd name="T11" fmla="*/ 45 h 55"/>
                <a:gd name="T12" fmla="*/ 35 w 35"/>
                <a:gd name="T13" fmla="*/ 45 h 55"/>
                <a:gd name="T14" fmla="*/ 35 w 35"/>
                <a:gd name="T15" fmla="*/ 55 h 55"/>
                <a:gd name="T16" fmla="*/ 9 w 35"/>
                <a:gd name="T17" fmla="*/ 55 h 55"/>
                <a:gd name="T18" fmla="*/ 9 w 35"/>
                <a:gd name="T19" fmla="*/ 45 h 55"/>
                <a:gd name="T20" fmla="*/ 16 w 35"/>
                <a:gd name="T21" fmla="*/ 45 h 55"/>
                <a:gd name="T22" fmla="*/ 16 w 35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5">
                  <a:moveTo>
                    <a:pt x="16" y="12"/>
                  </a:moveTo>
                  <a:lnTo>
                    <a:pt x="7" y="19"/>
                  </a:lnTo>
                  <a:lnTo>
                    <a:pt x="0" y="10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5"/>
                  </a:lnTo>
                  <a:lnTo>
                    <a:pt x="35" y="45"/>
                  </a:lnTo>
                  <a:lnTo>
                    <a:pt x="35" y="55"/>
                  </a:lnTo>
                  <a:lnTo>
                    <a:pt x="9" y="55"/>
                  </a:lnTo>
                  <a:lnTo>
                    <a:pt x="9" y="45"/>
                  </a:lnTo>
                  <a:lnTo>
                    <a:pt x="16" y="45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33" name="Freeform 104">
              <a:extLst>
                <a:ext uri="{FF2B5EF4-FFF2-40B4-BE49-F238E27FC236}">
                  <a16:creationId xmlns:a16="http://schemas.microsoft.com/office/drawing/2014/main" id="{BA0196A1-CEDE-4CF5-99F2-8C036EEFC7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14007" y="4668313"/>
              <a:ext cx="67984" cy="89134"/>
            </a:xfrm>
            <a:custGeom>
              <a:avLst/>
              <a:gdLst>
                <a:gd name="T0" fmla="*/ 17 w 19"/>
                <a:gd name="T1" fmla="*/ 4 h 25"/>
                <a:gd name="T2" fmla="*/ 19 w 19"/>
                <a:gd name="T3" fmla="*/ 12 h 25"/>
                <a:gd name="T4" fmla="*/ 17 w 19"/>
                <a:gd name="T5" fmla="*/ 21 h 25"/>
                <a:gd name="T6" fmla="*/ 10 w 19"/>
                <a:gd name="T7" fmla="*/ 25 h 25"/>
                <a:gd name="T8" fmla="*/ 2 w 19"/>
                <a:gd name="T9" fmla="*/ 20 h 25"/>
                <a:gd name="T10" fmla="*/ 0 w 19"/>
                <a:gd name="T11" fmla="*/ 12 h 25"/>
                <a:gd name="T12" fmla="*/ 10 w 19"/>
                <a:gd name="T13" fmla="*/ 0 h 25"/>
                <a:gd name="T14" fmla="*/ 17 w 19"/>
                <a:gd name="T15" fmla="*/ 4 h 25"/>
                <a:gd name="T16" fmla="*/ 6 w 19"/>
                <a:gd name="T17" fmla="*/ 12 h 25"/>
                <a:gd name="T18" fmla="*/ 10 w 19"/>
                <a:gd name="T19" fmla="*/ 20 h 25"/>
                <a:gd name="T20" fmla="*/ 14 w 19"/>
                <a:gd name="T21" fmla="*/ 12 h 25"/>
                <a:gd name="T22" fmla="*/ 10 w 19"/>
                <a:gd name="T23" fmla="*/ 4 h 25"/>
                <a:gd name="T24" fmla="*/ 6 w 19"/>
                <a:gd name="T25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5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7"/>
                    <a:pt x="18" y="19"/>
                    <a:pt x="17" y="21"/>
                  </a:cubicBezTo>
                  <a:cubicBezTo>
                    <a:pt x="15" y="23"/>
                    <a:pt x="13" y="25"/>
                    <a:pt x="10" y="25"/>
                  </a:cubicBezTo>
                  <a:cubicBezTo>
                    <a:pt x="6" y="25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2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34" name="Freeform 105">
              <a:extLst>
                <a:ext uri="{FF2B5EF4-FFF2-40B4-BE49-F238E27FC236}">
                  <a16:creationId xmlns:a16="http://schemas.microsoft.com/office/drawing/2014/main" id="{7C243085-F13E-49FC-88C8-7B6BBE416A8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8539" y="4817877"/>
              <a:ext cx="52876" cy="81580"/>
            </a:xfrm>
            <a:custGeom>
              <a:avLst/>
              <a:gdLst>
                <a:gd name="T0" fmla="*/ 16 w 35"/>
                <a:gd name="T1" fmla="*/ 12 h 54"/>
                <a:gd name="T2" fmla="*/ 7 w 35"/>
                <a:gd name="T3" fmla="*/ 19 h 54"/>
                <a:gd name="T4" fmla="*/ 0 w 35"/>
                <a:gd name="T5" fmla="*/ 9 h 54"/>
                <a:gd name="T6" fmla="*/ 19 w 35"/>
                <a:gd name="T7" fmla="*/ 0 h 54"/>
                <a:gd name="T8" fmla="*/ 28 w 35"/>
                <a:gd name="T9" fmla="*/ 0 h 54"/>
                <a:gd name="T10" fmla="*/ 28 w 35"/>
                <a:gd name="T11" fmla="*/ 45 h 54"/>
                <a:gd name="T12" fmla="*/ 35 w 35"/>
                <a:gd name="T13" fmla="*/ 45 h 54"/>
                <a:gd name="T14" fmla="*/ 35 w 35"/>
                <a:gd name="T15" fmla="*/ 54 h 54"/>
                <a:gd name="T16" fmla="*/ 9 w 35"/>
                <a:gd name="T17" fmla="*/ 54 h 54"/>
                <a:gd name="T18" fmla="*/ 9 w 35"/>
                <a:gd name="T19" fmla="*/ 45 h 54"/>
                <a:gd name="T20" fmla="*/ 16 w 35"/>
                <a:gd name="T21" fmla="*/ 45 h 54"/>
                <a:gd name="T22" fmla="*/ 16 w 35"/>
                <a:gd name="T23" fmla="*/ 1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4">
                  <a:moveTo>
                    <a:pt x="16" y="12"/>
                  </a:moveTo>
                  <a:lnTo>
                    <a:pt x="7" y="19"/>
                  </a:lnTo>
                  <a:lnTo>
                    <a:pt x="0" y="9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5"/>
                  </a:lnTo>
                  <a:lnTo>
                    <a:pt x="35" y="45"/>
                  </a:lnTo>
                  <a:lnTo>
                    <a:pt x="35" y="54"/>
                  </a:lnTo>
                  <a:lnTo>
                    <a:pt x="9" y="54"/>
                  </a:lnTo>
                  <a:lnTo>
                    <a:pt x="9" y="45"/>
                  </a:lnTo>
                  <a:lnTo>
                    <a:pt x="16" y="45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35" name="Freeform 106">
              <a:extLst>
                <a:ext uri="{FF2B5EF4-FFF2-40B4-BE49-F238E27FC236}">
                  <a16:creationId xmlns:a16="http://schemas.microsoft.com/office/drawing/2014/main" id="{36133564-A3E6-4EE8-AEAA-3A2408958F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14007" y="4959887"/>
              <a:ext cx="67984" cy="89134"/>
            </a:xfrm>
            <a:custGeom>
              <a:avLst/>
              <a:gdLst>
                <a:gd name="T0" fmla="*/ 17 w 19"/>
                <a:gd name="T1" fmla="*/ 5 h 25"/>
                <a:gd name="T2" fmla="*/ 19 w 19"/>
                <a:gd name="T3" fmla="*/ 12 h 25"/>
                <a:gd name="T4" fmla="*/ 17 w 19"/>
                <a:gd name="T5" fmla="*/ 21 h 25"/>
                <a:gd name="T6" fmla="*/ 10 w 19"/>
                <a:gd name="T7" fmla="*/ 25 h 25"/>
                <a:gd name="T8" fmla="*/ 2 w 19"/>
                <a:gd name="T9" fmla="*/ 20 h 25"/>
                <a:gd name="T10" fmla="*/ 0 w 19"/>
                <a:gd name="T11" fmla="*/ 12 h 25"/>
                <a:gd name="T12" fmla="*/ 10 w 19"/>
                <a:gd name="T13" fmla="*/ 0 h 25"/>
                <a:gd name="T14" fmla="*/ 17 w 19"/>
                <a:gd name="T15" fmla="*/ 5 h 25"/>
                <a:gd name="T16" fmla="*/ 6 w 19"/>
                <a:gd name="T17" fmla="*/ 12 h 25"/>
                <a:gd name="T18" fmla="*/ 10 w 19"/>
                <a:gd name="T19" fmla="*/ 21 h 25"/>
                <a:gd name="T20" fmla="*/ 14 w 19"/>
                <a:gd name="T21" fmla="*/ 12 h 25"/>
                <a:gd name="T22" fmla="*/ 10 w 19"/>
                <a:gd name="T23" fmla="*/ 4 h 25"/>
                <a:gd name="T24" fmla="*/ 6 w 19"/>
                <a:gd name="T25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5">
                  <a:moveTo>
                    <a:pt x="17" y="5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7"/>
                    <a:pt x="18" y="19"/>
                    <a:pt x="17" y="21"/>
                  </a:cubicBezTo>
                  <a:cubicBezTo>
                    <a:pt x="15" y="24"/>
                    <a:pt x="13" y="25"/>
                    <a:pt x="10" y="25"/>
                  </a:cubicBezTo>
                  <a:cubicBezTo>
                    <a:pt x="6" y="25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2"/>
                    <a:pt x="17" y="5"/>
                  </a:cubicBezTo>
                  <a:close/>
                  <a:moveTo>
                    <a:pt x="6" y="12"/>
                  </a:moveTo>
                  <a:cubicBezTo>
                    <a:pt x="6" y="18"/>
                    <a:pt x="7" y="21"/>
                    <a:pt x="10" y="21"/>
                  </a:cubicBezTo>
                  <a:cubicBezTo>
                    <a:pt x="12" y="21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36" name="Freeform 107">
              <a:extLst>
                <a:ext uri="{FF2B5EF4-FFF2-40B4-BE49-F238E27FC236}">
                  <a16:creationId xmlns:a16="http://schemas.microsoft.com/office/drawing/2014/main" id="{D830B25D-AE90-4048-A104-4321579C88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14007" y="5106428"/>
              <a:ext cx="67984" cy="89134"/>
            </a:xfrm>
            <a:custGeom>
              <a:avLst/>
              <a:gdLst>
                <a:gd name="T0" fmla="*/ 17 w 19"/>
                <a:gd name="T1" fmla="*/ 5 h 25"/>
                <a:gd name="T2" fmla="*/ 19 w 19"/>
                <a:gd name="T3" fmla="*/ 12 h 25"/>
                <a:gd name="T4" fmla="*/ 17 w 19"/>
                <a:gd name="T5" fmla="*/ 21 h 25"/>
                <a:gd name="T6" fmla="*/ 10 w 19"/>
                <a:gd name="T7" fmla="*/ 25 h 25"/>
                <a:gd name="T8" fmla="*/ 2 w 19"/>
                <a:gd name="T9" fmla="*/ 20 h 25"/>
                <a:gd name="T10" fmla="*/ 0 w 19"/>
                <a:gd name="T11" fmla="*/ 12 h 25"/>
                <a:gd name="T12" fmla="*/ 10 w 19"/>
                <a:gd name="T13" fmla="*/ 0 h 25"/>
                <a:gd name="T14" fmla="*/ 17 w 19"/>
                <a:gd name="T15" fmla="*/ 5 h 25"/>
                <a:gd name="T16" fmla="*/ 6 w 19"/>
                <a:gd name="T17" fmla="*/ 12 h 25"/>
                <a:gd name="T18" fmla="*/ 10 w 19"/>
                <a:gd name="T19" fmla="*/ 21 h 25"/>
                <a:gd name="T20" fmla="*/ 14 w 19"/>
                <a:gd name="T21" fmla="*/ 12 h 25"/>
                <a:gd name="T22" fmla="*/ 10 w 19"/>
                <a:gd name="T23" fmla="*/ 4 h 25"/>
                <a:gd name="T24" fmla="*/ 6 w 19"/>
                <a:gd name="T25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5">
                  <a:moveTo>
                    <a:pt x="17" y="5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7"/>
                    <a:pt x="18" y="19"/>
                    <a:pt x="17" y="21"/>
                  </a:cubicBezTo>
                  <a:cubicBezTo>
                    <a:pt x="15" y="24"/>
                    <a:pt x="13" y="25"/>
                    <a:pt x="10" y="25"/>
                  </a:cubicBezTo>
                  <a:cubicBezTo>
                    <a:pt x="6" y="25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2"/>
                    <a:pt x="17" y="5"/>
                  </a:cubicBezTo>
                  <a:close/>
                  <a:moveTo>
                    <a:pt x="6" y="12"/>
                  </a:moveTo>
                  <a:cubicBezTo>
                    <a:pt x="6" y="18"/>
                    <a:pt x="7" y="21"/>
                    <a:pt x="10" y="21"/>
                  </a:cubicBezTo>
                  <a:cubicBezTo>
                    <a:pt x="12" y="21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37" name="Freeform 108">
              <a:extLst>
                <a:ext uri="{FF2B5EF4-FFF2-40B4-BE49-F238E27FC236}">
                  <a16:creationId xmlns:a16="http://schemas.microsoft.com/office/drawing/2014/main" id="{02F1D919-9DAC-4551-B515-4AF88C56DDB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8539" y="5255992"/>
              <a:ext cx="52876" cy="83091"/>
            </a:xfrm>
            <a:custGeom>
              <a:avLst/>
              <a:gdLst>
                <a:gd name="T0" fmla="*/ 16 w 35"/>
                <a:gd name="T1" fmla="*/ 12 h 55"/>
                <a:gd name="T2" fmla="*/ 7 w 35"/>
                <a:gd name="T3" fmla="*/ 19 h 55"/>
                <a:gd name="T4" fmla="*/ 0 w 35"/>
                <a:gd name="T5" fmla="*/ 10 h 55"/>
                <a:gd name="T6" fmla="*/ 19 w 35"/>
                <a:gd name="T7" fmla="*/ 0 h 55"/>
                <a:gd name="T8" fmla="*/ 28 w 35"/>
                <a:gd name="T9" fmla="*/ 0 h 55"/>
                <a:gd name="T10" fmla="*/ 28 w 35"/>
                <a:gd name="T11" fmla="*/ 45 h 55"/>
                <a:gd name="T12" fmla="*/ 35 w 35"/>
                <a:gd name="T13" fmla="*/ 48 h 55"/>
                <a:gd name="T14" fmla="*/ 35 w 35"/>
                <a:gd name="T15" fmla="*/ 55 h 55"/>
                <a:gd name="T16" fmla="*/ 9 w 35"/>
                <a:gd name="T17" fmla="*/ 55 h 55"/>
                <a:gd name="T18" fmla="*/ 9 w 35"/>
                <a:gd name="T19" fmla="*/ 48 h 55"/>
                <a:gd name="T20" fmla="*/ 16 w 35"/>
                <a:gd name="T21" fmla="*/ 45 h 55"/>
                <a:gd name="T22" fmla="*/ 16 w 35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5">
                  <a:moveTo>
                    <a:pt x="16" y="12"/>
                  </a:moveTo>
                  <a:lnTo>
                    <a:pt x="7" y="19"/>
                  </a:lnTo>
                  <a:lnTo>
                    <a:pt x="0" y="10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5"/>
                  </a:lnTo>
                  <a:lnTo>
                    <a:pt x="35" y="48"/>
                  </a:lnTo>
                  <a:lnTo>
                    <a:pt x="35" y="55"/>
                  </a:lnTo>
                  <a:lnTo>
                    <a:pt x="9" y="55"/>
                  </a:lnTo>
                  <a:lnTo>
                    <a:pt x="9" y="48"/>
                  </a:lnTo>
                  <a:lnTo>
                    <a:pt x="16" y="45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38" name="Freeform 109">
              <a:extLst>
                <a:ext uri="{FF2B5EF4-FFF2-40B4-BE49-F238E27FC236}">
                  <a16:creationId xmlns:a16="http://schemas.microsoft.com/office/drawing/2014/main" id="{01ADA2F5-11BF-4EEA-A0A1-38E7439C13D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8539" y="5402534"/>
              <a:ext cx="52876" cy="83091"/>
            </a:xfrm>
            <a:custGeom>
              <a:avLst/>
              <a:gdLst>
                <a:gd name="T0" fmla="*/ 16 w 35"/>
                <a:gd name="T1" fmla="*/ 12 h 55"/>
                <a:gd name="T2" fmla="*/ 7 w 35"/>
                <a:gd name="T3" fmla="*/ 19 h 55"/>
                <a:gd name="T4" fmla="*/ 0 w 35"/>
                <a:gd name="T5" fmla="*/ 10 h 55"/>
                <a:gd name="T6" fmla="*/ 19 w 35"/>
                <a:gd name="T7" fmla="*/ 0 h 55"/>
                <a:gd name="T8" fmla="*/ 28 w 35"/>
                <a:gd name="T9" fmla="*/ 0 h 55"/>
                <a:gd name="T10" fmla="*/ 28 w 35"/>
                <a:gd name="T11" fmla="*/ 48 h 55"/>
                <a:gd name="T12" fmla="*/ 35 w 35"/>
                <a:gd name="T13" fmla="*/ 48 h 55"/>
                <a:gd name="T14" fmla="*/ 35 w 35"/>
                <a:gd name="T15" fmla="*/ 55 h 55"/>
                <a:gd name="T16" fmla="*/ 9 w 35"/>
                <a:gd name="T17" fmla="*/ 55 h 55"/>
                <a:gd name="T18" fmla="*/ 9 w 35"/>
                <a:gd name="T19" fmla="*/ 48 h 55"/>
                <a:gd name="T20" fmla="*/ 16 w 35"/>
                <a:gd name="T21" fmla="*/ 48 h 55"/>
                <a:gd name="T22" fmla="*/ 16 w 35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5">
                  <a:moveTo>
                    <a:pt x="16" y="12"/>
                  </a:moveTo>
                  <a:lnTo>
                    <a:pt x="7" y="19"/>
                  </a:lnTo>
                  <a:lnTo>
                    <a:pt x="0" y="10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8"/>
                  </a:lnTo>
                  <a:lnTo>
                    <a:pt x="35" y="48"/>
                  </a:lnTo>
                  <a:lnTo>
                    <a:pt x="35" y="55"/>
                  </a:lnTo>
                  <a:lnTo>
                    <a:pt x="9" y="55"/>
                  </a:lnTo>
                  <a:lnTo>
                    <a:pt x="9" y="48"/>
                  </a:lnTo>
                  <a:lnTo>
                    <a:pt x="16" y="48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39" name="Freeform 110">
              <a:extLst>
                <a:ext uri="{FF2B5EF4-FFF2-40B4-BE49-F238E27FC236}">
                  <a16:creationId xmlns:a16="http://schemas.microsoft.com/office/drawing/2014/main" id="{DC8BBA1F-74B2-4683-BC33-179D2151DE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14007" y="5546055"/>
              <a:ext cx="67984" cy="89134"/>
            </a:xfrm>
            <a:custGeom>
              <a:avLst/>
              <a:gdLst>
                <a:gd name="T0" fmla="*/ 17 w 19"/>
                <a:gd name="T1" fmla="*/ 5 h 25"/>
                <a:gd name="T2" fmla="*/ 19 w 19"/>
                <a:gd name="T3" fmla="*/ 13 h 25"/>
                <a:gd name="T4" fmla="*/ 17 w 19"/>
                <a:gd name="T5" fmla="*/ 21 h 25"/>
                <a:gd name="T6" fmla="*/ 10 w 19"/>
                <a:gd name="T7" fmla="*/ 25 h 25"/>
                <a:gd name="T8" fmla="*/ 2 w 19"/>
                <a:gd name="T9" fmla="*/ 21 h 25"/>
                <a:gd name="T10" fmla="*/ 0 w 19"/>
                <a:gd name="T11" fmla="*/ 12 h 25"/>
                <a:gd name="T12" fmla="*/ 10 w 19"/>
                <a:gd name="T13" fmla="*/ 0 h 25"/>
                <a:gd name="T14" fmla="*/ 17 w 19"/>
                <a:gd name="T15" fmla="*/ 5 h 25"/>
                <a:gd name="T16" fmla="*/ 6 w 19"/>
                <a:gd name="T17" fmla="*/ 13 h 25"/>
                <a:gd name="T18" fmla="*/ 10 w 19"/>
                <a:gd name="T19" fmla="*/ 21 h 25"/>
                <a:gd name="T20" fmla="*/ 14 w 19"/>
                <a:gd name="T21" fmla="*/ 13 h 25"/>
                <a:gd name="T22" fmla="*/ 10 w 19"/>
                <a:gd name="T23" fmla="*/ 5 h 25"/>
                <a:gd name="T24" fmla="*/ 6 w 19"/>
                <a:gd name="T25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5">
                  <a:moveTo>
                    <a:pt x="17" y="5"/>
                  </a:moveTo>
                  <a:cubicBezTo>
                    <a:pt x="18" y="7"/>
                    <a:pt x="19" y="9"/>
                    <a:pt x="19" y="13"/>
                  </a:cubicBezTo>
                  <a:cubicBezTo>
                    <a:pt x="19" y="17"/>
                    <a:pt x="18" y="19"/>
                    <a:pt x="17" y="21"/>
                  </a:cubicBezTo>
                  <a:cubicBezTo>
                    <a:pt x="15" y="24"/>
                    <a:pt x="13" y="25"/>
                    <a:pt x="10" y="25"/>
                  </a:cubicBezTo>
                  <a:cubicBezTo>
                    <a:pt x="6" y="25"/>
                    <a:pt x="3" y="23"/>
                    <a:pt x="2" y="21"/>
                  </a:cubicBezTo>
                  <a:cubicBezTo>
                    <a:pt x="1" y="19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2"/>
                    <a:pt x="17" y="5"/>
                  </a:cubicBezTo>
                  <a:close/>
                  <a:moveTo>
                    <a:pt x="6" y="13"/>
                  </a:moveTo>
                  <a:cubicBezTo>
                    <a:pt x="6" y="18"/>
                    <a:pt x="7" y="21"/>
                    <a:pt x="10" y="21"/>
                  </a:cubicBezTo>
                  <a:cubicBezTo>
                    <a:pt x="12" y="21"/>
                    <a:pt x="14" y="18"/>
                    <a:pt x="14" y="13"/>
                  </a:cubicBezTo>
                  <a:cubicBezTo>
                    <a:pt x="14" y="7"/>
                    <a:pt x="12" y="5"/>
                    <a:pt x="10" y="5"/>
                  </a:cubicBezTo>
                  <a:cubicBezTo>
                    <a:pt x="7" y="5"/>
                    <a:pt x="6" y="7"/>
                    <a:pt x="6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40" name="Freeform 111">
              <a:extLst>
                <a:ext uri="{FF2B5EF4-FFF2-40B4-BE49-F238E27FC236}">
                  <a16:creationId xmlns:a16="http://schemas.microsoft.com/office/drawing/2014/main" id="{34D9206A-7770-4BBA-9174-8B8EDCE58971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8539" y="5695618"/>
              <a:ext cx="52876" cy="81580"/>
            </a:xfrm>
            <a:custGeom>
              <a:avLst/>
              <a:gdLst>
                <a:gd name="T0" fmla="*/ 16 w 35"/>
                <a:gd name="T1" fmla="*/ 12 h 54"/>
                <a:gd name="T2" fmla="*/ 7 w 35"/>
                <a:gd name="T3" fmla="*/ 19 h 54"/>
                <a:gd name="T4" fmla="*/ 0 w 35"/>
                <a:gd name="T5" fmla="*/ 9 h 54"/>
                <a:gd name="T6" fmla="*/ 19 w 35"/>
                <a:gd name="T7" fmla="*/ 0 h 54"/>
                <a:gd name="T8" fmla="*/ 28 w 35"/>
                <a:gd name="T9" fmla="*/ 0 h 54"/>
                <a:gd name="T10" fmla="*/ 28 w 35"/>
                <a:gd name="T11" fmla="*/ 47 h 54"/>
                <a:gd name="T12" fmla="*/ 35 w 35"/>
                <a:gd name="T13" fmla="*/ 47 h 54"/>
                <a:gd name="T14" fmla="*/ 35 w 35"/>
                <a:gd name="T15" fmla="*/ 54 h 54"/>
                <a:gd name="T16" fmla="*/ 9 w 35"/>
                <a:gd name="T17" fmla="*/ 54 h 54"/>
                <a:gd name="T18" fmla="*/ 9 w 35"/>
                <a:gd name="T19" fmla="*/ 47 h 54"/>
                <a:gd name="T20" fmla="*/ 16 w 35"/>
                <a:gd name="T21" fmla="*/ 47 h 54"/>
                <a:gd name="T22" fmla="*/ 16 w 35"/>
                <a:gd name="T23" fmla="*/ 1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4">
                  <a:moveTo>
                    <a:pt x="16" y="12"/>
                  </a:moveTo>
                  <a:lnTo>
                    <a:pt x="7" y="19"/>
                  </a:lnTo>
                  <a:lnTo>
                    <a:pt x="0" y="9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4"/>
                  </a:lnTo>
                  <a:lnTo>
                    <a:pt x="9" y="54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41" name="Freeform 112">
              <a:extLst>
                <a:ext uri="{FF2B5EF4-FFF2-40B4-BE49-F238E27FC236}">
                  <a16:creationId xmlns:a16="http://schemas.microsoft.com/office/drawing/2014/main" id="{279BE4D1-C730-4C77-B6A5-9DB90F92AE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14007" y="5839139"/>
              <a:ext cx="67984" cy="89134"/>
            </a:xfrm>
            <a:custGeom>
              <a:avLst/>
              <a:gdLst>
                <a:gd name="T0" fmla="*/ 17 w 19"/>
                <a:gd name="T1" fmla="*/ 5 h 25"/>
                <a:gd name="T2" fmla="*/ 19 w 19"/>
                <a:gd name="T3" fmla="*/ 13 h 25"/>
                <a:gd name="T4" fmla="*/ 17 w 19"/>
                <a:gd name="T5" fmla="*/ 22 h 25"/>
                <a:gd name="T6" fmla="*/ 10 w 19"/>
                <a:gd name="T7" fmla="*/ 25 h 25"/>
                <a:gd name="T8" fmla="*/ 2 w 19"/>
                <a:gd name="T9" fmla="*/ 21 h 25"/>
                <a:gd name="T10" fmla="*/ 0 w 19"/>
                <a:gd name="T11" fmla="*/ 13 h 25"/>
                <a:gd name="T12" fmla="*/ 10 w 19"/>
                <a:gd name="T13" fmla="*/ 0 h 25"/>
                <a:gd name="T14" fmla="*/ 17 w 19"/>
                <a:gd name="T15" fmla="*/ 5 h 25"/>
                <a:gd name="T16" fmla="*/ 6 w 19"/>
                <a:gd name="T17" fmla="*/ 13 h 25"/>
                <a:gd name="T18" fmla="*/ 10 w 19"/>
                <a:gd name="T19" fmla="*/ 21 h 25"/>
                <a:gd name="T20" fmla="*/ 14 w 19"/>
                <a:gd name="T21" fmla="*/ 13 h 25"/>
                <a:gd name="T22" fmla="*/ 10 w 19"/>
                <a:gd name="T23" fmla="*/ 5 h 25"/>
                <a:gd name="T24" fmla="*/ 6 w 19"/>
                <a:gd name="T25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5">
                  <a:moveTo>
                    <a:pt x="17" y="5"/>
                  </a:moveTo>
                  <a:cubicBezTo>
                    <a:pt x="18" y="7"/>
                    <a:pt x="19" y="9"/>
                    <a:pt x="19" y="13"/>
                  </a:cubicBezTo>
                  <a:cubicBezTo>
                    <a:pt x="19" y="17"/>
                    <a:pt x="18" y="20"/>
                    <a:pt x="17" y="22"/>
                  </a:cubicBezTo>
                  <a:cubicBezTo>
                    <a:pt x="15" y="24"/>
                    <a:pt x="13" y="25"/>
                    <a:pt x="10" y="25"/>
                  </a:cubicBezTo>
                  <a:cubicBezTo>
                    <a:pt x="6" y="25"/>
                    <a:pt x="3" y="23"/>
                    <a:pt x="2" y="21"/>
                  </a:cubicBezTo>
                  <a:cubicBezTo>
                    <a:pt x="1" y="19"/>
                    <a:pt x="0" y="16"/>
                    <a:pt x="0" y="13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2"/>
                    <a:pt x="17" y="5"/>
                  </a:cubicBezTo>
                  <a:close/>
                  <a:moveTo>
                    <a:pt x="6" y="13"/>
                  </a:moveTo>
                  <a:cubicBezTo>
                    <a:pt x="6" y="18"/>
                    <a:pt x="7" y="21"/>
                    <a:pt x="10" y="21"/>
                  </a:cubicBezTo>
                  <a:cubicBezTo>
                    <a:pt x="12" y="21"/>
                    <a:pt x="14" y="18"/>
                    <a:pt x="14" y="13"/>
                  </a:cubicBezTo>
                  <a:cubicBezTo>
                    <a:pt x="14" y="7"/>
                    <a:pt x="12" y="5"/>
                    <a:pt x="10" y="5"/>
                  </a:cubicBezTo>
                  <a:cubicBezTo>
                    <a:pt x="7" y="5"/>
                    <a:pt x="6" y="7"/>
                    <a:pt x="6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42" name="Freeform 113">
              <a:extLst>
                <a:ext uri="{FF2B5EF4-FFF2-40B4-BE49-F238E27FC236}">
                  <a16:creationId xmlns:a16="http://schemas.microsoft.com/office/drawing/2014/main" id="{B214EE3A-B9A6-4C4C-B918-0C5A1BEF27D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8539" y="5988702"/>
              <a:ext cx="52876" cy="84602"/>
            </a:xfrm>
            <a:custGeom>
              <a:avLst/>
              <a:gdLst>
                <a:gd name="T0" fmla="*/ 16 w 35"/>
                <a:gd name="T1" fmla="*/ 12 h 56"/>
                <a:gd name="T2" fmla="*/ 7 w 35"/>
                <a:gd name="T3" fmla="*/ 19 h 56"/>
                <a:gd name="T4" fmla="*/ 0 w 35"/>
                <a:gd name="T5" fmla="*/ 9 h 56"/>
                <a:gd name="T6" fmla="*/ 19 w 35"/>
                <a:gd name="T7" fmla="*/ 0 h 56"/>
                <a:gd name="T8" fmla="*/ 28 w 35"/>
                <a:gd name="T9" fmla="*/ 0 h 56"/>
                <a:gd name="T10" fmla="*/ 28 w 35"/>
                <a:gd name="T11" fmla="*/ 47 h 56"/>
                <a:gd name="T12" fmla="*/ 35 w 35"/>
                <a:gd name="T13" fmla="*/ 47 h 56"/>
                <a:gd name="T14" fmla="*/ 35 w 35"/>
                <a:gd name="T15" fmla="*/ 56 h 56"/>
                <a:gd name="T16" fmla="*/ 9 w 35"/>
                <a:gd name="T17" fmla="*/ 56 h 56"/>
                <a:gd name="T18" fmla="*/ 9 w 35"/>
                <a:gd name="T19" fmla="*/ 47 h 56"/>
                <a:gd name="T20" fmla="*/ 16 w 35"/>
                <a:gd name="T21" fmla="*/ 47 h 56"/>
                <a:gd name="T22" fmla="*/ 16 w 35"/>
                <a:gd name="T23" fmla="*/ 12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6">
                  <a:moveTo>
                    <a:pt x="16" y="12"/>
                  </a:moveTo>
                  <a:lnTo>
                    <a:pt x="7" y="19"/>
                  </a:lnTo>
                  <a:lnTo>
                    <a:pt x="0" y="9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6"/>
                  </a:lnTo>
                  <a:lnTo>
                    <a:pt x="9" y="56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43" name="Freeform 114">
              <a:extLst>
                <a:ext uri="{FF2B5EF4-FFF2-40B4-BE49-F238E27FC236}">
                  <a16:creationId xmlns:a16="http://schemas.microsoft.com/office/drawing/2014/main" id="{48179292-D6FB-4493-BF16-8723F86880B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8539" y="6135244"/>
              <a:ext cx="52876" cy="84602"/>
            </a:xfrm>
            <a:custGeom>
              <a:avLst/>
              <a:gdLst>
                <a:gd name="T0" fmla="*/ 16 w 35"/>
                <a:gd name="T1" fmla="*/ 11 h 56"/>
                <a:gd name="T2" fmla="*/ 7 w 35"/>
                <a:gd name="T3" fmla="*/ 18 h 56"/>
                <a:gd name="T4" fmla="*/ 0 w 35"/>
                <a:gd name="T5" fmla="*/ 9 h 56"/>
                <a:gd name="T6" fmla="*/ 19 w 35"/>
                <a:gd name="T7" fmla="*/ 0 h 56"/>
                <a:gd name="T8" fmla="*/ 28 w 35"/>
                <a:gd name="T9" fmla="*/ 0 h 56"/>
                <a:gd name="T10" fmla="*/ 28 w 35"/>
                <a:gd name="T11" fmla="*/ 47 h 56"/>
                <a:gd name="T12" fmla="*/ 35 w 35"/>
                <a:gd name="T13" fmla="*/ 47 h 56"/>
                <a:gd name="T14" fmla="*/ 35 w 35"/>
                <a:gd name="T15" fmla="*/ 56 h 56"/>
                <a:gd name="T16" fmla="*/ 9 w 35"/>
                <a:gd name="T17" fmla="*/ 56 h 56"/>
                <a:gd name="T18" fmla="*/ 9 w 35"/>
                <a:gd name="T19" fmla="*/ 47 h 56"/>
                <a:gd name="T20" fmla="*/ 16 w 35"/>
                <a:gd name="T21" fmla="*/ 47 h 56"/>
                <a:gd name="T22" fmla="*/ 16 w 35"/>
                <a:gd name="T23" fmla="*/ 1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6">
                  <a:moveTo>
                    <a:pt x="16" y="11"/>
                  </a:moveTo>
                  <a:lnTo>
                    <a:pt x="7" y="18"/>
                  </a:lnTo>
                  <a:lnTo>
                    <a:pt x="0" y="9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6"/>
                  </a:lnTo>
                  <a:lnTo>
                    <a:pt x="9" y="56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44" name="Freeform 115">
              <a:extLst>
                <a:ext uri="{FF2B5EF4-FFF2-40B4-BE49-F238E27FC236}">
                  <a16:creationId xmlns:a16="http://schemas.microsoft.com/office/drawing/2014/main" id="{3D499DDA-EA09-413B-AABD-46CEA0A84D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14007" y="6280275"/>
              <a:ext cx="67984" cy="86113"/>
            </a:xfrm>
            <a:custGeom>
              <a:avLst/>
              <a:gdLst>
                <a:gd name="T0" fmla="*/ 17 w 19"/>
                <a:gd name="T1" fmla="*/ 4 h 24"/>
                <a:gd name="T2" fmla="*/ 19 w 19"/>
                <a:gd name="T3" fmla="*/ 12 h 24"/>
                <a:gd name="T4" fmla="*/ 17 w 19"/>
                <a:gd name="T5" fmla="*/ 21 h 24"/>
                <a:gd name="T6" fmla="*/ 10 w 19"/>
                <a:gd name="T7" fmla="*/ 24 h 24"/>
                <a:gd name="T8" fmla="*/ 2 w 19"/>
                <a:gd name="T9" fmla="*/ 20 h 24"/>
                <a:gd name="T10" fmla="*/ 0 w 19"/>
                <a:gd name="T11" fmla="*/ 12 h 24"/>
                <a:gd name="T12" fmla="*/ 10 w 19"/>
                <a:gd name="T13" fmla="*/ 0 h 24"/>
                <a:gd name="T14" fmla="*/ 17 w 19"/>
                <a:gd name="T15" fmla="*/ 4 h 24"/>
                <a:gd name="T16" fmla="*/ 6 w 19"/>
                <a:gd name="T17" fmla="*/ 12 h 24"/>
                <a:gd name="T18" fmla="*/ 10 w 19"/>
                <a:gd name="T19" fmla="*/ 20 h 24"/>
                <a:gd name="T20" fmla="*/ 14 w 19"/>
                <a:gd name="T21" fmla="*/ 12 h 24"/>
                <a:gd name="T22" fmla="*/ 10 w 19"/>
                <a:gd name="T23" fmla="*/ 4 h 24"/>
                <a:gd name="T24" fmla="*/ 6 w 19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4">
                  <a:moveTo>
                    <a:pt x="17" y="4"/>
                  </a:moveTo>
                  <a:cubicBezTo>
                    <a:pt x="18" y="6"/>
                    <a:pt x="19" y="8"/>
                    <a:pt x="19" y="12"/>
                  </a:cubicBezTo>
                  <a:cubicBezTo>
                    <a:pt x="19" y="16"/>
                    <a:pt x="18" y="19"/>
                    <a:pt x="17" y="21"/>
                  </a:cubicBezTo>
                  <a:cubicBezTo>
                    <a:pt x="15" y="23"/>
                    <a:pt x="13" y="24"/>
                    <a:pt x="10" y="24"/>
                  </a:cubicBezTo>
                  <a:cubicBezTo>
                    <a:pt x="6" y="24"/>
                    <a:pt x="3" y="23"/>
                    <a:pt x="2" y="20"/>
                  </a:cubicBezTo>
                  <a:cubicBezTo>
                    <a:pt x="1" y="18"/>
                    <a:pt x="0" y="15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1"/>
                    <a:pt x="17" y="4"/>
                  </a:cubicBezTo>
                  <a:close/>
                  <a:moveTo>
                    <a:pt x="6" y="12"/>
                  </a:moveTo>
                  <a:cubicBezTo>
                    <a:pt x="6" y="17"/>
                    <a:pt x="7" y="20"/>
                    <a:pt x="10" y="20"/>
                  </a:cubicBezTo>
                  <a:cubicBezTo>
                    <a:pt x="12" y="20"/>
                    <a:pt x="14" y="17"/>
                    <a:pt x="14" y="12"/>
                  </a:cubicBezTo>
                  <a:cubicBezTo>
                    <a:pt x="14" y="6"/>
                    <a:pt x="12" y="4"/>
                    <a:pt x="10" y="4"/>
                  </a:cubicBezTo>
                  <a:cubicBezTo>
                    <a:pt x="7" y="4"/>
                    <a:pt x="6" y="6"/>
                    <a:pt x="6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45" name="Freeform 116">
              <a:extLst>
                <a:ext uri="{FF2B5EF4-FFF2-40B4-BE49-F238E27FC236}">
                  <a16:creationId xmlns:a16="http://schemas.microsoft.com/office/drawing/2014/main" id="{07B49F9A-8867-470F-808A-63CA59D5F7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14007" y="6426817"/>
              <a:ext cx="67984" cy="86113"/>
            </a:xfrm>
            <a:custGeom>
              <a:avLst/>
              <a:gdLst>
                <a:gd name="T0" fmla="*/ 17 w 19"/>
                <a:gd name="T1" fmla="*/ 4 h 24"/>
                <a:gd name="T2" fmla="*/ 19 w 19"/>
                <a:gd name="T3" fmla="*/ 12 h 24"/>
                <a:gd name="T4" fmla="*/ 17 w 19"/>
                <a:gd name="T5" fmla="*/ 21 h 24"/>
                <a:gd name="T6" fmla="*/ 10 w 19"/>
                <a:gd name="T7" fmla="*/ 24 h 24"/>
                <a:gd name="T8" fmla="*/ 2 w 19"/>
                <a:gd name="T9" fmla="*/ 20 h 24"/>
                <a:gd name="T10" fmla="*/ 0 w 19"/>
                <a:gd name="T11" fmla="*/ 12 h 24"/>
                <a:gd name="T12" fmla="*/ 10 w 19"/>
                <a:gd name="T13" fmla="*/ 0 h 24"/>
                <a:gd name="T14" fmla="*/ 17 w 19"/>
                <a:gd name="T15" fmla="*/ 4 h 24"/>
                <a:gd name="T16" fmla="*/ 6 w 19"/>
                <a:gd name="T17" fmla="*/ 12 h 24"/>
                <a:gd name="T18" fmla="*/ 10 w 19"/>
                <a:gd name="T19" fmla="*/ 20 h 24"/>
                <a:gd name="T20" fmla="*/ 14 w 19"/>
                <a:gd name="T21" fmla="*/ 12 h 24"/>
                <a:gd name="T22" fmla="*/ 10 w 19"/>
                <a:gd name="T23" fmla="*/ 4 h 24"/>
                <a:gd name="T24" fmla="*/ 6 w 19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4">
                  <a:moveTo>
                    <a:pt x="17" y="4"/>
                  </a:moveTo>
                  <a:cubicBezTo>
                    <a:pt x="18" y="6"/>
                    <a:pt x="19" y="8"/>
                    <a:pt x="19" y="12"/>
                  </a:cubicBezTo>
                  <a:cubicBezTo>
                    <a:pt x="19" y="16"/>
                    <a:pt x="18" y="19"/>
                    <a:pt x="17" y="21"/>
                  </a:cubicBezTo>
                  <a:cubicBezTo>
                    <a:pt x="15" y="23"/>
                    <a:pt x="13" y="24"/>
                    <a:pt x="10" y="24"/>
                  </a:cubicBezTo>
                  <a:cubicBezTo>
                    <a:pt x="6" y="24"/>
                    <a:pt x="3" y="23"/>
                    <a:pt x="2" y="20"/>
                  </a:cubicBezTo>
                  <a:cubicBezTo>
                    <a:pt x="1" y="18"/>
                    <a:pt x="0" y="15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1"/>
                    <a:pt x="17" y="4"/>
                  </a:cubicBezTo>
                  <a:close/>
                  <a:moveTo>
                    <a:pt x="6" y="12"/>
                  </a:moveTo>
                  <a:cubicBezTo>
                    <a:pt x="6" y="17"/>
                    <a:pt x="7" y="20"/>
                    <a:pt x="10" y="20"/>
                  </a:cubicBezTo>
                  <a:cubicBezTo>
                    <a:pt x="12" y="20"/>
                    <a:pt x="14" y="17"/>
                    <a:pt x="14" y="12"/>
                  </a:cubicBezTo>
                  <a:cubicBezTo>
                    <a:pt x="14" y="6"/>
                    <a:pt x="12" y="4"/>
                    <a:pt x="10" y="4"/>
                  </a:cubicBezTo>
                  <a:cubicBezTo>
                    <a:pt x="7" y="4"/>
                    <a:pt x="6" y="6"/>
                    <a:pt x="6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46" name="Freeform 117">
              <a:extLst>
                <a:ext uri="{FF2B5EF4-FFF2-40B4-BE49-F238E27FC236}">
                  <a16:creationId xmlns:a16="http://schemas.microsoft.com/office/drawing/2014/main" id="{15F804D9-FD9D-4AD9-A147-BCFB69B52C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14007" y="6573359"/>
              <a:ext cx="67984" cy="86113"/>
            </a:xfrm>
            <a:custGeom>
              <a:avLst/>
              <a:gdLst>
                <a:gd name="T0" fmla="*/ 17 w 19"/>
                <a:gd name="T1" fmla="*/ 4 h 24"/>
                <a:gd name="T2" fmla="*/ 19 w 19"/>
                <a:gd name="T3" fmla="*/ 12 h 24"/>
                <a:gd name="T4" fmla="*/ 17 w 19"/>
                <a:gd name="T5" fmla="*/ 21 h 24"/>
                <a:gd name="T6" fmla="*/ 10 w 19"/>
                <a:gd name="T7" fmla="*/ 24 h 24"/>
                <a:gd name="T8" fmla="*/ 2 w 19"/>
                <a:gd name="T9" fmla="*/ 20 h 24"/>
                <a:gd name="T10" fmla="*/ 0 w 19"/>
                <a:gd name="T11" fmla="*/ 12 h 24"/>
                <a:gd name="T12" fmla="*/ 10 w 19"/>
                <a:gd name="T13" fmla="*/ 0 h 24"/>
                <a:gd name="T14" fmla="*/ 17 w 19"/>
                <a:gd name="T15" fmla="*/ 4 h 24"/>
                <a:gd name="T16" fmla="*/ 6 w 19"/>
                <a:gd name="T17" fmla="*/ 12 h 24"/>
                <a:gd name="T18" fmla="*/ 10 w 19"/>
                <a:gd name="T19" fmla="*/ 20 h 24"/>
                <a:gd name="T20" fmla="*/ 14 w 19"/>
                <a:gd name="T21" fmla="*/ 12 h 24"/>
                <a:gd name="T22" fmla="*/ 10 w 19"/>
                <a:gd name="T23" fmla="*/ 4 h 24"/>
                <a:gd name="T24" fmla="*/ 6 w 19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4">
                  <a:moveTo>
                    <a:pt x="17" y="4"/>
                  </a:moveTo>
                  <a:cubicBezTo>
                    <a:pt x="18" y="6"/>
                    <a:pt x="19" y="8"/>
                    <a:pt x="19" y="12"/>
                  </a:cubicBezTo>
                  <a:cubicBezTo>
                    <a:pt x="19" y="16"/>
                    <a:pt x="18" y="19"/>
                    <a:pt x="17" y="21"/>
                  </a:cubicBezTo>
                  <a:cubicBezTo>
                    <a:pt x="15" y="23"/>
                    <a:pt x="13" y="24"/>
                    <a:pt x="10" y="24"/>
                  </a:cubicBezTo>
                  <a:cubicBezTo>
                    <a:pt x="6" y="24"/>
                    <a:pt x="3" y="23"/>
                    <a:pt x="2" y="20"/>
                  </a:cubicBezTo>
                  <a:cubicBezTo>
                    <a:pt x="1" y="18"/>
                    <a:pt x="0" y="15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1"/>
                    <a:pt x="17" y="4"/>
                  </a:cubicBezTo>
                  <a:close/>
                  <a:moveTo>
                    <a:pt x="6" y="12"/>
                  </a:moveTo>
                  <a:cubicBezTo>
                    <a:pt x="6" y="17"/>
                    <a:pt x="7" y="20"/>
                    <a:pt x="10" y="20"/>
                  </a:cubicBezTo>
                  <a:cubicBezTo>
                    <a:pt x="12" y="20"/>
                    <a:pt x="14" y="17"/>
                    <a:pt x="14" y="12"/>
                  </a:cubicBezTo>
                  <a:cubicBezTo>
                    <a:pt x="14" y="6"/>
                    <a:pt x="12" y="4"/>
                    <a:pt x="10" y="4"/>
                  </a:cubicBezTo>
                  <a:cubicBezTo>
                    <a:pt x="7" y="4"/>
                    <a:pt x="6" y="6"/>
                    <a:pt x="6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47" name="Freeform 118">
              <a:extLst>
                <a:ext uri="{FF2B5EF4-FFF2-40B4-BE49-F238E27FC236}">
                  <a16:creationId xmlns:a16="http://schemas.microsoft.com/office/drawing/2014/main" id="{B58FE1A5-72C1-43A1-9798-046F4D1FF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8539" y="6719901"/>
              <a:ext cx="52876" cy="86113"/>
            </a:xfrm>
            <a:custGeom>
              <a:avLst/>
              <a:gdLst>
                <a:gd name="T0" fmla="*/ 16 w 35"/>
                <a:gd name="T1" fmla="*/ 14 h 57"/>
                <a:gd name="T2" fmla="*/ 7 w 35"/>
                <a:gd name="T3" fmla="*/ 21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7 h 57"/>
                <a:gd name="T12" fmla="*/ 35 w 35"/>
                <a:gd name="T13" fmla="*/ 47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7 h 57"/>
                <a:gd name="T20" fmla="*/ 16 w 35"/>
                <a:gd name="T21" fmla="*/ 47 h 57"/>
                <a:gd name="T22" fmla="*/ 16 w 35"/>
                <a:gd name="T23" fmla="*/ 1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4"/>
                  </a:moveTo>
                  <a:lnTo>
                    <a:pt x="7" y="21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48" name="Freeform 119">
              <a:extLst>
                <a:ext uri="{FF2B5EF4-FFF2-40B4-BE49-F238E27FC236}">
                  <a16:creationId xmlns:a16="http://schemas.microsoft.com/office/drawing/2014/main" id="{53C532D7-B03E-4C49-B5BD-3D9E358CEE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14007" y="6866443"/>
              <a:ext cx="67984" cy="86113"/>
            </a:xfrm>
            <a:custGeom>
              <a:avLst/>
              <a:gdLst>
                <a:gd name="T0" fmla="*/ 17 w 19"/>
                <a:gd name="T1" fmla="*/ 4 h 24"/>
                <a:gd name="T2" fmla="*/ 19 w 19"/>
                <a:gd name="T3" fmla="*/ 12 h 24"/>
                <a:gd name="T4" fmla="*/ 17 w 19"/>
                <a:gd name="T5" fmla="*/ 21 h 24"/>
                <a:gd name="T6" fmla="*/ 10 w 19"/>
                <a:gd name="T7" fmla="*/ 24 h 24"/>
                <a:gd name="T8" fmla="*/ 2 w 19"/>
                <a:gd name="T9" fmla="*/ 20 h 24"/>
                <a:gd name="T10" fmla="*/ 0 w 19"/>
                <a:gd name="T11" fmla="*/ 12 h 24"/>
                <a:gd name="T12" fmla="*/ 10 w 19"/>
                <a:gd name="T13" fmla="*/ 0 h 24"/>
                <a:gd name="T14" fmla="*/ 17 w 19"/>
                <a:gd name="T15" fmla="*/ 4 h 24"/>
                <a:gd name="T16" fmla="*/ 6 w 19"/>
                <a:gd name="T17" fmla="*/ 12 h 24"/>
                <a:gd name="T18" fmla="*/ 10 w 19"/>
                <a:gd name="T19" fmla="*/ 20 h 24"/>
                <a:gd name="T20" fmla="*/ 14 w 19"/>
                <a:gd name="T21" fmla="*/ 12 h 24"/>
                <a:gd name="T22" fmla="*/ 10 w 19"/>
                <a:gd name="T23" fmla="*/ 4 h 24"/>
                <a:gd name="T24" fmla="*/ 6 w 19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4">
                  <a:moveTo>
                    <a:pt x="17" y="4"/>
                  </a:moveTo>
                  <a:cubicBezTo>
                    <a:pt x="18" y="6"/>
                    <a:pt x="19" y="8"/>
                    <a:pt x="19" y="12"/>
                  </a:cubicBezTo>
                  <a:cubicBezTo>
                    <a:pt x="19" y="16"/>
                    <a:pt x="18" y="19"/>
                    <a:pt x="17" y="21"/>
                  </a:cubicBezTo>
                  <a:cubicBezTo>
                    <a:pt x="15" y="23"/>
                    <a:pt x="13" y="24"/>
                    <a:pt x="10" y="24"/>
                  </a:cubicBezTo>
                  <a:cubicBezTo>
                    <a:pt x="6" y="24"/>
                    <a:pt x="3" y="23"/>
                    <a:pt x="2" y="20"/>
                  </a:cubicBezTo>
                  <a:cubicBezTo>
                    <a:pt x="1" y="18"/>
                    <a:pt x="0" y="15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1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6"/>
                    <a:pt x="12" y="4"/>
                    <a:pt x="10" y="4"/>
                  </a:cubicBezTo>
                  <a:cubicBezTo>
                    <a:pt x="7" y="4"/>
                    <a:pt x="6" y="6"/>
                    <a:pt x="6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49" name="Freeform 135">
              <a:extLst>
                <a:ext uri="{FF2B5EF4-FFF2-40B4-BE49-F238E27FC236}">
                  <a16:creationId xmlns:a16="http://schemas.microsoft.com/office/drawing/2014/main" id="{C97D2244-CB77-4FC8-8337-80DEC84689A5}"/>
                </a:ext>
              </a:extLst>
            </p:cNvPr>
            <p:cNvSpPr>
              <a:spLocks/>
            </p:cNvSpPr>
            <p:nvPr/>
          </p:nvSpPr>
          <p:spPr bwMode="auto">
            <a:xfrm>
              <a:off x="8868629" y="3718057"/>
              <a:ext cx="60430" cy="111795"/>
            </a:xfrm>
            <a:custGeom>
              <a:avLst/>
              <a:gdLst>
                <a:gd name="T0" fmla="*/ 19 w 40"/>
                <a:gd name="T1" fmla="*/ 14 h 74"/>
                <a:gd name="T2" fmla="*/ 4 w 40"/>
                <a:gd name="T3" fmla="*/ 24 h 74"/>
                <a:gd name="T4" fmla="*/ 0 w 40"/>
                <a:gd name="T5" fmla="*/ 14 h 74"/>
                <a:gd name="T6" fmla="*/ 21 w 40"/>
                <a:gd name="T7" fmla="*/ 0 h 74"/>
                <a:gd name="T8" fmla="*/ 30 w 40"/>
                <a:gd name="T9" fmla="*/ 0 h 74"/>
                <a:gd name="T10" fmla="*/ 30 w 40"/>
                <a:gd name="T11" fmla="*/ 64 h 74"/>
                <a:gd name="T12" fmla="*/ 40 w 40"/>
                <a:gd name="T13" fmla="*/ 64 h 74"/>
                <a:gd name="T14" fmla="*/ 40 w 40"/>
                <a:gd name="T15" fmla="*/ 74 h 74"/>
                <a:gd name="T16" fmla="*/ 9 w 40"/>
                <a:gd name="T17" fmla="*/ 74 h 74"/>
                <a:gd name="T18" fmla="*/ 9 w 40"/>
                <a:gd name="T19" fmla="*/ 64 h 74"/>
                <a:gd name="T20" fmla="*/ 19 w 40"/>
                <a:gd name="T21" fmla="*/ 64 h 74"/>
                <a:gd name="T22" fmla="*/ 19 w 40"/>
                <a:gd name="T23" fmla="*/ 1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4">
                  <a:moveTo>
                    <a:pt x="19" y="14"/>
                  </a:moveTo>
                  <a:lnTo>
                    <a:pt x="4" y="24"/>
                  </a:lnTo>
                  <a:lnTo>
                    <a:pt x="0" y="14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4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9" y="74"/>
                  </a:lnTo>
                  <a:lnTo>
                    <a:pt x="9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50" name="Freeform 136">
              <a:extLst>
                <a:ext uri="{FF2B5EF4-FFF2-40B4-BE49-F238E27FC236}">
                  <a16:creationId xmlns:a16="http://schemas.microsoft.com/office/drawing/2014/main" id="{9C720B97-FEC8-41F1-92A4-13E992383E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64097" y="3906899"/>
              <a:ext cx="75537" cy="114816"/>
            </a:xfrm>
            <a:custGeom>
              <a:avLst/>
              <a:gdLst>
                <a:gd name="T0" fmla="*/ 21 w 21"/>
                <a:gd name="T1" fmla="*/ 16 h 32"/>
                <a:gd name="T2" fmla="*/ 10 w 21"/>
                <a:gd name="T3" fmla="*/ 32 h 32"/>
                <a:gd name="T4" fmla="*/ 0 w 21"/>
                <a:gd name="T5" fmla="*/ 16 h 32"/>
                <a:gd name="T6" fmla="*/ 10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0 w 21"/>
                <a:gd name="T13" fmla="*/ 28 h 32"/>
                <a:gd name="T14" fmla="*/ 16 w 21"/>
                <a:gd name="T15" fmla="*/ 16 h 32"/>
                <a:gd name="T16" fmla="*/ 10 w 21"/>
                <a:gd name="T17" fmla="*/ 5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7"/>
                    <a:pt x="18" y="32"/>
                    <a:pt x="10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0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8"/>
                    <a:pt x="10" y="28"/>
                  </a:cubicBezTo>
                  <a:cubicBezTo>
                    <a:pt x="14" y="28"/>
                    <a:pt x="16" y="24"/>
                    <a:pt x="16" y="16"/>
                  </a:cubicBezTo>
                  <a:cubicBezTo>
                    <a:pt x="16" y="8"/>
                    <a:pt x="14" y="5"/>
                    <a:pt x="10" y="5"/>
                  </a:cubicBezTo>
                  <a:cubicBezTo>
                    <a:pt x="7" y="5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51" name="Freeform 137">
              <a:extLst>
                <a:ext uri="{FF2B5EF4-FFF2-40B4-BE49-F238E27FC236}">
                  <a16:creationId xmlns:a16="http://schemas.microsoft.com/office/drawing/2014/main" id="{BCAF94D3-1151-4DF4-AEFC-D3C8467C17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64097" y="4289117"/>
              <a:ext cx="75537" cy="114816"/>
            </a:xfrm>
            <a:custGeom>
              <a:avLst/>
              <a:gdLst>
                <a:gd name="T0" fmla="*/ 21 w 21"/>
                <a:gd name="T1" fmla="*/ 16 h 32"/>
                <a:gd name="T2" fmla="*/ 10 w 21"/>
                <a:gd name="T3" fmla="*/ 32 h 32"/>
                <a:gd name="T4" fmla="*/ 0 w 21"/>
                <a:gd name="T5" fmla="*/ 16 h 32"/>
                <a:gd name="T6" fmla="*/ 10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0 w 21"/>
                <a:gd name="T13" fmla="*/ 27 h 32"/>
                <a:gd name="T14" fmla="*/ 16 w 21"/>
                <a:gd name="T15" fmla="*/ 16 h 32"/>
                <a:gd name="T16" fmla="*/ 10 w 21"/>
                <a:gd name="T17" fmla="*/ 4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6"/>
                    <a:pt x="18" y="32"/>
                    <a:pt x="10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0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7"/>
                    <a:pt x="10" y="27"/>
                  </a:cubicBezTo>
                  <a:cubicBezTo>
                    <a:pt x="14" y="27"/>
                    <a:pt x="16" y="24"/>
                    <a:pt x="16" y="16"/>
                  </a:cubicBezTo>
                  <a:cubicBezTo>
                    <a:pt x="16" y="8"/>
                    <a:pt x="14" y="4"/>
                    <a:pt x="10" y="4"/>
                  </a:cubicBezTo>
                  <a:cubicBezTo>
                    <a:pt x="7" y="4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52" name="Freeform 138">
              <a:extLst>
                <a:ext uri="{FF2B5EF4-FFF2-40B4-BE49-F238E27FC236}">
                  <a16:creationId xmlns:a16="http://schemas.microsoft.com/office/drawing/2014/main" id="{57B4AB3F-2C47-4BF2-AB01-B43B35E18713}"/>
                </a:ext>
              </a:extLst>
            </p:cNvPr>
            <p:cNvSpPr>
              <a:spLocks/>
            </p:cNvSpPr>
            <p:nvPr/>
          </p:nvSpPr>
          <p:spPr bwMode="auto">
            <a:xfrm>
              <a:off x="8868629" y="4482492"/>
              <a:ext cx="60430" cy="107263"/>
            </a:xfrm>
            <a:custGeom>
              <a:avLst/>
              <a:gdLst>
                <a:gd name="T0" fmla="*/ 19 w 40"/>
                <a:gd name="T1" fmla="*/ 12 h 71"/>
                <a:gd name="T2" fmla="*/ 4 w 40"/>
                <a:gd name="T3" fmla="*/ 21 h 71"/>
                <a:gd name="T4" fmla="*/ 0 w 40"/>
                <a:gd name="T5" fmla="*/ 12 h 71"/>
                <a:gd name="T6" fmla="*/ 21 w 40"/>
                <a:gd name="T7" fmla="*/ 0 h 71"/>
                <a:gd name="T8" fmla="*/ 30 w 40"/>
                <a:gd name="T9" fmla="*/ 0 h 71"/>
                <a:gd name="T10" fmla="*/ 30 w 40"/>
                <a:gd name="T11" fmla="*/ 64 h 71"/>
                <a:gd name="T12" fmla="*/ 40 w 40"/>
                <a:gd name="T13" fmla="*/ 64 h 71"/>
                <a:gd name="T14" fmla="*/ 40 w 40"/>
                <a:gd name="T15" fmla="*/ 71 h 71"/>
                <a:gd name="T16" fmla="*/ 9 w 40"/>
                <a:gd name="T17" fmla="*/ 71 h 71"/>
                <a:gd name="T18" fmla="*/ 9 w 40"/>
                <a:gd name="T19" fmla="*/ 64 h 71"/>
                <a:gd name="T20" fmla="*/ 19 w 40"/>
                <a:gd name="T21" fmla="*/ 64 h 71"/>
                <a:gd name="T22" fmla="*/ 19 w 40"/>
                <a:gd name="T23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1">
                  <a:moveTo>
                    <a:pt x="19" y="12"/>
                  </a:moveTo>
                  <a:lnTo>
                    <a:pt x="4" y="21"/>
                  </a:lnTo>
                  <a:lnTo>
                    <a:pt x="0" y="12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4"/>
                  </a:lnTo>
                  <a:lnTo>
                    <a:pt x="40" y="64"/>
                  </a:lnTo>
                  <a:lnTo>
                    <a:pt x="40" y="71"/>
                  </a:lnTo>
                  <a:lnTo>
                    <a:pt x="9" y="71"/>
                  </a:lnTo>
                  <a:lnTo>
                    <a:pt x="9" y="64"/>
                  </a:lnTo>
                  <a:lnTo>
                    <a:pt x="19" y="64"/>
                  </a:lnTo>
                  <a:lnTo>
                    <a:pt x="19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53" name="Freeform 139">
              <a:extLst>
                <a:ext uri="{FF2B5EF4-FFF2-40B4-BE49-F238E27FC236}">
                  <a16:creationId xmlns:a16="http://schemas.microsoft.com/office/drawing/2014/main" id="{98AA09FE-8225-49CA-BAC2-6945DA15212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68629" y="4671335"/>
              <a:ext cx="60430" cy="110285"/>
            </a:xfrm>
            <a:custGeom>
              <a:avLst/>
              <a:gdLst>
                <a:gd name="T0" fmla="*/ 19 w 40"/>
                <a:gd name="T1" fmla="*/ 14 h 73"/>
                <a:gd name="T2" fmla="*/ 4 w 40"/>
                <a:gd name="T3" fmla="*/ 24 h 73"/>
                <a:gd name="T4" fmla="*/ 0 w 40"/>
                <a:gd name="T5" fmla="*/ 14 h 73"/>
                <a:gd name="T6" fmla="*/ 21 w 40"/>
                <a:gd name="T7" fmla="*/ 0 h 73"/>
                <a:gd name="T8" fmla="*/ 30 w 40"/>
                <a:gd name="T9" fmla="*/ 0 h 73"/>
                <a:gd name="T10" fmla="*/ 30 w 40"/>
                <a:gd name="T11" fmla="*/ 64 h 73"/>
                <a:gd name="T12" fmla="*/ 40 w 40"/>
                <a:gd name="T13" fmla="*/ 64 h 73"/>
                <a:gd name="T14" fmla="*/ 40 w 40"/>
                <a:gd name="T15" fmla="*/ 73 h 73"/>
                <a:gd name="T16" fmla="*/ 9 w 40"/>
                <a:gd name="T17" fmla="*/ 73 h 73"/>
                <a:gd name="T18" fmla="*/ 9 w 40"/>
                <a:gd name="T19" fmla="*/ 64 h 73"/>
                <a:gd name="T20" fmla="*/ 19 w 40"/>
                <a:gd name="T21" fmla="*/ 64 h 73"/>
                <a:gd name="T22" fmla="*/ 19 w 40"/>
                <a:gd name="T23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3">
                  <a:moveTo>
                    <a:pt x="19" y="14"/>
                  </a:moveTo>
                  <a:lnTo>
                    <a:pt x="4" y="24"/>
                  </a:lnTo>
                  <a:lnTo>
                    <a:pt x="0" y="14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4"/>
                  </a:lnTo>
                  <a:lnTo>
                    <a:pt x="40" y="64"/>
                  </a:lnTo>
                  <a:lnTo>
                    <a:pt x="40" y="73"/>
                  </a:lnTo>
                  <a:lnTo>
                    <a:pt x="9" y="73"/>
                  </a:lnTo>
                  <a:lnTo>
                    <a:pt x="9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54" name="Freeform 140">
              <a:extLst>
                <a:ext uri="{FF2B5EF4-FFF2-40B4-BE49-F238E27FC236}">
                  <a16:creationId xmlns:a16="http://schemas.microsoft.com/office/drawing/2014/main" id="{E6039E93-42D7-431D-85FF-22A3D7B5640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68629" y="4860178"/>
              <a:ext cx="60430" cy="110285"/>
            </a:xfrm>
            <a:custGeom>
              <a:avLst/>
              <a:gdLst>
                <a:gd name="T0" fmla="*/ 19 w 40"/>
                <a:gd name="T1" fmla="*/ 14 h 73"/>
                <a:gd name="T2" fmla="*/ 4 w 40"/>
                <a:gd name="T3" fmla="*/ 24 h 73"/>
                <a:gd name="T4" fmla="*/ 0 w 40"/>
                <a:gd name="T5" fmla="*/ 14 h 73"/>
                <a:gd name="T6" fmla="*/ 21 w 40"/>
                <a:gd name="T7" fmla="*/ 0 h 73"/>
                <a:gd name="T8" fmla="*/ 30 w 40"/>
                <a:gd name="T9" fmla="*/ 0 h 73"/>
                <a:gd name="T10" fmla="*/ 30 w 40"/>
                <a:gd name="T11" fmla="*/ 64 h 73"/>
                <a:gd name="T12" fmla="*/ 40 w 40"/>
                <a:gd name="T13" fmla="*/ 64 h 73"/>
                <a:gd name="T14" fmla="*/ 40 w 40"/>
                <a:gd name="T15" fmla="*/ 73 h 73"/>
                <a:gd name="T16" fmla="*/ 9 w 40"/>
                <a:gd name="T17" fmla="*/ 73 h 73"/>
                <a:gd name="T18" fmla="*/ 9 w 40"/>
                <a:gd name="T19" fmla="*/ 64 h 73"/>
                <a:gd name="T20" fmla="*/ 19 w 40"/>
                <a:gd name="T21" fmla="*/ 64 h 73"/>
                <a:gd name="T22" fmla="*/ 19 w 40"/>
                <a:gd name="T23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3">
                  <a:moveTo>
                    <a:pt x="19" y="14"/>
                  </a:moveTo>
                  <a:lnTo>
                    <a:pt x="4" y="24"/>
                  </a:lnTo>
                  <a:lnTo>
                    <a:pt x="0" y="14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4"/>
                  </a:lnTo>
                  <a:lnTo>
                    <a:pt x="40" y="64"/>
                  </a:lnTo>
                  <a:lnTo>
                    <a:pt x="40" y="73"/>
                  </a:lnTo>
                  <a:lnTo>
                    <a:pt x="9" y="73"/>
                  </a:lnTo>
                  <a:lnTo>
                    <a:pt x="9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55" name="Freeform 141">
              <a:extLst>
                <a:ext uri="{FF2B5EF4-FFF2-40B4-BE49-F238E27FC236}">
                  <a16:creationId xmlns:a16="http://schemas.microsoft.com/office/drawing/2014/main" id="{7DF24FEF-3DF9-4C8E-A68F-D3C24F779C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868629" y="5053553"/>
              <a:ext cx="60430" cy="110285"/>
            </a:xfrm>
            <a:custGeom>
              <a:avLst/>
              <a:gdLst>
                <a:gd name="T0" fmla="*/ 19 w 40"/>
                <a:gd name="T1" fmla="*/ 14 h 73"/>
                <a:gd name="T2" fmla="*/ 4 w 40"/>
                <a:gd name="T3" fmla="*/ 21 h 73"/>
                <a:gd name="T4" fmla="*/ 0 w 40"/>
                <a:gd name="T5" fmla="*/ 12 h 73"/>
                <a:gd name="T6" fmla="*/ 21 w 40"/>
                <a:gd name="T7" fmla="*/ 0 h 73"/>
                <a:gd name="T8" fmla="*/ 30 w 40"/>
                <a:gd name="T9" fmla="*/ 0 h 73"/>
                <a:gd name="T10" fmla="*/ 30 w 40"/>
                <a:gd name="T11" fmla="*/ 64 h 73"/>
                <a:gd name="T12" fmla="*/ 40 w 40"/>
                <a:gd name="T13" fmla="*/ 64 h 73"/>
                <a:gd name="T14" fmla="*/ 40 w 40"/>
                <a:gd name="T15" fmla="*/ 73 h 73"/>
                <a:gd name="T16" fmla="*/ 9 w 40"/>
                <a:gd name="T17" fmla="*/ 73 h 73"/>
                <a:gd name="T18" fmla="*/ 9 w 40"/>
                <a:gd name="T19" fmla="*/ 64 h 73"/>
                <a:gd name="T20" fmla="*/ 19 w 40"/>
                <a:gd name="T21" fmla="*/ 64 h 73"/>
                <a:gd name="T22" fmla="*/ 19 w 40"/>
                <a:gd name="T23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3">
                  <a:moveTo>
                    <a:pt x="19" y="14"/>
                  </a:moveTo>
                  <a:lnTo>
                    <a:pt x="4" y="21"/>
                  </a:lnTo>
                  <a:lnTo>
                    <a:pt x="0" y="12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4"/>
                  </a:lnTo>
                  <a:lnTo>
                    <a:pt x="40" y="64"/>
                  </a:lnTo>
                  <a:lnTo>
                    <a:pt x="40" y="73"/>
                  </a:lnTo>
                  <a:lnTo>
                    <a:pt x="9" y="73"/>
                  </a:lnTo>
                  <a:lnTo>
                    <a:pt x="9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56" name="Freeform 142">
              <a:extLst>
                <a:ext uri="{FF2B5EF4-FFF2-40B4-BE49-F238E27FC236}">
                  <a16:creationId xmlns:a16="http://schemas.microsoft.com/office/drawing/2014/main" id="{E3C7E414-EE75-4166-8E31-4D95FC5601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64097" y="5242395"/>
              <a:ext cx="75537" cy="110285"/>
            </a:xfrm>
            <a:custGeom>
              <a:avLst/>
              <a:gdLst>
                <a:gd name="T0" fmla="*/ 21 w 21"/>
                <a:gd name="T1" fmla="*/ 15 h 31"/>
                <a:gd name="T2" fmla="*/ 10 w 21"/>
                <a:gd name="T3" fmla="*/ 31 h 31"/>
                <a:gd name="T4" fmla="*/ 0 w 21"/>
                <a:gd name="T5" fmla="*/ 15 h 31"/>
                <a:gd name="T6" fmla="*/ 10 w 21"/>
                <a:gd name="T7" fmla="*/ 0 h 31"/>
                <a:gd name="T8" fmla="*/ 21 w 21"/>
                <a:gd name="T9" fmla="*/ 15 h 31"/>
                <a:gd name="T10" fmla="*/ 5 w 21"/>
                <a:gd name="T11" fmla="*/ 15 h 31"/>
                <a:gd name="T12" fmla="*/ 10 w 21"/>
                <a:gd name="T13" fmla="*/ 27 h 31"/>
                <a:gd name="T14" fmla="*/ 16 w 21"/>
                <a:gd name="T15" fmla="*/ 15 h 31"/>
                <a:gd name="T16" fmla="*/ 10 w 21"/>
                <a:gd name="T17" fmla="*/ 4 h 31"/>
                <a:gd name="T18" fmla="*/ 5 w 21"/>
                <a:gd name="T1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1">
                  <a:moveTo>
                    <a:pt x="21" y="15"/>
                  </a:moveTo>
                  <a:cubicBezTo>
                    <a:pt x="21" y="26"/>
                    <a:pt x="18" y="31"/>
                    <a:pt x="10" y="31"/>
                  </a:cubicBezTo>
                  <a:cubicBezTo>
                    <a:pt x="3" y="31"/>
                    <a:pt x="0" y="26"/>
                    <a:pt x="0" y="15"/>
                  </a:cubicBezTo>
                  <a:cubicBezTo>
                    <a:pt x="0" y="5"/>
                    <a:pt x="3" y="0"/>
                    <a:pt x="10" y="0"/>
                  </a:cubicBezTo>
                  <a:cubicBezTo>
                    <a:pt x="18" y="0"/>
                    <a:pt x="21" y="5"/>
                    <a:pt x="21" y="15"/>
                  </a:cubicBezTo>
                  <a:close/>
                  <a:moveTo>
                    <a:pt x="5" y="15"/>
                  </a:moveTo>
                  <a:cubicBezTo>
                    <a:pt x="5" y="23"/>
                    <a:pt x="7" y="27"/>
                    <a:pt x="10" y="27"/>
                  </a:cubicBezTo>
                  <a:cubicBezTo>
                    <a:pt x="14" y="27"/>
                    <a:pt x="16" y="23"/>
                    <a:pt x="16" y="15"/>
                  </a:cubicBezTo>
                  <a:cubicBezTo>
                    <a:pt x="16" y="8"/>
                    <a:pt x="14" y="4"/>
                    <a:pt x="10" y="4"/>
                  </a:cubicBezTo>
                  <a:cubicBezTo>
                    <a:pt x="7" y="4"/>
                    <a:pt x="5" y="8"/>
                    <a:pt x="5" y="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57" name="Freeform 143">
              <a:extLst>
                <a:ext uri="{FF2B5EF4-FFF2-40B4-BE49-F238E27FC236}">
                  <a16:creationId xmlns:a16="http://schemas.microsoft.com/office/drawing/2014/main" id="{8466976A-ADA3-46ED-8248-951A840E38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64097" y="5431238"/>
              <a:ext cx="75537" cy="114816"/>
            </a:xfrm>
            <a:custGeom>
              <a:avLst/>
              <a:gdLst>
                <a:gd name="T0" fmla="*/ 21 w 21"/>
                <a:gd name="T1" fmla="*/ 16 h 32"/>
                <a:gd name="T2" fmla="*/ 10 w 21"/>
                <a:gd name="T3" fmla="*/ 32 h 32"/>
                <a:gd name="T4" fmla="*/ 0 w 21"/>
                <a:gd name="T5" fmla="*/ 16 h 32"/>
                <a:gd name="T6" fmla="*/ 10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0 w 21"/>
                <a:gd name="T13" fmla="*/ 27 h 32"/>
                <a:gd name="T14" fmla="*/ 16 w 21"/>
                <a:gd name="T15" fmla="*/ 16 h 32"/>
                <a:gd name="T16" fmla="*/ 10 w 21"/>
                <a:gd name="T17" fmla="*/ 4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7"/>
                    <a:pt x="18" y="32"/>
                    <a:pt x="10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0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7"/>
                    <a:pt x="10" y="27"/>
                  </a:cubicBezTo>
                  <a:cubicBezTo>
                    <a:pt x="14" y="27"/>
                    <a:pt x="16" y="24"/>
                    <a:pt x="16" y="16"/>
                  </a:cubicBezTo>
                  <a:cubicBezTo>
                    <a:pt x="16" y="8"/>
                    <a:pt x="14" y="4"/>
                    <a:pt x="10" y="4"/>
                  </a:cubicBezTo>
                  <a:cubicBezTo>
                    <a:pt x="7" y="4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58" name="Freeform 144">
              <a:extLst>
                <a:ext uri="{FF2B5EF4-FFF2-40B4-BE49-F238E27FC236}">
                  <a16:creationId xmlns:a16="http://schemas.microsoft.com/office/drawing/2014/main" id="{E19660C2-ADB7-403B-87D3-A1B95623A6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64097" y="6191141"/>
              <a:ext cx="75537" cy="114816"/>
            </a:xfrm>
            <a:custGeom>
              <a:avLst/>
              <a:gdLst>
                <a:gd name="T0" fmla="*/ 21 w 21"/>
                <a:gd name="T1" fmla="*/ 16 h 32"/>
                <a:gd name="T2" fmla="*/ 10 w 21"/>
                <a:gd name="T3" fmla="*/ 32 h 32"/>
                <a:gd name="T4" fmla="*/ 0 w 21"/>
                <a:gd name="T5" fmla="*/ 16 h 32"/>
                <a:gd name="T6" fmla="*/ 10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0 w 21"/>
                <a:gd name="T13" fmla="*/ 28 h 32"/>
                <a:gd name="T14" fmla="*/ 16 w 21"/>
                <a:gd name="T15" fmla="*/ 16 h 32"/>
                <a:gd name="T16" fmla="*/ 10 w 21"/>
                <a:gd name="T17" fmla="*/ 5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7"/>
                    <a:pt x="18" y="32"/>
                    <a:pt x="10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0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8"/>
                    <a:pt x="10" y="28"/>
                  </a:cubicBezTo>
                  <a:cubicBezTo>
                    <a:pt x="14" y="28"/>
                    <a:pt x="16" y="24"/>
                    <a:pt x="16" y="16"/>
                  </a:cubicBezTo>
                  <a:cubicBezTo>
                    <a:pt x="16" y="8"/>
                    <a:pt x="14" y="5"/>
                    <a:pt x="10" y="5"/>
                  </a:cubicBezTo>
                  <a:cubicBezTo>
                    <a:pt x="7" y="5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59" name="Freeform 145">
              <a:extLst>
                <a:ext uri="{FF2B5EF4-FFF2-40B4-BE49-F238E27FC236}">
                  <a16:creationId xmlns:a16="http://schemas.microsoft.com/office/drawing/2014/main" id="{AF845750-E98C-46AB-89AA-88E3F761A4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64097" y="6384516"/>
              <a:ext cx="75537" cy="110285"/>
            </a:xfrm>
            <a:custGeom>
              <a:avLst/>
              <a:gdLst>
                <a:gd name="T0" fmla="*/ 21 w 21"/>
                <a:gd name="T1" fmla="*/ 16 h 31"/>
                <a:gd name="T2" fmla="*/ 10 w 21"/>
                <a:gd name="T3" fmla="*/ 31 h 31"/>
                <a:gd name="T4" fmla="*/ 0 w 21"/>
                <a:gd name="T5" fmla="*/ 15 h 31"/>
                <a:gd name="T6" fmla="*/ 10 w 21"/>
                <a:gd name="T7" fmla="*/ 0 h 31"/>
                <a:gd name="T8" fmla="*/ 21 w 21"/>
                <a:gd name="T9" fmla="*/ 16 h 31"/>
                <a:gd name="T10" fmla="*/ 5 w 21"/>
                <a:gd name="T11" fmla="*/ 15 h 31"/>
                <a:gd name="T12" fmla="*/ 10 w 21"/>
                <a:gd name="T13" fmla="*/ 27 h 31"/>
                <a:gd name="T14" fmla="*/ 16 w 21"/>
                <a:gd name="T15" fmla="*/ 16 h 31"/>
                <a:gd name="T16" fmla="*/ 10 w 21"/>
                <a:gd name="T17" fmla="*/ 4 h 31"/>
                <a:gd name="T18" fmla="*/ 5 w 21"/>
                <a:gd name="T1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1">
                  <a:moveTo>
                    <a:pt x="21" y="16"/>
                  </a:moveTo>
                  <a:cubicBezTo>
                    <a:pt x="21" y="26"/>
                    <a:pt x="18" y="31"/>
                    <a:pt x="10" y="31"/>
                  </a:cubicBezTo>
                  <a:cubicBezTo>
                    <a:pt x="3" y="31"/>
                    <a:pt x="0" y="26"/>
                    <a:pt x="0" y="15"/>
                  </a:cubicBezTo>
                  <a:cubicBezTo>
                    <a:pt x="0" y="5"/>
                    <a:pt x="3" y="0"/>
                    <a:pt x="10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5"/>
                  </a:moveTo>
                  <a:cubicBezTo>
                    <a:pt x="5" y="23"/>
                    <a:pt x="7" y="27"/>
                    <a:pt x="10" y="27"/>
                  </a:cubicBezTo>
                  <a:cubicBezTo>
                    <a:pt x="14" y="27"/>
                    <a:pt x="16" y="23"/>
                    <a:pt x="16" y="16"/>
                  </a:cubicBezTo>
                  <a:cubicBezTo>
                    <a:pt x="16" y="8"/>
                    <a:pt x="14" y="4"/>
                    <a:pt x="10" y="4"/>
                  </a:cubicBezTo>
                  <a:cubicBezTo>
                    <a:pt x="7" y="4"/>
                    <a:pt x="5" y="8"/>
                    <a:pt x="5" y="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60" name="Freeform 146">
              <a:extLst>
                <a:ext uri="{FF2B5EF4-FFF2-40B4-BE49-F238E27FC236}">
                  <a16:creationId xmlns:a16="http://schemas.microsoft.com/office/drawing/2014/main" id="{936BE6DA-149D-4C26-A6B5-275B4D1ED3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64097" y="6573359"/>
              <a:ext cx="75537" cy="114816"/>
            </a:xfrm>
            <a:custGeom>
              <a:avLst/>
              <a:gdLst>
                <a:gd name="T0" fmla="*/ 21 w 21"/>
                <a:gd name="T1" fmla="*/ 16 h 32"/>
                <a:gd name="T2" fmla="*/ 10 w 21"/>
                <a:gd name="T3" fmla="*/ 32 h 32"/>
                <a:gd name="T4" fmla="*/ 0 w 21"/>
                <a:gd name="T5" fmla="*/ 16 h 32"/>
                <a:gd name="T6" fmla="*/ 10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0 w 21"/>
                <a:gd name="T13" fmla="*/ 27 h 32"/>
                <a:gd name="T14" fmla="*/ 16 w 21"/>
                <a:gd name="T15" fmla="*/ 16 h 32"/>
                <a:gd name="T16" fmla="*/ 10 w 21"/>
                <a:gd name="T17" fmla="*/ 4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7"/>
                    <a:pt x="18" y="32"/>
                    <a:pt x="10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0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7"/>
                    <a:pt x="10" y="27"/>
                  </a:cubicBezTo>
                  <a:cubicBezTo>
                    <a:pt x="14" y="27"/>
                    <a:pt x="16" y="24"/>
                    <a:pt x="16" y="16"/>
                  </a:cubicBezTo>
                  <a:cubicBezTo>
                    <a:pt x="16" y="8"/>
                    <a:pt x="14" y="4"/>
                    <a:pt x="10" y="4"/>
                  </a:cubicBezTo>
                  <a:cubicBezTo>
                    <a:pt x="7" y="4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61" name="Freeform 147">
              <a:extLst>
                <a:ext uri="{FF2B5EF4-FFF2-40B4-BE49-F238E27FC236}">
                  <a16:creationId xmlns:a16="http://schemas.microsoft.com/office/drawing/2014/main" id="{2D6BDE5C-CE6E-4C63-95E7-46A95201D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8868629" y="6766734"/>
              <a:ext cx="60430" cy="110285"/>
            </a:xfrm>
            <a:custGeom>
              <a:avLst/>
              <a:gdLst>
                <a:gd name="T0" fmla="*/ 19 w 40"/>
                <a:gd name="T1" fmla="*/ 14 h 73"/>
                <a:gd name="T2" fmla="*/ 4 w 40"/>
                <a:gd name="T3" fmla="*/ 23 h 73"/>
                <a:gd name="T4" fmla="*/ 0 w 40"/>
                <a:gd name="T5" fmla="*/ 12 h 73"/>
                <a:gd name="T6" fmla="*/ 21 w 40"/>
                <a:gd name="T7" fmla="*/ 0 h 73"/>
                <a:gd name="T8" fmla="*/ 30 w 40"/>
                <a:gd name="T9" fmla="*/ 0 h 73"/>
                <a:gd name="T10" fmla="*/ 30 w 40"/>
                <a:gd name="T11" fmla="*/ 63 h 73"/>
                <a:gd name="T12" fmla="*/ 40 w 40"/>
                <a:gd name="T13" fmla="*/ 63 h 73"/>
                <a:gd name="T14" fmla="*/ 40 w 40"/>
                <a:gd name="T15" fmla="*/ 73 h 73"/>
                <a:gd name="T16" fmla="*/ 9 w 40"/>
                <a:gd name="T17" fmla="*/ 73 h 73"/>
                <a:gd name="T18" fmla="*/ 9 w 40"/>
                <a:gd name="T19" fmla="*/ 63 h 73"/>
                <a:gd name="T20" fmla="*/ 19 w 40"/>
                <a:gd name="T21" fmla="*/ 63 h 73"/>
                <a:gd name="T22" fmla="*/ 19 w 40"/>
                <a:gd name="T23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3">
                  <a:moveTo>
                    <a:pt x="19" y="14"/>
                  </a:moveTo>
                  <a:lnTo>
                    <a:pt x="4" y="23"/>
                  </a:lnTo>
                  <a:lnTo>
                    <a:pt x="0" y="12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3"/>
                  </a:lnTo>
                  <a:lnTo>
                    <a:pt x="40" y="63"/>
                  </a:lnTo>
                  <a:lnTo>
                    <a:pt x="40" y="73"/>
                  </a:lnTo>
                  <a:lnTo>
                    <a:pt x="9" y="73"/>
                  </a:lnTo>
                  <a:lnTo>
                    <a:pt x="9" y="63"/>
                  </a:lnTo>
                  <a:lnTo>
                    <a:pt x="19" y="63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62" name="Freeform 149">
              <a:extLst>
                <a:ext uri="{FF2B5EF4-FFF2-40B4-BE49-F238E27FC236}">
                  <a16:creationId xmlns:a16="http://schemas.microsoft.com/office/drawing/2014/main" id="{5140ED0E-ADFF-4C7D-B85D-BD273E206ED0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4929" y="3361522"/>
              <a:ext cx="92156" cy="164671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5 h 109"/>
                <a:gd name="T12" fmla="*/ 61 w 61"/>
                <a:gd name="T13" fmla="*/ 95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5 h 109"/>
                <a:gd name="T20" fmla="*/ 28 w 61"/>
                <a:gd name="T21" fmla="*/ 95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5"/>
                  </a:lnTo>
                  <a:lnTo>
                    <a:pt x="61" y="95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5"/>
                  </a:lnTo>
                  <a:lnTo>
                    <a:pt x="28" y="95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63" name="Freeform 150">
              <a:extLst>
                <a:ext uri="{FF2B5EF4-FFF2-40B4-BE49-F238E27FC236}">
                  <a16:creationId xmlns:a16="http://schemas.microsoft.com/office/drawing/2014/main" id="{58852B25-43D1-4AC6-9E6F-660FE4EE9E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17375" y="3644030"/>
              <a:ext cx="114816" cy="170714"/>
            </a:xfrm>
            <a:custGeom>
              <a:avLst/>
              <a:gdLst>
                <a:gd name="T0" fmla="*/ 32 w 32"/>
                <a:gd name="T1" fmla="*/ 24 h 48"/>
                <a:gd name="T2" fmla="*/ 16 w 32"/>
                <a:gd name="T3" fmla="*/ 48 h 48"/>
                <a:gd name="T4" fmla="*/ 0 w 32"/>
                <a:gd name="T5" fmla="*/ 24 h 48"/>
                <a:gd name="T6" fmla="*/ 16 w 32"/>
                <a:gd name="T7" fmla="*/ 0 h 48"/>
                <a:gd name="T8" fmla="*/ 32 w 32"/>
                <a:gd name="T9" fmla="*/ 24 h 48"/>
                <a:gd name="T10" fmla="*/ 8 w 32"/>
                <a:gd name="T11" fmla="*/ 24 h 48"/>
                <a:gd name="T12" fmla="*/ 16 w 32"/>
                <a:gd name="T13" fmla="*/ 41 h 48"/>
                <a:gd name="T14" fmla="*/ 24 w 32"/>
                <a:gd name="T15" fmla="*/ 24 h 48"/>
                <a:gd name="T16" fmla="*/ 16 w 32"/>
                <a:gd name="T17" fmla="*/ 7 h 48"/>
                <a:gd name="T18" fmla="*/ 8 w 32"/>
                <a:gd name="T19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8">
                  <a:moveTo>
                    <a:pt x="32" y="24"/>
                  </a:moveTo>
                  <a:cubicBezTo>
                    <a:pt x="32" y="40"/>
                    <a:pt x="27" y="48"/>
                    <a:pt x="16" y="48"/>
                  </a:cubicBezTo>
                  <a:cubicBezTo>
                    <a:pt x="5" y="48"/>
                    <a:pt x="0" y="40"/>
                    <a:pt x="0" y="24"/>
                  </a:cubicBezTo>
                  <a:cubicBezTo>
                    <a:pt x="0" y="8"/>
                    <a:pt x="5" y="0"/>
                    <a:pt x="16" y="0"/>
                  </a:cubicBezTo>
                  <a:cubicBezTo>
                    <a:pt x="27" y="0"/>
                    <a:pt x="32" y="8"/>
                    <a:pt x="32" y="24"/>
                  </a:cubicBezTo>
                  <a:close/>
                  <a:moveTo>
                    <a:pt x="8" y="24"/>
                  </a:moveTo>
                  <a:cubicBezTo>
                    <a:pt x="8" y="36"/>
                    <a:pt x="11" y="41"/>
                    <a:pt x="16" y="41"/>
                  </a:cubicBezTo>
                  <a:cubicBezTo>
                    <a:pt x="22" y="41"/>
                    <a:pt x="24" y="36"/>
                    <a:pt x="24" y="24"/>
                  </a:cubicBezTo>
                  <a:cubicBezTo>
                    <a:pt x="24" y="12"/>
                    <a:pt x="22" y="7"/>
                    <a:pt x="16" y="7"/>
                  </a:cubicBezTo>
                  <a:cubicBezTo>
                    <a:pt x="11" y="7"/>
                    <a:pt x="8" y="12"/>
                    <a:pt x="8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64" name="Freeform 151">
              <a:extLst>
                <a:ext uri="{FF2B5EF4-FFF2-40B4-BE49-F238E27FC236}">
                  <a16:creationId xmlns:a16="http://schemas.microsoft.com/office/drawing/2014/main" id="{9BB994F4-67DF-40A5-83AA-436C90C33108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4929" y="3932582"/>
              <a:ext cx="92156" cy="164671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5 h 109"/>
                <a:gd name="T12" fmla="*/ 61 w 61"/>
                <a:gd name="T13" fmla="*/ 95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5 h 109"/>
                <a:gd name="T20" fmla="*/ 28 w 61"/>
                <a:gd name="T21" fmla="*/ 95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5"/>
                  </a:lnTo>
                  <a:lnTo>
                    <a:pt x="61" y="95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5"/>
                  </a:lnTo>
                  <a:lnTo>
                    <a:pt x="28" y="95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65" name="Freeform 152">
              <a:extLst>
                <a:ext uri="{FF2B5EF4-FFF2-40B4-BE49-F238E27FC236}">
                  <a16:creationId xmlns:a16="http://schemas.microsoft.com/office/drawing/2014/main" id="{CA5C7018-8AC0-4E14-A56E-46618F5B38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17375" y="4215090"/>
              <a:ext cx="114816" cy="170714"/>
            </a:xfrm>
            <a:custGeom>
              <a:avLst/>
              <a:gdLst>
                <a:gd name="T0" fmla="*/ 32 w 32"/>
                <a:gd name="T1" fmla="*/ 24 h 48"/>
                <a:gd name="T2" fmla="*/ 16 w 32"/>
                <a:gd name="T3" fmla="*/ 48 h 48"/>
                <a:gd name="T4" fmla="*/ 0 w 32"/>
                <a:gd name="T5" fmla="*/ 24 h 48"/>
                <a:gd name="T6" fmla="*/ 16 w 32"/>
                <a:gd name="T7" fmla="*/ 0 h 48"/>
                <a:gd name="T8" fmla="*/ 32 w 32"/>
                <a:gd name="T9" fmla="*/ 24 h 48"/>
                <a:gd name="T10" fmla="*/ 8 w 32"/>
                <a:gd name="T11" fmla="*/ 24 h 48"/>
                <a:gd name="T12" fmla="*/ 16 w 32"/>
                <a:gd name="T13" fmla="*/ 41 h 48"/>
                <a:gd name="T14" fmla="*/ 24 w 32"/>
                <a:gd name="T15" fmla="*/ 24 h 48"/>
                <a:gd name="T16" fmla="*/ 16 w 32"/>
                <a:gd name="T17" fmla="*/ 7 h 48"/>
                <a:gd name="T18" fmla="*/ 8 w 32"/>
                <a:gd name="T19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8">
                  <a:moveTo>
                    <a:pt x="32" y="24"/>
                  </a:moveTo>
                  <a:cubicBezTo>
                    <a:pt x="32" y="40"/>
                    <a:pt x="27" y="48"/>
                    <a:pt x="16" y="48"/>
                  </a:cubicBezTo>
                  <a:cubicBezTo>
                    <a:pt x="5" y="48"/>
                    <a:pt x="0" y="40"/>
                    <a:pt x="0" y="24"/>
                  </a:cubicBezTo>
                  <a:cubicBezTo>
                    <a:pt x="0" y="8"/>
                    <a:pt x="5" y="0"/>
                    <a:pt x="16" y="0"/>
                  </a:cubicBezTo>
                  <a:cubicBezTo>
                    <a:pt x="27" y="0"/>
                    <a:pt x="32" y="8"/>
                    <a:pt x="32" y="24"/>
                  </a:cubicBezTo>
                  <a:close/>
                  <a:moveTo>
                    <a:pt x="8" y="24"/>
                  </a:moveTo>
                  <a:cubicBezTo>
                    <a:pt x="8" y="36"/>
                    <a:pt x="11" y="41"/>
                    <a:pt x="16" y="41"/>
                  </a:cubicBezTo>
                  <a:cubicBezTo>
                    <a:pt x="22" y="41"/>
                    <a:pt x="24" y="36"/>
                    <a:pt x="24" y="24"/>
                  </a:cubicBezTo>
                  <a:cubicBezTo>
                    <a:pt x="24" y="12"/>
                    <a:pt x="22" y="7"/>
                    <a:pt x="16" y="7"/>
                  </a:cubicBezTo>
                  <a:cubicBezTo>
                    <a:pt x="11" y="7"/>
                    <a:pt x="8" y="12"/>
                    <a:pt x="8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66" name="Freeform 153">
              <a:extLst>
                <a:ext uri="{FF2B5EF4-FFF2-40B4-BE49-F238E27FC236}">
                  <a16:creationId xmlns:a16="http://schemas.microsoft.com/office/drawing/2014/main" id="{C1A231E4-93BC-4E15-AB84-A32E68D018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4929" y="4503643"/>
              <a:ext cx="92156" cy="164671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4 h 109"/>
                <a:gd name="T12" fmla="*/ 61 w 61"/>
                <a:gd name="T13" fmla="*/ 94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4 h 109"/>
                <a:gd name="T20" fmla="*/ 28 w 61"/>
                <a:gd name="T21" fmla="*/ 94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4"/>
                  </a:lnTo>
                  <a:lnTo>
                    <a:pt x="61" y="94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4"/>
                  </a:lnTo>
                  <a:lnTo>
                    <a:pt x="28" y="94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67" name="Freeform 154">
              <a:extLst>
                <a:ext uri="{FF2B5EF4-FFF2-40B4-BE49-F238E27FC236}">
                  <a16:creationId xmlns:a16="http://schemas.microsoft.com/office/drawing/2014/main" id="{7D0C3ABB-1B3B-4BDC-9A2B-A3C345DCBC17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4929" y="4789172"/>
              <a:ext cx="92156" cy="164671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4 h 109"/>
                <a:gd name="T12" fmla="*/ 61 w 61"/>
                <a:gd name="T13" fmla="*/ 94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4 h 109"/>
                <a:gd name="T20" fmla="*/ 28 w 61"/>
                <a:gd name="T21" fmla="*/ 94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4"/>
                  </a:lnTo>
                  <a:lnTo>
                    <a:pt x="61" y="94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4"/>
                  </a:lnTo>
                  <a:lnTo>
                    <a:pt x="28" y="94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68" name="Freeform 155">
              <a:extLst>
                <a:ext uri="{FF2B5EF4-FFF2-40B4-BE49-F238E27FC236}">
                  <a16:creationId xmlns:a16="http://schemas.microsoft.com/office/drawing/2014/main" id="{5776A57B-BF14-4377-84C1-B84643C845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4929" y="5074703"/>
              <a:ext cx="92156" cy="164671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4 h 109"/>
                <a:gd name="T12" fmla="*/ 61 w 61"/>
                <a:gd name="T13" fmla="*/ 97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7 h 109"/>
                <a:gd name="T20" fmla="*/ 28 w 61"/>
                <a:gd name="T21" fmla="*/ 94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4"/>
                  </a:lnTo>
                  <a:lnTo>
                    <a:pt x="61" y="97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7"/>
                  </a:lnTo>
                  <a:lnTo>
                    <a:pt x="28" y="94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69" name="Freeform 156">
              <a:extLst>
                <a:ext uri="{FF2B5EF4-FFF2-40B4-BE49-F238E27FC236}">
                  <a16:creationId xmlns:a16="http://schemas.microsoft.com/office/drawing/2014/main" id="{20C483FB-05AB-4D3B-A6AC-78EA00445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4929" y="5360233"/>
              <a:ext cx="92156" cy="164671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5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4 h 109"/>
                <a:gd name="T12" fmla="*/ 61 w 61"/>
                <a:gd name="T13" fmla="*/ 97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7 h 109"/>
                <a:gd name="T20" fmla="*/ 28 w 61"/>
                <a:gd name="T21" fmla="*/ 94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5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4"/>
                  </a:lnTo>
                  <a:lnTo>
                    <a:pt x="61" y="97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7"/>
                  </a:lnTo>
                  <a:lnTo>
                    <a:pt x="28" y="94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70" name="Freeform 157">
              <a:extLst>
                <a:ext uri="{FF2B5EF4-FFF2-40B4-BE49-F238E27FC236}">
                  <a16:creationId xmlns:a16="http://schemas.microsoft.com/office/drawing/2014/main" id="{C0318663-525E-40F1-8588-6A724BA69A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17375" y="5642742"/>
              <a:ext cx="114816" cy="170714"/>
            </a:xfrm>
            <a:custGeom>
              <a:avLst/>
              <a:gdLst>
                <a:gd name="T0" fmla="*/ 32 w 32"/>
                <a:gd name="T1" fmla="*/ 24 h 48"/>
                <a:gd name="T2" fmla="*/ 16 w 32"/>
                <a:gd name="T3" fmla="*/ 48 h 48"/>
                <a:gd name="T4" fmla="*/ 0 w 32"/>
                <a:gd name="T5" fmla="*/ 24 h 48"/>
                <a:gd name="T6" fmla="*/ 16 w 32"/>
                <a:gd name="T7" fmla="*/ 0 h 48"/>
                <a:gd name="T8" fmla="*/ 32 w 32"/>
                <a:gd name="T9" fmla="*/ 24 h 48"/>
                <a:gd name="T10" fmla="*/ 8 w 32"/>
                <a:gd name="T11" fmla="*/ 24 h 48"/>
                <a:gd name="T12" fmla="*/ 16 w 32"/>
                <a:gd name="T13" fmla="*/ 41 h 48"/>
                <a:gd name="T14" fmla="*/ 24 w 32"/>
                <a:gd name="T15" fmla="*/ 24 h 48"/>
                <a:gd name="T16" fmla="*/ 16 w 32"/>
                <a:gd name="T17" fmla="*/ 7 h 48"/>
                <a:gd name="T18" fmla="*/ 8 w 32"/>
                <a:gd name="T19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8">
                  <a:moveTo>
                    <a:pt x="32" y="24"/>
                  </a:moveTo>
                  <a:cubicBezTo>
                    <a:pt x="32" y="40"/>
                    <a:pt x="27" y="48"/>
                    <a:pt x="16" y="48"/>
                  </a:cubicBezTo>
                  <a:cubicBezTo>
                    <a:pt x="5" y="48"/>
                    <a:pt x="0" y="40"/>
                    <a:pt x="0" y="24"/>
                  </a:cubicBezTo>
                  <a:cubicBezTo>
                    <a:pt x="0" y="8"/>
                    <a:pt x="5" y="0"/>
                    <a:pt x="16" y="0"/>
                  </a:cubicBezTo>
                  <a:cubicBezTo>
                    <a:pt x="27" y="0"/>
                    <a:pt x="32" y="8"/>
                    <a:pt x="32" y="24"/>
                  </a:cubicBezTo>
                  <a:close/>
                  <a:moveTo>
                    <a:pt x="8" y="24"/>
                  </a:moveTo>
                  <a:cubicBezTo>
                    <a:pt x="8" y="36"/>
                    <a:pt x="11" y="41"/>
                    <a:pt x="16" y="41"/>
                  </a:cubicBezTo>
                  <a:cubicBezTo>
                    <a:pt x="22" y="41"/>
                    <a:pt x="24" y="36"/>
                    <a:pt x="24" y="24"/>
                  </a:cubicBezTo>
                  <a:cubicBezTo>
                    <a:pt x="24" y="12"/>
                    <a:pt x="22" y="7"/>
                    <a:pt x="16" y="7"/>
                  </a:cubicBezTo>
                  <a:cubicBezTo>
                    <a:pt x="11" y="7"/>
                    <a:pt x="8" y="12"/>
                    <a:pt x="8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71" name="Freeform 158">
              <a:extLst>
                <a:ext uri="{FF2B5EF4-FFF2-40B4-BE49-F238E27FC236}">
                  <a16:creationId xmlns:a16="http://schemas.microsoft.com/office/drawing/2014/main" id="{FC2876E9-421C-4D41-ACF1-26FA290958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17375" y="5928272"/>
              <a:ext cx="114816" cy="170714"/>
            </a:xfrm>
            <a:custGeom>
              <a:avLst/>
              <a:gdLst>
                <a:gd name="T0" fmla="*/ 32 w 32"/>
                <a:gd name="T1" fmla="*/ 24 h 48"/>
                <a:gd name="T2" fmla="*/ 16 w 32"/>
                <a:gd name="T3" fmla="*/ 48 h 48"/>
                <a:gd name="T4" fmla="*/ 0 w 32"/>
                <a:gd name="T5" fmla="*/ 24 h 48"/>
                <a:gd name="T6" fmla="*/ 16 w 32"/>
                <a:gd name="T7" fmla="*/ 0 h 48"/>
                <a:gd name="T8" fmla="*/ 32 w 32"/>
                <a:gd name="T9" fmla="*/ 24 h 48"/>
                <a:gd name="T10" fmla="*/ 8 w 32"/>
                <a:gd name="T11" fmla="*/ 24 h 48"/>
                <a:gd name="T12" fmla="*/ 16 w 32"/>
                <a:gd name="T13" fmla="*/ 42 h 48"/>
                <a:gd name="T14" fmla="*/ 24 w 32"/>
                <a:gd name="T15" fmla="*/ 24 h 48"/>
                <a:gd name="T16" fmla="*/ 16 w 32"/>
                <a:gd name="T17" fmla="*/ 7 h 48"/>
                <a:gd name="T18" fmla="*/ 8 w 32"/>
                <a:gd name="T19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8">
                  <a:moveTo>
                    <a:pt x="32" y="24"/>
                  </a:moveTo>
                  <a:cubicBezTo>
                    <a:pt x="32" y="40"/>
                    <a:pt x="27" y="48"/>
                    <a:pt x="16" y="48"/>
                  </a:cubicBezTo>
                  <a:cubicBezTo>
                    <a:pt x="5" y="48"/>
                    <a:pt x="0" y="40"/>
                    <a:pt x="0" y="24"/>
                  </a:cubicBezTo>
                  <a:cubicBezTo>
                    <a:pt x="0" y="8"/>
                    <a:pt x="5" y="0"/>
                    <a:pt x="16" y="0"/>
                  </a:cubicBezTo>
                  <a:cubicBezTo>
                    <a:pt x="27" y="0"/>
                    <a:pt x="32" y="8"/>
                    <a:pt x="32" y="24"/>
                  </a:cubicBezTo>
                  <a:close/>
                  <a:moveTo>
                    <a:pt x="8" y="24"/>
                  </a:moveTo>
                  <a:cubicBezTo>
                    <a:pt x="8" y="36"/>
                    <a:pt x="11" y="42"/>
                    <a:pt x="16" y="42"/>
                  </a:cubicBezTo>
                  <a:cubicBezTo>
                    <a:pt x="22" y="42"/>
                    <a:pt x="24" y="36"/>
                    <a:pt x="24" y="24"/>
                  </a:cubicBezTo>
                  <a:cubicBezTo>
                    <a:pt x="24" y="13"/>
                    <a:pt x="22" y="7"/>
                    <a:pt x="16" y="7"/>
                  </a:cubicBezTo>
                  <a:cubicBezTo>
                    <a:pt x="11" y="7"/>
                    <a:pt x="8" y="13"/>
                    <a:pt x="8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72" name="Freeform 159">
              <a:extLst>
                <a:ext uri="{FF2B5EF4-FFF2-40B4-BE49-F238E27FC236}">
                  <a16:creationId xmlns:a16="http://schemas.microsoft.com/office/drawing/2014/main" id="{3C61DD12-BACE-4E53-9081-3C98C410B2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17375" y="6213803"/>
              <a:ext cx="114816" cy="170714"/>
            </a:xfrm>
            <a:custGeom>
              <a:avLst/>
              <a:gdLst>
                <a:gd name="T0" fmla="*/ 32 w 32"/>
                <a:gd name="T1" fmla="*/ 24 h 48"/>
                <a:gd name="T2" fmla="*/ 16 w 32"/>
                <a:gd name="T3" fmla="*/ 48 h 48"/>
                <a:gd name="T4" fmla="*/ 0 w 32"/>
                <a:gd name="T5" fmla="*/ 24 h 48"/>
                <a:gd name="T6" fmla="*/ 16 w 32"/>
                <a:gd name="T7" fmla="*/ 0 h 48"/>
                <a:gd name="T8" fmla="*/ 32 w 32"/>
                <a:gd name="T9" fmla="*/ 24 h 48"/>
                <a:gd name="T10" fmla="*/ 8 w 32"/>
                <a:gd name="T11" fmla="*/ 24 h 48"/>
                <a:gd name="T12" fmla="*/ 16 w 32"/>
                <a:gd name="T13" fmla="*/ 42 h 48"/>
                <a:gd name="T14" fmla="*/ 24 w 32"/>
                <a:gd name="T15" fmla="*/ 24 h 48"/>
                <a:gd name="T16" fmla="*/ 16 w 32"/>
                <a:gd name="T17" fmla="*/ 7 h 48"/>
                <a:gd name="T18" fmla="*/ 8 w 32"/>
                <a:gd name="T19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8">
                  <a:moveTo>
                    <a:pt x="32" y="24"/>
                  </a:moveTo>
                  <a:cubicBezTo>
                    <a:pt x="32" y="40"/>
                    <a:pt x="27" y="48"/>
                    <a:pt x="16" y="48"/>
                  </a:cubicBezTo>
                  <a:cubicBezTo>
                    <a:pt x="5" y="48"/>
                    <a:pt x="0" y="40"/>
                    <a:pt x="0" y="24"/>
                  </a:cubicBezTo>
                  <a:cubicBezTo>
                    <a:pt x="0" y="8"/>
                    <a:pt x="5" y="0"/>
                    <a:pt x="16" y="0"/>
                  </a:cubicBezTo>
                  <a:cubicBezTo>
                    <a:pt x="27" y="0"/>
                    <a:pt x="32" y="8"/>
                    <a:pt x="32" y="24"/>
                  </a:cubicBezTo>
                  <a:close/>
                  <a:moveTo>
                    <a:pt x="8" y="24"/>
                  </a:moveTo>
                  <a:cubicBezTo>
                    <a:pt x="8" y="36"/>
                    <a:pt x="11" y="42"/>
                    <a:pt x="16" y="42"/>
                  </a:cubicBezTo>
                  <a:cubicBezTo>
                    <a:pt x="22" y="42"/>
                    <a:pt x="24" y="36"/>
                    <a:pt x="24" y="24"/>
                  </a:cubicBezTo>
                  <a:cubicBezTo>
                    <a:pt x="24" y="13"/>
                    <a:pt x="22" y="7"/>
                    <a:pt x="16" y="7"/>
                  </a:cubicBezTo>
                  <a:cubicBezTo>
                    <a:pt x="11" y="7"/>
                    <a:pt x="8" y="13"/>
                    <a:pt x="8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73" name="Freeform 160">
              <a:extLst>
                <a:ext uri="{FF2B5EF4-FFF2-40B4-BE49-F238E27FC236}">
                  <a16:creationId xmlns:a16="http://schemas.microsoft.com/office/drawing/2014/main" id="{C26500B5-0D09-48CF-8C77-3640B4682E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17375" y="6499332"/>
              <a:ext cx="114816" cy="170714"/>
            </a:xfrm>
            <a:custGeom>
              <a:avLst/>
              <a:gdLst>
                <a:gd name="T0" fmla="*/ 32 w 32"/>
                <a:gd name="T1" fmla="*/ 24 h 48"/>
                <a:gd name="T2" fmla="*/ 16 w 32"/>
                <a:gd name="T3" fmla="*/ 48 h 48"/>
                <a:gd name="T4" fmla="*/ 0 w 32"/>
                <a:gd name="T5" fmla="*/ 24 h 48"/>
                <a:gd name="T6" fmla="*/ 16 w 32"/>
                <a:gd name="T7" fmla="*/ 0 h 48"/>
                <a:gd name="T8" fmla="*/ 32 w 32"/>
                <a:gd name="T9" fmla="*/ 24 h 48"/>
                <a:gd name="T10" fmla="*/ 8 w 32"/>
                <a:gd name="T11" fmla="*/ 24 h 48"/>
                <a:gd name="T12" fmla="*/ 16 w 32"/>
                <a:gd name="T13" fmla="*/ 42 h 48"/>
                <a:gd name="T14" fmla="*/ 24 w 32"/>
                <a:gd name="T15" fmla="*/ 24 h 48"/>
                <a:gd name="T16" fmla="*/ 16 w 32"/>
                <a:gd name="T17" fmla="*/ 7 h 48"/>
                <a:gd name="T18" fmla="*/ 8 w 32"/>
                <a:gd name="T19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8">
                  <a:moveTo>
                    <a:pt x="32" y="24"/>
                  </a:moveTo>
                  <a:cubicBezTo>
                    <a:pt x="32" y="40"/>
                    <a:pt x="27" y="48"/>
                    <a:pt x="16" y="48"/>
                  </a:cubicBezTo>
                  <a:cubicBezTo>
                    <a:pt x="5" y="48"/>
                    <a:pt x="0" y="41"/>
                    <a:pt x="0" y="24"/>
                  </a:cubicBezTo>
                  <a:cubicBezTo>
                    <a:pt x="0" y="8"/>
                    <a:pt x="5" y="0"/>
                    <a:pt x="16" y="0"/>
                  </a:cubicBezTo>
                  <a:cubicBezTo>
                    <a:pt x="27" y="0"/>
                    <a:pt x="32" y="8"/>
                    <a:pt x="32" y="24"/>
                  </a:cubicBezTo>
                  <a:close/>
                  <a:moveTo>
                    <a:pt x="8" y="24"/>
                  </a:moveTo>
                  <a:cubicBezTo>
                    <a:pt x="8" y="36"/>
                    <a:pt x="11" y="42"/>
                    <a:pt x="16" y="42"/>
                  </a:cubicBezTo>
                  <a:cubicBezTo>
                    <a:pt x="22" y="42"/>
                    <a:pt x="24" y="36"/>
                    <a:pt x="24" y="24"/>
                  </a:cubicBezTo>
                  <a:cubicBezTo>
                    <a:pt x="24" y="13"/>
                    <a:pt x="22" y="7"/>
                    <a:pt x="16" y="7"/>
                  </a:cubicBezTo>
                  <a:cubicBezTo>
                    <a:pt x="11" y="7"/>
                    <a:pt x="8" y="13"/>
                    <a:pt x="8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74" name="Freeform 161">
              <a:extLst>
                <a:ext uri="{FF2B5EF4-FFF2-40B4-BE49-F238E27FC236}">
                  <a16:creationId xmlns:a16="http://schemas.microsoft.com/office/drawing/2014/main" id="{1380AEA3-383A-4B07-AC19-CF494987AE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17375" y="6787885"/>
              <a:ext cx="114816" cy="167693"/>
            </a:xfrm>
            <a:custGeom>
              <a:avLst/>
              <a:gdLst>
                <a:gd name="T0" fmla="*/ 32 w 32"/>
                <a:gd name="T1" fmla="*/ 23 h 47"/>
                <a:gd name="T2" fmla="*/ 16 w 32"/>
                <a:gd name="T3" fmla="*/ 47 h 47"/>
                <a:gd name="T4" fmla="*/ 0 w 32"/>
                <a:gd name="T5" fmla="*/ 23 h 47"/>
                <a:gd name="T6" fmla="*/ 16 w 32"/>
                <a:gd name="T7" fmla="*/ 0 h 47"/>
                <a:gd name="T8" fmla="*/ 32 w 32"/>
                <a:gd name="T9" fmla="*/ 23 h 47"/>
                <a:gd name="T10" fmla="*/ 8 w 32"/>
                <a:gd name="T11" fmla="*/ 23 h 47"/>
                <a:gd name="T12" fmla="*/ 16 w 32"/>
                <a:gd name="T13" fmla="*/ 41 h 47"/>
                <a:gd name="T14" fmla="*/ 24 w 32"/>
                <a:gd name="T15" fmla="*/ 23 h 47"/>
                <a:gd name="T16" fmla="*/ 16 w 32"/>
                <a:gd name="T17" fmla="*/ 6 h 47"/>
                <a:gd name="T18" fmla="*/ 8 w 32"/>
                <a:gd name="T19" fmla="*/ 2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7">
                  <a:moveTo>
                    <a:pt x="32" y="23"/>
                  </a:moveTo>
                  <a:cubicBezTo>
                    <a:pt x="32" y="39"/>
                    <a:pt x="27" y="47"/>
                    <a:pt x="16" y="47"/>
                  </a:cubicBezTo>
                  <a:cubicBezTo>
                    <a:pt x="5" y="47"/>
                    <a:pt x="0" y="40"/>
                    <a:pt x="0" y="23"/>
                  </a:cubicBezTo>
                  <a:cubicBezTo>
                    <a:pt x="0" y="7"/>
                    <a:pt x="5" y="0"/>
                    <a:pt x="16" y="0"/>
                  </a:cubicBezTo>
                  <a:cubicBezTo>
                    <a:pt x="27" y="0"/>
                    <a:pt x="32" y="7"/>
                    <a:pt x="32" y="23"/>
                  </a:cubicBezTo>
                  <a:close/>
                  <a:moveTo>
                    <a:pt x="8" y="23"/>
                  </a:moveTo>
                  <a:cubicBezTo>
                    <a:pt x="8" y="35"/>
                    <a:pt x="11" y="41"/>
                    <a:pt x="16" y="41"/>
                  </a:cubicBezTo>
                  <a:cubicBezTo>
                    <a:pt x="22" y="41"/>
                    <a:pt x="24" y="35"/>
                    <a:pt x="24" y="23"/>
                  </a:cubicBezTo>
                  <a:cubicBezTo>
                    <a:pt x="24" y="12"/>
                    <a:pt x="22" y="6"/>
                    <a:pt x="16" y="6"/>
                  </a:cubicBezTo>
                  <a:cubicBezTo>
                    <a:pt x="11" y="6"/>
                    <a:pt x="8" y="12"/>
                    <a:pt x="8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75" name="Line 8">
              <a:extLst>
                <a:ext uri="{FF2B5EF4-FFF2-40B4-BE49-F238E27FC236}">
                  <a16:creationId xmlns:a16="http://schemas.microsoft.com/office/drawing/2014/main" id="{667F7CDF-D33F-4317-92A6-41037252C9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282436" y="5576274"/>
              <a:ext cx="0" cy="0"/>
            </a:xfrm>
            <a:prstGeom prst="line">
              <a:avLst/>
            </a:pr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76" name="Line 9">
              <a:extLst>
                <a:ext uri="{FF2B5EF4-FFF2-40B4-BE49-F238E27FC236}">
                  <a16:creationId xmlns:a16="http://schemas.microsoft.com/office/drawing/2014/main" id="{C18A45E9-BD17-4DC9-862A-F3A5101516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282436" y="5576274"/>
              <a:ext cx="0" cy="0"/>
            </a:xfrm>
            <a:prstGeom prst="line">
              <a:avLst/>
            </a:pr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77" name="Freeform 10">
              <a:extLst>
                <a:ext uri="{FF2B5EF4-FFF2-40B4-BE49-F238E27FC236}">
                  <a16:creationId xmlns:a16="http://schemas.microsoft.com/office/drawing/2014/main" id="{47C3F4C9-2095-43E9-880E-6D0BBE4EF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49546" y="6647390"/>
              <a:ext cx="99709" cy="157117"/>
            </a:xfrm>
            <a:custGeom>
              <a:avLst/>
              <a:gdLst>
                <a:gd name="T0" fmla="*/ 30 w 66"/>
                <a:gd name="T1" fmla="*/ 24 h 104"/>
                <a:gd name="T2" fmla="*/ 9 w 66"/>
                <a:gd name="T3" fmla="*/ 38 h 104"/>
                <a:gd name="T4" fmla="*/ 0 w 66"/>
                <a:gd name="T5" fmla="*/ 19 h 104"/>
                <a:gd name="T6" fmla="*/ 33 w 66"/>
                <a:gd name="T7" fmla="*/ 0 h 104"/>
                <a:gd name="T8" fmla="*/ 52 w 66"/>
                <a:gd name="T9" fmla="*/ 0 h 104"/>
                <a:gd name="T10" fmla="*/ 52 w 66"/>
                <a:gd name="T11" fmla="*/ 87 h 104"/>
                <a:gd name="T12" fmla="*/ 66 w 66"/>
                <a:gd name="T13" fmla="*/ 87 h 104"/>
                <a:gd name="T14" fmla="*/ 66 w 66"/>
                <a:gd name="T15" fmla="*/ 104 h 104"/>
                <a:gd name="T16" fmla="*/ 16 w 66"/>
                <a:gd name="T17" fmla="*/ 104 h 104"/>
                <a:gd name="T18" fmla="*/ 16 w 66"/>
                <a:gd name="T19" fmla="*/ 87 h 104"/>
                <a:gd name="T20" fmla="*/ 30 w 66"/>
                <a:gd name="T21" fmla="*/ 87 h 104"/>
                <a:gd name="T22" fmla="*/ 30 w 66"/>
                <a:gd name="T23" fmla="*/ 2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6" h="104">
                  <a:moveTo>
                    <a:pt x="30" y="24"/>
                  </a:moveTo>
                  <a:lnTo>
                    <a:pt x="9" y="38"/>
                  </a:lnTo>
                  <a:lnTo>
                    <a:pt x="0" y="19"/>
                  </a:lnTo>
                  <a:lnTo>
                    <a:pt x="33" y="0"/>
                  </a:lnTo>
                  <a:lnTo>
                    <a:pt x="52" y="0"/>
                  </a:lnTo>
                  <a:lnTo>
                    <a:pt x="52" y="87"/>
                  </a:lnTo>
                  <a:lnTo>
                    <a:pt x="66" y="87"/>
                  </a:lnTo>
                  <a:lnTo>
                    <a:pt x="66" y="104"/>
                  </a:lnTo>
                  <a:lnTo>
                    <a:pt x="16" y="104"/>
                  </a:lnTo>
                  <a:lnTo>
                    <a:pt x="16" y="87"/>
                  </a:lnTo>
                  <a:lnTo>
                    <a:pt x="30" y="87"/>
                  </a:lnTo>
                  <a:lnTo>
                    <a:pt x="30" y="2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78" name="Freeform 11">
              <a:extLst>
                <a:ext uri="{FF2B5EF4-FFF2-40B4-BE49-F238E27FC236}">
                  <a16:creationId xmlns:a16="http://schemas.microsoft.com/office/drawing/2014/main" id="{D062FEB6-E59A-4C7C-8CCE-C00E3376E8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635950" y="6914792"/>
              <a:ext cx="120859" cy="164671"/>
            </a:xfrm>
            <a:custGeom>
              <a:avLst/>
              <a:gdLst>
                <a:gd name="T0" fmla="*/ 32 w 34"/>
                <a:gd name="T1" fmla="*/ 8 h 46"/>
                <a:gd name="T2" fmla="*/ 34 w 34"/>
                <a:gd name="T3" fmla="*/ 23 h 46"/>
                <a:gd name="T4" fmla="*/ 31 w 34"/>
                <a:gd name="T5" fmla="*/ 39 h 46"/>
                <a:gd name="T6" fmla="*/ 17 w 34"/>
                <a:gd name="T7" fmla="*/ 46 h 46"/>
                <a:gd name="T8" fmla="*/ 3 w 34"/>
                <a:gd name="T9" fmla="*/ 37 h 46"/>
                <a:gd name="T10" fmla="*/ 0 w 34"/>
                <a:gd name="T11" fmla="*/ 23 h 46"/>
                <a:gd name="T12" fmla="*/ 17 w 34"/>
                <a:gd name="T13" fmla="*/ 0 h 46"/>
                <a:gd name="T14" fmla="*/ 32 w 34"/>
                <a:gd name="T15" fmla="*/ 8 h 46"/>
                <a:gd name="T16" fmla="*/ 10 w 34"/>
                <a:gd name="T17" fmla="*/ 23 h 46"/>
                <a:gd name="T18" fmla="*/ 17 w 34"/>
                <a:gd name="T19" fmla="*/ 38 h 46"/>
                <a:gd name="T20" fmla="*/ 25 w 34"/>
                <a:gd name="T21" fmla="*/ 23 h 46"/>
                <a:gd name="T22" fmla="*/ 17 w 34"/>
                <a:gd name="T23" fmla="*/ 8 h 46"/>
                <a:gd name="T24" fmla="*/ 10 w 34"/>
                <a:gd name="T25" fmla="*/ 2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" h="46">
                  <a:moveTo>
                    <a:pt x="32" y="8"/>
                  </a:moveTo>
                  <a:cubicBezTo>
                    <a:pt x="34" y="12"/>
                    <a:pt x="34" y="16"/>
                    <a:pt x="34" y="23"/>
                  </a:cubicBezTo>
                  <a:cubicBezTo>
                    <a:pt x="34" y="31"/>
                    <a:pt x="33" y="36"/>
                    <a:pt x="31" y="39"/>
                  </a:cubicBezTo>
                  <a:cubicBezTo>
                    <a:pt x="28" y="43"/>
                    <a:pt x="23" y="46"/>
                    <a:pt x="17" y="46"/>
                  </a:cubicBezTo>
                  <a:cubicBezTo>
                    <a:pt x="11" y="46"/>
                    <a:pt x="6" y="43"/>
                    <a:pt x="3" y="37"/>
                  </a:cubicBezTo>
                  <a:cubicBezTo>
                    <a:pt x="1" y="34"/>
                    <a:pt x="0" y="29"/>
                    <a:pt x="0" y="23"/>
                  </a:cubicBezTo>
                  <a:cubicBezTo>
                    <a:pt x="0" y="8"/>
                    <a:pt x="6" y="0"/>
                    <a:pt x="17" y="0"/>
                  </a:cubicBezTo>
                  <a:cubicBezTo>
                    <a:pt x="24" y="0"/>
                    <a:pt x="29" y="3"/>
                    <a:pt x="32" y="8"/>
                  </a:cubicBezTo>
                  <a:close/>
                  <a:moveTo>
                    <a:pt x="10" y="23"/>
                  </a:moveTo>
                  <a:cubicBezTo>
                    <a:pt x="10" y="33"/>
                    <a:pt x="12" y="38"/>
                    <a:pt x="17" y="38"/>
                  </a:cubicBezTo>
                  <a:cubicBezTo>
                    <a:pt x="22" y="38"/>
                    <a:pt x="25" y="33"/>
                    <a:pt x="25" y="23"/>
                  </a:cubicBezTo>
                  <a:cubicBezTo>
                    <a:pt x="25" y="13"/>
                    <a:pt x="22" y="8"/>
                    <a:pt x="17" y="8"/>
                  </a:cubicBezTo>
                  <a:cubicBezTo>
                    <a:pt x="12" y="8"/>
                    <a:pt x="10" y="13"/>
                    <a:pt x="10" y="2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79" name="Freeform 23">
              <a:extLst>
                <a:ext uri="{FF2B5EF4-FFF2-40B4-BE49-F238E27FC236}">
                  <a16:creationId xmlns:a16="http://schemas.microsoft.com/office/drawing/2014/main" id="{3BF3BCA6-463D-498D-882A-93C58206C1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56227" y="5926766"/>
              <a:ext cx="75537" cy="113306"/>
            </a:xfrm>
            <a:custGeom>
              <a:avLst/>
              <a:gdLst>
                <a:gd name="T0" fmla="*/ 21 w 21"/>
                <a:gd name="T1" fmla="*/ 16 h 32"/>
                <a:gd name="T2" fmla="*/ 11 w 21"/>
                <a:gd name="T3" fmla="*/ 32 h 32"/>
                <a:gd name="T4" fmla="*/ 0 w 21"/>
                <a:gd name="T5" fmla="*/ 16 h 32"/>
                <a:gd name="T6" fmla="*/ 11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1 w 21"/>
                <a:gd name="T13" fmla="*/ 28 h 32"/>
                <a:gd name="T14" fmla="*/ 16 w 21"/>
                <a:gd name="T15" fmla="*/ 16 h 32"/>
                <a:gd name="T16" fmla="*/ 11 w 21"/>
                <a:gd name="T17" fmla="*/ 5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7"/>
                    <a:pt x="18" y="32"/>
                    <a:pt x="11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1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8"/>
                    <a:pt x="11" y="28"/>
                  </a:cubicBezTo>
                  <a:cubicBezTo>
                    <a:pt x="14" y="28"/>
                    <a:pt x="16" y="24"/>
                    <a:pt x="16" y="16"/>
                  </a:cubicBezTo>
                  <a:cubicBezTo>
                    <a:pt x="16" y="8"/>
                    <a:pt x="14" y="5"/>
                    <a:pt x="11" y="5"/>
                  </a:cubicBezTo>
                  <a:cubicBezTo>
                    <a:pt x="7" y="5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80" name="Freeform 24">
              <a:extLst>
                <a:ext uri="{FF2B5EF4-FFF2-40B4-BE49-F238E27FC236}">
                  <a16:creationId xmlns:a16="http://schemas.microsoft.com/office/drawing/2014/main" id="{2B83D20A-9B56-40A1-B9A6-3DE53A8A03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56227" y="6118630"/>
              <a:ext cx="75537" cy="111795"/>
            </a:xfrm>
            <a:custGeom>
              <a:avLst/>
              <a:gdLst>
                <a:gd name="T0" fmla="*/ 21 w 21"/>
                <a:gd name="T1" fmla="*/ 16 h 31"/>
                <a:gd name="T2" fmla="*/ 11 w 21"/>
                <a:gd name="T3" fmla="*/ 31 h 31"/>
                <a:gd name="T4" fmla="*/ 0 w 21"/>
                <a:gd name="T5" fmla="*/ 15 h 31"/>
                <a:gd name="T6" fmla="*/ 11 w 21"/>
                <a:gd name="T7" fmla="*/ 0 h 31"/>
                <a:gd name="T8" fmla="*/ 21 w 21"/>
                <a:gd name="T9" fmla="*/ 16 h 31"/>
                <a:gd name="T10" fmla="*/ 5 w 21"/>
                <a:gd name="T11" fmla="*/ 15 h 31"/>
                <a:gd name="T12" fmla="*/ 11 w 21"/>
                <a:gd name="T13" fmla="*/ 27 h 31"/>
                <a:gd name="T14" fmla="*/ 16 w 21"/>
                <a:gd name="T15" fmla="*/ 16 h 31"/>
                <a:gd name="T16" fmla="*/ 11 w 21"/>
                <a:gd name="T17" fmla="*/ 4 h 31"/>
                <a:gd name="T18" fmla="*/ 5 w 21"/>
                <a:gd name="T1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1">
                  <a:moveTo>
                    <a:pt x="21" y="16"/>
                  </a:moveTo>
                  <a:cubicBezTo>
                    <a:pt x="21" y="26"/>
                    <a:pt x="18" y="31"/>
                    <a:pt x="11" y="31"/>
                  </a:cubicBezTo>
                  <a:cubicBezTo>
                    <a:pt x="3" y="31"/>
                    <a:pt x="0" y="26"/>
                    <a:pt x="0" y="15"/>
                  </a:cubicBezTo>
                  <a:cubicBezTo>
                    <a:pt x="0" y="5"/>
                    <a:pt x="3" y="0"/>
                    <a:pt x="11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5"/>
                  </a:moveTo>
                  <a:cubicBezTo>
                    <a:pt x="5" y="23"/>
                    <a:pt x="7" y="27"/>
                    <a:pt x="11" y="27"/>
                  </a:cubicBezTo>
                  <a:cubicBezTo>
                    <a:pt x="14" y="27"/>
                    <a:pt x="16" y="23"/>
                    <a:pt x="16" y="16"/>
                  </a:cubicBezTo>
                  <a:cubicBezTo>
                    <a:pt x="16" y="8"/>
                    <a:pt x="14" y="4"/>
                    <a:pt x="11" y="4"/>
                  </a:cubicBezTo>
                  <a:cubicBezTo>
                    <a:pt x="7" y="4"/>
                    <a:pt x="5" y="8"/>
                    <a:pt x="5" y="15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81" name="Freeform 25">
              <a:extLst>
                <a:ext uri="{FF2B5EF4-FFF2-40B4-BE49-F238E27FC236}">
                  <a16:creationId xmlns:a16="http://schemas.microsoft.com/office/drawing/2014/main" id="{B55AD123-09C1-4B41-9B8E-FC9FD1764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63781" y="6500848"/>
              <a:ext cx="64962" cy="110285"/>
            </a:xfrm>
            <a:custGeom>
              <a:avLst/>
              <a:gdLst>
                <a:gd name="T0" fmla="*/ 19 w 43"/>
                <a:gd name="T1" fmla="*/ 14 h 73"/>
                <a:gd name="T2" fmla="*/ 5 w 43"/>
                <a:gd name="T3" fmla="*/ 24 h 73"/>
                <a:gd name="T4" fmla="*/ 0 w 43"/>
                <a:gd name="T5" fmla="*/ 12 h 73"/>
                <a:gd name="T6" fmla="*/ 22 w 43"/>
                <a:gd name="T7" fmla="*/ 0 h 73"/>
                <a:gd name="T8" fmla="*/ 34 w 43"/>
                <a:gd name="T9" fmla="*/ 0 h 73"/>
                <a:gd name="T10" fmla="*/ 34 w 43"/>
                <a:gd name="T11" fmla="*/ 64 h 73"/>
                <a:gd name="T12" fmla="*/ 43 w 43"/>
                <a:gd name="T13" fmla="*/ 64 h 73"/>
                <a:gd name="T14" fmla="*/ 43 w 43"/>
                <a:gd name="T15" fmla="*/ 73 h 73"/>
                <a:gd name="T16" fmla="*/ 10 w 43"/>
                <a:gd name="T17" fmla="*/ 73 h 73"/>
                <a:gd name="T18" fmla="*/ 10 w 43"/>
                <a:gd name="T19" fmla="*/ 64 h 73"/>
                <a:gd name="T20" fmla="*/ 19 w 43"/>
                <a:gd name="T21" fmla="*/ 64 h 73"/>
                <a:gd name="T22" fmla="*/ 19 w 43"/>
                <a:gd name="T23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73">
                  <a:moveTo>
                    <a:pt x="19" y="14"/>
                  </a:moveTo>
                  <a:lnTo>
                    <a:pt x="5" y="24"/>
                  </a:lnTo>
                  <a:lnTo>
                    <a:pt x="0" y="12"/>
                  </a:lnTo>
                  <a:lnTo>
                    <a:pt x="22" y="0"/>
                  </a:lnTo>
                  <a:lnTo>
                    <a:pt x="34" y="0"/>
                  </a:lnTo>
                  <a:lnTo>
                    <a:pt x="34" y="64"/>
                  </a:lnTo>
                  <a:lnTo>
                    <a:pt x="43" y="64"/>
                  </a:lnTo>
                  <a:lnTo>
                    <a:pt x="43" y="73"/>
                  </a:lnTo>
                  <a:lnTo>
                    <a:pt x="10" y="73"/>
                  </a:lnTo>
                  <a:lnTo>
                    <a:pt x="10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82" name="Freeform 26">
              <a:extLst>
                <a:ext uri="{FF2B5EF4-FFF2-40B4-BE49-F238E27FC236}">
                  <a16:creationId xmlns:a16="http://schemas.microsoft.com/office/drawing/2014/main" id="{D0F33A7A-B95D-4ECD-A67B-45755787F3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56227" y="6689691"/>
              <a:ext cx="75537" cy="111795"/>
            </a:xfrm>
            <a:custGeom>
              <a:avLst/>
              <a:gdLst>
                <a:gd name="T0" fmla="*/ 21 w 21"/>
                <a:gd name="T1" fmla="*/ 16 h 31"/>
                <a:gd name="T2" fmla="*/ 11 w 21"/>
                <a:gd name="T3" fmla="*/ 31 h 31"/>
                <a:gd name="T4" fmla="*/ 0 w 21"/>
                <a:gd name="T5" fmla="*/ 15 h 31"/>
                <a:gd name="T6" fmla="*/ 11 w 21"/>
                <a:gd name="T7" fmla="*/ 0 h 31"/>
                <a:gd name="T8" fmla="*/ 21 w 21"/>
                <a:gd name="T9" fmla="*/ 16 h 31"/>
                <a:gd name="T10" fmla="*/ 5 w 21"/>
                <a:gd name="T11" fmla="*/ 16 h 31"/>
                <a:gd name="T12" fmla="*/ 11 w 21"/>
                <a:gd name="T13" fmla="*/ 27 h 31"/>
                <a:gd name="T14" fmla="*/ 16 w 21"/>
                <a:gd name="T15" fmla="*/ 16 h 31"/>
                <a:gd name="T16" fmla="*/ 11 w 21"/>
                <a:gd name="T17" fmla="*/ 4 h 31"/>
                <a:gd name="T18" fmla="*/ 5 w 21"/>
                <a:gd name="T19" fmla="*/ 1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1">
                  <a:moveTo>
                    <a:pt x="21" y="16"/>
                  </a:moveTo>
                  <a:cubicBezTo>
                    <a:pt x="21" y="26"/>
                    <a:pt x="18" y="31"/>
                    <a:pt x="11" y="31"/>
                  </a:cubicBezTo>
                  <a:cubicBezTo>
                    <a:pt x="3" y="31"/>
                    <a:pt x="0" y="26"/>
                    <a:pt x="0" y="15"/>
                  </a:cubicBezTo>
                  <a:cubicBezTo>
                    <a:pt x="0" y="5"/>
                    <a:pt x="3" y="0"/>
                    <a:pt x="11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3"/>
                    <a:pt x="7" y="27"/>
                    <a:pt x="11" y="27"/>
                  </a:cubicBezTo>
                  <a:cubicBezTo>
                    <a:pt x="14" y="27"/>
                    <a:pt x="16" y="23"/>
                    <a:pt x="16" y="16"/>
                  </a:cubicBezTo>
                  <a:cubicBezTo>
                    <a:pt x="16" y="8"/>
                    <a:pt x="14" y="4"/>
                    <a:pt x="11" y="4"/>
                  </a:cubicBezTo>
                  <a:cubicBezTo>
                    <a:pt x="7" y="4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83" name="Freeform 27">
              <a:extLst>
                <a:ext uri="{FF2B5EF4-FFF2-40B4-BE49-F238E27FC236}">
                  <a16:creationId xmlns:a16="http://schemas.microsoft.com/office/drawing/2014/main" id="{A648115D-B260-4EFF-8177-D1E4034F1F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56227" y="6880044"/>
              <a:ext cx="75537" cy="113306"/>
            </a:xfrm>
            <a:custGeom>
              <a:avLst/>
              <a:gdLst>
                <a:gd name="T0" fmla="*/ 21 w 21"/>
                <a:gd name="T1" fmla="*/ 16 h 32"/>
                <a:gd name="T2" fmla="*/ 11 w 21"/>
                <a:gd name="T3" fmla="*/ 32 h 32"/>
                <a:gd name="T4" fmla="*/ 0 w 21"/>
                <a:gd name="T5" fmla="*/ 16 h 32"/>
                <a:gd name="T6" fmla="*/ 11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1 w 21"/>
                <a:gd name="T13" fmla="*/ 27 h 32"/>
                <a:gd name="T14" fmla="*/ 16 w 21"/>
                <a:gd name="T15" fmla="*/ 16 h 32"/>
                <a:gd name="T16" fmla="*/ 11 w 21"/>
                <a:gd name="T17" fmla="*/ 4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7"/>
                    <a:pt x="18" y="32"/>
                    <a:pt x="11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1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7"/>
                    <a:pt x="11" y="27"/>
                  </a:cubicBezTo>
                  <a:cubicBezTo>
                    <a:pt x="14" y="27"/>
                    <a:pt x="16" y="24"/>
                    <a:pt x="16" y="16"/>
                  </a:cubicBezTo>
                  <a:cubicBezTo>
                    <a:pt x="16" y="8"/>
                    <a:pt x="14" y="4"/>
                    <a:pt x="11" y="4"/>
                  </a:cubicBezTo>
                  <a:cubicBezTo>
                    <a:pt x="7" y="4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84" name="Freeform 43">
              <a:extLst>
                <a:ext uri="{FF2B5EF4-FFF2-40B4-BE49-F238E27FC236}">
                  <a16:creationId xmlns:a16="http://schemas.microsoft.com/office/drawing/2014/main" id="{0CFE8280-FD6A-41E3-B6CC-54E70EE2EA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196435" y="6126184"/>
              <a:ext cx="63451" cy="93666"/>
            </a:xfrm>
            <a:custGeom>
              <a:avLst/>
              <a:gdLst>
                <a:gd name="T0" fmla="*/ 18 w 18"/>
                <a:gd name="T1" fmla="*/ 13 h 26"/>
                <a:gd name="T2" fmla="*/ 9 w 18"/>
                <a:gd name="T3" fmla="*/ 26 h 26"/>
                <a:gd name="T4" fmla="*/ 0 w 18"/>
                <a:gd name="T5" fmla="*/ 13 h 26"/>
                <a:gd name="T6" fmla="*/ 9 w 18"/>
                <a:gd name="T7" fmla="*/ 0 h 26"/>
                <a:gd name="T8" fmla="*/ 18 w 18"/>
                <a:gd name="T9" fmla="*/ 13 h 26"/>
                <a:gd name="T10" fmla="*/ 5 w 18"/>
                <a:gd name="T11" fmla="*/ 13 h 26"/>
                <a:gd name="T12" fmla="*/ 9 w 18"/>
                <a:gd name="T13" fmla="*/ 22 h 26"/>
                <a:gd name="T14" fmla="*/ 13 w 18"/>
                <a:gd name="T15" fmla="*/ 13 h 26"/>
                <a:gd name="T16" fmla="*/ 9 w 18"/>
                <a:gd name="T17" fmla="*/ 4 h 26"/>
                <a:gd name="T18" fmla="*/ 5 w 18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6">
                  <a:moveTo>
                    <a:pt x="18" y="13"/>
                  </a:moveTo>
                  <a:cubicBezTo>
                    <a:pt x="18" y="22"/>
                    <a:pt x="15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5"/>
                    <a:pt x="3" y="0"/>
                    <a:pt x="9" y="0"/>
                  </a:cubicBezTo>
                  <a:cubicBezTo>
                    <a:pt x="15" y="0"/>
                    <a:pt x="18" y="5"/>
                    <a:pt x="18" y="13"/>
                  </a:cubicBezTo>
                  <a:close/>
                  <a:moveTo>
                    <a:pt x="5" y="13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7"/>
                    <a:pt x="12" y="4"/>
                    <a:pt x="9" y="4"/>
                  </a:cubicBezTo>
                  <a:cubicBezTo>
                    <a:pt x="6" y="4"/>
                    <a:pt x="5" y="7"/>
                    <a:pt x="5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85" name="Freeform 44">
              <a:extLst>
                <a:ext uri="{FF2B5EF4-FFF2-40B4-BE49-F238E27FC236}">
                  <a16:creationId xmlns:a16="http://schemas.microsoft.com/office/drawing/2014/main" id="{3E891AF3-327A-4AB7-B412-AE492B3316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196435" y="6280280"/>
              <a:ext cx="63451" cy="92156"/>
            </a:xfrm>
            <a:custGeom>
              <a:avLst/>
              <a:gdLst>
                <a:gd name="T0" fmla="*/ 18 w 18"/>
                <a:gd name="T1" fmla="*/ 13 h 26"/>
                <a:gd name="T2" fmla="*/ 9 w 18"/>
                <a:gd name="T3" fmla="*/ 26 h 26"/>
                <a:gd name="T4" fmla="*/ 0 w 18"/>
                <a:gd name="T5" fmla="*/ 13 h 26"/>
                <a:gd name="T6" fmla="*/ 9 w 18"/>
                <a:gd name="T7" fmla="*/ 0 h 26"/>
                <a:gd name="T8" fmla="*/ 18 w 18"/>
                <a:gd name="T9" fmla="*/ 13 h 26"/>
                <a:gd name="T10" fmla="*/ 5 w 18"/>
                <a:gd name="T11" fmla="*/ 13 h 26"/>
                <a:gd name="T12" fmla="*/ 9 w 18"/>
                <a:gd name="T13" fmla="*/ 22 h 26"/>
                <a:gd name="T14" fmla="*/ 13 w 18"/>
                <a:gd name="T15" fmla="*/ 13 h 26"/>
                <a:gd name="T16" fmla="*/ 9 w 18"/>
                <a:gd name="T17" fmla="*/ 4 h 26"/>
                <a:gd name="T18" fmla="*/ 5 w 18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6">
                  <a:moveTo>
                    <a:pt x="18" y="13"/>
                  </a:moveTo>
                  <a:cubicBezTo>
                    <a:pt x="18" y="21"/>
                    <a:pt x="15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5" y="0"/>
                    <a:pt x="18" y="4"/>
                    <a:pt x="18" y="13"/>
                  </a:cubicBezTo>
                  <a:close/>
                  <a:moveTo>
                    <a:pt x="5" y="13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7"/>
                    <a:pt x="12" y="4"/>
                    <a:pt x="9" y="4"/>
                  </a:cubicBezTo>
                  <a:cubicBezTo>
                    <a:pt x="6" y="4"/>
                    <a:pt x="5" y="7"/>
                    <a:pt x="5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86" name="Freeform 45">
              <a:extLst>
                <a:ext uri="{FF2B5EF4-FFF2-40B4-BE49-F238E27FC236}">
                  <a16:creationId xmlns:a16="http://schemas.microsoft.com/office/drawing/2014/main" id="{7CC9560E-3B7E-48D0-A174-535C5FA30F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07010" y="6586960"/>
              <a:ext cx="49855" cy="89134"/>
            </a:xfrm>
            <a:custGeom>
              <a:avLst/>
              <a:gdLst>
                <a:gd name="T0" fmla="*/ 17 w 33"/>
                <a:gd name="T1" fmla="*/ 12 h 59"/>
                <a:gd name="T2" fmla="*/ 5 w 33"/>
                <a:gd name="T3" fmla="*/ 19 h 59"/>
                <a:gd name="T4" fmla="*/ 0 w 33"/>
                <a:gd name="T5" fmla="*/ 9 h 59"/>
                <a:gd name="T6" fmla="*/ 19 w 33"/>
                <a:gd name="T7" fmla="*/ 0 h 59"/>
                <a:gd name="T8" fmla="*/ 26 w 33"/>
                <a:gd name="T9" fmla="*/ 0 h 59"/>
                <a:gd name="T10" fmla="*/ 26 w 33"/>
                <a:gd name="T11" fmla="*/ 49 h 59"/>
                <a:gd name="T12" fmla="*/ 33 w 33"/>
                <a:gd name="T13" fmla="*/ 49 h 59"/>
                <a:gd name="T14" fmla="*/ 33 w 33"/>
                <a:gd name="T15" fmla="*/ 59 h 59"/>
                <a:gd name="T16" fmla="*/ 10 w 33"/>
                <a:gd name="T17" fmla="*/ 59 h 59"/>
                <a:gd name="T18" fmla="*/ 10 w 33"/>
                <a:gd name="T19" fmla="*/ 49 h 59"/>
                <a:gd name="T20" fmla="*/ 17 w 33"/>
                <a:gd name="T21" fmla="*/ 49 h 59"/>
                <a:gd name="T22" fmla="*/ 17 w 33"/>
                <a:gd name="T23" fmla="*/ 1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9">
                  <a:moveTo>
                    <a:pt x="17" y="12"/>
                  </a:moveTo>
                  <a:lnTo>
                    <a:pt x="5" y="19"/>
                  </a:lnTo>
                  <a:lnTo>
                    <a:pt x="0" y="9"/>
                  </a:lnTo>
                  <a:lnTo>
                    <a:pt x="19" y="0"/>
                  </a:lnTo>
                  <a:lnTo>
                    <a:pt x="26" y="0"/>
                  </a:lnTo>
                  <a:lnTo>
                    <a:pt x="26" y="49"/>
                  </a:lnTo>
                  <a:lnTo>
                    <a:pt x="33" y="49"/>
                  </a:lnTo>
                  <a:lnTo>
                    <a:pt x="33" y="59"/>
                  </a:lnTo>
                  <a:lnTo>
                    <a:pt x="10" y="59"/>
                  </a:lnTo>
                  <a:lnTo>
                    <a:pt x="10" y="49"/>
                  </a:lnTo>
                  <a:lnTo>
                    <a:pt x="17" y="49"/>
                  </a:lnTo>
                  <a:lnTo>
                    <a:pt x="17" y="12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87" name="Freeform 46">
              <a:extLst>
                <a:ext uri="{FF2B5EF4-FFF2-40B4-BE49-F238E27FC236}">
                  <a16:creationId xmlns:a16="http://schemas.microsoft.com/office/drawing/2014/main" id="{1CE8C642-56FB-4F32-8872-E5A15FE28B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196435" y="6736524"/>
              <a:ext cx="63451" cy="92156"/>
            </a:xfrm>
            <a:custGeom>
              <a:avLst/>
              <a:gdLst>
                <a:gd name="T0" fmla="*/ 18 w 18"/>
                <a:gd name="T1" fmla="*/ 13 h 26"/>
                <a:gd name="T2" fmla="*/ 9 w 18"/>
                <a:gd name="T3" fmla="*/ 26 h 26"/>
                <a:gd name="T4" fmla="*/ 0 w 18"/>
                <a:gd name="T5" fmla="*/ 13 h 26"/>
                <a:gd name="T6" fmla="*/ 9 w 18"/>
                <a:gd name="T7" fmla="*/ 0 h 26"/>
                <a:gd name="T8" fmla="*/ 18 w 18"/>
                <a:gd name="T9" fmla="*/ 13 h 26"/>
                <a:gd name="T10" fmla="*/ 5 w 18"/>
                <a:gd name="T11" fmla="*/ 13 h 26"/>
                <a:gd name="T12" fmla="*/ 9 w 18"/>
                <a:gd name="T13" fmla="*/ 22 h 26"/>
                <a:gd name="T14" fmla="*/ 13 w 18"/>
                <a:gd name="T15" fmla="*/ 13 h 26"/>
                <a:gd name="T16" fmla="*/ 9 w 18"/>
                <a:gd name="T17" fmla="*/ 4 h 26"/>
                <a:gd name="T18" fmla="*/ 5 w 18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6">
                  <a:moveTo>
                    <a:pt x="18" y="13"/>
                  </a:moveTo>
                  <a:cubicBezTo>
                    <a:pt x="18" y="22"/>
                    <a:pt x="15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5" y="0"/>
                    <a:pt x="18" y="4"/>
                    <a:pt x="18" y="13"/>
                  </a:cubicBezTo>
                  <a:close/>
                  <a:moveTo>
                    <a:pt x="5" y="13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7"/>
                    <a:pt x="12" y="4"/>
                    <a:pt x="9" y="4"/>
                  </a:cubicBezTo>
                  <a:cubicBezTo>
                    <a:pt x="6" y="4"/>
                    <a:pt x="5" y="7"/>
                    <a:pt x="5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88" name="Freeform 47">
              <a:extLst>
                <a:ext uri="{FF2B5EF4-FFF2-40B4-BE49-F238E27FC236}">
                  <a16:creationId xmlns:a16="http://schemas.microsoft.com/office/drawing/2014/main" id="{FB28D810-B6DC-48F0-B3A9-7246B1FA95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196435" y="6890620"/>
              <a:ext cx="63451" cy="89134"/>
            </a:xfrm>
            <a:custGeom>
              <a:avLst/>
              <a:gdLst>
                <a:gd name="T0" fmla="*/ 18 w 18"/>
                <a:gd name="T1" fmla="*/ 13 h 25"/>
                <a:gd name="T2" fmla="*/ 9 w 18"/>
                <a:gd name="T3" fmla="*/ 25 h 25"/>
                <a:gd name="T4" fmla="*/ 0 w 18"/>
                <a:gd name="T5" fmla="*/ 12 h 25"/>
                <a:gd name="T6" fmla="*/ 9 w 18"/>
                <a:gd name="T7" fmla="*/ 0 h 25"/>
                <a:gd name="T8" fmla="*/ 18 w 18"/>
                <a:gd name="T9" fmla="*/ 13 h 25"/>
                <a:gd name="T10" fmla="*/ 5 w 18"/>
                <a:gd name="T11" fmla="*/ 12 h 25"/>
                <a:gd name="T12" fmla="*/ 9 w 18"/>
                <a:gd name="T13" fmla="*/ 22 h 25"/>
                <a:gd name="T14" fmla="*/ 13 w 18"/>
                <a:gd name="T15" fmla="*/ 13 h 25"/>
                <a:gd name="T16" fmla="*/ 9 w 18"/>
                <a:gd name="T17" fmla="*/ 3 h 25"/>
                <a:gd name="T18" fmla="*/ 5 w 18"/>
                <a:gd name="T1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5">
                  <a:moveTo>
                    <a:pt x="18" y="13"/>
                  </a:moveTo>
                  <a:cubicBezTo>
                    <a:pt x="18" y="21"/>
                    <a:pt x="15" y="25"/>
                    <a:pt x="9" y="25"/>
                  </a:cubicBezTo>
                  <a:cubicBezTo>
                    <a:pt x="3" y="25"/>
                    <a:pt x="0" y="21"/>
                    <a:pt x="0" y="12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5" y="0"/>
                    <a:pt x="18" y="4"/>
                    <a:pt x="18" y="13"/>
                  </a:cubicBezTo>
                  <a:close/>
                  <a:moveTo>
                    <a:pt x="5" y="12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6"/>
                    <a:pt x="12" y="3"/>
                    <a:pt x="9" y="3"/>
                  </a:cubicBezTo>
                  <a:cubicBezTo>
                    <a:pt x="6" y="3"/>
                    <a:pt x="5" y="6"/>
                    <a:pt x="5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89" name="Freeform 63">
              <a:extLst>
                <a:ext uri="{FF2B5EF4-FFF2-40B4-BE49-F238E27FC236}">
                  <a16:creationId xmlns:a16="http://schemas.microsoft.com/office/drawing/2014/main" id="{4E1A9652-E5AA-4D11-81C1-35171C7ED3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69019" y="6126184"/>
              <a:ext cx="60430" cy="93666"/>
            </a:xfrm>
            <a:custGeom>
              <a:avLst/>
              <a:gdLst>
                <a:gd name="T0" fmla="*/ 17 w 17"/>
                <a:gd name="T1" fmla="*/ 13 h 26"/>
                <a:gd name="T2" fmla="*/ 9 w 17"/>
                <a:gd name="T3" fmla="*/ 26 h 26"/>
                <a:gd name="T4" fmla="*/ 0 w 17"/>
                <a:gd name="T5" fmla="*/ 13 h 26"/>
                <a:gd name="T6" fmla="*/ 9 w 17"/>
                <a:gd name="T7" fmla="*/ 0 h 26"/>
                <a:gd name="T8" fmla="*/ 17 w 17"/>
                <a:gd name="T9" fmla="*/ 13 h 26"/>
                <a:gd name="T10" fmla="*/ 4 w 17"/>
                <a:gd name="T11" fmla="*/ 13 h 26"/>
                <a:gd name="T12" fmla="*/ 9 w 17"/>
                <a:gd name="T13" fmla="*/ 22 h 26"/>
                <a:gd name="T14" fmla="*/ 13 w 17"/>
                <a:gd name="T15" fmla="*/ 13 h 26"/>
                <a:gd name="T16" fmla="*/ 9 w 17"/>
                <a:gd name="T17" fmla="*/ 4 h 26"/>
                <a:gd name="T18" fmla="*/ 4 w 17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6">
                  <a:moveTo>
                    <a:pt x="17" y="13"/>
                  </a:moveTo>
                  <a:cubicBezTo>
                    <a:pt x="17" y="22"/>
                    <a:pt x="14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5"/>
                    <a:pt x="3" y="0"/>
                    <a:pt x="9" y="0"/>
                  </a:cubicBezTo>
                  <a:cubicBezTo>
                    <a:pt x="14" y="0"/>
                    <a:pt x="17" y="5"/>
                    <a:pt x="17" y="13"/>
                  </a:cubicBezTo>
                  <a:close/>
                  <a:moveTo>
                    <a:pt x="4" y="13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7"/>
                    <a:pt x="11" y="4"/>
                    <a:pt x="9" y="4"/>
                  </a:cubicBezTo>
                  <a:cubicBezTo>
                    <a:pt x="6" y="4"/>
                    <a:pt x="4" y="7"/>
                    <a:pt x="4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90" name="Freeform 64">
              <a:extLst>
                <a:ext uri="{FF2B5EF4-FFF2-40B4-BE49-F238E27FC236}">
                  <a16:creationId xmlns:a16="http://schemas.microsoft.com/office/drawing/2014/main" id="{C5C8D50C-75CB-4713-A5A3-FF8AA7FAAF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69019" y="6280280"/>
              <a:ext cx="60430" cy="92156"/>
            </a:xfrm>
            <a:custGeom>
              <a:avLst/>
              <a:gdLst>
                <a:gd name="T0" fmla="*/ 17 w 17"/>
                <a:gd name="T1" fmla="*/ 13 h 26"/>
                <a:gd name="T2" fmla="*/ 9 w 17"/>
                <a:gd name="T3" fmla="*/ 26 h 26"/>
                <a:gd name="T4" fmla="*/ 0 w 17"/>
                <a:gd name="T5" fmla="*/ 13 h 26"/>
                <a:gd name="T6" fmla="*/ 9 w 17"/>
                <a:gd name="T7" fmla="*/ 0 h 26"/>
                <a:gd name="T8" fmla="*/ 17 w 17"/>
                <a:gd name="T9" fmla="*/ 13 h 26"/>
                <a:gd name="T10" fmla="*/ 4 w 17"/>
                <a:gd name="T11" fmla="*/ 13 h 26"/>
                <a:gd name="T12" fmla="*/ 9 w 17"/>
                <a:gd name="T13" fmla="*/ 22 h 26"/>
                <a:gd name="T14" fmla="*/ 13 w 17"/>
                <a:gd name="T15" fmla="*/ 13 h 26"/>
                <a:gd name="T16" fmla="*/ 9 w 17"/>
                <a:gd name="T17" fmla="*/ 4 h 26"/>
                <a:gd name="T18" fmla="*/ 4 w 17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6">
                  <a:moveTo>
                    <a:pt x="17" y="13"/>
                  </a:moveTo>
                  <a:cubicBezTo>
                    <a:pt x="17" y="21"/>
                    <a:pt x="14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4" y="0"/>
                    <a:pt x="17" y="4"/>
                    <a:pt x="17" y="13"/>
                  </a:cubicBezTo>
                  <a:close/>
                  <a:moveTo>
                    <a:pt x="4" y="13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7"/>
                    <a:pt x="11" y="4"/>
                    <a:pt x="9" y="4"/>
                  </a:cubicBezTo>
                  <a:cubicBezTo>
                    <a:pt x="6" y="4"/>
                    <a:pt x="4" y="7"/>
                    <a:pt x="4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91" name="Freeform 65">
              <a:extLst>
                <a:ext uri="{FF2B5EF4-FFF2-40B4-BE49-F238E27FC236}">
                  <a16:creationId xmlns:a16="http://schemas.microsoft.com/office/drawing/2014/main" id="{42329383-AE4F-4E2C-B99A-8086C5A8F8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75062" y="6586960"/>
              <a:ext cx="49855" cy="89134"/>
            </a:xfrm>
            <a:custGeom>
              <a:avLst/>
              <a:gdLst>
                <a:gd name="T0" fmla="*/ 16 w 33"/>
                <a:gd name="T1" fmla="*/ 12 h 59"/>
                <a:gd name="T2" fmla="*/ 4 w 33"/>
                <a:gd name="T3" fmla="*/ 19 h 59"/>
                <a:gd name="T4" fmla="*/ 0 w 33"/>
                <a:gd name="T5" fmla="*/ 9 h 59"/>
                <a:gd name="T6" fmla="*/ 16 w 33"/>
                <a:gd name="T7" fmla="*/ 0 h 59"/>
                <a:gd name="T8" fmla="*/ 26 w 33"/>
                <a:gd name="T9" fmla="*/ 0 h 59"/>
                <a:gd name="T10" fmla="*/ 26 w 33"/>
                <a:gd name="T11" fmla="*/ 49 h 59"/>
                <a:gd name="T12" fmla="*/ 33 w 33"/>
                <a:gd name="T13" fmla="*/ 49 h 59"/>
                <a:gd name="T14" fmla="*/ 33 w 33"/>
                <a:gd name="T15" fmla="*/ 59 h 59"/>
                <a:gd name="T16" fmla="*/ 7 w 33"/>
                <a:gd name="T17" fmla="*/ 59 h 59"/>
                <a:gd name="T18" fmla="*/ 7 w 33"/>
                <a:gd name="T19" fmla="*/ 49 h 59"/>
                <a:gd name="T20" fmla="*/ 16 w 33"/>
                <a:gd name="T21" fmla="*/ 49 h 59"/>
                <a:gd name="T22" fmla="*/ 16 w 33"/>
                <a:gd name="T23" fmla="*/ 1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9">
                  <a:moveTo>
                    <a:pt x="16" y="12"/>
                  </a:moveTo>
                  <a:lnTo>
                    <a:pt x="4" y="19"/>
                  </a:lnTo>
                  <a:lnTo>
                    <a:pt x="0" y="9"/>
                  </a:lnTo>
                  <a:lnTo>
                    <a:pt x="16" y="0"/>
                  </a:lnTo>
                  <a:lnTo>
                    <a:pt x="26" y="0"/>
                  </a:lnTo>
                  <a:lnTo>
                    <a:pt x="26" y="49"/>
                  </a:lnTo>
                  <a:lnTo>
                    <a:pt x="33" y="49"/>
                  </a:lnTo>
                  <a:lnTo>
                    <a:pt x="33" y="59"/>
                  </a:lnTo>
                  <a:lnTo>
                    <a:pt x="7" y="59"/>
                  </a:lnTo>
                  <a:lnTo>
                    <a:pt x="7" y="49"/>
                  </a:lnTo>
                  <a:lnTo>
                    <a:pt x="16" y="49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92" name="Freeform 66">
              <a:extLst>
                <a:ext uri="{FF2B5EF4-FFF2-40B4-BE49-F238E27FC236}">
                  <a16:creationId xmlns:a16="http://schemas.microsoft.com/office/drawing/2014/main" id="{6A5249E8-A9DD-4628-99F3-28BAA12666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69019" y="6736524"/>
              <a:ext cx="60430" cy="92156"/>
            </a:xfrm>
            <a:custGeom>
              <a:avLst/>
              <a:gdLst>
                <a:gd name="T0" fmla="*/ 17 w 17"/>
                <a:gd name="T1" fmla="*/ 13 h 26"/>
                <a:gd name="T2" fmla="*/ 9 w 17"/>
                <a:gd name="T3" fmla="*/ 26 h 26"/>
                <a:gd name="T4" fmla="*/ 0 w 17"/>
                <a:gd name="T5" fmla="*/ 13 h 26"/>
                <a:gd name="T6" fmla="*/ 9 w 17"/>
                <a:gd name="T7" fmla="*/ 0 h 26"/>
                <a:gd name="T8" fmla="*/ 17 w 17"/>
                <a:gd name="T9" fmla="*/ 13 h 26"/>
                <a:gd name="T10" fmla="*/ 4 w 17"/>
                <a:gd name="T11" fmla="*/ 13 h 26"/>
                <a:gd name="T12" fmla="*/ 9 w 17"/>
                <a:gd name="T13" fmla="*/ 22 h 26"/>
                <a:gd name="T14" fmla="*/ 13 w 17"/>
                <a:gd name="T15" fmla="*/ 13 h 26"/>
                <a:gd name="T16" fmla="*/ 9 w 17"/>
                <a:gd name="T17" fmla="*/ 4 h 26"/>
                <a:gd name="T18" fmla="*/ 4 w 17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6">
                  <a:moveTo>
                    <a:pt x="17" y="13"/>
                  </a:moveTo>
                  <a:cubicBezTo>
                    <a:pt x="17" y="22"/>
                    <a:pt x="14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4" y="0"/>
                    <a:pt x="17" y="4"/>
                    <a:pt x="17" y="13"/>
                  </a:cubicBezTo>
                  <a:close/>
                  <a:moveTo>
                    <a:pt x="4" y="13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7"/>
                    <a:pt x="11" y="4"/>
                    <a:pt x="9" y="4"/>
                  </a:cubicBezTo>
                  <a:cubicBezTo>
                    <a:pt x="6" y="4"/>
                    <a:pt x="4" y="7"/>
                    <a:pt x="4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93" name="Freeform 67">
              <a:extLst>
                <a:ext uri="{FF2B5EF4-FFF2-40B4-BE49-F238E27FC236}">
                  <a16:creationId xmlns:a16="http://schemas.microsoft.com/office/drawing/2014/main" id="{C9AD65AB-ACE7-4187-9837-273DABE930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69019" y="6890620"/>
              <a:ext cx="60430" cy="89134"/>
            </a:xfrm>
            <a:custGeom>
              <a:avLst/>
              <a:gdLst>
                <a:gd name="T0" fmla="*/ 17 w 17"/>
                <a:gd name="T1" fmla="*/ 13 h 25"/>
                <a:gd name="T2" fmla="*/ 9 w 17"/>
                <a:gd name="T3" fmla="*/ 25 h 25"/>
                <a:gd name="T4" fmla="*/ 0 w 17"/>
                <a:gd name="T5" fmla="*/ 12 h 25"/>
                <a:gd name="T6" fmla="*/ 9 w 17"/>
                <a:gd name="T7" fmla="*/ 0 h 25"/>
                <a:gd name="T8" fmla="*/ 17 w 17"/>
                <a:gd name="T9" fmla="*/ 13 h 25"/>
                <a:gd name="T10" fmla="*/ 4 w 17"/>
                <a:gd name="T11" fmla="*/ 12 h 25"/>
                <a:gd name="T12" fmla="*/ 9 w 17"/>
                <a:gd name="T13" fmla="*/ 22 h 25"/>
                <a:gd name="T14" fmla="*/ 13 w 17"/>
                <a:gd name="T15" fmla="*/ 13 h 25"/>
                <a:gd name="T16" fmla="*/ 9 w 17"/>
                <a:gd name="T17" fmla="*/ 3 h 25"/>
                <a:gd name="T18" fmla="*/ 4 w 17"/>
                <a:gd name="T1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5">
                  <a:moveTo>
                    <a:pt x="17" y="13"/>
                  </a:moveTo>
                  <a:cubicBezTo>
                    <a:pt x="17" y="21"/>
                    <a:pt x="14" y="25"/>
                    <a:pt x="9" y="25"/>
                  </a:cubicBezTo>
                  <a:cubicBezTo>
                    <a:pt x="3" y="25"/>
                    <a:pt x="0" y="21"/>
                    <a:pt x="0" y="12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4" y="0"/>
                    <a:pt x="17" y="4"/>
                    <a:pt x="17" y="13"/>
                  </a:cubicBezTo>
                  <a:close/>
                  <a:moveTo>
                    <a:pt x="4" y="12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6"/>
                    <a:pt x="11" y="3"/>
                    <a:pt x="9" y="3"/>
                  </a:cubicBezTo>
                  <a:cubicBezTo>
                    <a:pt x="6" y="3"/>
                    <a:pt x="4" y="6"/>
                    <a:pt x="4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94" name="Freeform 83">
              <a:extLst>
                <a:ext uri="{FF2B5EF4-FFF2-40B4-BE49-F238E27FC236}">
                  <a16:creationId xmlns:a16="http://schemas.microsoft.com/office/drawing/2014/main" id="{699334D2-5F57-4086-805C-8785B4EA2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93593" y="6133738"/>
              <a:ext cx="92156" cy="157117"/>
            </a:xfrm>
            <a:custGeom>
              <a:avLst/>
              <a:gdLst>
                <a:gd name="T0" fmla="*/ 31 w 61"/>
                <a:gd name="T1" fmla="*/ 19 h 104"/>
                <a:gd name="T2" fmla="*/ 10 w 61"/>
                <a:gd name="T3" fmla="*/ 33 h 104"/>
                <a:gd name="T4" fmla="*/ 0 w 61"/>
                <a:gd name="T5" fmla="*/ 19 h 104"/>
                <a:gd name="T6" fmla="*/ 31 w 61"/>
                <a:gd name="T7" fmla="*/ 0 h 104"/>
                <a:gd name="T8" fmla="*/ 47 w 61"/>
                <a:gd name="T9" fmla="*/ 0 h 104"/>
                <a:gd name="T10" fmla="*/ 47 w 61"/>
                <a:gd name="T11" fmla="*/ 90 h 104"/>
                <a:gd name="T12" fmla="*/ 61 w 61"/>
                <a:gd name="T13" fmla="*/ 90 h 104"/>
                <a:gd name="T14" fmla="*/ 61 w 61"/>
                <a:gd name="T15" fmla="*/ 104 h 104"/>
                <a:gd name="T16" fmla="*/ 17 w 61"/>
                <a:gd name="T17" fmla="*/ 104 h 104"/>
                <a:gd name="T18" fmla="*/ 17 w 61"/>
                <a:gd name="T19" fmla="*/ 90 h 104"/>
                <a:gd name="T20" fmla="*/ 31 w 61"/>
                <a:gd name="T21" fmla="*/ 90 h 104"/>
                <a:gd name="T22" fmla="*/ 31 w 61"/>
                <a:gd name="T23" fmla="*/ 19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4">
                  <a:moveTo>
                    <a:pt x="31" y="19"/>
                  </a:moveTo>
                  <a:lnTo>
                    <a:pt x="10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0"/>
                  </a:lnTo>
                  <a:lnTo>
                    <a:pt x="61" y="90"/>
                  </a:lnTo>
                  <a:lnTo>
                    <a:pt x="61" y="104"/>
                  </a:lnTo>
                  <a:lnTo>
                    <a:pt x="17" y="104"/>
                  </a:lnTo>
                  <a:lnTo>
                    <a:pt x="17" y="90"/>
                  </a:lnTo>
                  <a:lnTo>
                    <a:pt x="31" y="90"/>
                  </a:lnTo>
                  <a:lnTo>
                    <a:pt x="31" y="19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95" name="Freeform 84">
              <a:extLst>
                <a:ext uri="{FF2B5EF4-FFF2-40B4-BE49-F238E27FC236}">
                  <a16:creationId xmlns:a16="http://schemas.microsoft.com/office/drawing/2014/main" id="{F0D6F040-F408-4A4D-A8DE-901512422D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78486" y="6401139"/>
              <a:ext cx="110285" cy="164671"/>
            </a:xfrm>
            <a:custGeom>
              <a:avLst/>
              <a:gdLst>
                <a:gd name="T0" fmla="*/ 31 w 31"/>
                <a:gd name="T1" fmla="*/ 23 h 46"/>
                <a:gd name="T2" fmla="*/ 15 w 31"/>
                <a:gd name="T3" fmla="*/ 46 h 46"/>
                <a:gd name="T4" fmla="*/ 0 w 31"/>
                <a:gd name="T5" fmla="*/ 23 h 46"/>
                <a:gd name="T6" fmla="*/ 15 w 31"/>
                <a:gd name="T7" fmla="*/ 0 h 46"/>
                <a:gd name="T8" fmla="*/ 31 w 31"/>
                <a:gd name="T9" fmla="*/ 23 h 46"/>
                <a:gd name="T10" fmla="*/ 8 w 31"/>
                <a:gd name="T11" fmla="*/ 23 h 46"/>
                <a:gd name="T12" fmla="*/ 15 w 31"/>
                <a:gd name="T13" fmla="*/ 39 h 46"/>
                <a:gd name="T14" fmla="*/ 23 w 31"/>
                <a:gd name="T15" fmla="*/ 23 h 46"/>
                <a:gd name="T16" fmla="*/ 15 w 31"/>
                <a:gd name="T17" fmla="*/ 7 h 46"/>
                <a:gd name="T18" fmla="*/ 8 w 31"/>
                <a:gd name="T19" fmla="*/ 2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46">
                  <a:moveTo>
                    <a:pt x="31" y="23"/>
                  </a:moveTo>
                  <a:cubicBezTo>
                    <a:pt x="31" y="38"/>
                    <a:pt x="26" y="46"/>
                    <a:pt x="15" y="46"/>
                  </a:cubicBezTo>
                  <a:cubicBezTo>
                    <a:pt x="5" y="46"/>
                    <a:pt x="0" y="38"/>
                    <a:pt x="0" y="23"/>
                  </a:cubicBezTo>
                  <a:cubicBezTo>
                    <a:pt x="0" y="8"/>
                    <a:pt x="5" y="0"/>
                    <a:pt x="15" y="0"/>
                  </a:cubicBezTo>
                  <a:cubicBezTo>
                    <a:pt x="26" y="0"/>
                    <a:pt x="31" y="8"/>
                    <a:pt x="31" y="23"/>
                  </a:cubicBezTo>
                  <a:close/>
                  <a:moveTo>
                    <a:pt x="8" y="23"/>
                  </a:moveTo>
                  <a:cubicBezTo>
                    <a:pt x="8" y="34"/>
                    <a:pt x="10" y="39"/>
                    <a:pt x="15" y="39"/>
                  </a:cubicBezTo>
                  <a:cubicBezTo>
                    <a:pt x="20" y="39"/>
                    <a:pt x="23" y="34"/>
                    <a:pt x="23" y="23"/>
                  </a:cubicBezTo>
                  <a:cubicBezTo>
                    <a:pt x="23" y="12"/>
                    <a:pt x="20" y="7"/>
                    <a:pt x="15" y="7"/>
                  </a:cubicBezTo>
                  <a:cubicBezTo>
                    <a:pt x="10" y="7"/>
                    <a:pt x="8" y="12"/>
                    <a:pt x="8" y="2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96" name="Freeform 85">
              <a:extLst>
                <a:ext uri="{FF2B5EF4-FFF2-40B4-BE49-F238E27FC236}">
                  <a16:creationId xmlns:a16="http://schemas.microsoft.com/office/drawing/2014/main" id="{556A5694-46EA-40C4-8B8E-6D6D51FE9B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78486" y="6673073"/>
              <a:ext cx="110285" cy="160139"/>
            </a:xfrm>
            <a:custGeom>
              <a:avLst/>
              <a:gdLst>
                <a:gd name="T0" fmla="*/ 31 w 31"/>
                <a:gd name="T1" fmla="*/ 23 h 45"/>
                <a:gd name="T2" fmla="*/ 15 w 31"/>
                <a:gd name="T3" fmla="*/ 45 h 45"/>
                <a:gd name="T4" fmla="*/ 0 w 31"/>
                <a:gd name="T5" fmla="*/ 23 h 45"/>
                <a:gd name="T6" fmla="*/ 15 w 31"/>
                <a:gd name="T7" fmla="*/ 0 h 45"/>
                <a:gd name="T8" fmla="*/ 31 w 31"/>
                <a:gd name="T9" fmla="*/ 23 h 45"/>
                <a:gd name="T10" fmla="*/ 8 w 31"/>
                <a:gd name="T11" fmla="*/ 23 h 45"/>
                <a:gd name="T12" fmla="*/ 15 w 31"/>
                <a:gd name="T13" fmla="*/ 39 h 45"/>
                <a:gd name="T14" fmla="*/ 23 w 31"/>
                <a:gd name="T15" fmla="*/ 23 h 45"/>
                <a:gd name="T16" fmla="*/ 15 w 31"/>
                <a:gd name="T17" fmla="*/ 6 h 45"/>
                <a:gd name="T18" fmla="*/ 8 w 31"/>
                <a:gd name="T19" fmla="*/ 2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45">
                  <a:moveTo>
                    <a:pt x="31" y="23"/>
                  </a:moveTo>
                  <a:cubicBezTo>
                    <a:pt x="31" y="38"/>
                    <a:pt x="26" y="45"/>
                    <a:pt x="15" y="45"/>
                  </a:cubicBezTo>
                  <a:cubicBezTo>
                    <a:pt x="5" y="45"/>
                    <a:pt x="0" y="38"/>
                    <a:pt x="0" y="23"/>
                  </a:cubicBezTo>
                  <a:cubicBezTo>
                    <a:pt x="0" y="8"/>
                    <a:pt x="5" y="0"/>
                    <a:pt x="15" y="0"/>
                  </a:cubicBezTo>
                  <a:cubicBezTo>
                    <a:pt x="26" y="0"/>
                    <a:pt x="31" y="8"/>
                    <a:pt x="31" y="23"/>
                  </a:cubicBezTo>
                  <a:close/>
                  <a:moveTo>
                    <a:pt x="8" y="23"/>
                  </a:moveTo>
                  <a:cubicBezTo>
                    <a:pt x="8" y="34"/>
                    <a:pt x="10" y="39"/>
                    <a:pt x="15" y="39"/>
                  </a:cubicBezTo>
                  <a:cubicBezTo>
                    <a:pt x="20" y="39"/>
                    <a:pt x="23" y="34"/>
                    <a:pt x="23" y="23"/>
                  </a:cubicBezTo>
                  <a:cubicBezTo>
                    <a:pt x="23" y="12"/>
                    <a:pt x="20" y="6"/>
                    <a:pt x="15" y="6"/>
                  </a:cubicBezTo>
                  <a:cubicBezTo>
                    <a:pt x="10" y="6"/>
                    <a:pt x="8" y="12"/>
                    <a:pt x="8" y="2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97" name="Freeform 95">
              <a:extLst>
                <a:ext uri="{FF2B5EF4-FFF2-40B4-BE49-F238E27FC236}">
                  <a16:creationId xmlns:a16="http://schemas.microsoft.com/office/drawing/2014/main" id="{7C4388A3-7127-42A3-B8DE-67986B4F1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60939" y="5248443"/>
              <a:ext cx="52876" cy="86113"/>
            </a:xfrm>
            <a:custGeom>
              <a:avLst/>
              <a:gdLst>
                <a:gd name="T0" fmla="*/ 16 w 35"/>
                <a:gd name="T1" fmla="*/ 14 h 57"/>
                <a:gd name="T2" fmla="*/ 7 w 35"/>
                <a:gd name="T3" fmla="*/ 21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7 h 57"/>
                <a:gd name="T12" fmla="*/ 35 w 35"/>
                <a:gd name="T13" fmla="*/ 47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7 h 57"/>
                <a:gd name="T20" fmla="*/ 16 w 35"/>
                <a:gd name="T21" fmla="*/ 47 h 57"/>
                <a:gd name="T22" fmla="*/ 16 w 35"/>
                <a:gd name="T23" fmla="*/ 1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4"/>
                  </a:moveTo>
                  <a:lnTo>
                    <a:pt x="7" y="21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98" name="Freeform 96">
              <a:extLst>
                <a:ext uri="{FF2B5EF4-FFF2-40B4-BE49-F238E27FC236}">
                  <a16:creationId xmlns:a16="http://schemas.microsoft.com/office/drawing/2014/main" id="{686BAC35-D1FF-4996-B3EB-D3D01A0077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50363" y="5394985"/>
              <a:ext cx="67984" cy="86113"/>
            </a:xfrm>
            <a:custGeom>
              <a:avLst/>
              <a:gdLst>
                <a:gd name="T0" fmla="*/ 17 w 19"/>
                <a:gd name="T1" fmla="*/ 4 h 24"/>
                <a:gd name="T2" fmla="*/ 19 w 19"/>
                <a:gd name="T3" fmla="*/ 12 h 24"/>
                <a:gd name="T4" fmla="*/ 17 w 19"/>
                <a:gd name="T5" fmla="*/ 21 h 24"/>
                <a:gd name="T6" fmla="*/ 10 w 19"/>
                <a:gd name="T7" fmla="*/ 24 h 24"/>
                <a:gd name="T8" fmla="*/ 2 w 19"/>
                <a:gd name="T9" fmla="*/ 20 h 24"/>
                <a:gd name="T10" fmla="*/ 0 w 19"/>
                <a:gd name="T11" fmla="*/ 12 h 24"/>
                <a:gd name="T12" fmla="*/ 10 w 19"/>
                <a:gd name="T13" fmla="*/ 0 h 24"/>
                <a:gd name="T14" fmla="*/ 17 w 19"/>
                <a:gd name="T15" fmla="*/ 4 h 24"/>
                <a:gd name="T16" fmla="*/ 6 w 19"/>
                <a:gd name="T17" fmla="*/ 12 h 24"/>
                <a:gd name="T18" fmla="*/ 10 w 19"/>
                <a:gd name="T19" fmla="*/ 20 h 24"/>
                <a:gd name="T20" fmla="*/ 14 w 19"/>
                <a:gd name="T21" fmla="*/ 12 h 24"/>
                <a:gd name="T22" fmla="*/ 10 w 19"/>
                <a:gd name="T23" fmla="*/ 4 h 24"/>
                <a:gd name="T24" fmla="*/ 6 w 19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4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6"/>
                    <a:pt x="18" y="19"/>
                    <a:pt x="17" y="21"/>
                  </a:cubicBezTo>
                  <a:cubicBezTo>
                    <a:pt x="15" y="23"/>
                    <a:pt x="13" y="24"/>
                    <a:pt x="10" y="24"/>
                  </a:cubicBezTo>
                  <a:cubicBezTo>
                    <a:pt x="6" y="24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1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99" name="Freeform 97">
              <a:extLst>
                <a:ext uri="{FF2B5EF4-FFF2-40B4-BE49-F238E27FC236}">
                  <a16:creationId xmlns:a16="http://schemas.microsoft.com/office/drawing/2014/main" id="{21D8146E-5658-4216-9F1A-AE347D2EE7D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60939" y="5541527"/>
              <a:ext cx="52876" cy="84602"/>
            </a:xfrm>
            <a:custGeom>
              <a:avLst/>
              <a:gdLst>
                <a:gd name="T0" fmla="*/ 16 w 35"/>
                <a:gd name="T1" fmla="*/ 14 h 56"/>
                <a:gd name="T2" fmla="*/ 7 w 35"/>
                <a:gd name="T3" fmla="*/ 21 h 56"/>
                <a:gd name="T4" fmla="*/ 0 w 35"/>
                <a:gd name="T5" fmla="*/ 11 h 56"/>
                <a:gd name="T6" fmla="*/ 19 w 35"/>
                <a:gd name="T7" fmla="*/ 0 h 56"/>
                <a:gd name="T8" fmla="*/ 28 w 35"/>
                <a:gd name="T9" fmla="*/ 0 h 56"/>
                <a:gd name="T10" fmla="*/ 28 w 35"/>
                <a:gd name="T11" fmla="*/ 47 h 56"/>
                <a:gd name="T12" fmla="*/ 35 w 35"/>
                <a:gd name="T13" fmla="*/ 47 h 56"/>
                <a:gd name="T14" fmla="*/ 35 w 35"/>
                <a:gd name="T15" fmla="*/ 56 h 56"/>
                <a:gd name="T16" fmla="*/ 9 w 35"/>
                <a:gd name="T17" fmla="*/ 56 h 56"/>
                <a:gd name="T18" fmla="*/ 9 w 35"/>
                <a:gd name="T19" fmla="*/ 47 h 56"/>
                <a:gd name="T20" fmla="*/ 16 w 35"/>
                <a:gd name="T21" fmla="*/ 47 h 56"/>
                <a:gd name="T22" fmla="*/ 16 w 35"/>
                <a:gd name="T23" fmla="*/ 1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6">
                  <a:moveTo>
                    <a:pt x="16" y="14"/>
                  </a:moveTo>
                  <a:lnTo>
                    <a:pt x="7" y="21"/>
                  </a:lnTo>
                  <a:lnTo>
                    <a:pt x="0" y="11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6"/>
                  </a:lnTo>
                  <a:lnTo>
                    <a:pt x="9" y="56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00" name="Freeform 98">
              <a:extLst>
                <a:ext uri="{FF2B5EF4-FFF2-40B4-BE49-F238E27FC236}">
                  <a16:creationId xmlns:a16="http://schemas.microsoft.com/office/drawing/2014/main" id="{EE830C9A-0389-4EB3-9CA2-413DF4E426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50363" y="5688069"/>
              <a:ext cx="67984" cy="84602"/>
            </a:xfrm>
            <a:custGeom>
              <a:avLst/>
              <a:gdLst>
                <a:gd name="T0" fmla="*/ 17 w 19"/>
                <a:gd name="T1" fmla="*/ 4 h 24"/>
                <a:gd name="T2" fmla="*/ 19 w 19"/>
                <a:gd name="T3" fmla="*/ 12 h 24"/>
                <a:gd name="T4" fmla="*/ 17 w 19"/>
                <a:gd name="T5" fmla="*/ 21 h 24"/>
                <a:gd name="T6" fmla="*/ 10 w 19"/>
                <a:gd name="T7" fmla="*/ 24 h 24"/>
                <a:gd name="T8" fmla="*/ 2 w 19"/>
                <a:gd name="T9" fmla="*/ 20 h 24"/>
                <a:gd name="T10" fmla="*/ 0 w 19"/>
                <a:gd name="T11" fmla="*/ 12 h 24"/>
                <a:gd name="T12" fmla="*/ 10 w 19"/>
                <a:gd name="T13" fmla="*/ 0 h 24"/>
                <a:gd name="T14" fmla="*/ 17 w 19"/>
                <a:gd name="T15" fmla="*/ 4 h 24"/>
                <a:gd name="T16" fmla="*/ 6 w 19"/>
                <a:gd name="T17" fmla="*/ 12 h 24"/>
                <a:gd name="T18" fmla="*/ 10 w 19"/>
                <a:gd name="T19" fmla="*/ 20 h 24"/>
                <a:gd name="T20" fmla="*/ 14 w 19"/>
                <a:gd name="T21" fmla="*/ 12 h 24"/>
                <a:gd name="T22" fmla="*/ 10 w 19"/>
                <a:gd name="T23" fmla="*/ 4 h 24"/>
                <a:gd name="T24" fmla="*/ 6 w 19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4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6"/>
                    <a:pt x="18" y="19"/>
                    <a:pt x="17" y="21"/>
                  </a:cubicBezTo>
                  <a:cubicBezTo>
                    <a:pt x="15" y="23"/>
                    <a:pt x="13" y="24"/>
                    <a:pt x="10" y="24"/>
                  </a:cubicBezTo>
                  <a:cubicBezTo>
                    <a:pt x="6" y="24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1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01" name="Freeform 99">
              <a:extLst>
                <a:ext uri="{FF2B5EF4-FFF2-40B4-BE49-F238E27FC236}">
                  <a16:creationId xmlns:a16="http://schemas.microsoft.com/office/drawing/2014/main" id="{5E14CEFC-70FC-4264-9E17-508F3D85C2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60939" y="5833100"/>
              <a:ext cx="52876" cy="86113"/>
            </a:xfrm>
            <a:custGeom>
              <a:avLst/>
              <a:gdLst>
                <a:gd name="T0" fmla="*/ 16 w 35"/>
                <a:gd name="T1" fmla="*/ 15 h 57"/>
                <a:gd name="T2" fmla="*/ 7 w 35"/>
                <a:gd name="T3" fmla="*/ 22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8 h 57"/>
                <a:gd name="T12" fmla="*/ 35 w 35"/>
                <a:gd name="T13" fmla="*/ 48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8 h 57"/>
                <a:gd name="T20" fmla="*/ 16 w 35"/>
                <a:gd name="T21" fmla="*/ 48 h 57"/>
                <a:gd name="T22" fmla="*/ 16 w 35"/>
                <a:gd name="T23" fmla="*/ 1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5"/>
                  </a:moveTo>
                  <a:lnTo>
                    <a:pt x="7" y="22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8"/>
                  </a:lnTo>
                  <a:lnTo>
                    <a:pt x="35" y="48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8"/>
                  </a:lnTo>
                  <a:lnTo>
                    <a:pt x="16" y="48"/>
                  </a:lnTo>
                  <a:lnTo>
                    <a:pt x="16" y="15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02" name="Freeform 100">
              <a:extLst>
                <a:ext uri="{FF2B5EF4-FFF2-40B4-BE49-F238E27FC236}">
                  <a16:creationId xmlns:a16="http://schemas.microsoft.com/office/drawing/2014/main" id="{D3E2294E-29E2-4B7F-81C2-D4083958B7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50363" y="5979642"/>
              <a:ext cx="67984" cy="86113"/>
            </a:xfrm>
            <a:custGeom>
              <a:avLst/>
              <a:gdLst>
                <a:gd name="T0" fmla="*/ 17 w 19"/>
                <a:gd name="T1" fmla="*/ 4 h 24"/>
                <a:gd name="T2" fmla="*/ 19 w 19"/>
                <a:gd name="T3" fmla="*/ 12 h 24"/>
                <a:gd name="T4" fmla="*/ 17 w 19"/>
                <a:gd name="T5" fmla="*/ 21 h 24"/>
                <a:gd name="T6" fmla="*/ 10 w 19"/>
                <a:gd name="T7" fmla="*/ 24 h 24"/>
                <a:gd name="T8" fmla="*/ 2 w 19"/>
                <a:gd name="T9" fmla="*/ 20 h 24"/>
                <a:gd name="T10" fmla="*/ 0 w 19"/>
                <a:gd name="T11" fmla="*/ 12 h 24"/>
                <a:gd name="T12" fmla="*/ 10 w 19"/>
                <a:gd name="T13" fmla="*/ 0 h 24"/>
                <a:gd name="T14" fmla="*/ 17 w 19"/>
                <a:gd name="T15" fmla="*/ 4 h 24"/>
                <a:gd name="T16" fmla="*/ 6 w 19"/>
                <a:gd name="T17" fmla="*/ 12 h 24"/>
                <a:gd name="T18" fmla="*/ 10 w 19"/>
                <a:gd name="T19" fmla="*/ 20 h 24"/>
                <a:gd name="T20" fmla="*/ 14 w 19"/>
                <a:gd name="T21" fmla="*/ 12 h 24"/>
                <a:gd name="T22" fmla="*/ 10 w 19"/>
                <a:gd name="T23" fmla="*/ 4 h 24"/>
                <a:gd name="T24" fmla="*/ 6 w 19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4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6"/>
                    <a:pt x="18" y="19"/>
                    <a:pt x="17" y="21"/>
                  </a:cubicBezTo>
                  <a:cubicBezTo>
                    <a:pt x="15" y="23"/>
                    <a:pt x="13" y="24"/>
                    <a:pt x="10" y="24"/>
                  </a:cubicBezTo>
                  <a:cubicBezTo>
                    <a:pt x="6" y="24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1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03" name="Freeform 101">
              <a:extLst>
                <a:ext uri="{FF2B5EF4-FFF2-40B4-BE49-F238E27FC236}">
                  <a16:creationId xmlns:a16="http://schemas.microsoft.com/office/drawing/2014/main" id="{1605279E-BB6B-49D7-946C-1079CCDF7C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60939" y="6126184"/>
              <a:ext cx="52876" cy="86113"/>
            </a:xfrm>
            <a:custGeom>
              <a:avLst/>
              <a:gdLst>
                <a:gd name="T0" fmla="*/ 16 w 35"/>
                <a:gd name="T1" fmla="*/ 14 h 57"/>
                <a:gd name="T2" fmla="*/ 7 w 35"/>
                <a:gd name="T3" fmla="*/ 21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7 h 57"/>
                <a:gd name="T12" fmla="*/ 35 w 35"/>
                <a:gd name="T13" fmla="*/ 47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7 h 57"/>
                <a:gd name="T20" fmla="*/ 16 w 35"/>
                <a:gd name="T21" fmla="*/ 47 h 57"/>
                <a:gd name="T22" fmla="*/ 16 w 35"/>
                <a:gd name="T23" fmla="*/ 1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4"/>
                  </a:moveTo>
                  <a:lnTo>
                    <a:pt x="7" y="21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04" name="Freeform 102">
              <a:extLst>
                <a:ext uri="{FF2B5EF4-FFF2-40B4-BE49-F238E27FC236}">
                  <a16:creationId xmlns:a16="http://schemas.microsoft.com/office/drawing/2014/main" id="{90688C89-0041-4254-8D4E-71B2BCADCF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60939" y="6272726"/>
              <a:ext cx="52876" cy="86113"/>
            </a:xfrm>
            <a:custGeom>
              <a:avLst/>
              <a:gdLst>
                <a:gd name="T0" fmla="*/ 16 w 35"/>
                <a:gd name="T1" fmla="*/ 14 h 57"/>
                <a:gd name="T2" fmla="*/ 7 w 35"/>
                <a:gd name="T3" fmla="*/ 21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7 h 57"/>
                <a:gd name="T12" fmla="*/ 35 w 35"/>
                <a:gd name="T13" fmla="*/ 47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7 h 57"/>
                <a:gd name="T20" fmla="*/ 16 w 35"/>
                <a:gd name="T21" fmla="*/ 47 h 57"/>
                <a:gd name="T22" fmla="*/ 16 w 35"/>
                <a:gd name="T23" fmla="*/ 1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4"/>
                  </a:moveTo>
                  <a:lnTo>
                    <a:pt x="7" y="21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05" name="Freeform 103">
              <a:extLst>
                <a:ext uri="{FF2B5EF4-FFF2-40B4-BE49-F238E27FC236}">
                  <a16:creationId xmlns:a16="http://schemas.microsoft.com/office/drawing/2014/main" id="{FE8816BF-0CDB-47C2-9A6B-6BC95436DA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60939" y="6422290"/>
              <a:ext cx="52876" cy="83091"/>
            </a:xfrm>
            <a:custGeom>
              <a:avLst/>
              <a:gdLst>
                <a:gd name="T0" fmla="*/ 16 w 35"/>
                <a:gd name="T1" fmla="*/ 12 h 55"/>
                <a:gd name="T2" fmla="*/ 7 w 35"/>
                <a:gd name="T3" fmla="*/ 19 h 55"/>
                <a:gd name="T4" fmla="*/ 0 w 35"/>
                <a:gd name="T5" fmla="*/ 10 h 55"/>
                <a:gd name="T6" fmla="*/ 19 w 35"/>
                <a:gd name="T7" fmla="*/ 0 h 55"/>
                <a:gd name="T8" fmla="*/ 28 w 35"/>
                <a:gd name="T9" fmla="*/ 0 h 55"/>
                <a:gd name="T10" fmla="*/ 28 w 35"/>
                <a:gd name="T11" fmla="*/ 45 h 55"/>
                <a:gd name="T12" fmla="*/ 35 w 35"/>
                <a:gd name="T13" fmla="*/ 45 h 55"/>
                <a:gd name="T14" fmla="*/ 35 w 35"/>
                <a:gd name="T15" fmla="*/ 55 h 55"/>
                <a:gd name="T16" fmla="*/ 9 w 35"/>
                <a:gd name="T17" fmla="*/ 55 h 55"/>
                <a:gd name="T18" fmla="*/ 9 w 35"/>
                <a:gd name="T19" fmla="*/ 45 h 55"/>
                <a:gd name="T20" fmla="*/ 16 w 35"/>
                <a:gd name="T21" fmla="*/ 45 h 55"/>
                <a:gd name="T22" fmla="*/ 16 w 35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5">
                  <a:moveTo>
                    <a:pt x="16" y="12"/>
                  </a:moveTo>
                  <a:lnTo>
                    <a:pt x="7" y="19"/>
                  </a:lnTo>
                  <a:lnTo>
                    <a:pt x="0" y="10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5"/>
                  </a:lnTo>
                  <a:lnTo>
                    <a:pt x="35" y="45"/>
                  </a:lnTo>
                  <a:lnTo>
                    <a:pt x="35" y="55"/>
                  </a:lnTo>
                  <a:lnTo>
                    <a:pt x="9" y="55"/>
                  </a:lnTo>
                  <a:lnTo>
                    <a:pt x="9" y="45"/>
                  </a:lnTo>
                  <a:lnTo>
                    <a:pt x="16" y="45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06" name="Freeform 104">
              <a:extLst>
                <a:ext uri="{FF2B5EF4-FFF2-40B4-BE49-F238E27FC236}">
                  <a16:creationId xmlns:a16="http://schemas.microsoft.com/office/drawing/2014/main" id="{54A0250F-77F1-40E0-9E29-246ECE9A82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50363" y="6565810"/>
              <a:ext cx="67984" cy="89134"/>
            </a:xfrm>
            <a:custGeom>
              <a:avLst/>
              <a:gdLst>
                <a:gd name="T0" fmla="*/ 17 w 19"/>
                <a:gd name="T1" fmla="*/ 4 h 25"/>
                <a:gd name="T2" fmla="*/ 19 w 19"/>
                <a:gd name="T3" fmla="*/ 12 h 25"/>
                <a:gd name="T4" fmla="*/ 17 w 19"/>
                <a:gd name="T5" fmla="*/ 21 h 25"/>
                <a:gd name="T6" fmla="*/ 10 w 19"/>
                <a:gd name="T7" fmla="*/ 25 h 25"/>
                <a:gd name="T8" fmla="*/ 2 w 19"/>
                <a:gd name="T9" fmla="*/ 20 h 25"/>
                <a:gd name="T10" fmla="*/ 0 w 19"/>
                <a:gd name="T11" fmla="*/ 12 h 25"/>
                <a:gd name="T12" fmla="*/ 10 w 19"/>
                <a:gd name="T13" fmla="*/ 0 h 25"/>
                <a:gd name="T14" fmla="*/ 17 w 19"/>
                <a:gd name="T15" fmla="*/ 4 h 25"/>
                <a:gd name="T16" fmla="*/ 6 w 19"/>
                <a:gd name="T17" fmla="*/ 12 h 25"/>
                <a:gd name="T18" fmla="*/ 10 w 19"/>
                <a:gd name="T19" fmla="*/ 20 h 25"/>
                <a:gd name="T20" fmla="*/ 14 w 19"/>
                <a:gd name="T21" fmla="*/ 12 h 25"/>
                <a:gd name="T22" fmla="*/ 10 w 19"/>
                <a:gd name="T23" fmla="*/ 4 h 25"/>
                <a:gd name="T24" fmla="*/ 6 w 19"/>
                <a:gd name="T25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5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7"/>
                    <a:pt x="18" y="19"/>
                    <a:pt x="17" y="21"/>
                  </a:cubicBezTo>
                  <a:cubicBezTo>
                    <a:pt x="15" y="23"/>
                    <a:pt x="13" y="25"/>
                    <a:pt x="10" y="25"/>
                  </a:cubicBezTo>
                  <a:cubicBezTo>
                    <a:pt x="6" y="25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2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07" name="Freeform 105">
              <a:extLst>
                <a:ext uri="{FF2B5EF4-FFF2-40B4-BE49-F238E27FC236}">
                  <a16:creationId xmlns:a16="http://schemas.microsoft.com/office/drawing/2014/main" id="{90B6060C-E5D4-42A5-9266-AF61A165C0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60939" y="6715374"/>
              <a:ext cx="52876" cy="81580"/>
            </a:xfrm>
            <a:custGeom>
              <a:avLst/>
              <a:gdLst>
                <a:gd name="T0" fmla="*/ 16 w 35"/>
                <a:gd name="T1" fmla="*/ 12 h 54"/>
                <a:gd name="T2" fmla="*/ 7 w 35"/>
                <a:gd name="T3" fmla="*/ 19 h 54"/>
                <a:gd name="T4" fmla="*/ 0 w 35"/>
                <a:gd name="T5" fmla="*/ 9 h 54"/>
                <a:gd name="T6" fmla="*/ 19 w 35"/>
                <a:gd name="T7" fmla="*/ 0 h 54"/>
                <a:gd name="T8" fmla="*/ 28 w 35"/>
                <a:gd name="T9" fmla="*/ 0 h 54"/>
                <a:gd name="T10" fmla="*/ 28 w 35"/>
                <a:gd name="T11" fmla="*/ 45 h 54"/>
                <a:gd name="T12" fmla="*/ 35 w 35"/>
                <a:gd name="T13" fmla="*/ 45 h 54"/>
                <a:gd name="T14" fmla="*/ 35 w 35"/>
                <a:gd name="T15" fmla="*/ 54 h 54"/>
                <a:gd name="T16" fmla="*/ 9 w 35"/>
                <a:gd name="T17" fmla="*/ 54 h 54"/>
                <a:gd name="T18" fmla="*/ 9 w 35"/>
                <a:gd name="T19" fmla="*/ 45 h 54"/>
                <a:gd name="T20" fmla="*/ 16 w 35"/>
                <a:gd name="T21" fmla="*/ 45 h 54"/>
                <a:gd name="T22" fmla="*/ 16 w 35"/>
                <a:gd name="T23" fmla="*/ 1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4">
                  <a:moveTo>
                    <a:pt x="16" y="12"/>
                  </a:moveTo>
                  <a:lnTo>
                    <a:pt x="7" y="19"/>
                  </a:lnTo>
                  <a:lnTo>
                    <a:pt x="0" y="9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5"/>
                  </a:lnTo>
                  <a:lnTo>
                    <a:pt x="35" y="45"/>
                  </a:lnTo>
                  <a:lnTo>
                    <a:pt x="35" y="54"/>
                  </a:lnTo>
                  <a:lnTo>
                    <a:pt x="9" y="54"/>
                  </a:lnTo>
                  <a:lnTo>
                    <a:pt x="9" y="45"/>
                  </a:lnTo>
                  <a:lnTo>
                    <a:pt x="16" y="45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08" name="Freeform 106">
              <a:extLst>
                <a:ext uri="{FF2B5EF4-FFF2-40B4-BE49-F238E27FC236}">
                  <a16:creationId xmlns:a16="http://schemas.microsoft.com/office/drawing/2014/main" id="{7571F71A-4F38-4334-9CAC-019B894773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50363" y="6857383"/>
              <a:ext cx="67984" cy="89134"/>
            </a:xfrm>
            <a:custGeom>
              <a:avLst/>
              <a:gdLst>
                <a:gd name="T0" fmla="*/ 17 w 19"/>
                <a:gd name="T1" fmla="*/ 5 h 25"/>
                <a:gd name="T2" fmla="*/ 19 w 19"/>
                <a:gd name="T3" fmla="*/ 12 h 25"/>
                <a:gd name="T4" fmla="*/ 17 w 19"/>
                <a:gd name="T5" fmla="*/ 21 h 25"/>
                <a:gd name="T6" fmla="*/ 10 w 19"/>
                <a:gd name="T7" fmla="*/ 25 h 25"/>
                <a:gd name="T8" fmla="*/ 2 w 19"/>
                <a:gd name="T9" fmla="*/ 20 h 25"/>
                <a:gd name="T10" fmla="*/ 0 w 19"/>
                <a:gd name="T11" fmla="*/ 12 h 25"/>
                <a:gd name="T12" fmla="*/ 10 w 19"/>
                <a:gd name="T13" fmla="*/ 0 h 25"/>
                <a:gd name="T14" fmla="*/ 17 w 19"/>
                <a:gd name="T15" fmla="*/ 5 h 25"/>
                <a:gd name="T16" fmla="*/ 6 w 19"/>
                <a:gd name="T17" fmla="*/ 12 h 25"/>
                <a:gd name="T18" fmla="*/ 10 w 19"/>
                <a:gd name="T19" fmla="*/ 21 h 25"/>
                <a:gd name="T20" fmla="*/ 14 w 19"/>
                <a:gd name="T21" fmla="*/ 12 h 25"/>
                <a:gd name="T22" fmla="*/ 10 w 19"/>
                <a:gd name="T23" fmla="*/ 4 h 25"/>
                <a:gd name="T24" fmla="*/ 6 w 19"/>
                <a:gd name="T25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5">
                  <a:moveTo>
                    <a:pt x="17" y="5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7"/>
                    <a:pt x="18" y="19"/>
                    <a:pt x="17" y="21"/>
                  </a:cubicBezTo>
                  <a:cubicBezTo>
                    <a:pt x="15" y="24"/>
                    <a:pt x="13" y="25"/>
                    <a:pt x="10" y="25"/>
                  </a:cubicBezTo>
                  <a:cubicBezTo>
                    <a:pt x="6" y="25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2"/>
                    <a:pt x="17" y="5"/>
                  </a:cubicBezTo>
                  <a:close/>
                  <a:moveTo>
                    <a:pt x="6" y="12"/>
                  </a:moveTo>
                  <a:cubicBezTo>
                    <a:pt x="6" y="18"/>
                    <a:pt x="7" y="21"/>
                    <a:pt x="10" y="21"/>
                  </a:cubicBezTo>
                  <a:cubicBezTo>
                    <a:pt x="12" y="21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09" name="Freeform 135">
              <a:extLst>
                <a:ext uri="{FF2B5EF4-FFF2-40B4-BE49-F238E27FC236}">
                  <a16:creationId xmlns:a16="http://schemas.microsoft.com/office/drawing/2014/main" id="{147F83C4-777B-4BAF-B2C0-2F21DEFD5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3296" y="5615554"/>
              <a:ext cx="60430" cy="111795"/>
            </a:xfrm>
            <a:custGeom>
              <a:avLst/>
              <a:gdLst>
                <a:gd name="T0" fmla="*/ 19 w 40"/>
                <a:gd name="T1" fmla="*/ 14 h 74"/>
                <a:gd name="T2" fmla="*/ 4 w 40"/>
                <a:gd name="T3" fmla="*/ 24 h 74"/>
                <a:gd name="T4" fmla="*/ 0 w 40"/>
                <a:gd name="T5" fmla="*/ 14 h 74"/>
                <a:gd name="T6" fmla="*/ 21 w 40"/>
                <a:gd name="T7" fmla="*/ 0 h 74"/>
                <a:gd name="T8" fmla="*/ 30 w 40"/>
                <a:gd name="T9" fmla="*/ 0 h 74"/>
                <a:gd name="T10" fmla="*/ 30 w 40"/>
                <a:gd name="T11" fmla="*/ 64 h 74"/>
                <a:gd name="T12" fmla="*/ 40 w 40"/>
                <a:gd name="T13" fmla="*/ 64 h 74"/>
                <a:gd name="T14" fmla="*/ 40 w 40"/>
                <a:gd name="T15" fmla="*/ 74 h 74"/>
                <a:gd name="T16" fmla="*/ 9 w 40"/>
                <a:gd name="T17" fmla="*/ 74 h 74"/>
                <a:gd name="T18" fmla="*/ 9 w 40"/>
                <a:gd name="T19" fmla="*/ 64 h 74"/>
                <a:gd name="T20" fmla="*/ 19 w 40"/>
                <a:gd name="T21" fmla="*/ 64 h 74"/>
                <a:gd name="T22" fmla="*/ 19 w 40"/>
                <a:gd name="T23" fmla="*/ 1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4">
                  <a:moveTo>
                    <a:pt x="19" y="14"/>
                  </a:moveTo>
                  <a:lnTo>
                    <a:pt x="4" y="24"/>
                  </a:lnTo>
                  <a:lnTo>
                    <a:pt x="0" y="14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4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9" y="74"/>
                  </a:lnTo>
                  <a:lnTo>
                    <a:pt x="9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10" name="Freeform 136">
              <a:extLst>
                <a:ext uri="{FF2B5EF4-FFF2-40B4-BE49-F238E27FC236}">
                  <a16:creationId xmlns:a16="http://schemas.microsoft.com/office/drawing/2014/main" id="{A48F1DA3-8205-48DB-9A90-344164543A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92720" y="5804396"/>
              <a:ext cx="75537" cy="114816"/>
            </a:xfrm>
            <a:custGeom>
              <a:avLst/>
              <a:gdLst>
                <a:gd name="T0" fmla="*/ 21 w 21"/>
                <a:gd name="T1" fmla="*/ 16 h 32"/>
                <a:gd name="T2" fmla="*/ 10 w 21"/>
                <a:gd name="T3" fmla="*/ 32 h 32"/>
                <a:gd name="T4" fmla="*/ 0 w 21"/>
                <a:gd name="T5" fmla="*/ 16 h 32"/>
                <a:gd name="T6" fmla="*/ 10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0 w 21"/>
                <a:gd name="T13" fmla="*/ 28 h 32"/>
                <a:gd name="T14" fmla="*/ 16 w 21"/>
                <a:gd name="T15" fmla="*/ 16 h 32"/>
                <a:gd name="T16" fmla="*/ 10 w 21"/>
                <a:gd name="T17" fmla="*/ 5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7"/>
                    <a:pt x="18" y="32"/>
                    <a:pt x="10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0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8"/>
                    <a:pt x="10" y="28"/>
                  </a:cubicBezTo>
                  <a:cubicBezTo>
                    <a:pt x="14" y="28"/>
                    <a:pt x="16" y="24"/>
                    <a:pt x="16" y="16"/>
                  </a:cubicBezTo>
                  <a:cubicBezTo>
                    <a:pt x="16" y="8"/>
                    <a:pt x="14" y="5"/>
                    <a:pt x="10" y="5"/>
                  </a:cubicBezTo>
                  <a:cubicBezTo>
                    <a:pt x="7" y="5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11" name="Freeform 137">
              <a:extLst>
                <a:ext uri="{FF2B5EF4-FFF2-40B4-BE49-F238E27FC236}">
                  <a16:creationId xmlns:a16="http://schemas.microsoft.com/office/drawing/2014/main" id="{B7750A19-60C3-4B1E-860A-3F10AEBE3F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92720" y="6186614"/>
              <a:ext cx="75537" cy="114816"/>
            </a:xfrm>
            <a:custGeom>
              <a:avLst/>
              <a:gdLst>
                <a:gd name="T0" fmla="*/ 21 w 21"/>
                <a:gd name="T1" fmla="*/ 16 h 32"/>
                <a:gd name="T2" fmla="*/ 10 w 21"/>
                <a:gd name="T3" fmla="*/ 32 h 32"/>
                <a:gd name="T4" fmla="*/ 0 w 21"/>
                <a:gd name="T5" fmla="*/ 16 h 32"/>
                <a:gd name="T6" fmla="*/ 10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0 w 21"/>
                <a:gd name="T13" fmla="*/ 27 h 32"/>
                <a:gd name="T14" fmla="*/ 16 w 21"/>
                <a:gd name="T15" fmla="*/ 16 h 32"/>
                <a:gd name="T16" fmla="*/ 10 w 21"/>
                <a:gd name="T17" fmla="*/ 4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6"/>
                    <a:pt x="18" y="32"/>
                    <a:pt x="10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0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7"/>
                    <a:pt x="10" y="27"/>
                  </a:cubicBezTo>
                  <a:cubicBezTo>
                    <a:pt x="14" y="27"/>
                    <a:pt x="16" y="24"/>
                    <a:pt x="16" y="16"/>
                  </a:cubicBezTo>
                  <a:cubicBezTo>
                    <a:pt x="16" y="8"/>
                    <a:pt x="14" y="4"/>
                    <a:pt x="10" y="4"/>
                  </a:cubicBezTo>
                  <a:cubicBezTo>
                    <a:pt x="7" y="4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12" name="Freeform 138">
              <a:extLst>
                <a:ext uri="{FF2B5EF4-FFF2-40B4-BE49-F238E27FC236}">
                  <a16:creationId xmlns:a16="http://schemas.microsoft.com/office/drawing/2014/main" id="{D9BF21A1-D389-4706-B989-75A73BD63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3296" y="6379989"/>
              <a:ext cx="60430" cy="107263"/>
            </a:xfrm>
            <a:custGeom>
              <a:avLst/>
              <a:gdLst>
                <a:gd name="T0" fmla="*/ 19 w 40"/>
                <a:gd name="T1" fmla="*/ 12 h 71"/>
                <a:gd name="T2" fmla="*/ 4 w 40"/>
                <a:gd name="T3" fmla="*/ 21 h 71"/>
                <a:gd name="T4" fmla="*/ 0 w 40"/>
                <a:gd name="T5" fmla="*/ 12 h 71"/>
                <a:gd name="T6" fmla="*/ 21 w 40"/>
                <a:gd name="T7" fmla="*/ 0 h 71"/>
                <a:gd name="T8" fmla="*/ 30 w 40"/>
                <a:gd name="T9" fmla="*/ 0 h 71"/>
                <a:gd name="T10" fmla="*/ 30 w 40"/>
                <a:gd name="T11" fmla="*/ 64 h 71"/>
                <a:gd name="T12" fmla="*/ 40 w 40"/>
                <a:gd name="T13" fmla="*/ 64 h 71"/>
                <a:gd name="T14" fmla="*/ 40 w 40"/>
                <a:gd name="T15" fmla="*/ 71 h 71"/>
                <a:gd name="T16" fmla="*/ 9 w 40"/>
                <a:gd name="T17" fmla="*/ 71 h 71"/>
                <a:gd name="T18" fmla="*/ 9 w 40"/>
                <a:gd name="T19" fmla="*/ 64 h 71"/>
                <a:gd name="T20" fmla="*/ 19 w 40"/>
                <a:gd name="T21" fmla="*/ 64 h 71"/>
                <a:gd name="T22" fmla="*/ 19 w 40"/>
                <a:gd name="T23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1">
                  <a:moveTo>
                    <a:pt x="19" y="12"/>
                  </a:moveTo>
                  <a:lnTo>
                    <a:pt x="4" y="21"/>
                  </a:lnTo>
                  <a:lnTo>
                    <a:pt x="0" y="12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4"/>
                  </a:lnTo>
                  <a:lnTo>
                    <a:pt x="40" y="64"/>
                  </a:lnTo>
                  <a:lnTo>
                    <a:pt x="40" y="71"/>
                  </a:lnTo>
                  <a:lnTo>
                    <a:pt x="9" y="71"/>
                  </a:lnTo>
                  <a:lnTo>
                    <a:pt x="9" y="64"/>
                  </a:lnTo>
                  <a:lnTo>
                    <a:pt x="19" y="64"/>
                  </a:lnTo>
                  <a:lnTo>
                    <a:pt x="19" y="12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13" name="Freeform 139">
              <a:extLst>
                <a:ext uri="{FF2B5EF4-FFF2-40B4-BE49-F238E27FC236}">
                  <a16:creationId xmlns:a16="http://schemas.microsoft.com/office/drawing/2014/main" id="{8541A6F4-A070-4BDA-8C52-321E46A3B7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3296" y="6568831"/>
              <a:ext cx="60430" cy="110285"/>
            </a:xfrm>
            <a:custGeom>
              <a:avLst/>
              <a:gdLst>
                <a:gd name="T0" fmla="*/ 19 w 40"/>
                <a:gd name="T1" fmla="*/ 14 h 73"/>
                <a:gd name="T2" fmla="*/ 4 w 40"/>
                <a:gd name="T3" fmla="*/ 24 h 73"/>
                <a:gd name="T4" fmla="*/ 0 w 40"/>
                <a:gd name="T5" fmla="*/ 14 h 73"/>
                <a:gd name="T6" fmla="*/ 21 w 40"/>
                <a:gd name="T7" fmla="*/ 0 h 73"/>
                <a:gd name="T8" fmla="*/ 30 w 40"/>
                <a:gd name="T9" fmla="*/ 0 h 73"/>
                <a:gd name="T10" fmla="*/ 30 w 40"/>
                <a:gd name="T11" fmla="*/ 64 h 73"/>
                <a:gd name="T12" fmla="*/ 40 w 40"/>
                <a:gd name="T13" fmla="*/ 64 h 73"/>
                <a:gd name="T14" fmla="*/ 40 w 40"/>
                <a:gd name="T15" fmla="*/ 73 h 73"/>
                <a:gd name="T16" fmla="*/ 9 w 40"/>
                <a:gd name="T17" fmla="*/ 73 h 73"/>
                <a:gd name="T18" fmla="*/ 9 w 40"/>
                <a:gd name="T19" fmla="*/ 64 h 73"/>
                <a:gd name="T20" fmla="*/ 19 w 40"/>
                <a:gd name="T21" fmla="*/ 64 h 73"/>
                <a:gd name="T22" fmla="*/ 19 w 40"/>
                <a:gd name="T23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3">
                  <a:moveTo>
                    <a:pt x="19" y="14"/>
                  </a:moveTo>
                  <a:lnTo>
                    <a:pt x="4" y="24"/>
                  </a:lnTo>
                  <a:lnTo>
                    <a:pt x="0" y="14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4"/>
                  </a:lnTo>
                  <a:lnTo>
                    <a:pt x="40" y="64"/>
                  </a:lnTo>
                  <a:lnTo>
                    <a:pt x="40" y="73"/>
                  </a:lnTo>
                  <a:lnTo>
                    <a:pt x="9" y="73"/>
                  </a:lnTo>
                  <a:lnTo>
                    <a:pt x="9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14" name="Freeform 140">
              <a:extLst>
                <a:ext uri="{FF2B5EF4-FFF2-40B4-BE49-F238E27FC236}">
                  <a16:creationId xmlns:a16="http://schemas.microsoft.com/office/drawing/2014/main" id="{9B1E5F0A-1362-48C1-8B2A-C474D7F69B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3296" y="6757674"/>
              <a:ext cx="60430" cy="110285"/>
            </a:xfrm>
            <a:custGeom>
              <a:avLst/>
              <a:gdLst>
                <a:gd name="T0" fmla="*/ 19 w 40"/>
                <a:gd name="T1" fmla="*/ 14 h 73"/>
                <a:gd name="T2" fmla="*/ 4 w 40"/>
                <a:gd name="T3" fmla="*/ 24 h 73"/>
                <a:gd name="T4" fmla="*/ 0 w 40"/>
                <a:gd name="T5" fmla="*/ 14 h 73"/>
                <a:gd name="T6" fmla="*/ 21 w 40"/>
                <a:gd name="T7" fmla="*/ 0 h 73"/>
                <a:gd name="T8" fmla="*/ 30 w 40"/>
                <a:gd name="T9" fmla="*/ 0 h 73"/>
                <a:gd name="T10" fmla="*/ 30 w 40"/>
                <a:gd name="T11" fmla="*/ 64 h 73"/>
                <a:gd name="T12" fmla="*/ 40 w 40"/>
                <a:gd name="T13" fmla="*/ 64 h 73"/>
                <a:gd name="T14" fmla="*/ 40 w 40"/>
                <a:gd name="T15" fmla="*/ 73 h 73"/>
                <a:gd name="T16" fmla="*/ 9 w 40"/>
                <a:gd name="T17" fmla="*/ 73 h 73"/>
                <a:gd name="T18" fmla="*/ 9 w 40"/>
                <a:gd name="T19" fmla="*/ 64 h 73"/>
                <a:gd name="T20" fmla="*/ 19 w 40"/>
                <a:gd name="T21" fmla="*/ 64 h 73"/>
                <a:gd name="T22" fmla="*/ 19 w 40"/>
                <a:gd name="T23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3">
                  <a:moveTo>
                    <a:pt x="19" y="14"/>
                  </a:moveTo>
                  <a:lnTo>
                    <a:pt x="4" y="24"/>
                  </a:lnTo>
                  <a:lnTo>
                    <a:pt x="0" y="14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4"/>
                  </a:lnTo>
                  <a:lnTo>
                    <a:pt x="40" y="64"/>
                  </a:lnTo>
                  <a:lnTo>
                    <a:pt x="40" y="73"/>
                  </a:lnTo>
                  <a:lnTo>
                    <a:pt x="9" y="73"/>
                  </a:lnTo>
                  <a:lnTo>
                    <a:pt x="9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15" name="Freeform 149">
              <a:extLst>
                <a:ext uri="{FF2B5EF4-FFF2-40B4-BE49-F238E27FC236}">
                  <a16:creationId xmlns:a16="http://schemas.microsoft.com/office/drawing/2014/main" id="{BE61B969-56F2-407D-B4C6-665CAD6183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15269" y="5259018"/>
              <a:ext cx="92156" cy="164671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5 h 109"/>
                <a:gd name="T12" fmla="*/ 61 w 61"/>
                <a:gd name="T13" fmla="*/ 95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5 h 109"/>
                <a:gd name="T20" fmla="*/ 28 w 61"/>
                <a:gd name="T21" fmla="*/ 95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5"/>
                  </a:lnTo>
                  <a:lnTo>
                    <a:pt x="61" y="95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5"/>
                  </a:lnTo>
                  <a:lnTo>
                    <a:pt x="28" y="95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16" name="Freeform 150">
              <a:extLst>
                <a:ext uri="{FF2B5EF4-FFF2-40B4-BE49-F238E27FC236}">
                  <a16:creationId xmlns:a16="http://schemas.microsoft.com/office/drawing/2014/main" id="{0AAAAC3B-9150-475D-8781-60081FC6CA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400163" y="5541527"/>
              <a:ext cx="114816" cy="170714"/>
            </a:xfrm>
            <a:custGeom>
              <a:avLst/>
              <a:gdLst>
                <a:gd name="T0" fmla="*/ 32 w 32"/>
                <a:gd name="T1" fmla="*/ 24 h 48"/>
                <a:gd name="T2" fmla="*/ 16 w 32"/>
                <a:gd name="T3" fmla="*/ 48 h 48"/>
                <a:gd name="T4" fmla="*/ 0 w 32"/>
                <a:gd name="T5" fmla="*/ 24 h 48"/>
                <a:gd name="T6" fmla="*/ 16 w 32"/>
                <a:gd name="T7" fmla="*/ 0 h 48"/>
                <a:gd name="T8" fmla="*/ 32 w 32"/>
                <a:gd name="T9" fmla="*/ 24 h 48"/>
                <a:gd name="T10" fmla="*/ 8 w 32"/>
                <a:gd name="T11" fmla="*/ 24 h 48"/>
                <a:gd name="T12" fmla="*/ 16 w 32"/>
                <a:gd name="T13" fmla="*/ 41 h 48"/>
                <a:gd name="T14" fmla="*/ 24 w 32"/>
                <a:gd name="T15" fmla="*/ 24 h 48"/>
                <a:gd name="T16" fmla="*/ 16 w 32"/>
                <a:gd name="T17" fmla="*/ 7 h 48"/>
                <a:gd name="T18" fmla="*/ 8 w 32"/>
                <a:gd name="T19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8">
                  <a:moveTo>
                    <a:pt x="32" y="24"/>
                  </a:moveTo>
                  <a:cubicBezTo>
                    <a:pt x="32" y="40"/>
                    <a:pt x="27" y="48"/>
                    <a:pt x="16" y="48"/>
                  </a:cubicBezTo>
                  <a:cubicBezTo>
                    <a:pt x="5" y="48"/>
                    <a:pt x="0" y="40"/>
                    <a:pt x="0" y="24"/>
                  </a:cubicBezTo>
                  <a:cubicBezTo>
                    <a:pt x="0" y="8"/>
                    <a:pt x="5" y="0"/>
                    <a:pt x="16" y="0"/>
                  </a:cubicBezTo>
                  <a:cubicBezTo>
                    <a:pt x="27" y="0"/>
                    <a:pt x="32" y="8"/>
                    <a:pt x="32" y="24"/>
                  </a:cubicBezTo>
                  <a:close/>
                  <a:moveTo>
                    <a:pt x="8" y="24"/>
                  </a:moveTo>
                  <a:cubicBezTo>
                    <a:pt x="8" y="36"/>
                    <a:pt x="11" y="41"/>
                    <a:pt x="16" y="41"/>
                  </a:cubicBezTo>
                  <a:cubicBezTo>
                    <a:pt x="22" y="41"/>
                    <a:pt x="24" y="36"/>
                    <a:pt x="24" y="24"/>
                  </a:cubicBezTo>
                  <a:cubicBezTo>
                    <a:pt x="24" y="12"/>
                    <a:pt x="22" y="7"/>
                    <a:pt x="16" y="7"/>
                  </a:cubicBezTo>
                  <a:cubicBezTo>
                    <a:pt x="11" y="7"/>
                    <a:pt x="8" y="12"/>
                    <a:pt x="8" y="24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17" name="Freeform 151">
              <a:extLst>
                <a:ext uri="{FF2B5EF4-FFF2-40B4-BE49-F238E27FC236}">
                  <a16:creationId xmlns:a16="http://schemas.microsoft.com/office/drawing/2014/main" id="{83215D3B-2250-4CC2-891A-3F8EF45AC3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15269" y="5830079"/>
              <a:ext cx="92156" cy="164671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5 h 109"/>
                <a:gd name="T12" fmla="*/ 61 w 61"/>
                <a:gd name="T13" fmla="*/ 95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5 h 109"/>
                <a:gd name="T20" fmla="*/ 28 w 61"/>
                <a:gd name="T21" fmla="*/ 95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5"/>
                  </a:lnTo>
                  <a:lnTo>
                    <a:pt x="61" y="95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5"/>
                  </a:lnTo>
                  <a:lnTo>
                    <a:pt x="28" y="95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18" name="Freeform 152">
              <a:extLst>
                <a:ext uri="{FF2B5EF4-FFF2-40B4-BE49-F238E27FC236}">
                  <a16:creationId xmlns:a16="http://schemas.microsoft.com/office/drawing/2014/main" id="{5815477B-16F2-4DAC-9B2A-6F951A8C2C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400163" y="6112587"/>
              <a:ext cx="114816" cy="170714"/>
            </a:xfrm>
            <a:custGeom>
              <a:avLst/>
              <a:gdLst>
                <a:gd name="T0" fmla="*/ 32 w 32"/>
                <a:gd name="T1" fmla="*/ 24 h 48"/>
                <a:gd name="T2" fmla="*/ 16 w 32"/>
                <a:gd name="T3" fmla="*/ 48 h 48"/>
                <a:gd name="T4" fmla="*/ 0 w 32"/>
                <a:gd name="T5" fmla="*/ 24 h 48"/>
                <a:gd name="T6" fmla="*/ 16 w 32"/>
                <a:gd name="T7" fmla="*/ 0 h 48"/>
                <a:gd name="T8" fmla="*/ 32 w 32"/>
                <a:gd name="T9" fmla="*/ 24 h 48"/>
                <a:gd name="T10" fmla="*/ 8 w 32"/>
                <a:gd name="T11" fmla="*/ 24 h 48"/>
                <a:gd name="T12" fmla="*/ 16 w 32"/>
                <a:gd name="T13" fmla="*/ 41 h 48"/>
                <a:gd name="T14" fmla="*/ 24 w 32"/>
                <a:gd name="T15" fmla="*/ 24 h 48"/>
                <a:gd name="T16" fmla="*/ 16 w 32"/>
                <a:gd name="T17" fmla="*/ 7 h 48"/>
                <a:gd name="T18" fmla="*/ 8 w 32"/>
                <a:gd name="T19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8">
                  <a:moveTo>
                    <a:pt x="32" y="24"/>
                  </a:moveTo>
                  <a:cubicBezTo>
                    <a:pt x="32" y="40"/>
                    <a:pt x="27" y="48"/>
                    <a:pt x="16" y="48"/>
                  </a:cubicBezTo>
                  <a:cubicBezTo>
                    <a:pt x="5" y="48"/>
                    <a:pt x="0" y="40"/>
                    <a:pt x="0" y="24"/>
                  </a:cubicBezTo>
                  <a:cubicBezTo>
                    <a:pt x="0" y="8"/>
                    <a:pt x="5" y="0"/>
                    <a:pt x="16" y="0"/>
                  </a:cubicBezTo>
                  <a:cubicBezTo>
                    <a:pt x="27" y="0"/>
                    <a:pt x="32" y="8"/>
                    <a:pt x="32" y="24"/>
                  </a:cubicBezTo>
                  <a:close/>
                  <a:moveTo>
                    <a:pt x="8" y="24"/>
                  </a:moveTo>
                  <a:cubicBezTo>
                    <a:pt x="8" y="36"/>
                    <a:pt x="11" y="41"/>
                    <a:pt x="16" y="41"/>
                  </a:cubicBezTo>
                  <a:cubicBezTo>
                    <a:pt x="22" y="41"/>
                    <a:pt x="24" y="36"/>
                    <a:pt x="24" y="24"/>
                  </a:cubicBezTo>
                  <a:cubicBezTo>
                    <a:pt x="24" y="12"/>
                    <a:pt x="22" y="7"/>
                    <a:pt x="16" y="7"/>
                  </a:cubicBezTo>
                  <a:cubicBezTo>
                    <a:pt x="11" y="7"/>
                    <a:pt x="8" y="12"/>
                    <a:pt x="8" y="24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19" name="Freeform 153">
              <a:extLst>
                <a:ext uri="{FF2B5EF4-FFF2-40B4-BE49-F238E27FC236}">
                  <a16:creationId xmlns:a16="http://schemas.microsoft.com/office/drawing/2014/main" id="{D2F28363-29A4-4AAE-A943-73C6F1039D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15269" y="6401139"/>
              <a:ext cx="92156" cy="164671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4 h 109"/>
                <a:gd name="T12" fmla="*/ 61 w 61"/>
                <a:gd name="T13" fmla="*/ 94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4 h 109"/>
                <a:gd name="T20" fmla="*/ 28 w 61"/>
                <a:gd name="T21" fmla="*/ 94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4"/>
                  </a:lnTo>
                  <a:lnTo>
                    <a:pt x="61" y="94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4"/>
                  </a:lnTo>
                  <a:lnTo>
                    <a:pt x="28" y="94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20" name="Freeform 154">
              <a:extLst>
                <a:ext uri="{FF2B5EF4-FFF2-40B4-BE49-F238E27FC236}">
                  <a16:creationId xmlns:a16="http://schemas.microsoft.com/office/drawing/2014/main" id="{B3A0EEE1-68DD-44C0-9583-B939B89CA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15269" y="6686669"/>
              <a:ext cx="92156" cy="164671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4 h 109"/>
                <a:gd name="T12" fmla="*/ 61 w 61"/>
                <a:gd name="T13" fmla="*/ 94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4 h 109"/>
                <a:gd name="T20" fmla="*/ 28 w 61"/>
                <a:gd name="T21" fmla="*/ 94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4"/>
                  </a:lnTo>
                  <a:lnTo>
                    <a:pt x="61" y="94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4"/>
                  </a:lnTo>
                  <a:lnTo>
                    <a:pt x="28" y="94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21" name="Line 8">
              <a:extLst>
                <a:ext uri="{FF2B5EF4-FFF2-40B4-BE49-F238E27FC236}">
                  <a16:creationId xmlns:a16="http://schemas.microsoft.com/office/drawing/2014/main" id="{0351F3AF-BF5C-4823-82FC-8EB26041546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703374" y="5783246"/>
              <a:ext cx="0" cy="0"/>
            </a:xfrm>
            <a:prstGeom prst="line">
              <a:avLst/>
            </a:pr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22" name="Line 9">
              <a:extLst>
                <a:ext uri="{FF2B5EF4-FFF2-40B4-BE49-F238E27FC236}">
                  <a16:creationId xmlns:a16="http://schemas.microsoft.com/office/drawing/2014/main" id="{0CD97898-9725-474F-BBDD-22BE0AF183F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703374" y="5783246"/>
              <a:ext cx="0" cy="0"/>
            </a:xfrm>
            <a:prstGeom prst="line">
              <a:avLst/>
            </a:pr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23" name="Freeform 10">
              <a:extLst>
                <a:ext uri="{FF2B5EF4-FFF2-40B4-BE49-F238E27FC236}">
                  <a16:creationId xmlns:a16="http://schemas.microsoft.com/office/drawing/2014/main" id="{198E4EFE-9DF2-4905-A73B-A431EBFCB43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6556" y="6854362"/>
              <a:ext cx="99709" cy="157117"/>
            </a:xfrm>
            <a:custGeom>
              <a:avLst/>
              <a:gdLst>
                <a:gd name="T0" fmla="*/ 30 w 66"/>
                <a:gd name="T1" fmla="*/ 24 h 104"/>
                <a:gd name="T2" fmla="*/ 9 w 66"/>
                <a:gd name="T3" fmla="*/ 38 h 104"/>
                <a:gd name="T4" fmla="*/ 0 w 66"/>
                <a:gd name="T5" fmla="*/ 19 h 104"/>
                <a:gd name="T6" fmla="*/ 33 w 66"/>
                <a:gd name="T7" fmla="*/ 0 h 104"/>
                <a:gd name="T8" fmla="*/ 52 w 66"/>
                <a:gd name="T9" fmla="*/ 0 h 104"/>
                <a:gd name="T10" fmla="*/ 52 w 66"/>
                <a:gd name="T11" fmla="*/ 87 h 104"/>
                <a:gd name="T12" fmla="*/ 66 w 66"/>
                <a:gd name="T13" fmla="*/ 87 h 104"/>
                <a:gd name="T14" fmla="*/ 66 w 66"/>
                <a:gd name="T15" fmla="*/ 104 h 104"/>
                <a:gd name="T16" fmla="*/ 16 w 66"/>
                <a:gd name="T17" fmla="*/ 104 h 104"/>
                <a:gd name="T18" fmla="*/ 16 w 66"/>
                <a:gd name="T19" fmla="*/ 87 h 104"/>
                <a:gd name="T20" fmla="*/ 30 w 66"/>
                <a:gd name="T21" fmla="*/ 87 h 104"/>
                <a:gd name="T22" fmla="*/ 30 w 66"/>
                <a:gd name="T23" fmla="*/ 2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6" h="104">
                  <a:moveTo>
                    <a:pt x="30" y="24"/>
                  </a:moveTo>
                  <a:lnTo>
                    <a:pt x="9" y="38"/>
                  </a:lnTo>
                  <a:lnTo>
                    <a:pt x="0" y="19"/>
                  </a:lnTo>
                  <a:lnTo>
                    <a:pt x="33" y="0"/>
                  </a:lnTo>
                  <a:lnTo>
                    <a:pt x="52" y="0"/>
                  </a:lnTo>
                  <a:lnTo>
                    <a:pt x="52" y="87"/>
                  </a:lnTo>
                  <a:lnTo>
                    <a:pt x="66" y="87"/>
                  </a:lnTo>
                  <a:lnTo>
                    <a:pt x="66" y="104"/>
                  </a:lnTo>
                  <a:lnTo>
                    <a:pt x="16" y="104"/>
                  </a:lnTo>
                  <a:lnTo>
                    <a:pt x="16" y="87"/>
                  </a:lnTo>
                  <a:lnTo>
                    <a:pt x="30" y="87"/>
                  </a:lnTo>
                  <a:lnTo>
                    <a:pt x="30" y="2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24" name="Freeform 23">
              <a:extLst>
                <a:ext uri="{FF2B5EF4-FFF2-40B4-BE49-F238E27FC236}">
                  <a16:creationId xmlns:a16="http://schemas.microsoft.com/office/drawing/2014/main" id="{BF0FE0EF-746A-4033-B074-655DAEA8E7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54046" y="6133738"/>
              <a:ext cx="75537" cy="113306"/>
            </a:xfrm>
            <a:custGeom>
              <a:avLst/>
              <a:gdLst>
                <a:gd name="T0" fmla="*/ 21 w 21"/>
                <a:gd name="T1" fmla="*/ 16 h 32"/>
                <a:gd name="T2" fmla="*/ 11 w 21"/>
                <a:gd name="T3" fmla="*/ 32 h 32"/>
                <a:gd name="T4" fmla="*/ 0 w 21"/>
                <a:gd name="T5" fmla="*/ 16 h 32"/>
                <a:gd name="T6" fmla="*/ 11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1 w 21"/>
                <a:gd name="T13" fmla="*/ 28 h 32"/>
                <a:gd name="T14" fmla="*/ 16 w 21"/>
                <a:gd name="T15" fmla="*/ 16 h 32"/>
                <a:gd name="T16" fmla="*/ 11 w 21"/>
                <a:gd name="T17" fmla="*/ 5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7"/>
                    <a:pt x="18" y="32"/>
                    <a:pt x="11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1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8"/>
                    <a:pt x="11" y="28"/>
                  </a:cubicBezTo>
                  <a:cubicBezTo>
                    <a:pt x="14" y="28"/>
                    <a:pt x="16" y="24"/>
                    <a:pt x="16" y="16"/>
                  </a:cubicBezTo>
                  <a:cubicBezTo>
                    <a:pt x="16" y="8"/>
                    <a:pt x="14" y="5"/>
                    <a:pt x="11" y="5"/>
                  </a:cubicBezTo>
                  <a:cubicBezTo>
                    <a:pt x="7" y="5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25" name="Freeform 24">
              <a:extLst>
                <a:ext uri="{FF2B5EF4-FFF2-40B4-BE49-F238E27FC236}">
                  <a16:creationId xmlns:a16="http://schemas.microsoft.com/office/drawing/2014/main" id="{76054A25-E3C9-4C7D-A97A-98755D491C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54046" y="6325602"/>
              <a:ext cx="75537" cy="111795"/>
            </a:xfrm>
            <a:custGeom>
              <a:avLst/>
              <a:gdLst>
                <a:gd name="T0" fmla="*/ 21 w 21"/>
                <a:gd name="T1" fmla="*/ 16 h 31"/>
                <a:gd name="T2" fmla="*/ 11 w 21"/>
                <a:gd name="T3" fmla="*/ 31 h 31"/>
                <a:gd name="T4" fmla="*/ 0 w 21"/>
                <a:gd name="T5" fmla="*/ 15 h 31"/>
                <a:gd name="T6" fmla="*/ 11 w 21"/>
                <a:gd name="T7" fmla="*/ 0 h 31"/>
                <a:gd name="T8" fmla="*/ 21 w 21"/>
                <a:gd name="T9" fmla="*/ 16 h 31"/>
                <a:gd name="T10" fmla="*/ 5 w 21"/>
                <a:gd name="T11" fmla="*/ 15 h 31"/>
                <a:gd name="T12" fmla="*/ 11 w 21"/>
                <a:gd name="T13" fmla="*/ 27 h 31"/>
                <a:gd name="T14" fmla="*/ 16 w 21"/>
                <a:gd name="T15" fmla="*/ 16 h 31"/>
                <a:gd name="T16" fmla="*/ 11 w 21"/>
                <a:gd name="T17" fmla="*/ 4 h 31"/>
                <a:gd name="T18" fmla="*/ 5 w 21"/>
                <a:gd name="T1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1">
                  <a:moveTo>
                    <a:pt x="21" y="16"/>
                  </a:moveTo>
                  <a:cubicBezTo>
                    <a:pt x="21" y="26"/>
                    <a:pt x="18" y="31"/>
                    <a:pt x="11" y="31"/>
                  </a:cubicBezTo>
                  <a:cubicBezTo>
                    <a:pt x="3" y="31"/>
                    <a:pt x="0" y="26"/>
                    <a:pt x="0" y="15"/>
                  </a:cubicBezTo>
                  <a:cubicBezTo>
                    <a:pt x="0" y="5"/>
                    <a:pt x="3" y="0"/>
                    <a:pt x="11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5"/>
                  </a:moveTo>
                  <a:cubicBezTo>
                    <a:pt x="5" y="23"/>
                    <a:pt x="7" y="27"/>
                    <a:pt x="11" y="27"/>
                  </a:cubicBezTo>
                  <a:cubicBezTo>
                    <a:pt x="14" y="27"/>
                    <a:pt x="16" y="23"/>
                    <a:pt x="16" y="16"/>
                  </a:cubicBezTo>
                  <a:cubicBezTo>
                    <a:pt x="16" y="8"/>
                    <a:pt x="14" y="4"/>
                    <a:pt x="11" y="4"/>
                  </a:cubicBezTo>
                  <a:cubicBezTo>
                    <a:pt x="7" y="4"/>
                    <a:pt x="5" y="8"/>
                    <a:pt x="5" y="15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26" name="Freeform 25">
              <a:extLst>
                <a:ext uri="{FF2B5EF4-FFF2-40B4-BE49-F238E27FC236}">
                  <a16:creationId xmlns:a16="http://schemas.microsoft.com/office/drawing/2014/main" id="{7B5FE6E1-4B96-4910-8DF2-362F83B48B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7068" y="6707820"/>
              <a:ext cx="64962" cy="110285"/>
            </a:xfrm>
            <a:custGeom>
              <a:avLst/>
              <a:gdLst>
                <a:gd name="T0" fmla="*/ 19 w 43"/>
                <a:gd name="T1" fmla="*/ 14 h 73"/>
                <a:gd name="T2" fmla="*/ 5 w 43"/>
                <a:gd name="T3" fmla="*/ 24 h 73"/>
                <a:gd name="T4" fmla="*/ 0 w 43"/>
                <a:gd name="T5" fmla="*/ 12 h 73"/>
                <a:gd name="T6" fmla="*/ 22 w 43"/>
                <a:gd name="T7" fmla="*/ 0 h 73"/>
                <a:gd name="T8" fmla="*/ 34 w 43"/>
                <a:gd name="T9" fmla="*/ 0 h 73"/>
                <a:gd name="T10" fmla="*/ 34 w 43"/>
                <a:gd name="T11" fmla="*/ 64 h 73"/>
                <a:gd name="T12" fmla="*/ 43 w 43"/>
                <a:gd name="T13" fmla="*/ 64 h 73"/>
                <a:gd name="T14" fmla="*/ 43 w 43"/>
                <a:gd name="T15" fmla="*/ 73 h 73"/>
                <a:gd name="T16" fmla="*/ 10 w 43"/>
                <a:gd name="T17" fmla="*/ 73 h 73"/>
                <a:gd name="T18" fmla="*/ 10 w 43"/>
                <a:gd name="T19" fmla="*/ 64 h 73"/>
                <a:gd name="T20" fmla="*/ 19 w 43"/>
                <a:gd name="T21" fmla="*/ 64 h 73"/>
                <a:gd name="T22" fmla="*/ 19 w 43"/>
                <a:gd name="T23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73">
                  <a:moveTo>
                    <a:pt x="19" y="14"/>
                  </a:moveTo>
                  <a:lnTo>
                    <a:pt x="5" y="24"/>
                  </a:lnTo>
                  <a:lnTo>
                    <a:pt x="0" y="12"/>
                  </a:lnTo>
                  <a:lnTo>
                    <a:pt x="22" y="0"/>
                  </a:lnTo>
                  <a:lnTo>
                    <a:pt x="34" y="0"/>
                  </a:lnTo>
                  <a:lnTo>
                    <a:pt x="34" y="64"/>
                  </a:lnTo>
                  <a:lnTo>
                    <a:pt x="43" y="64"/>
                  </a:lnTo>
                  <a:lnTo>
                    <a:pt x="43" y="73"/>
                  </a:lnTo>
                  <a:lnTo>
                    <a:pt x="10" y="73"/>
                  </a:lnTo>
                  <a:lnTo>
                    <a:pt x="10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27" name="Freeform 26">
              <a:extLst>
                <a:ext uri="{FF2B5EF4-FFF2-40B4-BE49-F238E27FC236}">
                  <a16:creationId xmlns:a16="http://schemas.microsoft.com/office/drawing/2014/main" id="{EAB085F9-4760-4DFF-8EC8-A4C3085382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54046" y="6896663"/>
              <a:ext cx="75537" cy="111795"/>
            </a:xfrm>
            <a:custGeom>
              <a:avLst/>
              <a:gdLst>
                <a:gd name="T0" fmla="*/ 21 w 21"/>
                <a:gd name="T1" fmla="*/ 16 h 31"/>
                <a:gd name="T2" fmla="*/ 11 w 21"/>
                <a:gd name="T3" fmla="*/ 31 h 31"/>
                <a:gd name="T4" fmla="*/ 0 w 21"/>
                <a:gd name="T5" fmla="*/ 15 h 31"/>
                <a:gd name="T6" fmla="*/ 11 w 21"/>
                <a:gd name="T7" fmla="*/ 0 h 31"/>
                <a:gd name="T8" fmla="*/ 21 w 21"/>
                <a:gd name="T9" fmla="*/ 16 h 31"/>
                <a:gd name="T10" fmla="*/ 5 w 21"/>
                <a:gd name="T11" fmla="*/ 16 h 31"/>
                <a:gd name="T12" fmla="*/ 11 w 21"/>
                <a:gd name="T13" fmla="*/ 27 h 31"/>
                <a:gd name="T14" fmla="*/ 16 w 21"/>
                <a:gd name="T15" fmla="*/ 16 h 31"/>
                <a:gd name="T16" fmla="*/ 11 w 21"/>
                <a:gd name="T17" fmla="*/ 4 h 31"/>
                <a:gd name="T18" fmla="*/ 5 w 21"/>
                <a:gd name="T19" fmla="*/ 1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1">
                  <a:moveTo>
                    <a:pt x="21" y="16"/>
                  </a:moveTo>
                  <a:cubicBezTo>
                    <a:pt x="21" y="26"/>
                    <a:pt x="18" y="31"/>
                    <a:pt x="11" y="31"/>
                  </a:cubicBezTo>
                  <a:cubicBezTo>
                    <a:pt x="3" y="31"/>
                    <a:pt x="0" y="26"/>
                    <a:pt x="0" y="15"/>
                  </a:cubicBezTo>
                  <a:cubicBezTo>
                    <a:pt x="0" y="5"/>
                    <a:pt x="3" y="0"/>
                    <a:pt x="11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3"/>
                    <a:pt x="7" y="27"/>
                    <a:pt x="11" y="27"/>
                  </a:cubicBezTo>
                  <a:cubicBezTo>
                    <a:pt x="14" y="27"/>
                    <a:pt x="16" y="23"/>
                    <a:pt x="16" y="16"/>
                  </a:cubicBezTo>
                  <a:cubicBezTo>
                    <a:pt x="16" y="8"/>
                    <a:pt x="14" y="4"/>
                    <a:pt x="11" y="4"/>
                  </a:cubicBezTo>
                  <a:cubicBezTo>
                    <a:pt x="7" y="4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28" name="Freeform 43">
              <a:extLst>
                <a:ext uri="{FF2B5EF4-FFF2-40B4-BE49-F238E27FC236}">
                  <a16:creationId xmlns:a16="http://schemas.microsoft.com/office/drawing/2014/main" id="{0181EA4F-99EE-460A-BCE9-5D3EA1B060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25925" y="6333156"/>
              <a:ext cx="63451" cy="93666"/>
            </a:xfrm>
            <a:custGeom>
              <a:avLst/>
              <a:gdLst>
                <a:gd name="T0" fmla="*/ 18 w 18"/>
                <a:gd name="T1" fmla="*/ 13 h 26"/>
                <a:gd name="T2" fmla="*/ 9 w 18"/>
                <a:gd name="T3" fmla="*/ 26 h 26"/>
                <a:gd name="T4" fmla="*/ 0 w 18"/>
                <a:gd name="T5" fmla="*/ 13 h 26"/>
                <a:gd name="T6" fmla="*/ 9 w 18"/>
                <a:gd name="T7" fmla="*/ 0 h 26"/>
                <a:gd name="T8" fmla="*/ 18 w 18"/>
                <a:gd name="T9" fmla="*/ 13 h 26"/>
                <a:gd name="T10" fmla="*/ 5 w 18"/>
                <a:gd name="T11" fmla="*/ 13 h 26"/>
                <a:gd name="T12" fmla="*/ 9 w 18"/>
                <a:gd name="T13" fmla="*/ 22 h 26"/>
                <a:gd name="T14" fmla="*/ 13 w 18"/>
                <a:gd name="T15" fmla="*/ 13 h 26"/>
                <a:gd name="T16" fmla="*/ 9 w 18"/>
                <a:gd name="T17" fmla="*/ 4 h 26"/>
                <a:gd name="T18" fmla="*/ 5 w 18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6">
                  <a:moveTo>
                    <a:pt x="18" y="13"/>
                  </a:moveTo>
                  <a:cubicBezTo>
                    <a:pt x="18" y="22"/>
                    <a:pt x="15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5"/>
                    <a:pt x="3" y="0"/>
                    <a:pt x="9" y="0"/>
                  </a:cubicBezTo>
                  <a:cubicBezTo>
                    <a:pt x="15" y="0"/>
                    <a:pt x="18" y="5"/>
                    <a:pt x="18" y="13"/>
                  </a:cubicBezTo>
                  <a:close/>
                  <a:moveTo>
                    <a:pt x="5" y="13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7"/>
                    <a:pt x="12" y="4"/>
                    <a:pt x="9" y="4"/>
                  </a:cubicBezTo>
                  <a:cubicBezTo>
                    <a:pt x="6" y="4"/>
                    <a:pt x="5" y="7"/>
                    <a:pt x="5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29" name="Freeform 44">
              <a:extLst>
                <a:ext uri="{FF2B5EF4-FFF2-40B4-BE49-F238E27FC236}">
                  <a16:creationId xmlns:a16="http://schemas.microsoft.com/office/drawing/2014/main" id="{2709FCF3-EDC1-4A94-9BAC-704970E56E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25925" y="6487252"/>
              <a:ext cx="63451" cy="92156"/>
            </a:xfrm>
            <a:custGeom>
              <a:avLst/>
              <a:gdLst>
                <a:gd name="T0" fmla="*/ 18 w 18"/>
                <a:gd name="T1" fmla="*/ 13 h 26"/>
                <a:gd name="T2" fmla="*/ 9 w 18"/>
                <a:gd name="T3" fmla="*/ 26 h 26"/>
                <a:gd name="T4" fmla="*/ 0 w 18"/>
                <a:gd name="T5" fmla="*/ 13 h 26"/>
                <a:gd name="T6" fmla="*/ 9 w 18"/>
                <a:gd name="T7" fmla="*/ 0 h 26"/>
                <a:gd name="T8" fmla="*/ 18 w 18"/>
                <a:gd name="T9" fmla="*/ 13 h 26"/>
                <a:gd name="T10" fmla="*/ 5 w 18"/>
                <a:gd name="T11" fmla="*/ 13 h 26"/>
                <a:gd name="T12" fmla="*/ 9 w 18"/>
                <a:gd name="T13" fmla="*/ 22 h 26"/>
                <a:gd name="T14" fmla="*/ 13 w 18"/>
                <a:gd name="T15" fmla="*/ 13 h 26"/>
                <a:gd name="T16" fmla="*/ 9 w 18"/>
                <a:gd name="T17" fmla="*/ 4 h 26"/>
                <a:gd name="T18" fmla="*/ 5 w 18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6">
                  <a:moveTo>
                    <a:pt x="18" y="13"/>
                  </a:moveTo>
                  <a:cubicBezTo>
                    <a:pt x="18" y="21"/>
                    <a:pt x="15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5" y="0"/>
                    <a:pt x="18" y="4"/>
                    <a:pt x="18" y="13"/>
                  </a:cubicBezTo>
                  <a:close/>
                  <a:moveTo>
                    <a:pt x="5" y="13"/>
                  </a:moveTo>
                  <a:cubicBezTo>
                    <a:pt x="5" y="19"/>
                    <a:pt x="6" y="22"/>
                    <a:pt x="9" y="22"/>
                  </a:cubicBezTo>
                  <a:cubicBezTo>
                    <a:pt x="12" y="22"/>
                    <a:pt x="13" y="19"/>
                    <a:pt x="13" y="13"/>
                  </a:cubicBezTo>
                  <a:cubicBezTo>
                    <a:pt x="13" y="7"/>
                    <a:pt x="12" y="4"/>
                    <a:pt x="9" y="4"/>
                  </a:cubicBezTo>
                  <a:cubicBezTo>
                    <a:pt x="6" y="4"/>
                    <a:pt x="5" y="7"/>
                    <a:pt x="5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30" name="Freeform 45">
              <a:extLst>
                <a:ext uri="{FF2B5EF4-FFF2-40B4-BE49-F238E27FC236}">
                  <a16:creationId xmlns:a16="http://schemas.microsoft.com/office/drawing/2014/main" id="{0CEF22E4-4F53-44F9-8A5F-B24556EA2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8946" y="6793932"/>
              <a:ext cx="49855" cy="89134"/>
            </a:xfrm>
            <a:custGeom>
              <a:avLst/>
              <a:gdLst>
                <a:gd name="T0" fmla="*/ 17 w 33"/>
                <a:gd name="T1" fmla="*/ 12 h 59"/>
                <a:gd name="T2" fmla="*/ 5 w 33"/>
                <a:gd name="T3" fmla="*/ 19 h 59"/>
                <a:gd name="T4" fmla="*/ 0 w 33"/>
                <a:gd name="T5" fmla="*/ 9 h 59"/>
                <a:gd name="T6" fmla="*/ 19 w 33"/>
                <a:gd name="T7" fmla="*/ 0 h 59"/>
                <a:gd name="T8" fmla="*/ 26 w 33"/>
                <a:gd name="T9" fmla="*/ 0 h 59"/>
                <a:gd name="T10" fmla="*/ 26 w 33"/>
                <a:gd name="T11" fmla="*/ 49 h 59"/>
                <a:gd name="T12" fmla="*/ 33 w 33"/>
                <a:gd name="T13" fmla="*/ 49 h 59"/>
                <a:gd name="T14" fmla="*/ 33 w 33"/>
                <a:gd name="T15" fmla="*/ 59 h 59"/>
                <a:gd name="T16" fmla="*/ 10 w 33"/>
                <a:gd name="T17" fmla="*/ 59 h 59"/>
                <a:gd name="T18" fmla="*/ 10 w 33"/>
                <a:gd name="T19" fmla="*/ 49 h 59"/>
                <a:gd name="T20" fmla="*/ 17 w 33"/>
                <a:gd name="T21" fmla="*/ 49 h 59"/>
                <a:gd name="T22" fmla="*/ 17 w 33"/>
                <a:gd name="T23" fmla="*/ 1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9">
                  <a:moveTo>
                    <a:pt x="17" y="12"/>
                  </a:moveTo>
                  <a:lnTo>
                    <a:pt x="5" y="19"/>
                  </a:lnTo>
                  <a:lnTo>
                    <a:pt x="0" y="9"/>
                  </a:lnTo>
                  <a:lnTo>
                    <a:pt x="19" y="0"/>
                  </a:lnTo>
                  <a:lnTo>
                    <a:pt x="26" y="0"/>
                  </a:lnTo>
                  <a:lnTo>
                    <a:pt x="26" y="49"/>
                  </a:lnTo>
                  <a:lnTo>
                    <a:pt x="33" y="49"/>
                  </a:lnTo>
                  <a:lnTo>
                    <a:pt x="33" y="59"/>
                  </a:lnTo>
                  <a:lnTo>
                    <a:pt x="10" y="59"/>
                  </a:lnTo>
                  <a:lnTo>
                    <a:pt x="10" y="49"/>
                  </a:lnTo>
                  <a:lnTo>
                    <a:pt x="17" y="49"/>
                  </a:lnTo>
                  <a:lnTo>
                    <a:pt x="17" y="12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31" name="Freeform 63">
              <a:extLst>
                <a:ext uri="{FF2B5EF4-FFF2-40B4-BE49-F238E27FC236}">
                  <a16:creationId xmlns:a16="http://schemas.microsoft.com/office/drawing/2014/main" id="{C8859318-2CCA-4FC4-A700-5D43BF5966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56362" y="6333156"/>
              <a:ext cx="60430" cy="93666"/>
            </a:xfrm>
            <a:custGeom>
              <a:avLst/>
              <a:gdLst>
                <a:gd name="T0" fmla="*/ 17 w 17"/>
                <a:gd name="T1" fmla="*/ 13 h 26"/>
                <a:gd name="T2" fmla="*/ 9 w 17"/>
                <a:gd name="T3" fmla="*/ 26 h 26"/>
                <a:gd name="T4" fmla="*/ 0 w 17"/>
                <a:gd name="T5" fmla="*/ 13 h 26"/>
                <a:gd name="T6" fmla="*/ 9 w 17"/>
                <a:gd name="T7" fmla="*/ 0 h 26"/>
                <a:gd name="T8" fmla="*/ 17 w 17"/>
                <a:gd name="T9" fmla="*/ 13 h 26"/>
                <a:gd name="T10" fmla="*/ 4 w 17"/>
                <a:gd name="T11" fmla="*/ 13 h 26"/>
                <a:gd name="T12" fmla="*/ 9 w 17"/>
                <a:gd name="T13" fmla="*/ 22 h 26"/>
                <a:gd name="T14" fmla="*/ 13 w 17"/>
                <a:gd name="T15" fmla="*/ 13 h 26"/>
                <a:gd name="T16" fmla="*/ 9 w 17"/>
                <a:gd name="T17" fmla="*/ 4 h 26"/>
                <a:gd name="T18" fmla="*/ 4 w 17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6">
                  <a:moveTo>
                    <a:pt x="17" y="13"/>
                  </a:moveTo>
                  <a:cubicBezTo>
                    <a:pt x="17" y="22"/>
                    <a:pt x="14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5"/>
                    <a:pt x="3" y="0"/>
                    <a:pt x="9" y="0"/>
                  </a:cubicBezTo>
                  <a:cubicBezTo>
                    <a:pt x="14" y="0"/>
                    <a:pt x="17" y="5"/>
                    <a:pt x="17" y="13"/>
                  </a:cubicBezTo>
                  <a:close/>
                  <a:moveTo>
                    <a:pt x="4" y="13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7"/>
                    <a:pt x="11" y="4"/>
                    <a:pt x="9" y="4"/>
                  </a:cubicBezTo>
                  <a:cubicBezTo>
                    <a:pt x="6" y="4"/>
                    <a:pt x="4" y="7"/>
                    <a:pt x="4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32" name="Freeform 64">
              <a:extLst>
                <a:ext uri="{FF2B5EF4-FFF2-40B4-BE49-F238E27FC236}">
                  <a16:creationId xmlns:a16="http://schemas.microsoft.com/office/drawing/2014/main" id="{B8A38541-1E68-4153-B88D-C680E0F4C9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56362" y="6487252"/>
              <a:ext cx="60430" cy="92156"/>
            </a:xfrm>
            <a:custGeom>
              <a:avLst/>
              <a:gdLst>
                <a:gd name="T0" fmla="*/ 17 w 17"/>
                <a:gd name="T1" fmla="*/ 13 h 26"/>
                <a:gd name="T2" fmla="*/ 9 w 17"/>
                <a:gd name="T3" fmla="*/ 26 h 26"/>
                <a:gd name="T4" fmla="*/ 0 w 17"/>
                <a:gd name="T5" fmla="*/ 13 h 26"/>
                <a:gd name="T6" fmla="*/ 9 w 17"/>
                <a:gd name="T7" fmla="*/ 0 h 26"/>
                <a:gd name="T8" fmla="*/ 17 w 17"/>
                <a:gd name="T9" fmla="*/ 13 h 26"/>
                <a:gd name="T10" fmla="*/ 4 w 17"/>
                <a:gd name="T11" fmla="*/ 13 h 26"/>
                <a:gd name="T12" fmla="*/ 9 w 17"/>
                <a:gd name="T13" fmla="*/ 22 h 26"/>
                <a:gd name="T14" fmla="*/ 13 w 17"/>
                <a:gd name="T15" fmla="*/ 13 h 26"/>
                <a:gd name="T16" fmla="*/ 9 w 17"/>
                <a:gd name="T17" fmla="*/ 4 h 26"/>
                <a:gd name="T18" fmla="*/ 4 w 17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6">
                  <a:moveTo>
                    <a:pt x="17" y="13"/>
                  </a:moveTo>
                  <a:cubicBezTo>
                    <a:pt x="17" y="21"/>
                    <a:pt x="14" y="26"/>
                    <a:pt x="9" y="26"/>
                  </a:cubicBezTo>
                  <a:cubicBezTo>
                    <a:pt x="3" y="26"/>
                    <a:pt x="0" y="22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4" y="0"/>
                    <a:pt x="17" y="4"/>
                    <a:pt x="17" y="13"/>
                  </a:cubicBezTo>
                  <a:close/>
                  <a:moveTo>
                    <a:pt x="4" y="13"/>
                  </a:moveTo>
                  <a:cubicBezTo>
                    <a:pt x="4" y="19"/>
                    <a:pt x="6" y="22"/>
                    <a:pt x="9" y="22"/>
                  </a:cubicBezTo>
                  <a:cubicBezTo>
                    <a:pt x="11" y="22"/>
                    <a:pt x="13" y="19"/>
                    <a:pt x="13" y="13"/>
                  </a:cubicBezTo>
                  <a:cubicBezTo>
                    <a:pt x="13" y="7"/>
                    <a:pt x="11" y="4"/>
                    <a:pt x="9" y="4"/>
                  </a:cubicBezTo>
                  <a:cubicBezTo>
                    <a:pt x="6" y="4"/>
                    <a:pt x="4" y="7"/>
                    <a:pt x="4" y="1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33" name="Freeform 65">
              <a:extLst>
                <a:ext uri="{FF2B5EF4-FFF2-40B4-BE49-F238E27FC236}">
                  <a16:creationId xmlns:a16="http://schemas.microsoft.com/office/drawing/2014/main" id="{18AB6AA2-4A19-4157-B83D-18A40CF5F9A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60894" y="6793932"/>
              <a:ext cx="49855" cy="89134"/>
            </a:xfrm>
            <a:custGeom>
              <a:avLst/>
              <a:gdLst>
                <a:gd name="T0" fmla="*/ 16 w 33"/>
                <a:gd name="T1" fmla="*/ 12 h 59"/>
                <a:gd name="T2" fmla="*/ 4 w 33"/>
                <a:gd name="T3" fmla="*/ 19 h 59"/>
                <a:gd name="T4" fmla="*/ 0 w 33"/>
                <a:gd name="T5" fmla="*/ 9 h 59"/>
                <a:gd name="T6" fmla="*/ 16 w 33"/>
                <a:gd name="T7" fmla="*/ 0 h 59"/>
                <a:gd name="T8" fmla="*/ 26 w 33"/>
                <a:gd name="T9" fmla="*/ 0 h 59"/>
                <a:gd name="T10" fmla="*/ 26 w 33"/>
                <a:gd name="T11" fmla="*/ 49 h 59"/>
                <a:gd name="T12" fmla="*/ 33 w 33"/>
                <a:gd name="T13" fmla="*/ 49 h 59"/>
                <a:gd name="T14" fmla="*/ 33 w 33"/>
                <a:gd name="T15" fmla="*/ 59 h 59"/>
                <a:gd name="T16" fmla="*/ 7 w 33"/>
                <a:gd name="T17" fmla="*/ 59 h 59"/>
                <a:gd name="T18" fmla="*/ 7 w 33"/>
                <a:gd name="T19" fmla="*/ 49 h 59"/>
                <a:gd name="T20" fmla="*/ 16 w 33"/>
                <a:gd name="T21" fmla="*/ 49 h 59"/>
                <a:gd name="T22" fmla="*/ 16 w 33"/>
                <a:gd name="T23" fmla="*/ 1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9">
                  <a:moveTo>
                    <a:pt x="16" y="12"/>
                  </a:moveTo>
                  <a:lnTo>
                    <a:pt x="4" y="19"/>
                  </a:lnTo>
                  <a:lnTo>
                    <a:pt x="0" y="9"/>
                  </a:lnTo>
                  <a:lnTo>
                    <a:pt x="16" y="0"/>
                  </a:lnTo>
                  <a:lnTo>
                    <a:pt x="26" y="0"/>
                  </a:lnTo>
                  <a:lnTo>
                    <a:pt x="26" y="49"/>
                  </a:lnTo>
                  <a:lnTo>
                    <a:pt x="33" y="49"/>
                  </a:lnTo>
                  <a:lnTo>
                    <a:pt x="33" y="59"/>
                  </a:lnTo>
                  <a:lnTo>
                    <a:pt x="7" y="59"/>
                  </a:lnTo>
                  <a:lnTo>
                    <a:pt x="7" y="49"/>
                  </a:lnTo>
                  <a:lnTo>
                    <a:pt x="16" y="49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34" name="Freeform 83">
              <a:extLst>
                <a:ext uri="{FF2B5EF4-FFF2-40B4-BE49-F238E27FC236}">
                  <a16:creationId xmlns:a16="http://schemas.microsoft.com/office/drawing/2014/main" id="{997C7B44-A530-4617-947F-6A8A4BC33301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0062" y="6340710"/>
              <a:ext cx="92156" cy="157117"/>
            </a:xfrm>
            <a:custGeom>
              <a:avLst/>
              <a:gdLst>
                <a:gd name="T0" fmla="*/ 31 w 61"/>
                <a:gd name="T1" fmla="*/ 19 h 104"/>
                <a:gd name="T2" fmla="*/ 10 w 61"/>
                <a:gd name="T3" fmla="*/ 33 h 104"/>
                <a:gd name="T4" fmla="*/ 0 w 61"/>
                <a:gd name="T5" fmla="*/ 19 h 104"/>
                <a:gd name="T6" fmla="*/ 31 w 61"/>
                <a:gd name="T7" fmla="*/ 0 h 104"/>
                <a:gd name="T8" fmla="*/ 47 w 61"/>
                <a:gd name="T9" fmla="*/ 0 h 104"/>
                <a:gd name="T10" fmla="*/ 47 w 61"/>
                <a:gd name="T11" fmla="*/ 90 h 104"/>
                <a:gd name="T12" fmla="*/ 61 w 61"/>
                <a:gd name="T13" fmla="*/ 90 h 104"/>
                <a:gd name="T14" fmla="*/ 61 w 61"/>
                <a:gd name="T15" fmla="*/ 104 h 104"/>
                <a:gd name="T16" fmla="*/ 17 w 61"/>
                <a:gd name="T17" fmla="*/ 104 h 104"/>
                <a:gd name="T18" fmla="*/ 17 w 61"/>
                <a:gd name="T19" fmla="*/ 90 h 104"/>
                <a:gd name="T20" fmla="*/ 31 w 61"/>
                <a:gd name="T21" fmla="*/ 90 h 104"/>
                <a:gd name="T22" fmla="*/ 31 w 61"/>
                <a:gd name="T23" fmla="*/ 19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4">
                  <a:moveTo>
                    <a:pt x="31" y="19"/>
                  </a:moveTo>
                  <a:lnTo>
                    <a:pt x="10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0"/>
                  </a:lnTo>
                  <a:lnTo>
                    <a:pt x="61" y="90"/>
                  </a:lnTo>
                  <a:lnTo>
                    <a:pt x="61" y="104"/>
                  </a:lnTo>
                  <a:lnTo>
                    <a:pt x="17" y="104"/>
                  </a:lnTo>
                  <a:lnTo>
                    <a:pt x="17" y="90"/>
                  </a:lnTo>
                  <a:lnTo>
                    <a:pt x="31" y="90"/>
                  </a:lnTo>
                  <a:lnTo>
                    <a:pt x="31" y="19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35" name="Freeform 84">
              <a:extLst>
                <a:ext uri="{FF2B5EF4-FFF2-40B4-BE49-F238E27FC236}">
                  <a16:creationId xmlns:a16="http://schemas.microsoft.com/office/drawing/2014/main" id="{91568499-7A40-4E48-9CCE-ED8CA4CAC4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97040" y="6608111"/>
              <a:ext cx="110285" cy="164671"/>
            </a:xfrm>
            <a:custGeom>
              <a:avLst/>
              <a:gdLst>
                <a:gd name="T0" fmla="*/ 31 w 31"/>
                <a:gd name="T1" fmla="*/ 23 h 46"/>
                <a:gd name="T2" fmla="*/ 15 w 31"/>
                <a:gd name="T3" fmla="*/ 46 h 46"/>
                <a:gd name="T4" fmla="*/ 0 w 31"/>
                <a:gd name="T5" fmla="*/ 23 h 46"/>
                <a:gd name="T6" fmla="*/ 15 w 31"/>
                <a:gd name="T7" fmla="*/ 0 h 46"/>
                <a:gd name="T8" fmla="*/ 31 w 31"/>
                <a:gd name="T9" fmla="*/ 23 h 46"/>
                <a:gd name="T10" fmla="*/ 8 w 31"/>
                <a:gd name="T11" fmla="*/ 23 h 46"/>
                <a:gd name="T12" fmla="*/ 15 w 31"/>
                <a:gd name="T13" fmla="*/ 39 h 46"/>
                <a:gd name="T14" fmla="*/ 23 w 31"/>
                <a:gd name="T15" fmla="*/ 23 h 46"/>
                <a:gd name="T16" fmla="*/ 15 w 31"/>
                <a:gd name="T17" fmla="*/ 7 h 46"/>
                <a:gd name="T18" fmla="*/ 8 w 31"/>
                <a:gd name="T19" fmla="*/ 2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46">
                  <a:moveTo>
                    <a:pt x="31" y="23"/>
                  </a:moveTo>
                  <a:cubicBezTo>
                    <a:pt x="31" y="38"/>
                    <a:pt x="26" y="46"/>
                    <a:pt x="15" y="46"/>
                  </a:cubicBezTo>
                  <a:cubicBezTo>
                    <a:pt x="5" y="46"/>
                    <a:pt x="0" y="38"/>
                    <a:pt x="0" y="23"/>
                  </a:cubicBezTo>
                  <a:cubicBezTo>
                    <a:pt x="0" y="8"/>
                    <a:pt x="5" y="0"/>
                    <a:pt x="15" y="0"/>
                  </a:cubicBezTo>
                  <a:cubicBezTo>
                    <a:pt x="26" y="0"/>
                    <a:pt x="31" y="8"/>
                    <a:pt x="31" y="23"/>
                  </a:cubicBezTo>
                  <a:close/>
                  <a:moveTo>
                    <a:pt x="8" y="23"/>
                  </a:moveTo>
                  <a:cubicBezTo>
                    <a:pt x="8" y="34"/>
                    <a:pt x="10" y="39"/>
                    <a:pt x="15" y="39"/>
                  </a:cubicBezTo>
                  <a:cubicBezTo>
                    <a:pt x="20" y="39"/>
                    <a:pt x="23" y="34"/>
                    <a:pt x="23" y="23"/>
                  </a:cubicBezTo>
                  <a:cubicBezTo>
                    <a:pt x="23" y="12"/>
                    <a:pt x="20" y="7"/>
                    <a:pt x="15" y="7"/>
                  </a:cubicBezTo>
                  <a:cubicBezTo>
                    <a:pt x="10" y="7"/>
                    <a:pt x="8" y="12"/>
                    <a:pt x="8" y="2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36" name="Freeform 85">
              <a:extLst>
                <a:ext uri="{FF2B5EF4-FFF2-40B4-BE49-F238E27FC236}">
                  <a16:creationId xmlns:a16="http://schemas.microsoft.com/office/drawing/2014/main" id="{E943E5D4-1A12-4931-9F27-36689CDE3C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97040" y="6880045"/>
              <a:ext cx="110285" cy="160139"/>
            </a:xfrm>
            <a:custGeom>
              <a:avLst/>
              <a:gdLst>
                <a:gd name="T0" fmla="*/ 31 w 31"/>
                <a:gd name="T1" fmla="*/ 23 h 45"/>
                <a:gd name="T2" fmla="*/ 15 w 31"/>
                <a:gd name="T3" fmla="*/ 45 h 45"/>
                <a:gd name="T4" fmla="*/ 0 w 31"/>
                <a:gd name="T5" fmla="*/ 23 h 45"/>
                <a:gd name="T6" fmla="*/ 15 w 31"/>
                <a:gd name="T7" fmla="*/ 0 h 45"/>
                <a:gd name="T8" fmla="*/ 31 w 31"/>
                <a:gd name="T9" fmla="*/ 23 h 45"/>
                <a:gd name="T10" fmla="*/ 8 w 31"/>
                <a:gd name="T11" fmla="*/ 23 h 45"/>
                <a:gd name="T12" fmla="*/ 15 w 31"/>
                <a:gd name="T13" fmla="*/ 39 h 45"/>
                <a:gd name="T14" fmla="*/ 23 w 31"/>
                <a:gd name="T15" fmla="*/ 23 h 45"/>
                <a:gd name="T16" fmla="*/ 15 w 31"/>
                <a:gd name="T17" fmla="*/ 6 h 45"/>
                <a:gd name="T18" fmla="*/ 8 w 31"/>
                <a:gd name="T19" fmla="*/ 2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45">
                  <a:moveTo>
                    <a:pt x="31" y="23"/>
                  </a:moveTo>
                  <a:cubicBezTo>
                    <a:pt x="31" y="38"/>
                    <a:pt x="26" y="45"/>
                    <a:pt x="15" y="45"/>
                  </a:cubicBezTo>
                  <a:cubicBezTo>
                    <a:pt x="5" y="45"/>
                    <a:pt x="0" y="38"/>
                    <a:pt x="0" y="23"/>
                  </a:cubicBezTo>
                  <a:cubicBezTo>
                    <a:pt x="0" y="8"/>
                    <a:pt x="5" y="0"/>
                    <a:pt x="15" y="0"/>
                  </a:cubicBezTo>
                  <a:cubicBezTo>
                    <a:pt x="26" y="0"/>
                    <a:pt x="31" y="8"/>
                    <a:pt x="31" y="23"/>
                  </a:cubicBezTo>
                  <a:close/>
                  <a:moveTo>
                    <a:pt x="8" y="23"/>
                  </a:moveTo>
                  <a:cubicBezTo>
                    <a:pt x="8" y="34"/>
                    <a:pt x="10" y="39"/>
                    <a:pt x="15" y="39"/>
                  </a:cubicBezTo>
                  <a:cubicBezTo>
                    <a:pt x="20" y="39"/>
                    <a:pt x="23" y="34"/>
                    <a:pt x="23" y="23"/>
                  </a:cubicBezTo>
                  <a:cubicBezTo>
                    <a:pt x="23" y="12"/>
                    <a:pt x="20" y="6"/>
                    <a:pt x="15" y="6"/>
                  </a:cubicBezTo>
                  <a:cubicBezTo>
                    <a:pt x="10" y="6"/>
                    <a:pt x="8" y="12"/>
                    <a:pt x="8" y="23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37" name="Freeform 95">
              <a:extLst>
                <a:ext uri="{FF2B5EF4-FFF2-40B4-BE49-F238E27FC236}">
                  <a16:creationId xmlns:a16="http://schemas.microsoft.com/office/drawing/2014/main" id="{C36E5BE0-4F53-4137-960F-19B5491024B3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1996" y="5455415"/>
              <a:ext cx="52876" cy="86113"/>
            </a:xfrm>
            <a:custGeom>
              <a:avLst/>
              <a:gdLst>
                <a:gd name="T0" fmla="*/ 16 w 35"/>
                <a:gd name="T1" fmla="*/ 14 h 57"/>
                <a:gd name="T2" fmla="*/ 7 w 35"/>
                <a:gd name="T3" fmla="*/ 21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7 h 57"/>
                <a:gd name="T12" fmla="*/ 35 w 35"/>
                <a:gd name="T13" fmla="*/ 47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7 h 57"/>
                <a:gd name="T20" fmla="*/ 16 w 35"/>
                <a:gd name="T21" fmla="*/ 47 h 57"/>
                <a:gd name="T22" fmla="*/ 16 w 35"/>
                <a:gd name="T23" fmla="*/ 1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4"/>
                  </a:moveTo>
                  <a:lnTo>
                    <a:pt x="7" y="21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38" name="Freeform 96">
              <a:extLst>
                <a:ext uri="{FF2B5EF4-FFF2-40B4-BE49-F238E27FC236}">
                  <a16:creationId xmlns:a16="http://schemas.microsoft.com/office/drawing/2014/main" id="{22435189-318D-417E-A120-76EC88C492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67464" y="5601957"/>
              <a:ext cx="67984" cy="86113"/>
            </a:xfrm>
            <a:custGeom>
              <a:avLst/>
              <a:gdLst>
                <a:gd name="T0" fmla="*/ 17 w 19"/>
                <a:gd name="T1" fmla="*/ 4 h 24"/>
                <a:gd name="T2" fmla="*/ 19 w 19"/>
                <a:gd name="T3" fmla="*/ 12 h 24"/>
                <a:gd name="T4" fmla="*/ 17 w 19"/>
                <a:gd name="T5" fmla="*/ 21 h 24"/>
                <a:gd name="T6" fmla="*/ 10 w 19"/>
                <a:gd name="T7" fmla="*/ 24 h 24"/>
                <a:gd name="T8" fmla="*/ 2 w 19"/>
                <a:gd name="T9" fmla="*/ 20 h 24"/>
                <a:gd name="T10" fmla="*/ 0 w 19"/>
                <a:gd name="T11" fmla="*/ 12 h 24"/>
                <a:gd name="T12" fmla="*/ 10 w 19"/>
                <a:gd name="T13" fmla="*/ 0 h 24"/>
                <a:gd name="T14" fmla="*/ 17 w 19"/>
                <a:gd name="T15" fmla="*/ 4 h 24"/>
                <a:gd name="T16" fmla="*/ 6 w 19"/>
                <a:gd name="T17" fmla="*/ 12 h 24"/>
                <a:gd name="T18" fmla="*/ 10 w 19"/>
                <a:gd name="T19" fmla="*/ 20 h 24"/>
                <a:gd name="T20" fmla="*/ 14 w 19"/>
                <a:gd name="T21" fmla="*/ 12 h 24"/>
                <a:gd name="T22" fmla="*/ 10 w 19"/>
                <a:gd name="T23" fmla="*/ 4 h 24"/>
                <a:gd name="T24" fmla="*/ 6 w 19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4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6"/>
                    <a:pt x="18" y="19"/>
                    <a:pt x="17" y="21"/>
                  </a:cubicBezTo>
                  <a:cubicBezTo>
                    <a:pt x="15" y="23"/>
                    <a:pt x="13" y="24"/>
                    <a:pt x="10" y="24"/>
                  </a:cubicBezTo>
                  <a:cubicBezTo>
                    <a:pt x="6" y="24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1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39" name="Freeform 97">
              <a:extLst>
                <a:ext uri="{FF2B5EF4-FFF2-40B4-BE49-F238E27FC236}">
                  <a16:creationId xmlns:a16="http://schemas.microsoft.com/office/drawing/2014/main" id="{F18F400C-CF45-43BE-AFD3-460AA7B23AA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1996" y="5748499"/>
              <a:ext cx="52876" cy="84602"/>
            </a:xfrm>
            <a:custGeom>
              <a:avLst/>
              <a:gdLst>
                <a:gd name="T0" fmla="*/ 16 w 35"/>
                <a:gd name="T1" fmla="*/ 14 h 56"/>
                <a:gd name="T2" fmla="*/ 7 w 35"/>
                <a:gd name="T3" fmla="*/ 21 h 56"/>
                <a:gd name="T4" fmla="*/ 0 w 35"/>
                <a:gd name="T5" fmla="*/ 11 h 56"/>
                <a:gd name="T6" fmla="*/ 19 w 35"/>
                <a:gd name="T7" fmla="*/ 0 h 56"/>
                <a:gd name="T8" fmla="*/ 28 w 35"/>
                <a:gd name="T9" fmla="*/ 0 h 56"/>
                <a:gd name="T10" fmla="*/ 28 w 35"/>
                <a:gd name="T11" fmla="*/ 47 h 56"/>
                <a:gd name="T12" fmla="*/ 35 w 35"/>
                <a:gd name="T13" fmla="*/ 47 h 56"/>
                <a:gd name="T14" fmla="*/ 35 w 35"/>
                <a:gd name="T15" fmla="*/ 56 h 56"/>
                <a:gd name="T16" fmla="*/ 9 w 35"/>
                <a:gd name="T17" fmla="*/ 56 h 56"/>
                <a:gd name="T18" fmla="*/ 9 w 35"/>
                <a:gd name="T19" fmla="*/ 47 h 56"/>
                <a:gd name="T20" fmla="*/ 16 w 35"/>
                <a:gd name="T21" fmla="*/ 47 h 56"/>
                <a:gd name="T22" fmla="*/ 16 w 35"/>
                <a:gd name="T23" fmla="*/ 1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6">
                  <a:moveTo>
                    <a:pt x="16" y="14"/>
                  </a:moveTo>
                  <a:lnTo>
                    <a:pt x="7" y="21"/>
                  </a:lnTo>
                  <a:lnTo>
                    <a:pt x="0" y="11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6"/>
                  </a:lnTo>
                  <a:lnTo>
                    <a:pt x="9" y="56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40" name="Freeform 98">
              <a:extLst>
                <a:ext uri="{FF2B5EF4-FFF2-40B4-BE49-F238E27FC236}">
                  <a16:creationId xmlns:a16="http://schemas.microsoft.com/office/drawing/2014/main" id="{3B7E674E-0792-4276-8BC5-3D9917F0AF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67464" y="5895041"/>
              <a:ext cx="67984" cy="84602"/>
            </a:xfrm>
            <a:custGeom>
              <a:avLst/>
              <a:gdLst>
                <a:gd name="T0" fmla="*/ 17 w 19"/>
                <a:gd name="T1" fmla="*/ 4 h 24"/>
                <a:gd name="T2" fmla="*/ 19 w 19"/>
                <a:gd name="T3" fmla="*/ 12 h 24"/>
                <a:gd name="T4" fmla="*/ 17 w 19"/>
                <a:gd name="T5" fmla="*/ 21 h 24"/>
                <a:gd name="T6" fmla="*/ 10 w 19"/>
                <a:gd name="T7" fmla="*/ 24 h 24"/>
                <a:gd name="T8" fmla="*/ 2 w 19"/>
                <a:gd name="T9" fmla="*/ 20 h 24"/>
                <a:gd name="T10" fmla="*/ 0 w 19"/>
                <a:gd name="T11" fmla="*/ 12 h 24"/>
                <a:gd name="T12" fmla="*/ 10 w 19"/>
                <a:gd name="T13" fmla="*/ 0 h 24"/>
                <a:gd name="T14" fmla="*/ 17 w 19"/>
                <a:gd name="T15" fmla="*/ 4 h 24"/>
                <a:gd name="T16" fmla="*/ 6 w 19"/>
                <a:gd name="T17" fmla="*/ 12 h 24"/>
                <a:gd name="T18" fmla="*/ 10 w 19"/>
                <a:gd name="T19" fmla="*/ 20 h 24"/>
                <a:gd name="T20" fmla="*/ 14 w 19"/>
                <a:gd name="T21" fmla="*/ 12 h 24"/>
                <a:gd name="T22" fmla="*/ 10 w 19"/>
                <a:gd name="T23" fmla="*/ 4 h 24"/>
                <a:gd name="T24" fmla="*/ 6 w 19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4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6"/>
                    <a:pt x="18" y="19"/>
                    <a:pt x="17" y="21"/>
                  </a:cubicBezTo>
                  <a:cubicBezTo>
                    <a:pt x="15" y="23"/>
                    <a:pt x="13" y="24"/>
                    <a:pt x="10" y="24"/>
                  </a:cubicBezTo>
                  <a:cubicBezTo>
                    <a:pt x="6" y="24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1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41" name="Freeform 99">
              <a:extLst>
                <a:ext uri="{FF2B5EF4-FFF2-40B4-BE49-F238E27FC236}">
                  <a16:creationId xmlns:a16="http://schemas.microsoft.com/office/drawing/2014/main" id="{10EE870D-613B-4676-A5E3-82FDEA2477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1996" y="6040072"/>
              <a:ext cx="52876" cy="86113"/>
            </a:xfrm>
            <a:custGeom>
              <a:avLst/>
              <a:gdLst>
                <a:gd name="T0" fmla="*/ 16 w 35"/>
                <a:gd name="T1" fmla="*/ 15 h 57"/>
                <a:gd name="T2" fmla="*/ 7 w 35"/>
                <a:gd name="T3" fmla="*/ 22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8 h 57"/>
                <a:gd name="T12" fmla="*/ 35 w 35"/>
                <a:gd name="T13" fmla="*/ 48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8 h 57"/>
                <a:gd name="T20" fmla="*/ 16 w 35"/>
                <a:gd name="T21" fmla="*/ 48 h 57"/>
                <a:gd name="T22" fmla="*/ 16 w 35"/>
                <a:gd name="T23" fmla="*/ 1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5"/>
                  </a:moveTo>
                  <a:lnTo>
                    <a:pt x="7" y="22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8"/>
                  </a:lnTo>
                  <a:lnTo>
                    <a:pt x="35" y="48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8"/>
                  </a:lnTo>
                  <a:lnTo>
                    <a:pt x="16" y="48"/>
                  </a:lnTo>
                  <a:lnTo>
                    <a:pt x="16" y="15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42" name="Freeform 100">
              <a:extLst>
                <a:ext uri="{FF2B5EF4-FFF2-40B4-BE49-F238E27FC236}">
                  <a16:creationId xmlns:a16="http://schemas.microsoft.com/office/drawing/2014/main" id="{3C78D4AE-7904-4310-9C33-E647EE122E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67464" y="6186614"/>
              <a:ext cx="67984" cy="86113"/>
            </a:xfrm>
            <a:custGeom>
              <a:avLst/>
              <a:gdLst>
                <a:gd name="T0" fmla="*/ 17 w 19"/>
                <a:gd name="T1" fmla="*/ 4 h 24"/>
                <a:gd name="T2" fmla="*/ 19 w 19"/>
                <a:gd name="T3" fmla="*/ 12 h 24"/>
                <a:gd name="T4" fmla="*/ 17 w 19"/>
                <a:gd name="T5" fmla="*/ 21 h 24"/>
                <a:gd name="T6" fmla="*/ 10 w 19"/>
                <a:gd name="T7" fmla="*/ 24 h 24"/>
                <a:gd name="T8" fmla="*/ 2 w 19"/>
                <a:gd name="T9" fmla="*/ 20 h 24"/>
                <a:gd name="T10" fmla="*/ 0 w 19"/>
                <a:gd name="T11" fmla="*/ 12 h 24"/>
                <a:gd name="T12" fmla="*/ 10 w 19"/>
                <a:gd name="T13" fmla="*/ 0 h 24"/>
                <a:gd name="T14" fmla="*/ 17 w 19"/>
                <a:gd name="T15" fmla="*/ 4 h 24"/>
                <a:gd name="T16" fmla="*/ 6 w 19"/>
                <a:gd name="T17" fmla="*/ 12 h 24"/>
                <a:gd name="T18" fmla="*/ 10 w 19"/>
                <a:gd name="T19" fmla="*/ 20 h 24"/>
                <a:gd name="T20" fmla="*/ 14 w 19"/>
                <a:gd name="T21" fmla="*/ 12 h 24"/>
                <a:gd name="T22" fmla="*/ 10 w 19"/>
                <a:gd name="T23" fmla="*/ 4 h 24"/>
                <a:gd name="T24" fmla="*/ 6 w 19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4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6"/>
                    <a:pt x="18" y="19"/>
                    <a:pt x="17" y="21"/>
                  </a:cubicBezTo>
                  <a:cubicBezTo>
                    <a:pt x="15" y="23"/>
                    <a:pt x="13" y="24"/>
                    <a:pt x="10" y="24"/>
                  </a:cubicBezTo>
                  <a:cubicBezTo>
                    <a:pt x="6" y="24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1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43" name="Freeform 101">
              <a:extLst>
                <a:ext uri="{FF2B5EF4-FFF2-40B4-BE49-F238E27FC236}">
                  <a16:creationId xmlns:a16="http://schemas.microsoft.com/office/drawing/2014/main" id="{07DFB53D-57AF-4E85-8D78-471303FBF46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1996" y="6333156"/>
              <a:ext cx="52876" cy="86113"/>
            </a:xfrm>
            <a:custGeom>
              <a:avLst/>
              <a:gdLst>
                <a:gd name="T0" fmla="*/ 16 w 35"/>
                <a:gd name="T1" fmla="*/ 14 h 57"/>
                <a:gd name="T2" fmla="*/ 7 w 35"/>
                <a:gd name="T3" fmla="*/ 21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7 h 57"/>
                <a:gd name="T12" fmla="*/ 35 w 35"/>
                <a:gd name="T13" fmla="*/ 47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7 h 57"/>
                <a:gd name="T20" fmla="*/ 16 w 35"/>
                <a:gd name="T21" fmla="*/ 47 h 57"/>
                <a:gd name="T22" fmla="*/ 16 w 35"/>
                <a:gd name="T23" fmla="*/ 1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4"/>
                  </a:moveTo>
                  <a:lnTo>
                    <a:pt x="7" y="21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44" name="Freeform 102">
              <a:extLst>
                <a:ext uri="{FF2B5EF4-FFF2-40B4-BE49-F238E27FC236}">
                  <a16:creationId xmlns:a16="http://schemas.microsoft.com/office/drawing/2014/main" id="{84F75036-C19A-46BF-BF08-89DD602F63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1996" y="6479698"/>
              <a:ext cx="52876" cy="86113"/>
            </a:xfrm>
            <a:custGeom>
              <a:avLst/>
              <a:gdLst>
                <a:gd name="T0" fmla="*/ 16 w 35"/>
                <a:gd name="T1" fmla="*/ 14 h 57"/>
                <a:gd name="T2" fmla="*/ 7 w 35"/>
                <a:gd name="T3" fmla="*/ 21 h 57"/>
                <a:gd name="T4" fmla="*/ 0 w 35"/>
                <a:gd name="T5" fmla="*/ 12 h 57"/>
                <a:gd name="T6" fmla="*/ 19 w 35"/>
                <a:gd name="T7" fmla="*/ 0 h 57"/>
                <a:gd name="T8" fmla="*/ 28 w 35"/>
                <a:gd name="T9" fmla="*/ 0 h 57"/>
                <a:gd name="T10" fmla="*/ 28 w 35"/>
                <a:gd name="T11" fmla="*/ 47 h 57"/>
                <a:gd name="T12" fmla="*/ 35 w 35"/>
                <a:gd name="T13" fmla="*/ 47 h 57"/>
                <a:gd name="T14" fmla="*/ 35 w 35"/>
                <a:gd name="T15" fmla="*/ 57 h 57"/>
                <a:gd name="T16" fmla="*/ 9 w 35"/>
                <a:gd name="T17" fmla="*/ 57 h 57"/>
                <a:gd name="T18" fmla="*/ 9 w 35"/>
                <a:gd name="T19" fmla="*/ 47 h 57"/>
                <a:gd name="T20" fmla="*/ 16 w 35"/>
                <a:gd name="T21" fmla="*/ 47 h 57"/>
                <a:gd name="T22" fmla="*/ 16 w 35"/>
                <a:gd name="T23" fmla="*/ 1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7">
                  <a:moveTo>
                    <a:pt x="16" y="14"/>
                  </a:moveTo>
                  <a:lnTo>
                    <a:pt x="7" y="21"/>
                  </a:lnTo>
                  <a:lnTo>
                    <a:pt x="0" y="1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7"/>
                  </a:lnTo>
                  <a:lnTo>
                    <a:pt x="35" y="47"/>
                  </a:lnTo>
                  <a:lnTo>
                    <a:pt x="35" y="57"/>
                  </a:lnTo>
                  <a:lnTo>
                    <a:pt x="9" y="57"/>
                  </a:lnTo>
                  <a:lnTo>
                    <a:pt x="9" y="47"/>
                  </a:lnTo>
                  <a:lnTo>
                    <a:pt x="16" y="47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45" name="Freeform 103">
              <a:extLst>
                <a:ext uri="{FF2B5EF4-FFF2-40B4-BE49-F238E27FC236}">
                  <a16:creationId xmlns:a16="http://schemas.microsoft.com/office/drawing/2014/main" id="{61D7484C-C293-455F-BAD9-381969AD2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1996" y="6629262"/>
              <a:ext cx="52876" cy="83091"/>
            </a:xfrm>
            <a:custGeom>
              <a:avLst/>
              <a:gdLst>
                <a:gd name="T0" fmla="*/ 16 w 35"/>
                <a:gd name="T1" fmla="*/ 12 h 55"/>
                <a:gd name="T2" fmla="*/ 7 w 35"/>
                <a:gd name="T3" fmla="*/ 19 h 55"/>
                <a:gd name="T4" fmla="*/ 0 w 35"/>
                <a:gd name="T5" fmla="*/ 10 h 55"/>
                <a:gd name="T6" fmla="*/ 19 w 35"/>
                <a:gd name="T7" fmla="*/ 0 h 55"/>
                <a:gd name="T8" fmla="*/ 28 w 35"/>
                <a:gd name="T9" fmla="*/ 0 h 55"/>
                <a:gd name="T10" fmla="*/ 28 w 35"/>
                <a:gd name="T11" fmla="*/ 45 h 55"/>
                <a:gd name="T12" fmla="*/ 35 w 35"/>
                <a:gd name="T13" fmla="*/ 45 h 55"/>
                <a:gd name="T14" fmla="*/ 35 w 35"/>
                <a:gd name="T15" fmla="*/ 55 h 55"/>
                <a:gd name="T16" fmla="*/ 9 w 35"/>
                <a:gd name="T17" fmla="*/ 55 h 55"/>
                <a:gd name="T18" fmla="*/ 9 w 35"/>
                <a:gd name="T19" fmla="*/ 45 h 55"/>
                <a:gd name="T20" fmla="*/ 16 w 35"/>
                <a:gd name="T21" fmla="*/ 45 h 55"/>
                <a:gd name="T22" fmla="*/ 16 w 35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5">
                  <a:moveTo>
                    <a:pt x="16" y="12"/>
                  </a:moveTo>
                  <a:lnTo>
                    <a:pt x="7" y="19"/>
                  </a:lnTo>
                  <a:lnTo>
                    <a:pt x="0" y="10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5"/>
                  </a:lnTo>
                  <a:lnTo>
                    <a:pt x="35" y="45"/>
                  </a:lnTo>
                  <a:lnTo>
                    <a:pt x="35" y="55"/>
                  </a:lnTo>
                  <a:lnTo>
                    <a:pt x="9" y="55"/>
                  </a:lnTo>
                  <a:lnTo>
                    <a:pt x="9" y="45"/>
                  </a:lnTo>
                  <a:lnTo>
                    <a:pt x="16" y="45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46" name="Freeform 104">
              <a:extLst>
                <a:ext uri="{FF2B5EF4-FFF2-40B4-BE49-F238E27FC236}">
                  <a16:creationId xmlns:a16="http://schemas.microsoft.com/office/drawing/2014/main" id="{0FB66892-94C9-4511-B669-CBB1D76AEB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67464" y="6772782"/>
              <a:ext cx="67984" cy="89134"/>
            </a:xfrm>
            <a:custGeom>
              <a:avLst/>
              <a:gdLst>
                <a:gd name="T0" fmla="*/ 17 w 19"/>
                <a:gd name="T1" fmla="*/ 4 h 25"/>
                <a:gd name="T2" fmla="*/ 19 w 19"/>
                <a:gd name="T3" fmla="*/ 12 h 25"/>
                <a:gd name="T4" fmla="*/ 17 w 19"/>
                <a:gd name="T5" fmla="*/ 21 h 25"/>
                <a:gd name="T6" fmla="*/ 10 w 19"/>
                <a:gd name="T7" fmla="*/ 25 h 25"/>
                <a:gd name="T8" fmla="*/ 2 w 19"/>
                <a:gd name="T9" fmla="*/ 20 h 25"/>
                <a:gd name="T10" fmla="*/ 0 w 19"/>
                <a:gd name="T11" fmla="*/ 12 h 25"/>
                <a:gd name="T12" fmla="*/ 10 w 19"/>
                <a:gd name="T13" fmla="*/ 0 h 25"/>
                <a:gd name="T14" fmla="*/ 17 w 19"/>
                <a:gd name="T15" fmla="*/ 4 h 25"/>
                <a:gd name="T16" fmla="*/ 6 w 19"/>
                <a:gd name="T17" fmla="*/ 12 h 25"/>
                <a:gd name="T18" fmla="*/ 10 w 19"/>
                <a:gd name="T19" fmla="*/ 20 h 25"/>
                <a:gd name="T20" fmla="*/ 14 w 19"/>
                <a:gd name="T21" fmla="*/ 12 h 25"/>
                <a:gd name="T22" fmla="*/ 10 w 19"/>
                <a:gd name="T23" fmla="*/ 4 h 25"/>
                <a:gd name="T24" fmla="*/ 6 w 19"/>
                <a:gd name="T25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5">
                  <a:moveTo>
                    <a:pt x="17" y="4"/>
                  </a:moveTo>
                  <a:cubicBezTo>
                    <a:pt x="18" y="6"/>
                    <a:pt x="19" y="9"/>
                    <a:pt x="19" y="12"/>
                  </a:cubicBezTo>
                  <a:cubicBezTo>
                    <a:pt x="19" y="17"/>
                    <a:pt x="18" y="19"/>
                    <a:pt x="17" y="21"/>
                  </a:cubicBezTo>
                  <a:cubicBezTo>
                    <a:pt x="15" y="23"/>
                    <a:pt x="13" y="25"/>
                    <a:pt x="10" y="25"/>
                  </a:cubicBezTo>
                  <a:cubicBezTo>
                    <a:pt x="6" y="25"/>
                    <a:pt x="3" y="23"/>
                    <a:pt x="2" y="20"/>
                  </a:cubicBezTo>
                  <a:cubicBezTo>
                    <a:pt x="1" y="18"/>
                    <a:pt x="0" y="16"/>
                    <a:pt x="0" y="12"/>
                  </a:cubicBezTo>
                  <a:cubicBezTo>
                    <a:pt x="0" y="4"/>
                    <a:pt x="3" y="0"/>
                    <a:pt x="10" y="0"/>
                  </a:cubicBezTo>
                  <a:cubicBezTo>
                    <a:pt x="13" y="0"/>
                    <a:pt x="16" y="2"/>
                    <a:pt x="17" y="4"/>
                  </a:cubicBezTo>
                  <a:close/>
                  <a:moveTo>
                    <a:pt x="6" y="12"/>
                  </a:moveTo>
                  <a:cubicBezTo>
                    <a:pt x="6" y="18"/>
                    <a:pt x="7" y="20"/>
                    <a:pt x="10" y="20"/>
                  </a:cubicBezTo>
                  <a:cubicBezTo>
                    <a:pt x="12" y="20"/>
                    <a:pt x="14" y="18"/>
                    <a:pt x="14" y="12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4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47" name="Freeform 105">
              <a:extLst>
                <a:ext uri="{FF2B5EF4-FFF2-40B4-BE49-F238E27FC236}">
                  <a16:creationId xmlns:a16="http://schemas.microsoft.com/office/drawing/2014/main" id="{2113AF9C-FF88-4C5B-B195-311C6E5F42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1996" y="6922346"/>
              <a:ext cx="52876" cy="81580"/>
            </a:xfrm>
            <a:custGeom>
              <a:avLst/>
              <a:gdLst>
                <a:gd name="T0" fmla="*/ 16 w 35"/>
                <a:gd name="T1" fmla="*/ 12 h 54"/>
                <a:gd name="T2" fmla="*/ 7 w 35"/>
                <a:gd name="T3" fmla="*/ 19 h 54"/>
                <a:gd name="T4" fmla="*/ 0 w 35"/>
                <a:gd name="T5" fmla="*/ 9 h 54"/>
                <a:gd name="T6" fmla="*/ 19 w 35"/>
                <a:gd name="T7" fmla="*/ 0 h 54"/>
                <a:gd name="T8" fmla="*/ 28 w 35"/>
                <a:gd name="T9" fmla="*/ 0 h 54"/>
                <a:gd name="T10" fmla="*/ 28 w 35"/>
                <a:gd name="T11" fmla="*/ 45 h 54"/>
                <a:gd name="T12" fmla="*/ 35 w 35"/>
                <a:gd name="T13" fmla="*/ 45 h 54"/>
                <a:gd name="T14" fmla="*/ 35 w 35"/>
                <a:gd name="T15" fmla="*/ 54 h 54"/>
                <a:gd name="T16" fmla="*/ 9 w 35"/>
                <a:gd name="T17" fmla="*/ 54 h 54"/>
                <a:gd name="T18" fmla="*/ 9 w 35"/>
                <a:gd name="T19" fmla="*/ 45 h 54"/>
                <a:gd name="T20" fmla="*/ 16 w 35"/>
                <a:gd name="T21" fmla="*/ 45 h 54"/>
                <a:gd name="T22" fmla="*/ 16 w 35"/>
                <a:gd name="T23" fmla="*/ 1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4">
                  <a:moveTo>
                    <a:pt x="16" y="12"/>
                  </a:moveTo>
                  <a:lnTo>
                    <a:pt x="7" y="19"/>
                  </a:lnTo>
                  <a:lnTo>
                    <a:pt x="0" y="9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28" y="45"/>
                  </a:lnTo>
                  <a:lnTo>
                    <a:pt x="35" y="45"/>
                  </a:lnTo>
                  <a:lnTo>
                    <a:pt x="35" y="54"/>
                  </a:lnTo>
                  <a:lnTo>
                    <a:pt x="9" y="54"/>
                  </a:lnTo>
                  <a:lnTo>
                    <a:pt x="9" y="45"/>
                  </a:lnTo>
                  <a:lnTo>
                    <a:pt x="16" y="45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48" name="Freeform 135">
              <a:extLst>
                <a:ext uri="{FF2B5EF4-FFF2-40B4-BE49-F238E27FC236}">
                  <a16:creationId xmlns:a16="http://schemas.microsoft.com/office/drawing/2014/main" id="{873A7248-700C-479A-A09B-ED3BEA04A4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2085" y="5822526"/>
              <a:ext cx="60430" cy="111795"/>
            </a:xfrm>
            <a:custGeom>
              <a:avLst/>
              <a:gdLst>
                <a:gd name="T0" fmla="*/ 19 w 40"/>
                <a:gd name="T1" fmla="*/ 14 h 74"/>
                <a:gd name="T2" fmla="*/ 4 w 40"/>
                <a:gd name="T3" fmla="*/ 24 h 74"/>
                <a:gd name="T4" fmla="*/ 0 w 40"/>
                <a:gd name="T5" fmla="*/ 14 h 74"/>
                <a:gd name="T6" fmla="*/ 21 w 40"/>
                <a:gd name="T7" fmla="*/ 0 h 74"/>
                <a:gd name="T8" fmla="*/ 30 w 40"/>
                <a:gd name="T9" fmla="*/ 0 h 74"/>
                <a:gd name="T10" fmla="*/ 30 w 40"/>
                <a:gd name="T11" fmla="*/ 64 h 74"/>
                <a:gd name="T12" fmla="*/ 40 w 40"/>
                <a:gd name="T13" fmla="*/ 64 h 74"/>
                <a:gd name="T14" fmla="*/ 40 w 40"/>
                <a:gd name="T15" fmla="*/ 74 h 74"/>
                <a:gd name="T16" fmla="*/ 9 w 40"/>
                <a:gd name="T17" fmla="*/ 74 h 74"/>
                <a:gd name="T18" fmla="*/ 9 w 40"/>
                <a:gd name="T19" fmla="*/ 64 h 74"/>
                <a:gd name="T20" fmla="*/ 19 w 40"/>
                <a:gd name="T21" fmla="*/ 64 h 74"/>
                <a:gd name="T22" fmla="*/ 19 w 40"/>
                <a:gd name="T23" fmla="*/ 1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4">
                  <a:moveTo>
                    <a:pt x="19" y="14"/>
                  </a:moveTo>
                  <a:lnTo>
                    <a:pt x="4" y="24"/>
                  </a:lnTo>
                  <a:lnTo>
                    <a:pt x="0" y="14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4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9" y="74"/>
                  </a:lnTo>
                  <a:lnTo>
                    <a:pt x="9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49" name="Freeform 136">
              <a:extLst>
                <a:ext uri="{FF2B5EF4-FFF2-40B4-BE49-F238E27FC236}">
                  <a16:creationId xmlns:a16="http://schemas.microsoft.com/office/drawing/2014/main" id="{66A18E02-F276-48E9-A9DD-D93A858183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17554" y="6011368"/>
              <a:ext cx="75537" cy="114816"/>
            </a:xfrm>
            <a:custGeom>
              <a:avLst/>
              <a:gdLst>
                <a:gd name="T0" fmla="*/ 21 w 21"/>
                <a:gd name="T1" fmla="*/ 16 h 32"/>
                <a:gd name="T2" fmla="*/ 10 w 21"/>
                <a:gd name="T3" fmla="*/ 32 h 32"/>
                <a:gd name="T4" fmla="*/ 0 w 21"/>
                <a:gd name="T5" fmla="*/ 16 h 32"/>
                <a:gd name="T6" fmla="*/ 10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0 w 21"/>
                <a:gd name="T13" fmla="*/ 28 h 32"/>
                <a:gd name="T14" fmla="*/ 16 w 21"/>
                <a:gd name="T15" fmla="*/ 16 h 32"/>
                <a:gd name="T16" fmla="*/ 10 w 21"/>
                <a:gd name="T17" fmla="*/ 5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7"/>
                    <a:pt x="18" y="32"/>
                    <a:pt x="10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0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8"/>
                    <a:pt x="10" y="28"/>
                  </a:cubicBezTo>
                  <a:cubicBezTo>
                    <a:pt x="14" y="28"/>
                    <a:pt x="16" y="24"/>
                    <a:pt x="16" y="16"/>
                  </a:cubicBezTo>
                  <a:cubicBezTo>
                    <a:pt x="16" y="8"/>
                    <a:pt x="14" y="5"/>
                    <a:pt x="10" y="5"/>
                  </a:cubicBezTo>
                  <a:cubicBezTo>
                    <a:pt x="7" y="5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50" name="Freeform 137">
              <a:extLst>
                <a:ext uri="{FF2B5EF4-FFF2-40B4-BE49-F238E27FC236}">
                  <a16:creationId xmlns:a16="http://schemas.microsoft.com/office/drawing/2014/main" id="{2F02118A-E3FF-4121-A714-91C21C5534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17554" y="6393586"/>
              <a:ext cx="75537" cy="114816"/>
            </a:xfrm>
            <a:custGeom>
              <a:avLst/>
              <a:gdLst>
                <a:gd name="T0" fmla="*/ 21 w 21"/>
                <a:gd name="T1" fmla="*/ 16 h 32"/>
                <a:gd name="T2" fmla="*/ 10 w 21"/>
                <a:gd name="T3" fmla="*/ 32 h 32"/>
                <a:gd name="T4" fmla="*/ 0 w 21"/>
                <a:gd name="T5" fmla="*/ 16 h 32"/>
                <a:gd name="T6" fmla="*/ 10 w 21"/>
                <a:gd name="T7" fmla="*/ 0 h 32"/>
                <a:gd name="T8" fmla="*/ 21 w 21"/>
                <a:gd name="T9" fmla="*/ 16 h 32"/>
                <a:gd name="T10" fmla="*/ 5 w 21"/>
                <a:gd name="T11" fmla="*/ 16 h 32"/>
                <a:gd name="T12" fmla="*/ 10 w 21"/>
                <a:gd name="T13" fmla="*/ 27 h 32"/>
                <a:gd name="T14" fmla="*/ 16 w 21"/>
                <a:gd name="T15" fmla="*/ 16 h 32"/>
                <a:gd name="T16" fmla="*/ 10 w 21"/>
                <a:gd name="T17" fmla="*/ 4 h 32"/>
                <a:gd name="T18" fmla="*/ 5 w 21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16"/>
                  </a:moveTo>
                  <a:cubicBezTo>
                    <a:pt x="21" y="26"/>
                    <a:pt x="18" y="32"/>
                    <a:pt x="10" y="32"/>
                  </a:cubicBezTo>
                  <a:cubicBezTo>
                    <a:pt x="3" y="32"/>
                    <a:pt x="0" y="27"/>
                    <a:pt x="0" y="16"/>
                  </a:cubicBezTo>
                  <a:cubicBezTo>
                    <a:pt x="0" y="5"/>
                    <a:pt x="3" y="0"/>
                    <a:pt x="10" y="0"/>
                  </a:cubicBezTo>
                  <a:cubicBezTo>
                    <a:pt x="18" y="0"/>
                    <a:pt x="21" y="5"/>
                    <a:pt x="21" y="16"/>
                  </a:cubicBezTo>
                  <a:close/>
                  <a:moveTo>
                    <a:pt x="5" y="16"/>
                  </a:moveTo>
                  <a:cubicBezTo>
                    <a:pt x="5" y="24"/>
                    <a:pt x="7" y="27"/>
                    <a:pt x="10" y="27"/>
                  </a:cubicBezTo>
                  <a:cubicBezTo>
                    <a:pt x="14" y="27"/>
                    <a:pt x="16" y="24"/>
                    <a:pt x="16" y="16"/>
                  </a:cubicBezTo>
                  <a:cubicBezTo>
                    <a:pt x="16" y="8"/>
                    <a:pt x="14" y="4"/>
                    <a:pt x="10" y="4"/>
                  </a:cubicBezTo>
                  <a:cubicBezTo>
                    <a:pt x="7" y="4"/>
                    <a:pt x="5" y="8"/>
                    <a:pt x="5" y="16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51" name="Freeform 138">
              <a:extLst>
                <a:ext uri="{FF2B5EF4-FFF2-40B4-BE49-F238E27FC236}">
                  <a16:creationId xmlns:a16="http://schemas.microsoft.com/office/drawing/2014/main" id="{65034A74-507D-4843-8942-D21DD689699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2085" y="6586961"/>
              <a:ext cx="60430" cy="107263"/>
            </a:xfrm>
            <a:custGeom>
              <a:avLst/>
              <a:gdLst>
                <a:gd name="T0" fmla="*/ 19 w 40"/>
                <a:gd name="T1" fmla="*/ 12 h 71"/>
                <a:gd name="T2" fmla="*/ 4 w 40"/>
                <a:gd name="T3" fmla="*/ 21 h 71"/>
                <a:gd name="T4" fmla="*/ 0 w 40"/>
                <a:gd name="T5" fmla="*/ 12 h 71"/>
                <a:gd name="T6" fmla="*/ 21 w 40"/>
                <a:gd name="T7" fmla="*/ 0 h 71"/>
                <a:gd name="T8" fmla="*/ 30 w 40"/>
                <a:gd name="T9" fmla="*/ 0 h 71"/>
                <a:gd name="T10" fmla="*/ 30 w 40"/>
                <a:gd name="T11" fmla="*/ 64 h 71"/>
                <a:gd name="T12" fmla="*/ 40 w 40"/>
                <a:gd name="T13" fmla="*/ 64 h 71"/>
                <a:gd name="T14" fmla="*/ 40 w 40"/>
                <a:gd name="T15" fmla="*/ 71 h 71"/>
                <a:gd name="T16" fmla="*/ 9 w 40"/>
                <a:gd name="T17" fmla="*/ 71 h 71"/>
                <a:gd name="T18" fmla="*/ 9 w 40"/>
                <a:gd name="T19" fmla="*/ 64 h 71"/>
                <a:gd name="T20" fmla="*/ 19 w 40"/>
                <a:gd name="T21" fmla="*/ 64 h 71"/>
                <a:gd name="T22" fmla="*/ 19 w 40"/>
                <a:gd name="T23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1">
                  <a:moveTo>
                    <a:pt x="19" y="12"/>
                  </a:moveTo>
                  <a:lnTo>
                    <a:pt x="4" y="21"/>
                  </a:lnTo>
                  <a:lnTo>
                    <a:pt x="0" y="12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4"/>
                  </a:lnTo>
                  <a:lnTo>
                    <a:pt x="40" y="64"/>
                  </a:lnTo>
                  <a:lnTo>
                    <a:pt x="40" y="71"/>
                  </a:lnTo>
                  <a:lnTo>
                    <a:pt x="9" y="71"/>
                  </a:lnTo>
                  <a:lnTo>
                    <a:pt x="9" y="64"/>
                  </a:lnTo>
                  <a:lnTo>
                    <a:pt x="19" y="64"/>
                  </a:lnTo>
                  <a:lnTo>
                    <a:pt x="19" y="12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52" name="Freeform 139">
              <a:extLst>
                <a:ext uri="{FF2B5EF4-FFF2-40B4-BE49-F238E27FC236}">
                  <a16:creationId xmlns:a16="http://schemas.microsoft.com/office/drawing/2014/main" id="{9992D74C-D8E6-4316-9102-2347534C9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2085" y="6775803"/>
              <a:ext cx="60430" cy="110285"/>
            </a:xfrm>
            <a:custGeom>
              <a:avLst/>
              <a:gdLst>
                <a:gd name="T0" fmla="*/ 19 w 40"/>
                <a:gd name="T1" fmla="*/ 14 h 73"/>
                <a:gd name="T2" fmla="*/ 4 w 40"/>
                <a:gd name="T3" fmla="*/ 24 h 73"/>
                <a:gd name="T4" fmla="*/ 0 w 40"/>
                <a:gd name="T5" fmla="*/ 14 h 73"/>
                <a:gd name="T6" fmla="*/ 21 w 40"/>
                <a:gd name="T7" fmla="*/ 0 h 73"/>
                <a:gd name="T8" fmla="*/ 30 w 40"/>
                <a:gd name="T9" fmla="*/ 0 h 73"/>
                <a:gd name="T10" fmla="*/ 30 w 40"/>
                <a:gd name="T11" fmla="*/ 64 h 73"/>
                <a:gd name="T12" fmla="*/ 40 w 40"/>
                <a:gd name="T13" fmla="*/ 64 h 73"/>
                <a:gd name="T14" fmla="*/ 40 w 40"/>
                <a:gd name="T15" fmla="*/ 73 h 73"/>
                <a:gd name="T16" fmla="*/ 9 w 40"/>
                <a:gd name="T17" fmla="*/ 73 h 73"/>
                <a:gd name="T18" fmla="*/ 9 w 40"/>
                <a:gd name="T19" fmla="*/ 64 h 73"/>
                <a:gd name="T20" fmla="*/ 19 w 40"/>
                <a:gd name="T21" fmla="*/ 64 h 73"/>
                <a:gd name="T22" fmla="*/ 19 w 40"/>
                <a:gd name="T23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73">
                  <a:moveTo>
                    <a:pt x="19" y="14"/>
                  </a:moveTo>
                  <a:lnTo>
                    <a:pt x="4" y="24"/>
                  </a:lnTo>
                  <a:lnTo>
                    <a:pt x="0" y="14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64"/>
                  </a:lnTo>
                  <a:lnTo>
                    <a:pt x="40" y="64"/>
                  </a:lnTo>
                  <a:lnTo>
                    <a:pt x="40" y="73"/>
                  </a:lnTo>
                  <a:lnTo>
                    <a:pt x="9" y="73"/>
                  </a:lnTo>
                  <a:lnTo>
                    <a:pt x="9" y="64"/>
                  </a:lnTo>
                  <a:lnTo>
                    <a:pt x="19" y="64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53" name="Freeform 149">
              <a:extLst>
                <a:ext uri="{FF2B5EF4-FFF2-40B4-BE49-F238E27FC236}">
                  <a16:creationId xmlns:a16="http://schemas.microsoft.com/office/drawing/2014/main" id="{9FA8B5D7-0D7B-405C-AE44-758135689A75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8386" y="5465991"/>
              <a:ext cx="92156" cy="164671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5 h 109"/>
                <a:gd name="T12" fmla="*/ 61 w 61"/>
                <a:gd name="T13" fmla="*/ 95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5 h 109"/>
                <a:gd name="T20" fmla="*/ 28 w 61"/>
                <a:gd name="T21" fmla="*/ 95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5"/>
                  </a:lnTo>
                  <a:lnTo>
                    <a:pt x="61" y="95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5"/>
                  </a:lnTo>
                  <a:lnTo>
                    <a:pt x="28" y="95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54" name="Freeform 150">
              <a:extLst>
                <a:ext uri="{FF2B5EF4-FFF2-40B4-BE49-F238E27FC236}">
                  <a16:creationId xmlns:a16="http://schemas.microsoft.com/office/drawing/2014/main" id="{5557E3F3-069E-4EF4-91E0-9B1ECD4DC5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70831" y="5748499"/>
              <a:ext cx="114816" cy="170714"/>
            </a:xfrm>
            <a:custGeom>
              <a:avLst/>
              <a:gdLst>
                <a:gd name="T0" fmla="*/ 32 w 32"/>
                <a:gd name="T1" fmla="*/ 24 h 48"/>
                <a:gd name="T2" fmla="*/ 16 w 32"/>
                <a:gd name="T3" fmla="*/ 48 h 48"/>
                <a:gd name="T4" fmla="*/ 0 w 32"/>
                <a:gd name="T5" fmla="*/ 24 h 48"/>
                <a:gd name="T6" fmla="*/ 16 w 32"/>
                <a:gd name="T7" fmla="*/ 0 h 48"/>
                <a:gd name="T8" fmla="*/ 32 w 32"/>
                <a:gd name="T9" fmla="*/ 24 h 48"/>
                <a:gd name="T10" fmla="*/ 8 w 32"/>
                <a:gd name="T11" fmla="*/ 24 h 48"/>
                <a:gd name="T12" fmla="*/ 16 w 32"/>
                <a:gd name="T13" fmla="*/ 41 h 48"/>
                <a:gd name="T14" fmla="*/ 24 w 32"/>
                <a:gd name="T15" fmla="*/ 24 h 48"/>
                <a:gd name="T16" fmla="*/ 16 w 32"/>
                <a:gd name="T17" fmla="*/ 7 h 48"/>
                <a:gd name="T18" fmla="*/ 8 w 32"/>
                <a:gd name="T19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8">
                  <a:moveTo>
                    <a:pt x="32" y="24"/>
                  </a:moveTo>
                  <a:cubicBezTo>
                    <a:pt x="32" y="40"/>
                    <a:pt x="27" y="48"/>
                    <a:pt x="16" y="48"/>
                  </a:cubicBezTo>
                  <a:cubicBezTo>
                    <a:pt x="5" y="48"/>
                    <a:pt x="0" y="40"/>
                    <a:pt x="0" y="24"/>
                  </a:cubicBezTo>
                  <a:cubicBezTo>
                    <a:pt x="0" y="8"/>
                    <a:pt x="5" y="0"/>
                    <a:pt x="16" y="0"/>
                  </a:cubicBezTo>
                  <a:cubicBezTo>
                    <a:pt x="27" y="0"/>
                    <a:pt x="32" y="8"/>
                    <a:pt x="32" y="24"/>
                  </a:cubicBezTo>
                  <a:close/>
                  <a:moveTo>
                    <a:pt x="8" y="24"/>
                  </a:moveTo>
                  <a:cubicBezTo>
                    <a:pt x="8" y="36"/>
                    <a:pt x="11" y="41"/>
                    <a:pt x="16" y="41"/>
                  </a:cubicBezTo>
                  <a:cubicBezTo>
                    <a:pt x="22" y="41"/>
                    <a:pt x="24" y="36"/>
                    <a:pt x="24" y="24"/>
                  </a:cubicBezTo>
                  <a:cubicBezTo>
                    <a:pt x="24" y="12"/>
                    <a:pt x="22" y="7"/>
                    <a:pt x="16" y="7"/>
                  </a:cubicBezTo>
                  <a:cubicBezTo>
                    <a:pt x="11" y="7"/>
                    <a:pt x="8" y="12"/>
                    <a:pt x="8" y="24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55" name="Freeform 151">
              <a:extLst>
                <a:ext uri="{FF2B5EF4-FFF2-40B4-BE49-F238E27FC236}">
                  <a16:creationId xmlns:a16="http://schemas.microsoft.com/office/drawing/2014/main" id="{05EC4206-65AB-45BC-AA63-88A8554CDEB8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8386" y="6037051"/>
              <a:ext cx="92156" cy="164671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5 h 109"/>
                <a:gd name="T12" fmla="*/ 61 w 61"/>
                <a:gd name="T13" fmla="*/ 95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5 h 109"/>
                <a:gd name="T20" fmla="*/ 28 w 61"/>
                <a:gd name="T21" fmla="*/ 95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5"/>
                  </a:lnTo>
                  <a:lnTo>
                    <a:pt x="61" y="95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5"/>
                  </a:lnTo>
                  <a:lnTo>
                    <a:pt x="28" y="95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56" name="Freeform 152">
              <a:extLst>
                <a:ext uri="{FF2B5EF4-FFF2-40B4-BE49-F238E27FC236}">
                  <a16:creationId xmlns:a16="http://schemas.microsoft.com/office/drawing/2014/main" id="{B7798DD1-D054-46A3-B493-2EC8C4C602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70831" y="6319559"/>
              <a:ext cx="114816" cy="170714"/>
            </a:xfrm>
            <a:custGeom>
              <a:avLst/>
              <a:gdLst>
                <a:gd name="T0" fmla="*/ 32 w 32"/>
                <a:gd name="T1" fmla="*/ 24 h 48"/>
                <a:gd name="T2" fmla="*/ 16 w 32"/>
                <a:gd name="T3" fmla="*/ 48 h 48"/>
                <a:gd name="T4" fmla="*/ 0 w 32"/>
                <a:gd name="T5" fmla="*/ 24 h 48"/>
                <a:gd name="T6" fmla="*/ 16 w 32"/>
                <a:gd name="T7" fmla="*/ 0 h 48"/>
                <a:gd name="T8" fmla="*/ 32 w 32"/>
                <a:gd name="T9" fmla="*/ 24 h 48"/>
                <a:gd name="T10" fmla="*/ 8 w 32"/>
                <a:gd name="T11" fmla="*/ 24 h 48"/>
                <a:gd name="T12" fmla="*/ 16 w 32"/>
                <a:gd name="T13" fmla="*/ 41 h 48"/>
                <a:gd name="T14" fmla="*/ 24 w 32"/>
                <a:gd name="T15" fmla="*/ 24 h 48"/>
                <a:gd name="T16" fmla="*/ 16 w 32"/>
                <a:gd name="T17" fmla="*/ 7 h 48"/>
                <a:gd name="T18" fmla="*/ 8 w 32"/>
                <a:gd name="T19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48">
                  <a:moveTo>
                    <a:pt x="32" y="24"/>
                  </a:moveTo>
                  <a:cubicBezTo>
                    <a:pt x="32" y="40"/>
                    <a:pt x="27" y="48"/>
                    <a:pt x="16" y="48"/>
                  </a:cubicBezTo>
                  <a:cubicBezTo>
                    <a:pt x="5" y="48"/>
                    <a:pt x="0" y="40"/>
                    <a:pt x="0" y="24"/>
                  </a:cubicBezTo>
                  <a:cubicBezTo>
                    <a:pt x="0" y="8"/>
                    <a:pt x="5" y="0"/>
                    <a:pt x="16" y="0"/>
                  </a:cubicBezTo>
                  <a:cubicBezTo>
                    <a:pt x="27" y="0"/>
                    <a:pt x="32" y="8"/>
                    <a:pt x="32" y="24"/>
                  </a:cubicBezTo>
                  <a:close/>
                  <a:moveTo>
                    <a:pt x="8" y="24"/>
                  </a:moveTo>
                  <a:cubicBezTo>
                    <a:pt x="8" y="36"/>
                    <a:pt x="11" y="41"/>
                    <a:pt x="16" y="41"/>
                  </a:cubicBezTo>
                  <a:cubicBezTo>
                    <a:pt x="22" y="41"/>
                    <a:pt x="24" y="36"/>
                    <a:pt x="24" y="24"/>
                  </a:cubicBezTo>
                  <a:cubicBezTo>
                    <a:pt x="24" y="12"/>
                    <a:pt x="22" y="7"/>
                    <a:pt x="16" y="7"/>
                  </a:cubicBezTo>
                  <a:cubicBezTo>
                    <a:pt x="11" y="7"/>
                    <a:pt x="8" y="12"/>
                    <a:pt x="8" y="24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57" name="Freeform 153">
              <a:extLst>
                <a:ext uri="{FF2B5EF4-FFF2-40B4-BE49-F238E27FC236}">
                  <a16:creationId xmlns:a16="http://schemas.microsoft.com/office/drawing/2014/main" id="{8049EF4C-2E2F-4DC6-AED6-6F71F5031061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8386" y="6608111"/>
              <a:ext cx="92156" cy="164671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4 h 109"/>
                <a:gd name="T12" fmla="*/ 61 w 61"/>
                <a:gd name="T13" fmla="*/ 94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4 h 109"/>
                <a:gd name="T20" fmla="*/ 28 w 61"/>
                <a:gd name="T21" fmla="*/ 94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4"/>
                  </a:lnTo>
                  <a:lnTo>
                    <a:pt x="61" y="94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4"/>
                  </a:lnTo>
                  <a:lnTo>
                    <a:pt x="28" y="94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58" name="Freeform 154">
              <a:extLst>
                <a:ext uri="{FF2B5EF4-FFF2-40B4-BE49-F238E27FC236}">
                  <a16:creationId xmlns:a16="http://schemas.microsoft.com/office/drawing/2014/main" id="{02B9ACE7-CC83-4236-9A9E-89F45F76D45D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8386" y="6893641"/>
              <a:ext cx="92156" cy="164671"/>
            </a:xfrm>
            <a:custGeom>
              <a:avLst/>
              <a:gdLst>
                <a:gd name="T0" fmla="*/ 28 w 61"/>
                <a:gd name="T1" fmla="*/ 21 h 109"/>
                <a:gd name="T2" fmla="*/ 7 w 61"/>
                <a:gd name="T3" fmla="*/ 33 h 109"/>
                <a:gd name="T4" fmla="*/ 0 w 61"/>
                <a:gd name="T5" fmla="*/ 19 h 109"/>
                <a:gd name="T6" fmla="*/ 31 w 61"/>
                <a:gd name="T7" fmla="*/ 0 h 109"/>
                <a:gd name="T8" fmla="*/ 47 w 61"/>
                <a:gd name="T9" fmla="*/ 0 h 109"/>
                <a:gd name="T10" fmla="*/ 47 w 61"/>
                <a:gd name="T11" fmla="*/ 94 h 109"/>
                <a:gd name="T12" fmla="*/ 61 w 61"/>
                <a:gd name="T13" fmla="*/ 94 h 109"/>
                <a:gd name="T14" fmla="*/ 61 w 61"/>
                <a:gd name="T15" fmla="*/ 109 h 109"/>
                <a:gd name="T16" fmla="*/ 14 w 61"/>
                <a:gd name="T17" fmla="*/ 109 h 109"/>
                <a:gd name="T18" fmla="*/ 14 w 61"/>
                <a:gd name="T19" fmla="*/ 94 h 109"/>
                <a:gd name="T20" fmla="*/ 28 w 61"/>
                <a:gd name="T21" fmla="*/ 94 h 109"/>
                <a:gd name="T22" fmla="*/ 28 w 61"/>
                <a:gd name="T2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109">
                  <a:moveTo>
                    <a:pt x="28" y="21"/>
                  </a:moveTo>
                  <a:lnTo>
                    <a:pt x="7" y="33"/>
                  </a:lnTo>
                  <a:lnTo>
                    <a:pt x="0" y="19"/>
                  </a:lnTo>
                  <a:lnTo>
                    <a:pt x="31" y="0"/>
                  </a:lnTo>
                  <a:lnTo>
                    <a:pt x="47" y="0"/>
                  </a:lnTo>
                  <a:lnTo>
                    <a:pt x="47" y="94"/>
                  </a:lnTo>
                  <a:lnTo>
                    <a:pt x="61" y="94"/>
                  </a:lnTo>
                  <a:lnTo>
                    <a:pt x="61" y="109"/>
                  </a:lnTo>
                  <a:lnTo>
                    <a:pt x="14" y="109"/>
                  </a:lnTo>
                  <a:lnTo>
                    <a:pt x="14" y="94"/>
                  </a:lnTo>
                  <a:lnTo>
                    <a:pt x="28" y="94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759" name="Text Box 73">
            <a:extLst>
              <a:ext uri="{FF2B5EF4-FFF2-40B4-BE49-F238E27FC236}">
                <a16:creationId xmlns:a16="http://schemas.microsoft.com/office/drawing/2014/main" id="{444C9B98-36FB-463F-9600-F15F7039EC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2105" y="2284051"/>
            <a:ext cx="1560460" cy="1300999"/>
          </a:xfrm>
          <a:prstGeom prst="rect">
            <a:avLst/>
          </a:prstGeom>
          <a:solidFill>
            <a:srgbClr val="0F8287"/>
          </a:solidFill>
          <a:ln w="19050">
            <a:noFill/>
          </a:ln>
          <a:effectLst/>
        </p:spPr>
        <p:txBody>
          <a:bodyPr lIns="913448" tIns="71926" rIns="182690" bIns="71926" rtlCol="0" anchor="t" anchorCtr="0"/>
          <a:lstStyle>
            <a:defPPr>
              <a:defRPr lang="de-DE"/>
            </a:defPPr>
            <a:lvl1pPr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 sz="900" b="1">
                <a:solidFill>
                  <a:schemeClr val="bg1"/>
                </a:solidFill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defTabSz="913486" fontAlgn="auto">
              <a:buClr>
                <a:srgbClr val="FFFFFF"/>
              </a:buClr>
              <a:defRPr/>
            </a:pPr>
            <a:endParaRPr lang="en-US" altLang="en-US" dirty="0">
              <a:solidFill>
                <a:srgbClr val="FFFFFF"/>
              </a:solidFill>
              <a:latin typeface="Arial"/>
              <a:ea typeface="+mn-ea"/>
            </a:endParaRPr>
          </a:p>
        </p:txBody>
      </p:sp>
      <p:sp>
        <p:nvSpPr>
          <p:cNvPr id="760" name="Rectangle 759">
            <a:extLst>
              <a:ext uri="{FF2B5EF4-FFF2-40B4-BE49-F238E27FC236}">
                <a16:creationId xmlns:a16="http://schemas.microsoft.com/office/drawing/2014/main" id="{37CB32C6-5F59-4236-BD2F-587EEF5549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1762" y="2290847"/>
            <a:ext cx="4217909" cy="1294986"/>
          </a:xfrm>
          <a:prstGeom prst="rect">
            <a:avLst/>
          </a:prstGeom>
          <a:solidFill>
            <a:srgbClr val="AAB414"/>
          </a:solidFill>
          <a:ln w="19050">
            <a:noFill/>
          </a:ln>
          <a:effectLst/>
        </p:spPr>
        <p:txBody>
          <a:bodyPr lIns="913448" tIns="71926" rIns="182690" bIns="71926" rtlCol="0" anchor="t" anchorCtr="0"/>
          <a:lstStyle/>
          <a:p>
            <a:pPr defTabSz="913486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endParaRPr lang="en-US" sz="1798" dirty="0">
              <a:solidFill>
                <a:srgbClr val="ADBECB"/>
              </a:solidFill>
              <a:latin typeface="Arial"/>
              <a:ea typeface="+mn-ea"/>
            </a:endParaRPr>
          </a:p>
        </p:txBody>
      </p:sp>
      <p:sp>
        <p:nvSpPr>
          <p:cNvPr id="761" name="Rectangle 3">
            <a:extLst>
              <a:ext uri="{FF2B5EF4-FFF2-40B4-BE49-F238E27FC236}">
                <a16:creationId xmlns:a16="http://schemas.microsoft.com/office/drawing/2014/main" id="{F07DE6CF-FBEF-40EF-8504-F150732A57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09841" y="3624060"/>
            <a:ext cx="5821565" cy="1240541"/>
          </a:xfrm>
          <a:prstGeom prst="rect">
            <a:avLst/>
          </a:prstGeom>
          <a:solidFill>
            <a:srgbClr val="41AAC8"/>
          </a:solidFill>
          <a:ln w="19050">
            <a:noFill/>
          </a:ln>
          <a:effectLst/>
        </p:spPr>
        <p:txBody>
          <a:bodyPr lIns="913448" tIns="71926" rIns="182690" bIns="71926" rtlCol="0" anchor="t" anchorCtr="0"/>
          <a:lstStyle/>
          <a:p>
            <a:pPr defTabSz="913486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endParaRPr lang="en-US" sz="900" b="1" dirty="0">
              <a:solidFill>
                <a:srgbClr val="FFFFFF"/>
              </a:solidFill>
              <a:latin typeface="Arial"/>
              <a:ea typeface="+mn-ea"/>
            </a:endParaRPr>
          </a:p>
        </p:txBody>
      </p:sp>
      <p:sp>
        <p:nvSpPr>
          <p:cNvPr id="762" name="TextBox 83">
            <a:extLst>
              <a:ext uri="{FF2B5EF4-FFF2-40B4-BE49-F238E27FC236}">
                <a16:creationId xmlns:a16="http://schemas.microsoft.com/office/drawing/2014/main" id="{617B3959-A985-4B2F-9F28-1B3FD45827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36915" y="2295816"/>
            <a:ext cx="4216336" cy="298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de-DE"/>
            </a:defPPr>
            <a:lvl1pPr algn="ctr" eaLnBrk="1" hangingPunct="1">
              <a:buClr>
                <a:srgbClr val="949EAA"/>
              </a:buClr>
              <a:defRPr sz="1100" b="1">
                <a:solidFill>
                  <a:srgbClr val="00646E"/>
                </a:solidFill>
                <a:latin typeface="Arial" charset="0"/>
                <a:ea typeface="宋体" pitchFamily="2" charset="-122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marL="0" marR="0" lvl="0" indent="0" algn="ctr" defTabSz="9134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49EAA"/>
              </a:buClr>
              <a:buSzTx/>
              <a:buFontTx/>
              <a:buNone/>
              <a:tabLst/>
              <a:defRPr/>
            </a:pPr>
            <a:r>
              <a:rPr kumimoji="0" lang="en-US" altLang="en-US" sz="1298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宋体" pitchFamily="2" charset="-122"/>
                <a:cs typeface="Arial" charset="0"/>
              </a:rPr>
              <a:t>Visualization</a:t>
            </a:r>
          </a:p>
        </p:txBody>
      </p:sp>
      <p:sp>
        <p:nvSpPr>
          <p:cNvPr id="763" name="Text Box 68">
            <a:extLst>
              <a:ext uri="{FF2B5EF4-FFF2-40B4-BE49-F238E27FC236}">
                <a16:creationId xmlns:a16="http://schemas.microsoft.com/office/drawing/2014/main" id="{14373653-71B4-47FA-822E-5D18426DF5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9088" y="3627019"/>
            <a:ext cx="4217909" cy="1236042"/>
          </a:xfrm>
          <a:prstGeom prst="rect">
            <a:avLst/>
          </a:prstGeom>
          <a:solidFill>
            <a:srgbClr val="EB780A"/>
          </a:solidFill>
          <a:ln>
            <a:noFill/>
          </a:ln>
        </p:spPr>
        <p:txBody>
          <a:bodyPr wrap="square" anchor="ctr" anchorCtr="1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ctr" defTabSz="9134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altLang="en-US" sz="800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764" name="Rectangle 763">
            <a:extLst>
              <a:ext uri="{FF2B5EF4-FFF2-40B4-BE49-F238E27FC236}">
                <a16:creationId xmlns:a16="http://schemas.microsoft.com/office/drawing/2014/main" id="{C5D97F1E-CCC0-41FF-8731-955002796CC5}"/>
              </a:ext>
            </a:extLst>
          </p:cNvPr>
          <p:cNvSpPr/>
          <p:nvPr/>
        </p:nvSpPr>
        <p:spPr>
          <a:xfrm>
            <a:off x="586094" y="4414847"/>
            <a:ext cx="1157958" cy="389354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0" h="0"/>
          </a:sp3d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Alert Notification Server</a:t>
            </a:r>
          </a:p>
        </p:txBody>
      </p:sp>
      <p:sp>
        <p:nvSpPr>
          <p:cNvPr id="765" name="Rectangle 764">
            <a:extLst>
              <a:ext uri="{FF2B5EF4-FFF2-40B4-BE49-F238E27FC236}">
                <a16:creationId xmlns:a16="http://schemas.microsoft.com/office/drawing/2014/main" id="{14400782-4C37-42C8-922F-42B96F3E0C9D}"/>
              </a:ext>
            </a:extLst>
          </p:cNvPr>
          <p:cNvSpPr/>
          <p:nvPr/>
        </p:nvSpPr>
        <p:spPr>
          <a:xfrm>
            <a:off x="2805062" y="4414847"/>
            <a:ext cx="1203908" cy="389354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0" h="0"/>
          </a:sp3d>
        </p:spPr>
        <p:txBody>
          <a:bodyPr anchor="ctr"/>
          <a:lstStyle/>
          <a:p>
            <a:pPr marL="0" marR="0" lvl="0" indent="0" algn="ctr" defTabSz="9134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arget Management</a:t>
            </a:r>
          </a:p>
        </p:txBody>
      </p:sp>
      <p:sp>
        <p:nvSpPr>
          <p:cNvPr id="766" name="Rectangle 765">
            <a:extLst>
              <a:ext uri="{FF2B5EF4-FFF2-40B4-BE49-F238E27FC236}">
                <a16:creationId xmlns:a16="http://schemas.microsoft.com/office/drawing/2014/main" id="{0E39E0D6-1B8A-412A-91AB-90526531B324}"/>
              </a:ext>
            </a:extLst>
          </p:cNvPr>
          <p:cNvSpPr/>
          <p:nvPr/>
        </p:nvSpPr>
        <p:spPr>
          <a:xfrm>
            <a:off x="3743376" y="4414847"/>
            <a:ext cx="1093797" cy="389354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0" h="0"/>
          </a:sp3d>
        </p:spPr>
        <p:txBody>
          <a:bodyPr anchor="ctr"/>
          <a:lstStyle/>
          <a:p>
            <a:pPr marL="0" marR="0" lvl="0" indent="0" algn="ctr" defTabSz="9134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eLogs and Shift Reporting</a:t>
            </a:r>
          </a:p>
        </p:txBody>
      </p:sp>
      <p:sp>
        <p:nvSpPr>
          <p:cNvPr id="767" name="Text Box 132">
            <a:extLst>
              <a:ext uri="{FF2B5EF4-FFF2-40B4-BE49-F238E27FC236}">
                <a16:creationId xmlns:a16="http://schemas.microsoft.com/office/drawing/2014/main" id="{5EA031A4-2F6B-426C-A11C-10F1789F89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9089" y="4915360"/>
            <a:ext cx="10102316" cy="638518"/>
          </a:xfrm>
          <a:prstGeom prst="rect">
            <a:avLst/>
          </a:prstGeom>
          <a:solidFill>
            <a:srgbClr val="2387AA"/>
          </a:solidFill>
          <a:ln w="19050">
            <a:noFill/>
          </a:ln>
          <a:effectLst/>
        </p:spPr>
        <p:txBody>
          <a:bodyPr lIns="913448" tIns="71926" rIns="182690" bIns="71926" rtlCol="0" anchor="ctr" anchorCtr="0"/>
          <a:lstStyle>
            <a:defPPr>
              <a:defRPr lang="de-DE"/>
            </a:defPPr>
            <a:lvl1pPr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 sz="900" b="1">
                <a:solidFill>
                  <a:schemeClr val="bg1"/>
                </a:solidFill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ctr" defTabSz="913486" fontAlgn="auto">
              <a:spcAft>
                <a:spcPts val="600"/>
              </a:spcAft>
              <a:buClr>
                <a:srgbClr val="FFFFFF"/>
              </a:buClr>
              <a:defRPr/>
            </a:pPr>
            <a:r>
              <a:rPr lang="en-US" altLang="en-US" sz="1298" dirty="0">
                <a:solidFill>
                  <a:srgbClr val="FFFFFF"/>
                </a:solidFill>
                <a:latin typeface="Arial"/>
                <a:ea typeface="+mn-ea"/>
              </a:rPr>
              <a:t> </a:t>
            </a:r>
          </a:p>
          <a:p>
            <a:pPr algn="ctr" defTabSz="913486" fontAlgn="auto">
              <a:buClr>
                <a:srgbClr val="FFFFFF"/>
              </a:buClr>
              <a:defRPr/>
            </a:pPr>
            <a:r>
              <a:rPr lang="en-US" altLang="en-US" sz="1199" b="0" dirty="0">
                <a:solidFill>
                  <a:srgbClr val="FFFFFF"/>
                </a:solidFill>
                <a:latin typeface="Arial"/>
                <a:ea typeface="+mn-ea"/>
              </a:rPr>
              <a:t>XHQ Edge, Connectors and Adaptors</a:t>
            </a:r>
          </a:p>
        </p:txBody>
      </p:sp>
      <p:sp>
        <p:nvSpPr>
          <p:cNvPr id="768" name="Rectangle 3">
            <a:extLst>
              <a:ext uri="{FF2B5EF4-FFF2-40B4-BE49-F238E27FC236}">
                <a16:creationId xmlns:a16="http://schemas.microsoft.com/office/drawing/2014/main" id="{DEB39DFD-7362-4C2B-AD45-1D1F5712DB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94247" y="2290848"/>
            <a:ext cx="662089" cy="3272119"/>
          </a:xfrm>
          <a:prstGeom prst="rect">
            <a:avLst/>
          </a:prstGeom>
          <a:solidFill>
            <a:srgbClr val="0F8287"/>
          </a:solidFill>
          <a:ln w="19050">
            <a:noFill/>
          </a:ln>
          <a:effectLst/>
        </p:spPr>
        <p:txBody>
          <a:bodyPr lIns="913448" tIns="71926" rIns="182690" bIns="71926" rtlCol="0" anchor="t" anchorCtr="0"/>
          <a:lstStyle/>
          <a:p>
            <a:pPr defTabSz="913486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r>
              <a:rPr lang="en-US" sz="900" b="1" dirty="0">
                <a:solidFill>
                  <a:srgbClr val="FFFFFF"/>
                </a:solidFill>
                <a:latin typeface="Arial"/>
                <a:ea typeface="+mn-ea"/>
              </a:rPr>
              <a:t> </a:t>
            </a:r>
          </a:p>
        </p:txBody>
      </p:sp>
      <p:sp>
        <p:nvSpPr>
          <p:cNvPr id="769" name="TextBox 83">
            <a:extLst>
              <a:ext uri="{FF2B5EF4-FFF2-40B4-BE49-F238E27FC236}">
                <a16:creationId xmlns:a16="http://schemas.microsoft.com/office/drawing/2014/main" id="{90BE0FAD-0BBF-48B0-93E5-B84E618F9B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035336" y="2290847"/>
            <a:ext cx="384401" cy="3231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vert" wrap="square">
            <a:spAutoFit/>
          </a:bodyPr>
          <a:lstStyle>
            <a:defPPr>
              <a:defRPr lang="de-DE"/>
            </a:defPPr>
            <a:lvl1pPr algn="ctr" eaLnBrk="1" hangingPunct="1">
              <a:buClr>
                <a:srgbClr val="949EAA"/>
              </a:buClr>
              <a:defRPr sz="1100" b="1">
                <a:solidFill>
                  <a:srgbClr val="00646E"/>
                </a:solidFill>
                <a:latin typeface="Arial" charset="0"/>
                <a:ea typeface="宋体" pitchFamily="2" charset="-122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marL="0" marR="0" lvl="0" indent="0" algn="ctr" defTabSz="9134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49EAA"/>
              </a:buClr>
              <a:buSzTx/>
              <a:buFontTx/>
              <a:buNone/>
              <a:tabLst/>
              <a:defRPr/>
            </a:pPr>
            <a:r>
              <a:rPr kumimoji="0" lang="en-US" altLang="en-US" sz="1298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宋体" pitchFamily="2" charset="-122"/>
                <a:cs typeface="Arial" charset="0"/>
              </a:rPr>
              <a:t>Development and Administration Tools</a:t>
            </a:r>
          </a:p>
        </p:txBody>
      </p:sp>
      <p:sp>
        <p:nvSpPr>
          <p:cNvPr id="770" name="TextBox 769">
            <a:extLst>
              <a:ext uri="{FF2B5EF4-FFF2-40B4-BE49-F238E27FC236}">
                <a16:creationId xmlns:a16="http://schemas.microsoft.com/office/drawing/2014/main" id="{739DE7F3-C58E-4252-9859-3E65CE492ACA}"/>
              </a:ext>
            </a:extLst>
          </p:cNvPr>
          <p:cNvSpPr txBox="1"/>
          <p:nvPr/>
        </p:nvSpPr>
        <p:spPr bwMode="auto">
          <a:xfrm>
            <a:off x="5100570" y="2644871"/>
            <a:ext cx="1464924" cy="2765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defTabSz="913449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99" b="1" dirty="0">
                <a:solidFill>
                  <a:srgbClr val="FFFFFF"/>
                </a:solidFill>
                <a:latin typeface="Arial"/>
                <a:ea typeface="Segoe UI" pitchFamily="34" charset="0"/>
                <a:cs typeface="Segoe UI" pitchFamily="34" charset="0"/>
              </a:rPr>
              <a:t>Visual Tile </a:t>
            </a:r>
          </a:p>
          <a:p>
            <a:pPr algn="ctr" defTabSz="913449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99" b="1" dirty="0">
                <a:solidFill>
                  <a:srgbClr val="FFFFFF"/>
                </a:solidFill>
                <a:latin typeface="Arial"/>
                <a:ea typeface="Segoe UI" pitchFamily="34" charset="0"/>
                <a:cs typeface="Segoe UI" pitchFamily="34" charset="0"/>
              </a:rPr>
              <a:t>Composer</a:t>
            </a:r>
          </a:p>
        </p:txBody>
      </p:sp>
      <p:sp>
        <p:nvSpPr>
          <p:cNvPr id="771" name="Rectangle 3">
            <a:extLst>
              <a:ext uri="{FF2B5EF4-FFF2-40B4-BE49-F238E27FC236}">
                <a16:creationId xmlns:a16="http://schemas.microsoft.com/office/drawing/2014/main" id="{426A1F43-DEF8-46A2-89AF-288C82A18A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16095" y="2290848"/>
            <a:ext cx="4215310" cy="1294987"/>
          </a:xfrm>
          <a:prstGeom prst="rect">
            <a:avLst/>
          </a:prstGeom>
          <a:solidFill>
            <a:srgbClr val="41AAAA"/>
          </a:solidFill>
          <a:ln w="19050">
            <a:noFill/>
          </a:ln>
          <a:effectLst/>
        </p:spPr>
        <p:txBody>
          <a:bodyPr lIns="913448" tIns="71926" rIns="182690" bIns="71926" rtlCol="0" anchor="t" anchorCtr="0"/>
          <a:lstStyle/>
          <a:p>
            <a:pPr defTabSz="913486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endParaRPr lang="en-US" sz="900" dirty="0">
              <a:solidFill>
                <a:srgbClr val="3C464B"/>
              </a:solidFill>
              <a:latin typeface="Arial"/>
              <a:ea typeface="+mn-ea"/>
            </a:endParaRPr>
          </a:p>
        </p:txBody>
      </p:sp>
      <p:sp>
        <p:nvSpPr>
          <p:cNvPr id="772" name="Rectangle 771">
            <a:extLst>
              <a:ext uri="{FF2B5EF4-FFF2-40B4-BE49-F238E27FC236}">
                <a16:creationId xmlns:a16="http://schemas.microsoft.com/office/drawing/2014/main" id="{C7F0B7B5-15C5-4CEB-9420-62C0B2ECD405}"/>
              </a:ext>
            </a:extLst>
          </p:cNvPr>
          <p:cNvSpPr/>
          <p:nvPr/>
        </p:nvSpPr>
        <p:spPr>
          <a:xfrm>
            <a:off x="6601560" y="4488671"/>
            <a:ext cx="998648" cy="293448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0" h="0"/>
          </a:sp3d>
        </p:spPr>
        <p:txBody>
          <a:bodyPr anchor="ctr"/>
          <a:lstStyle/>
          <a:p>
            <a:pPr marL="0" marR="0" lvl="0" indent="0" algn="ctr" defTabSz="9134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Caching</a:t>
            </a:r>
          </a:p>
        </p:txBody>
      </p:sp>
      <p:sp>
        <p:nvSpPr>
          <p:cNvPr id="773" name="Rectangle 772">
            <a:extLst>
              <a:ext uri="{FF2B5EF4-FFF2-40B4-BE49-F238E27FC236}">
                <a16:creationId xmlns:a16="http://schemas.microsoft.com/office/drawing/2014/main" id="{3C3D1AA4-F6D0-4F91-A615-2D62F1ED315C}"/>
              </a:ext>
            </a:extLst>
          </p:cNvPr>
          <p:cNvSpPr/>
          <p:nvPr/>
        </p:nvSpPr>
        <p:spPr>
          <a:xfrm>
            <a:off x="7360319" y="4488671"/>
            <a:ext cx="998648" cy="293448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0" h="0"/>
          </a:sp3d>
        </p:spPr>
        <p:txBody>
          <a:bodyPr anchor="ctr"/>
          <a:lstStyle/>
          <a:p>
            <a:pPr marL="0" marR="0" lvl="0" indent="0" algn="ctr" defTabSz="9134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Modeling</a:t>
            </a:r>
          </a:p>
        </p:txBody>
      </p:sp>
      <p:sp>
        <p:nvSpPr>
          <p:cNvPr id="774" name="Rectangle 773">
            <a:extLst>
              <a:ext uri="{FF2B5EF4-FFF2-40B4-BE49-F238E27FC236}">
                <a16:creationId xmlns:a16="http://schemas.microsoft.com/office/drawing/2014/main" id="{B3F2A53D-298A-4C60-A863-2BF7CABAD626}"/>
              </a:ext>
            </a:extLst>
          </p:cNvPr>
          <p:cNvSpPr/>
          <p:nvPr/>
        </p:nvSpPr>
        <p:spPr>
          <a:xfrm>
            <a:off x="8178864" y="4488671"/>
            <a:ext cx="998648" cy="293448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0" h="0"/>
          </a:sp3d>
        </p:spPr>
        <p:txBody>
          <a:bodyPr anchor="ctr"/>
          <a:lstStyle/>
          <a:p>
            <a:pPr marL="0" marR="0" lvl="0" indent="0" algn="ctr" defTabSz="9134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ime Series Historization</a:t>
            </a:r>
          </a:p>
        </p:txBody>
      </p:sp>
      <p:sp>
        <p:nvSpPr>
          <p:cNvPr id="775" name="Rectangle 774">
            <a:extLst>
              <a:ext uri="{FF2B5EF4-FFF2-40B4-BE49-F238E27FC236}">
                <a16:creationId xmlns:a16="http://schemas.microsoft.com/office/drawing/2014/main" id="{7891714D-8C2D-49DA-815C-BA19FA4159A2}"/>
              </a:ext>
            </a:extLst>
          </p:cNvPr>
          <p:cNvSpPr/>
          <p:nvPr/>
        </p:nvSpPr>
        <p:spPr>
          <a:xfrm>
            <a:off x="9008688" y="4488671"/>
            <a:ext cx="998648" cy="293448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0" h="0"/>
          </a:sp3d>
        </p:spPr>
        <p:txBody>
          <a:bodyPr anchor="ctr"/>
          <a:lstStyle/>
          <a:p>
            <a:pPr marL="0" marR="0" lvl="0" indent="0" algn="ctr" defTabSz="9134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Auditing, Monitoring</a:t>
            </a:r>
          </a:p>
        </p:txBody>
      </p:sp>
      <p:sp>
        <p:nvSpPr>
          <p:cNvPr id="776" name="Rectangle 775">
            <a:extLst>
              <a:ext uri="{FF2B5EF4-FFF2-40B4-BE49-F238E27FC236}">
                <a16:creationId xmlns:a16="http://schemas.microsoft.com/office/drawing/2014/main" id="{215A9DB7-6DA7-4322-8256-D80B30259EB0}"/>
              </a:ext>
            </a:extLst>
          </p:cNvPr>
          <p:cNvSpPr/>
          <p:nvPr/>
        </p:nvSpPr>
        <p:spPr>
          <a:xfrm>
            <a:off x="9801446" y="4488671"/>
            <a:ext cx="998648" cy="293448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0" h="0"/>
          </a:sp3d>
        </p:spPr>
        <p:txBody>
          <a:bodyPr anchor="ctr"/>
          <a:lstStyle/>
          <a:p>
            <a:pPr marL="0" marR="0" lvl="0" indent="0" algn="ctr" defTabSz="9134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Authorization</a:t>
            </a:r>
          </a:p>
        </p:txBody>
      </p:sp>
      <p:sp>
        <p:nvSpPr>
          <p:cNvPr id="777" name="TextBox 776">
            <a:extLst>
              <a:ext uri="{FF2B5EF4-FFF2-40B4-BE49-F238E27FC236}">
                <a16:creationId xmlns:a16="http://schemas.microsoft.com/office/drawing/2014/main" id="{77ABB8AF-4B49-43D7-93AC-452D0ECE82A0}"/>
              </a:ext>
            </a:extLst>
          </p:cNvPr>
          <p:cNvSpPr txBox="1"/>
          <p:nvPr/>
        </p:nvSpPr>
        <p:spPr bwMode="auto">
          <a:xfrm>
            <a:off x="3435788" y="2709167"/>
            <a:ext cx="971653" cy="14154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defTabSz="913449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99" b="1" dirty="0">
                <a:solidFill>
                  <a:srgbClr val="FFFFFF"/>
                </a:solidFill>
                <a:latin typeface="Arial"/>
                <a:ea typeface="Segoe UI" pitchFamily="34" charset="0"/>
                <a:cs typeface="Segoe UI" pitchFamily="34" charset="0"/>
              </a:rPr>
              <a:t>Solution Viewer</a:t>
            </a:r>
          </a:p>
        </p:txBody>
      </p:sp>
      <p:pic>
        <p:nvPicPr>
          <p:cNvPr id="778" name="Graphic 777">
            <a:extLst>
              <a:ext uri="{FF2B5EF4-FFF2-40B4-BE49-F238E27FC236}">
                <a16:creationId xmlns:a16="http://schemas.microsoft.com/office/drawing/2014/main" id="{99A4F2D1-C347-40BB-9466-F6510E85E6C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42601" y="3948946"/>
            <a:ext cx="414560" cy="416029"/>
          </a:xfrm>
          <a:prstGeom prst="rect">
            <a:avLst/>
          </a:prstGeom>
        </p:spPr>
      </p:pic>
      <p:pic>
        <p:nvPicPr>
          <p:cNvPr id="779" name="Graphic 778">
            <a:extLst>
              <a:ext uri="{FF2B5EF4-FFF2-40B4-BE49-F238E27FC236}">
                <a16:creationId xmlns:a16="http://schemas.microsoft.com/office/drawing/2014/main" id="{BC306588-EE35-408F-8D11-62DE794B8F9C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9610" y="4008534"/>
            <a:ext cx="221436" cy="335271"/>
          </a:xfrm>
          <a:prstGeom prst="rect">
            <a:avLst/>
          </a:prstGeom>
        </p:spPr>
      </p:pic>
      <p:pic>
        <p:nvPicPr>
          <p:cNvPr id="780" name="Graphic 779">
            <a:extLst>
              <a:ext uri="{FF2B5EF4-FFF2-40B4-BE49-F238E27FC236}">
                <a16:creationId xmlns:a16="http://schemas.microsoft.com/office/drawing/2014/main" id="{3FECBDE2-F18E-4994-A721-B30F6250B73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153347" y="3990779"/>
            <a:ext cx="275595" cy="389823"/>
          </a:xfrm>
          <a:prstGeom prst="rect">
            <a:avLst/>
          </a:prstGeom>
        </p:spPr>
      </p:pic>
      <p:pic>
        <p:nvPicPr>
          <p:cNvPr id="781" name="Graphic 780">
            <a:extLst>
              <a:ext uri="{FF2B5EF4-FFF2-40B4-BE49-F238E27FC236}">
                <a16:creationId xmlns:a16="http://schemas.microsoft.com/office/drawing/2014/main" id="{827BDFE4-C492-46E3-9C0A-6CFA35001787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884896" y="4059286"/>
            <a:ext cx="414610" cy="386969"/>
          </a:xfrm>
          <a:prstGeom prst="rect">
            <a:avLst/>
          </a:prstGeom>
        </p:spPr>
      </p:pic>
      <p:pic>
        <p:nvPicPr>
          <p:cNvPr id="782" name="Graphic 781">
            <a:extLst>
              <a:ext uri="{FF2B5EF4-FFF2-40B4-BE49-F238E27FC236}">
                <a16:creationId xmlns:a16="http://schemas.microsoft.com/office/drawing/2014/main" id="{C28EE8E0-2C2A-4807-A37A-842C7E38CC08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676255" y="4055750"/>
            <a:ext cx="339178" cy="399897"/>
          </a:xfrm>
          <a:prstGeom prst="rect">
            <a:avLst/>
          </a:prstGeom>
        </p:spPr>
      </p:pic>
      <p:pic>
        <p:nvPicPr>
          <p:cNvPr id="783" name="Graphic 782">
            <a:extLst>
              <a:ext uri="{FF2B5EF4-FFF2-40B4-BE49-F238E27FC236}">
                <a16:creationId xmlns:a16="http://schemas.microsoft.com/office/drawing/2014/main" id="{F3026525-5C86-4B4D-AE33-A07FCC072C96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495054" y="4064499"/>
            <a:ext cx="348972" cy="348972"/>
          </a:xfrm>
          <a:prstGeom prst="rect">
            <a:avLst/>
          </a:prstGeom>
        </p:spPr>
      </p:pic>
      <p:pic>
        <p:nvPicPr>
          <p:cNvPr id="784" name="Graphic 783">
            <a:extLst>
              <a:ext uri="{FF2B5EF4-FFF2-40B4-BE49-F238E27FC236}">
                <a16:creationId xmlns:a16="http://schemas.microsoft.com/office/drawing/2014/main" id="{13CB0C3B-6C25-4C75-861D-B2D075DC740F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9335850" y="4008354"/>
            <a:ext cx="384752" cy="433293"/>
          </a:xfrm>
          <a:prstGeom prst="rect">
            <a:avLst/>
          </a:prstGeom>
        </p:spPr>
      </p:pic>
      <p:pic>
        <p:nvPicPr>
          <p:cNvPr id="785" name="Graphic 784">
            <a:extLst>
              <a:ext uri="{FF2B5EF4-FFF2-40B4-BE49-F238E27FC236}">
                <a16:creationId xmlns:a16="http://schemas.microsoft.com/office/drawing/2014/main" id="{EB2AE63D-9A33-4730-A7B5-CCD254E629C2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0086790" y="4024050"/>
            <a:ext cx="377969" cy="412034"/>
          </a:xfrm>
          <a:prstGeom prst="rect">
            <a:avLst/>
          </a:prstGeom>
        </p:spPr>
      </p:pic>
      <p:sp>
        <p:nvSpPr>
          <p:cNvPr id="786" name="TextBox 785">
            <a:extLst>
              <a:ext uri="{FF2B5EF4-FFF2-40B4-BE49-F238E27FC236}">
                <a16:creationId xmlns:a16="http://schemas.microsoft.com/office/drawing/2014/main" id="{EF08B5C7-0964-4D81-8BBB-C344F7C19CB0}"/>
              </a:ext>
            </a:extLst>
          </p:cNvPr>
          <p:cNvSpPr txBox="1"/>
          <p:nvPr/>
        </p:nvSpPr>
        <p:spPr>
          <a:xfrm>
            <a:off x="713854" y="5637046"/>
            <a:ext cx="1229356" cy="26093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3486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399" b="1" dirty="0">
                <a:solidFill>
                  <a:srgbClr val="00646E"/>
                </a:solidFill>
                <a:latin typeface="Arial" charset="0"/>
                <a:ea typeface="宋体" pitchFamily="2" charset="-122"/>
                <a:cs typeface="Arial" charset="0"/>
              </a:rPr>
              <a:t>Data sources</a:t>
            </a:r>
          </a:p>
        </p:txBody>
      </p:sp>
      <p:sp>
        <p:nvSpPr>
          <p:cNvPr id="787" name="Rectangle 3">
            <a:extLst>
              <a:ext uri="{FF2B5EF4-FFF2-40B4-BE49-F238E27FC236}">
                <a16:creationId xmlns:a16="http://schemas.microsoft.com/office/drawing/2014/main" id="{EE664452-F07D-4645-8D82-B61D9FD4AC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9088" y="1324951"/>
            <a:ext cx="10827247" cy="898775"/>
          </a:xfrm>
          <a:prstGeom prst="rect">
            <a:avLst/>
          </a:prstGeom>
          <a:noFill/>
          <a:ln w="19050">
            <a:solidFill>
              <a:srgbClr val="AAB414"/>
            </a:solidFill>
          </a:ln>
          <a:effectLst/>
        </p:spPr>
        <p:txBody>
          <a:bodyPr lIns="0" tIns="71926" rIns="182690" bIns="71926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</a:pPr>
            <a:endParaRPr lang="en-US" sz="900" dirty="0">
              <a:solidFill>
                <a:srgbClr val="FFFFFF"/>
              </a:solidFill>
              <a:latin typeface="Arial"/>
              <a:ea typeface="+mn-ea"/>
            </a:endParaRPr>
          </a:p>
        </p:txBody>
      </p:sp>
      <p:sp>
        <p:nvSpPr>
          <p:cNvPr id="788" name="Rectangle 3">
            <a:extLst>
              <a:ext uri="{FF2B5EF4-FFF2-40B4-BE49-F238E27FC236}">
                <a16:creationId xmlns:a16="http://schemas.microsoft.com/office/drawing/2014/main" id="{DECAD3E9-8786-44D5-A868-5790B025B3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2954" y="1589951"/>
            <a:ext cx="1384447" cy="581187"/>
          </a:xfrm>
          <a:prstGeom prst="rect">
            <a:avLst/>
          </a:prstGeom>
          <a:solidFill>
            <a:srgbClr val="005F87"/>
          </a:solidFill>
          <a:ln w="19050">
            <a:noFill/>
          </a:ln>
          <a:effectLst/>
        </p:spPr>
        <p:txBody>
          <a:bodyPr lIns="91344" tIns="91344" rIns="91344" bIns="71926" rtlCol="0" anchor="ctr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</a:pPr>
            <a:r>
              <a:rPr lang="en-US" sz="999" b="1" dirty="0">
                <a:solidFill>
                  <a:srgbClr val="FFFFFF"/>
                </a:solidFill>
                <a:latin typeface="Arial"/>
                <a:ea typeface="+mn-ea"/>
              </a:rPr>
              <a:t>Enterprise Portals (SharePoint)</a:t>
            </a:r>
          </a:p>
        </p:txBody>
      </p:sp>
      <p:sp>
        <p:nvSpPr>
          <p:cNvPr id="789" name="Rectangle 3">
            <a:extLst>
              <a:ext uri="{FF2B5EF4-FFF2-40B4-BE49-F238E27FC236}">
                <a16:creationId xmlns:a16="http://schemas.microsoft.com/office/drawing/2014/main" id="{5A3E74AA-38F5-428E-A25E-047935AA23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01532" y="1589951"/>
            <a:ext cx="1384447" cy="581187"/>
          </a:xfrm>
          <a:prstGeom prst="rect">
            <a:avLst/>
          </a:prstGeom>
          <a:solidFill>
            <a:srgbClr val="005F87"/>
          </a:solidFill>
          <a:ln w="19050">
            <a:noFill/>
          </a:ln>
          <a:effectLst/>
        </p:spPr>
        <p:txBody>
          <a:bodyPr lIns="91344" tIns="91344" rIns="91344" bIns="71926" rtlCol="0" anchor="ctr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</a:pPr>
            <a:r>
              <a:rPr lang="en-US" sz="999" b="1" dirty="0">
                <a:solidFill>
                  <a:srgbClr val="FFFFFF"/>
                </a:solidFill>
                <a:latin typeface="Arial"/>
                <a:ea typeface="+mn-ea"/>
              </a:rPr>
              <a:t>Microsoft Offic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</a:pPr>
            <a:r>
              <a:rPr lang="en-US" sz="999" b="1" dirty="0">
                <a:solidFill>
                  <a:srgbClr val="FFFFFF"/>
                </a:solidFill>
                <a:latin typeface="Arial"/>
                <a:ea typeface="+mn-ea"/>
              </a:rPr>
              <a:t>(Excel)</a:t>
            </a:r>
          </a:p>
        </p:txBody>
      </p:sp>
      <p:sp>
        <p:nvSpPr>
          <p:cNvPr id="790" name="Rectangle 3">
            <a:extLst>
              <a:ext uri="{FF2B5EF4-FFF2-40B4-BE49-F238E27FC236}">
                <a16:creationId xmlns:a16="http://schemas.microsoft.com/office/drawing/2014/main" id="{0FDEB6DF-E709-4C04-B903-0111EC62DF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87264" y="1589951"/>
            <a:ext cx="1384447" cy="581187"/>
          </a:xfrm>
          <a:prstGeom prst="rect">
            <a:avLst/>
          </a:prstGeom>
          <a:solidFill>
            <a:srgbClr val="005F87"/>
          </a:solidFill>
          <a:ln w="19050">
            <a:noFill/>
          </a:ln>
          <a:effectLst/>
        </p:spPr>
        <p:txBody>
          <a:bodyPr lIns="91344" tIns="91344" rIns="91344" bIns="71926" rtlCol="0" anchor="ctr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</a:pPr>
            <a:r>
              <a:rPr lang="en-US" sz="999" b="1" dirty="0">
                <a:solidFill>
                  <a:srgbClr val="FFFFFF"/>
                </a:solidFill>
                <a:latin typeface="Arial"/>
                <a:ea typeface="+mn-ea"/>
              </a:rPr>
              <a:t>Applications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</a:pPr>
            <a:r>
              <a:rPr lang="en-US" sz="999" b="1" dirty="0">
                <a:solidFill>
                  <a:srgbClr val="FFFFFF"/>
                </a:solidFill>
                <a:latin typeface="Arial"/>
                <a:ea typeface="+mn-ea"/>
              </a:rPr>
              <a:t>(Mendix, custom, mobile, simulation)</a:t>
            </a:r>
          </a:p>
        </p:txBody>
      </p:sp>
      <p:sp>
        <p:nvSpPr>
          <p:cNvPr id="791" name="Rectangle 3">
            <a:extLst>
              <a:ext uri="{FF2B5EF4-FFF2-40B4-BE49-F238E27FC236}">
                <a16:creationId xmlns:a16="http://schemas.microsoft.com/office/drawing/2014/main" id="{C64FB638-1C16-4171-B295-52837D4C42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30109" y="1589951"/>
            <a:ext cx="1384447" cy="581187"/>
          </a:xfrm>
          <a:prstGeom prst="rect">
            <a:avLst/>
          </a:prstGeom>
          <a:solidFill>
            <a:srgbClr val="005F87"/>
          </a:solidFill>
          <a:ln w="19050">
            <a:noFill/>
          </a:ln>
          <a:effectLst/>
        </p:spPr>
        <p:txBody>
          <a:bodyPr lIns="91344" tIns="91344" rIns="91344" bIns="71926" rtlCol="0" anchor="ctr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</a:pPr>
            <a:r>
              <a:rPr lang="en-US" sz="999" b="1" dirty="0">
                <a:solidFill>
                  <a:srgbClr val="FFFFFF"/>
                </a:solidFill>
                <a:latin typeface="Arial"/>
                <a:ea typeface="+mn-ea"/>
              </a:rPr>
              <a:t>BI Tools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</a:pPr>
            <a:r>
              <a:rPr lang="en-US" sz="999" b="1" dirty="0">
                <a:solidFill>
                  <a:srgbClr val="FFFFFF"/>
                </a:solidFill>
                <a:latin typeface="Arial"/>
                <a:ea typeface="+mn-ea"/>
              </a:rPr>
              <a:t>(Tableau, Power BI, Qlik, etc.)</a:t>
            </a:r>
          </a:p>
        </p:txBody>
      </p:sp>
      <p:sp>
        <p:nvSpPr>
          <p:cNvPr id="792" name="TextBox 83">
            <a:extLst>
              <a:ext uri="{FF2B5EF4-FFF2-40B4-BE49-F238E27FC236}">
                <a16:creationId xmlns:a16="http://schemas.microsoft.com/office/drawing/2014/main" id="{6AB8BB6F-2108-4DE5-BB7B-CBF4C3146EA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9090" y="1305763"/>
            <a:ext cx="2918257" cy="292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de-DE"/>
            </a:defPPr>
            <a:lvl1pPr eaLnBrk="1" hangingPunct="1">
              <a:buClr>
                <a:srgbClr val="949EAA"/>
              </a:buClr>
              <a:defRPr sz="1100" b="1">
                <a:solidFill>
                  <a:srgbClr val="00646E"/>
                </a:solidFill>
                <a:latin typeface="Arial" charset="0"/>
                <a:ea typeface="宋体" pitchFamily="2" charset="-122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49EAA"/>
              </a:buClr>
              <a:buSzTx/>
              <a:buFontTx/>
              <a:buNone/>
              <a:tabLst/>
              <a:defRPr/>
            </a:pPr>
            <a:r>
              <a:rPr kumimoji="0" lang="en-US" altLang="en-US" sz="1299" b="1" i="0" u="none" strike="noStrike" kern="0" cap="none" spc="0" normalizeH="0" baseline="0" noProof="0" dirty="0">
                <a:ln>
                  <a:noFill/>
                </a:ln>
                <a:solidFill>
                  <a:srgbClr val="00646E"/>
                </a:solidFill>
                <a:effectLst/>
                <a:uLnTx/>
                <a:uFillTx/>
                <a:latin typeface="Arial" charset="0"/>
                <a:ea typeface="宋体" pitchFamily="2" charset="-122"/>
                <a:cs typeface="Arial" charset="0"/>
              </a:rPr>
              <a:t>Third-party applications</a:t>
            </a:r>
          </a:p>
        </p:txBody>
      </p:sp>
      <p:sp>
        <p:nvSpPr>
          <p:cNvPr id="793" name="Rectangle 3">
            <a:extLst>
              <a:ext uri="{FF2B5EF4-FFF2-40B4-BE49-F238E27FC236}">
                <a16:creationId xmlns:a16="http://schemas.microsoft.com/office/drawing/2014/main" id="{C389EAA0-FE9D-4F34-B393-FDB9BFA798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15841" y="1589951"/>
            <a:ext cx="1384447" cy="581187"/>
          </a:xfrm>
          <a:prstGeom prst="rect">
            <a:avLst/>
          </a:prstGeom>
          <a:solidFill>
            <a:srgbClr val="005F87"/>
          </a:solidFill>
          <a:ln w="19050">
            <a:noFill/>
          </a:ln>
          <a:effectLst/>
        </p:spPr>
        <p:txBody>
          <a:bodyPr lIns="91344" tIns="91344" rIns="91344" bIns="71926" rtlCol="0" anchor="ctr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</a:pPr>
            <a:r>
              <a:rPr lang="en-US" sz="999" b="1" dirty="0">
                <a:solidFill>
                  <a:srgbClr val="FFFFFF"/>
                </a:solidFill>
                <a:latin typeface="Arial"/>
                <a:ea typeface="+mn-ea"/>
              </a:rPr>
              <a:t>Analytics and Workflow Engines</a:t>
            </a:r>
          </a:p>
        </p:txBody>
      </p:sp>
      <p:sp>
        <p:nvSpPr>
          <p:cNvPr id="794" name="Rectangle 3">
            <a:extLst>
              <a:ext uri="{FF2B5EF4-FFF2-40B4-BE49-F238E27FC236}">
                <a16:creationId xmlns:a16="http://schemas.microsoft.com/office/drawing/2014/main" id="{445AF51F-B077-4CFB-8B9D-8BE79F4688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44419" y="1589951"/>
            <a:ext cx="1384447" cy="581187"/>
          </a:xfrm>
          <a:prstGeom prst="rect">
            <a:avLst/>
          </a:prstGeom>
          <a:solidFill>
            <a:srgbClr val="005F87"/>
          </a:solidFill>
          <a:ln w="19050">
            <a:noFill/>
          </a:ln>
          <a:effectLst/>
        </p:spPr>
        <p:txBody>
          <a:bodyPr lIns="91344" tIns="91344" rIns="91344" bIns="71926" rtlCol="0" anchor="ctr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</a:pPr>
            <a:r>
              <a:rPr lang="en-US" sz="999" b="1" dirty="0">
                <a:solidFill>
                  <a:srgbClr val="FFFFFF"/>
                </a:solidFill>
                <a:latin typeface="Arial"/>
                <a:ea typeface="+mn-ea"/>
              </a:rPr>
              <a:t>IoT Platforms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</a:pPr>
            <a:r>
              <a:rPr lang="en-US" sz="999" b="1" dirty="0">
                <a:solidFill>
                  <a:srgbClr val="FFFFFF"/>
                </a:solidFill>
                <a:latin typeface="Arial"/>
                <a:ea typeface="+mn-ea"/>
              </a:rPr>
              <a:t>(MindSphere, etc.)</a:t>
            </a:r>
          </a:p>
        </p:txBody>
      </p:sp>
      <p:sp>
        <p:nvSpPr>
          <p:cNvPr id="795" name="Rectangle 3">
            <a:extLst>
              <a:ext uri="{FF2B5EF4-FFF2-40B4-BE49-F238E27FC236}">
                <a16:creationId xmlns:a16="http://schemas.microsoft.com/office/drawing/2014/main" id="{20456962-341B-488D-8DF9-D7A00D0EF1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8686" y="1589951"/>
            <a:ext cx="1384447" cy="581187"/>
          </a:xfrm>
          <a:prstGeom prst="rect">
            <a:avLst/>
          </a:prstGeom>
          <a:solidFill>
            <a:srgbClr val="005F87"/>
          </a:solidFill>
          <a:ln w="19050">
            <a:noFill/>
          </a:ln>
          <a:effectLst/>
        </p:spPr>
        <p:txBody>
          <a:bodyPr lIns="91344" tIns="91344" rIns="91344" bIns="71926" rtlCol="0" anchor="ctr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</a:pPr>
            <a:r>
              <a:rPr lang="en-US" sz="999" b="1" dirty="0">
                <a:solidFill>
                  <a:srgbClr val="FFFFFF"/>
                </a:solidFill>
                <a:latin typeface="Arial"/>
                <a:ea typeface="+mn-ea"/>
              </a:rPr>
              <a:t>Reporting Tools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</a:pPr>
            <a:r>
              <a:rPr lang="en-US" sz="999" b="1" dirty="0">
                <a:solidFill>
                  <a:srgbClr val="FFFFFF"/>
                </a:solidFill>
                <a:latin typeface="Arial"/>
                <a:ea typeface="+mn-ea"/>
              </a:rPr>
              <a:t>(SQL Server Reporting Services)</a:t>
            </a:r>
          </a:p>
        </p:txBody>
      </p:sp>
      <p:sp>
        <p:nvSpPr>
          <p:cNvPr id="796" name="Rectangle 795">
            <a:extLst>
              <a:ext uri="{FF2B5EF4-FFF2-40B4-BE49-F238E27FC236}">
                <a16:creationId xmlns:a16="http://schemas.microsoft.com/office/drawing/2014/main" id="{19856C20-89AB-4E9F-B852-FFA9B1A94EC4}"/>
              </a:ext>
            </a:extLst>
          </p:cNvPr>
          <p:cNvSpPr/>
          <p:nvPr/>
        </p:nvSpPr>
        <p:spPr>
          <a:xfrm>
            <a:off x="1714749" y="4273774"/>
            <a:ext cx="1272758" cy="732102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0" h="0"/>
          </a:sp3d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Lost Opportunities and Reason Codes</a:t>
            </a:r>
          </a:p>
        </p:txBody>
      </p:sp>
      <p:sp>
        <p:nvSpPr>
          <p:cNvPr id="797" name="Rectangle 796">
            <a:extLst>
              <a:ext uri="{FF2B5EF4-FFF2-40B4-BE49-F238E27FC236}">
                <a16:creationId xmlns:a16="http://schemas.microsoft.com/office/drawing/2014/main" id="{3F4004DB-6D80-4BC6-B012-7E80B817F0F2}"/>
              </a:ext>
            </a:extLst>
          </p:cNvPr>
          <p:cNvSpPr/>
          <p:nvPr/>
        </p:nvSpPr>
        <p:spPr>
          <a:xfrm>
            <a:off x="1740883" y="3993470"/>
            <a:ext cx="1157958" cy="389354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0" h="0"/>
          </a:sp3d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196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$</a:t>
            </a:r>
          </a:p>
        </p:txBody>
      </p:sp>
      <p:sp>
        <p:nvSpPr>
          <p:cNvPr id="798" name="Rounded Rectangle 114">
            <a:extLst>
              <a:ext uri="{FF2B5EF4-FFF2-40B4-BE49-F238E27FC236}">
                <a16:creationId xmlns:a16="http://schemas.microsoft.com/office/drawing/2014/main" id="{01F10750-DC98-4A21-B022-8A1BF2F98287}"/>
              </a:ext>
            </a:extLst>
          </p:cNvPr>
          <p:cNvSpPr/>
          <p:nvPr/>
        </p:nvSpPr>
        <p:spPr bwMode="auto">
          <a:xfrm>
            <a:off x="2451055" y="6334911"/>
            <a:ext cx="1379054" cy="454516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32A0A0"/>
            </a:solidFill>
            <a:prstDash val="solid"/>
          </a:ln>
          <a:effectLst/>
        </p:spPr>
        <p:txBody>
          <a:bodyPr wrap="square" lIns="93357" tIns="46680" rIns="93357" bIns="46680" numCol="1" spcCol="143928" rtlCol="0" anchor="ctr">
            <a:noAutofit/>
          </a:bodyPr>
          <a:lstStyle/>
          <a:p>
            <a:pPr marL="0" marR="0" lvl="0" indent="0" algn="ctr" defTabSz="790551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65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alytics and Optimization Systems</a:t>
            </a:r>
          </a:p>
        </p:txBody>
      </p:sp>
      <p:sp>
        <p:nvSpPr>
          <p:cNvPr id="799" name="Rounded Rectangle 115">
            <a:extLst>
              <a:ext uri="{FF2B5EF4-FFF2-40B4-BE49-F238E27FC236}">
                <a16:creationId xmlns:a16="http://schemas.microsoft.com/office/drawing/2014/main" id="{8B655BB7-E297-4937-B3D6-73052AB83950}"/>
              </a:ext>
            </a:extLst>
          </p:cNvPr>
          <p:cNvSpPr/>
          <p:nvPr/>
        </p:nvSpPr>
        <p:spPr bwMode="auto">
          <a:xfrm>
            <a:off x="4412381" y="6329529"/>
            <a:ext cx="1401414" cy="468290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32A0A0"/>
            </a:solidFill>
            <a:prstDash val="solid"/>
          </a:ln>
          <a:effectLst/>
        </p:spPr>
        <p:txBody>
          <a:bodyPr wrap="square" lIns="93357" tIns="46680" rIns="93357" bIns="46680" numCol="1" spcCol="143928" rtlCol="0" anchor="ctr">
            <a:noAutofit/>
          </a:bodyPr>
          <a:lstStyle/>
          <a:p>
            <a:pPr marL="0" marR="0" lvl="0" indent="0" algn="ctr" defTabSz="790551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65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siness and Cross-Functional Systems</a:t>
            </a:r>
          </a:p>
        </p:txBody>
      </p:sp>
      <p:sp>
        <p:nvSpPr>
          <p:cNvPr id="800" name="Freihandform: Form 134">
            <a:extLst>
              <a:ext uri="{FF2B5EF4-FFF2-40B4-BE49-F238E27FC236}">
                <a16:creationId xmlns:a16="http://schemas.microsoft.com/office/drawing/2014/main" id="{1E759BAC-BD48-4EF1-9B67-2F5677523A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70580" y="5683748"/>
            <a:ext cx="214447" cy="290228"/>
          </a:xfrm>
          <a:custGeom>
            <a:avLst/>
            <a:gdLst>
              <a:gd name="connsiteX0" fmla="*/ 0 w 3200400"/>
              <a:gd name="connsiteY0" fmla="*/ 2746376 h 3870326"/>
              <a:gd name="connsiteX1" fmla="*/ 1609140 w 3200400"/>
              <a:gd name="connsiteY1" fmla="*/ 3121026 h 3870326"/>
              <a:gd name="connsiteX2" fmla="*/ 3200400 w 3200400"/>
              <a:gd name="connsiteY2" fmla="*/ 2746376 h 3870326"/>
              <a:gd name="connsiteX3" fmla="*/ 3200400 w 3200400"/>
              <a:gd name="connsiteY3" fmla="*/ 3495676 h 3870326"/>
              <a:gd name="connsiteX4" fmla="*/ 1609140 w 3200400"/>
              <a:gd name="connsiteY4" fmla="*/ 3870326 h 3870326"/>
              <a:gd name="connsiteX5" fmla="*/ 0 w 3200400"/>
              <a:gd name="connsiteY5" fmla="*/ 3495676 h 3870326"/>
              <a:gd name="connsiteX6" fmla="*/ 0 w 3200400"/>
              <a:gd name="connsiteY6" fmla="*/ 2746376 h 3870326"/>
              <a:gd name="connsiteX7" fmla="*/ 0 w 3200400"/>
              <a:gd name="connsiteY7" fmla="*/ 1717675 h 3870326"/>
              <a:gd name="connsiteX8" fmla="*/ 1609140 w 3200400"/>
              <a:gd name="connsiteY8" fmla="*/ 2092325 h 3870326"/>
              <a:gd name="connsiteX9" fmla="*/ 3200400 w 3200400"/>
              <a:gd name="connsiteY9" fmla="*/ 1717675 h 3870326"/>
              <a:gd name="connsiteX10" fmla="*/ 3200400 w 3200400"/>
              <a:gd name="connsiteY10" fmla="*/ 2466975 h 3870326"/>
              <a:gd name="connsiteX11" fmla="*/ 1609140 w 3200400"/>
              <a:gd name="connsiteY11" fmla="*/ 2841625 h 3870326"/>
              <a:gd name="connsiteX12" fmla="*/ 0 w 3200400"/>
              <a:gd name="connsiteY12" fmla="*/ 2466975 h 3870326"/>
              <a:gd name="connsiteX13" fmla="*/ 0 w 3200400"/>
              <a:gd name="connsiteY13" fmla="*/ 1717675 h 3870326"/>
              <a:gd name="connsiteX14" fmla="*/ 0 w 3200400"/>
              <a:gd name="connsiteY14" fmla="*/ 688975 h 3870326"/>
              <a:gd name="connsiteX15" fmla="*/ 1609140 w 3200400"/>
              <a:gd name="connsiteY15" fmla="*/ 1063625 h 3870326"/>
              <a:gd name="connsiteX16" fmla="*/ 3200400 w 3200400"/>
              <a:gd name="connsiteY16" fmla="*/ 688975 h 3870326"/>
              <a:gd name="connsiteX17" fmla="*/ 3200400 w 3200400"/>
              <a:gd name="connsiteY17" fmla="*/ 1438275 h 3870326"/>
              <a:gd name="connsiteX18" fmla="*/ 1609140 w 3200400"/>
              <a:gd name="connsiteY18" fmla="*/ 1812925 h 3870326"/>
              <a:gd name="connsiteX19" fmla="*/ 0 w 3200400"/>
              <a:gd name="connsiteY19" fmla="*/ 1438275 h 3870326"/>
              <a:gd name="connsiteX20" fmla="*/ 0 w 3200400"/>
              <a:gd name="connsiteY20" fmla="*/ 688975 h 3870326"/>
              <a:gd name="connsiteX21" fmla="*/ 1600200 w 3200400"/>
              <a:gd name="connsiteY21" fmla="*/ 0 h 3870326"/>
              <a:gd name="connsiteX22" fmla="*/ 3200400 w 3200400"/>
              <a:gd name="connsiteY22" fmla="*/ 392113 h 3870326"/>
              <a:gd name="connsiteX23" fmla="*/ 1600200 w 3200400"/>
              <a:gd name="connsiteY23" fmla="*/ 784226 h 3870326"/>
              <a:gd name="connsiteX24" fmla="*/ 0 w 3200400"/>
              <a:gd name="connsiteY24" fmla="*/ 392113 h 3870326"/>
              <a:gd name="connsiteX25" fmla="*/ 1600200 w 3200400"/>
              <a:gd name="connsiteY25" fmla="*/ 0 h 3870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3200400" h="3870326">
                <a:moveTo>
                  <a:pt x="0" y="2746376"/>
                </a:moveTo>
                <a:cubicBezTo>
                  <a:pt x="0" y="2960462"/>
                  <a:pt x="715173" y="3121026"/>
                  <a:pt x="1609140" y="3121026"/>
                </a:cubicBezTo>
                <a:cubicBezTo>
                  <a:pt x="2485227" y="3121026"/>
                  <a:pt x="3200400" y="2960462"/>
                  <a:pt x="3200400" y="2746376"/>
                </a:cubicBezTo>
                <a:cubicBezTo>
                  <a:pt x="3200400" y="2746376"/>
                  <a:pt x="3200400" y="2746376"/>
                  <a:pt x="3200400" y="3495676"/>
                </a:cubicBezTo>
                <a:cubicBezTo>
                  <a:pt x="3200400" y="3691921"/>
                  <a:pt x="2485227" y="3870326"/>
                  <a:pt x="1609140" y="3870326"/>
                </a:cubicBezTo>
                <a:cubicBezTo>
                  <a:pt x="715173" y="3870326"/>
                  <a:pt x="0" y="3691921"/>
                  <a:pt x="0" y="3495676"/>
                </a:cubicBezTo>
                <a:cubicBezTo>
                  <a:pt x="0" y="3495676"/>
                  <a:pt x="0" y="3495676"/>
                  <a:pt x="0" y="2746376"/>
                </a:cubicBezTo>
                <a:close/>
                <a:moveTo>
                  <a:pt x="0" y="1717675"/>
                </a:moveTo>
                <a:cubicBezTo>
                  <a:pt x="0" y="1931761"/>
                  <a:pt x="715173" y="2092325"/>
                  <a:pt x="1609140" y="2092325"/>
                </a:cubicBezTo>
                <a:cubicBezTo>
                  <a:pt x="2485227" y="2092325"/>
                  <a:pt x="3200400" y="1931761"/>
                  <a:pt x="3200400" y="1717675"/>
                </a:cubicBezTo>
                <a:cubicBezTo>
                  <a:pt x="3200400" y="1717675"/>
                  <a:pt x="3200400" y="1717675"/>
                  <a:pt x="3200400" y="2466975"/>
                </a:cubicBezTo>
                <a:cubicBezTo>
                  <a:pt x="3200400" y="2663220"/>
                  <a:pt x="2485227" y="2841625"/>
                  <a:pt x="1609140" y="2841625"/>
                </a:cubicBezTo>
                <a:cubicBezTo>
                  <a:pt x="715173" y="2841625"/>
                  <a:pt x="0" y="2663220"/>
                  <a:pt x="0" y="2466975"/>
                </a:cubicBezTo>
                <a:cubicBezTo>
                  <a:pt x="0" y="2466975"/>
                  <a:pt x="0" y="2466975"/>
                  <a:pt x="0" y="1717675"/>
                </a:cubicBezTo>
                <a:close/>
                <a:moveTo>
                  <a:pt x="0" y="688975"/>
                </a:moveTo>
                <a:cubicBezTo>
                  <a:pt x="0" y="903061"/>
                  <a:pt x="715173" y="1063625"/>
                  <a:pt x="1609140" y="1063625"/>
                </a:cubicBezTo>
                <a:cubicBezTo>
                  <a:pt x="2485227" y="1063625"/>
                  <a:pt x="3200400" y="903061"/>
                  <a:pt x="3200400" y="688975"/>
                </a:cubicBezTo>
                <a:cubicBezTo>
                  <a:pt x="3200400" y="688975"/>
                  <a:pt x="3200400" y="688975"/>
                  <a:pt x="3200400" y="1438275"/>
                </a:cubicBezTo>
                <a:cubicBezTo>
                  <a:pt x="3200400" y="1652361"/>
                  <a:pt x="2485227" y="1812925"/>
                  <a:pt x="1609140" y="1812925"/>
                </a:cubicBezTo>
                <a:cubicBezTo>
                  <a:pt x="715173" y="1812925"/>
                  <a:pt x="0" y="1652361"/>
                  <a:pt x="0" y="1438275"/>
                </a:cubicBezTo>
                <a:cubicBezTo>
                  <a:pt x="0" y="1438275"/>
                  <a:pt x="0" y="1438275"/>
                  <a:pt x="0" y="688975"/>
                </a:cubicBezTo>
                <a:close/>
                <a:moveTo>
                  <a:pt x="1600200" y="0"/>
                </a:moveTo>
                <a:cubicBezTo>
                  <a:pt x="2483966" y="0"/>
                  <a:pt x="3200400" y="175555"/>
                  <a:pt x="3200400" y="392113"/>
                </a:cubicBezTo>
                <a:cubicBezTo>
                  <a:pt x="3200400" y="608671"/>
                  <a:pt x="2483966" y="784226"/>
                  <a:pt x="1600200" y="784226"/>
                </a:cubicBezTo>
                <a:cubicBezTo>
                  <a:pt x="716434" y="784226"/>
                  <a:pt x="0" y="608671"/>
                  <a:pt x="0" y="392113"/>
                </a:cubicBezTo>
                <a:cubicBezTo>
                  <a:pt x="0" y="175555"/>
                  <a:pt x="716434" y="0"/>
                  <a:pt x="1600200" y="0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344" tIns="45672" rIns="91344" bIns="45672" numCol="1" anchor="t" anchorCtr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999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801" name="Freihandform: Form 164">
            <a:extLst>
              <a:ext uri="{FF2B5EF4-FFF2-40B4-BE49-F238E27FC236}">
                <a16:creationId xmlns:a16="http://schemas.microsoft.com/office/drawing/2014/main" id="{920868D6-82F1-45EF-B949-35344B4AD4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36480" y="5683748"/>
            <a:ext cx="214447" cy="290228"/>
          </a:xfrm>
          <a:custGeom>
            <a:avLst/>
            <a:gdLst>
              <a:gd name="connsiteX0" fmla="*/ 0 w 3200400"/>
              <a:gd name="connsiteY0" fmla="*/ 2746376 h 3870326"/>
              <a:gd name="connsiteX1" fmla="*/ 1609140 w 3200400"/>
              <a:gd name="connsiteY1" fmla="*/ 3121026 h 3870326"/>
              <a:gd name="connsiteX2" fmla="*/ 3200400 w 3200400"/>
              <a:gd name="connsiteY2" fmla="*/ 2746376 h 3870326"/>
              <a:gd name="connsiteX3" fmla="*/ 3200400 w 3200400"/>
              <a:gd name="connsiteY3" fmla="*/ 3495676 h 3870326"/>
              <a:gd name="connsiteX4" fmla="*/ 1609140 w 3200400"/>
              <a:gd name="connsiteY4" fmla="*/ 3870326 h 3870326"/>
              <a:gd name="connsiteX5" fmla="*/ 0 w 3200400"/>
              <a:gd name="connsiteY5" fmla="*/ 3495676 h 3870326"/>
              <a:gd name="connsiteX6" fmla="*/ 0 w 3200400"/>
              <a:gd name="connsiteY6" fmla="*/ 2746376 h 3870326"/>
              <a:gd name="connsiteX7" fmla="*/ 0 w 3200400"/>
              <a:gd name="connsiteY7" fmla="*/ 1717675 h 3870326"/>
              <a:gd name="connsiteX8" fmla="*/ 1609140 w 3200400"/>
              <a:gd name="connsiteY8" fmla="*/ 2092325 h 3870326"/>
              <a:gd name="connsiteX9" fmla="*/ 3200400 w 3200400"/>
              <a:gd name="connsiteY9" fmla="*/ 1717675 h 3870326"/>
              <a:gd name="connsiteX10" fmla="*/ 3200400 w 3200400"/>
              <a:gd name="connsiteY10" fmla="*/ 2466975 h 3870326"/>
              <a:gd name="connsiteX11" fmla="*/ 1609140 w 3200400"/>
              <a:gd name="connsiteY11" fmla="*/ 2841625 h 3870326"/>
              <a:gd name="connsiteX12" fmla="*/ 0 w 3200400"/>
              <a:gd name="connsiteY12" fmla="*/ 2466975 h 3870326"/>
              <a:gd name="connsiteX13" fmla="*/ 0 w 3200400"/>
              <a:gd name="connsiteY13" fmla="*/ 1717675 h 3870326"/>
              <a:gd name="connsiteX14" fmla="*/ 0 w 3200400"/>
              <a:gd name="connsiteY14" fmla="*/ 688975 h 3870326"/>
              <a:gd name="connsiteX15" fmla="*/ 1609140 w 3200400"/>
              <a:gd name="connsiteY15" fmla="*/ 1063625 h 3870326"/>
              <a:gd name="connsiteX16" fmla="*/ 3200400 w 3200400"/>
              <a:gd name="connsiteY16" fmla="*/ 688975 h 3870326"/>
              <a:gd name="connsiteX17" fmla="*/ 3200400 w 3200400"/>
              <a:gd name="connsiteY17" fmla="*/ 1438275 h 3870326"/>
              <a:gd name="connsiteX18" fmla="*/ 1609140 w 3200400"/>
              <a:gd name="connsiteY18" fmla="*/ 1812925 h 3870326"/>
              <a:gd name="connsiteX19" fmla="*/ 0 w 3200400"/>
              <a:gd name="connsiteY19" fmla="*/ 1438275 h 3870326"/>
              <a:gd name="connsiteX20" fmla="*/ 0 w 3200400"/>
              <a:gd name="connsiteY20" fmla="*/ 688975 h 3870326"/>
              <a:gd name="connsiteX21" fmla="*/ 1600200 w 3200400"/>
              <a:gd name="connsiteY21" fmla="*/ 0 h 3870326"/>
              <a:gd name="connsiteX22" fmla="*/ 3200400 w 3200400"/>
              <a:gd name="connsiteY22" fmla="*/ 392113 h 3870326"/>
              <a:gd name="connsiteX23" fmla="*/ 1600200 w 3200400"/>
              <a:gd name="connsiteY23" fmla="*/ 784226 h 3870326"/>
              <a:gd name="connsiteX24" fmla="*/ 0 w 3200400"/>
              <a:gd name="connsiteY24" fmla="*/ 392113 h 3870326"/>
              <a:gd name="connsiteX25" fmla="*/ 1600200 w 3200400"/>
              <a:gd name="connsiteY25" fmla="*/ 0 h 3870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3200400" h="3870326">
                <a:moveTo>
                  <a:pt x="0" y="2746376"/>
                </a:moveTo>
                <a:cubicBezTo>
                  <a:pt x="0" y="2960462"/>
                  <a:pt x="715173" y="3121026"/>
                  <a:pt x="1609140" y="3121026"/>
                </a:cubicBezTo>
                <a:cubicBezTo>
                  <a:pt x="2485227" y="3121026"/>
                  <a:pt x="3200400" y="2960462"/>
                  <a:pt x="3200400" y="2746376"/>
                </a:cubicBezTo>
                <a:cubicBezTo>
                  <a:pt x="3200400" y="2746376"/>
                  <a:pt x="3200400" y="2746376"/>
                  <a:pt x="3200400" y="3495676"/>
                </a:cubicBezTo>
                <a:cubicBezTo>
                  <a:pt x="3200400" y="3691921"/>
                  <a:pt x="2485227" y="3870326"/>
                  <a:pt x="1609140" y="3870326"/>
                </a:cubicBezTo>
                <a:cubicBezTo>
                  <a:pt x="715173" y="3870326"/>
                  <a:pt x="0" y="3691921"/>
                  <a:pt x="0" y="3495676"/>
                </a:cubicBezTo>
                <a:cubicBezTo>
                  <a:pt x="0" y="3495676"/>
                  <a:pt x="0" y="3495676"/>
                  <a:pt x="0" y="2746376"/>
                </a:cubicBezTo>
                <a:close/>
                <a:moveTo>
                  <a:pt x="0" y="1717675"/>
                </a:moveTo>
                <a:cubicBezTo>
                  <a:pt x="0" y="1931761"/>
                  <a:pt x="715173" y="2092325"/>
                  <a:pt x="1609140" y="2092325"/>
                </a:cubicBezTo>
                <a:cubicBezTo>
                  <a:pt x="2485227" y="2092325"/>
                  <a:pt x="3200400" y="1931761"/>
                  <a:pt x="3200400" y="1717675"/>
                </a:cubicBezTo>
                <a:cubicBezTo>
                  <a:pt x="3200400" y="1717675"/>
                  <a:pt x="3200400" y="1717675"/>
                  <a:pt x="3200400" y="2466975"/>
                </a:cubicBezTo>
                <a:cubicBezTo>
                  <a:pt x="3200400" y="2663220"/>
                  <a:pt x="2485227" y="2841625"/>
                  <a:pt x="1609140" y="2841625"/>
                </a:cubicBezTo>
                <a:cubicBezTo>
                  <a:pt x="715173" y="2841625"/>
                  <a:pt x="0" y="2663220"/>
                  <a:pt x="0" y="2466975"/>
                </a:cubicBezTo>
                <a:cubicBezTo>
                  <a:pt x="0" y="2466975"/>
                  <a:pt x="0" y="2466975"/>
                  <a:pt x="0" y="1717675"/>
                </a:cubicBezTo>
                <a:close/>
                <a:moveTo>
                  <a:pt x="0" y="688975"/>
                </a:moveTo>
                <a:cubicBezTo>
                  <a:pt x="0" y="903061"/>
                  <a:pt x="715173" y="1063625"/>
                  <a:pt x="1609140" y="1063625"/>
                </a:cubicBezTo>
                <a:cubicBezTo>
                  <a:pt x="2485227" y="1063625"/>
                  <a:pt x="3200400" y="903061"/>
                  <a:pt x="3200400" y="688975"/>
                </a:cubicBezTo>
                <a:cubicBezTo>
                  <a:pt x="3200400" y="688975"/>
                  <a:pt x="3200400" y="688975"/>
                  <a:pt x="3200400" y="1438275"/>
                </a:cubicBezTo>
                <a:cubicBezTo>
                  <a:pt x="3200400" y="1652361"/>
                  <a:pt x="2485227" y="1812925"/>
                  <a:pt x="1609140" y="1812925"/>
                </a:cubicBezTo>
                <a:cubicBezTo>
                  <a:pt x="715173" y="1812925"/>
                  <a:pt x="0" y="1652361"/>
                  <a:pt x="0" y="1438275"/>
                </a:cubicBezTo>
                <a:cubicBezTo>
                  <a:pt x="0" y="1438275"/>
                  <a:pt x="0" y="1438275"/>
                  <a:pt x="0" y="688975"/>
                </a:cubicBezTo>
                <a:close/>
                <a:moveTo>
                  <a:pt x="1600200" y="0"/>
                </a:moveTo>
                <a:cubicBezTo>
                  <a:pt x="2483966" y="0"/>
                  <a:pt x="3200400" y="175555"/>
                  <a:pt x="3200400" y="392113"/>
                </a:cubicBezTo>
                <a:cubicBezTo>
                  <a:pt x="3200400" y="608671"/>
                  <a:pt x="2483966" y="784226"/>
                  <a:pt x="1600200" y="784226"/>
                </a:cubicBezTo>
                <a:cubicBezTo>
                  <a:pt x="716434" y="784226"/>
                  <a:pt x="0" y="608671"/>
                  <a:pt x="0" y="392113"/>
                </a:cubicBezTo>
                <a:cubicBezTo>
                  <a:pt x="0" y="175555"/>
                  <a:pt x="716434" y="0"/>
                  <a:pt x="1600200" y="0"/>
                </a:cubicBezTo>
                <a:close/>
              </a:path>
            </a:pathLst>
          </a:custGeom>
          <a:solidFill>
            <a:srgbClr val="AAB414"/>
          </a:solidFill>
          <a:ln>
            <a:noFill/>
          </a:ln>
        </p:spPr>
        <p:txBody>
          <a:bodyPr vert="horz" wrap="square" lIns="91344" tIns="45672" rIns="91344" bIns="45672" numCol="1" anchor="t" anchorCtr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999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802" name="Freihandform: Form 161">
            <a:extLst>
              <a:ext uri="{FF2B5EF4-FFF2-40B4-BE49-F238E27FC236}">
                <a16:creationId xmlns:a16="http://schemas.microsoft.com/office/drawing/2014/main" id="{A3FAB0CA-ECA9-4D16-ADC7-7218AF6552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01556" y="5687406"/>
            <a:ext cx="214447" cy="290228"/>
          </a:xfrm>
          <a:custGeom>
            <a:avLst/>
            <a:gdLst>
              <a:gd name="connsiteX0" fmla="*/ 0 w 3200400"/>
              <a:gd name="connsiteY0" fmla="*/ 2746376 h 3870326"/>
              <a:gd name="connsiteX1" fmla="*/ 1609140 w 3200400"/>
              <a:gd name="connsiteY1" fmla="*/ 3121026 h 3870326"/>
              <a:gd name="connsiteX2" fmla="*/ 3200400 w 3200400"/>
              <a:gd name="connsiteY2" fmla="*/ 2746376 h 3870326"/>
              <a:gd name="connsiteX3" fmla="*/ 3200400 w 3200400"/>
              <a:gd name="connsiteY3" fmla="*/ 3495676 h 3870326"/>
              <a:gd name="connsiteX4" fmla="*/ 1609140 w 3200400"/>
              <a:gd name="connsiteY4" fmla="*/ 3870326 h 3870326"/>
              <a:gd name="connsiteX5" fmla="*/ 0 w 3200400"/>
              <a:gd name="connsiteY5" fmla="*/ 3495676 h 3870326"/>
              <a:gd name="connsiteX6" fmla="*/ 0 w 3200400"/>
              <a:gd name="connsiteY6" fmla="*/ 2746376 h 3870326"/>
              <a:gd name="connsiteX7" fmla="*/ 0 w 3200400"/>
              <a:gd name="connsiteY7" fmla="*/ 1717675 h 3870326"/>
              <a:gd name="connsiteX8" fmla="*/ 1609140 w 3200400"/>
              <a:gd name="connsiteY8" fmla="*/ 2092325 h 3870326"/>
              <a:gd name="connsiteX9" fmla="*/ 3200400 w 3200400"/>
              <a:gd name="connsiteY9" fmla="*/ 1717675 h 3870326"/>
              <a:gd name="connsiteX10" fmla="*/ 3200400 w 3200400"/>
              <a:gd name="connsiteY10" fmla="*/ 2466975 h 3870326"/>
              <a:gd name="connsiteX11" fmla="*/ 1609140 w 3200400"/>
              <a:gd name="connsiteY11" fmla="*/ 2841625 h 3870326"/>
              <a:gd name="connsiteX12" fmla="*/ 0 w 3200400"/>
              <a:gd name="connsiteY12" fmla="*/ 2466975 h 3870326"/>
              <a:gd name="connsiteX13" fmla="*/ 0 w 3200400"/>
              <a:gd name="connsiteY13" fmla="*/ 1717675 h 3870326"/>
              <a:gd name="connsiteX14" fmla="*/ 0 w 3200400"/>
              <a:gd name="connsiteY14" fmla="*/ 688975 h 3870326"/>
              <a:gd name="connsiteX15" fmla="*/ 1609140 w 3200400"/>
              <a:gd name="connsiteY15" fmla="*/ 1063625 h 3870326"/>
              <a:gd name="connsiteX16" fmla="*/ 3200400 w 3200400"/>
              <a:gd name="connsiteY16" fmla="*/ 688975 h 3870326"/>
              <a:gd name="connsiteX17" fmla="*/ 3200400 w 3200400"/>
              <a:gd name="connsiteY17" fmla="*/ 1438275 h 3870326"/>
              <a:gd name="connsiteX18" fmla="*/ 1609140 w 3200400"/>
              <a:gd name="connsiteY18" fmla="*/ 1812925 h 3870326"/>
              <a:gd name="connsiteX19" fmla="*/ 0 w 3200400"/>
              <a:gd name="connsiteY19" fmla="*/ 1438275 h 3870326"/>
              <a:gd name="connsiteX20" fmla="*/ 0 w 3200400"/>
              <a:gd name="connsiteY20" fmla="*/ 688975 h 3870326"/>
              <a:gd name="connsiteX21" fmla="*/ 1600200 w 3200400"/>
              <a:gd name="connsiteY21" fmla="*/ 0 h 3870326"/>
              <a:gd name="connsiteX22" fmla="*/ 3200400 w 3200400"/>
              <a:gd name="connsiteY22" fmla="*/ 392113 h 3870326"/>
              <a:gd name="connsiteX23" fmla="*/ 1600200 w 3200400"/>
              <a:gd name="connsiteY23" fmla="*/ 784226 h 3870326"/>
              <a:gd name="connsiteX24" fmla="*/ 0 w 3200400"/>
              <a:gd name="connsiteY24" fmla="*/ 392113 h 3870326"/>
              <a:gd name="connsiteX25" fmla="*/ 1600200 w 3200400"/>
              <a:gd name="connsiteY25" fmla="*/ 0 h 3870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3200400" h="3870326">
                <a:moveTo>
                  <a:pt x="0" y="2746376"/>
                </a:moveTo>
                <a:cubicBezTo>
                  <a:pt x="0" y="2960462"/>
                  <a:pt x="715173" y="3121026"/>
                  <a:pt x="1609140" y="3121026"/>
                </a:cubicBezTo>
                <a:cubicBezTo>
                  <a:pt x="2485227" y="3121026"/>
                  <a:pt x="3200400" y="2960462"/>
                  <a:pt x="3200400" y="2746376"/>
                </a:cubicBezTo>
                <a:cubicBezTo>
                  <a:pt x="3200400" y="2746376"/>
                  <a:pt x="3200400" y="2746376"/>
                  <a:pt x="3200400" y="3495676"/>
                </a:cubicBezTo>
                <a:cubicBezTo>
                  <a:pt x="3200400" y="3691921"/>
                  <a:pt x="2485227" y="3870326"/>
                  <a:pt x="1609140" y="3870326"/>
                </a:cubicBezTo>
                <a:cubicBezTo>
                  <a:pt x="715173" y="3870326"/>
                  <a:pt x="0" y="3691921"/>
                  <a:pt x="0" y="3495676"/>
                </a:cubicBezTo>
                <a:cubicBezTo>
                  <a:pt x="0" y="3495676"/>
                  <a:pt x="0" y="3495676"/>
                  <a:pt x="0" y="2746376"/>
                </a:cubicBezTo>
                <a:close/>
                <a:moveTo>
                  <a:pt x="0" y="1717675"/>
                </a:moveTo>
                <a:cubicBezTo>
                  <a:pt x="0" y="1931761"/>
                  <a:pt x="715173" y="2092325"/>
                  <a:pt x="1609140" y="2092325"/>
                </a:cubicBezTo>
                <a:cubicBezTo>
                  <a:pt x="2485227" y="2092325"/>
                  <a:pt x="3200400" y="1931761"/>
                  <a:pt x="3200400" y="1717675"/>
                </a:cubicBezTo>
                <a:cubicBezTo>
                  <a:pt x="3200400" y="1717675"/>
                  <a:pt x="3200400" y="1717675"/>
                  <a:pt x="3200400" y="2466975"/>
                </a:cubicBezTo>
                <a:cubicBezTo>
                  <a:pt x="3200400" y="2663220"/>
                  <a:pt x="2485227" y="2841625"/>
                  <a:pt x="1609140" y="2841625"/>
                </a:cubicBezTo>
                <a:cubicBezTo>
                  <a:pt x="715173" y="2841625"/>
                  <a:pt x="0" y="2663220"/>
                  <a:pt x="0" y="2466975"/>
                </a:cubicBezTo>
                <a:cubicBezTo>
                  <a:pt x="0" y="2466975"/>
                  <a:pt x="0" y="2466975"/>
                  <a:pt x="0" y="1717675"/>
                </a:cubicBezTo>
                <a:close/>
                <a:moveTo>
                  <a:pt x="0" y="688975"/>
                </a:moveTo>
                <a:cubicBezTo>
                  <a:pt x="0" y="903061"/>
                  <a:pt x="715173" y="1063625"/>
                  <a:pt x="1609140" y="1063625"/>
                </a:cubicBezTo>
                <a:cubicBezTo>
                  <a:pt x="2485227" y="1063625"/>
                  <a:pt x="3200400" y="903061"/>
                  <a:pt x="3200400" y="688975"/>
                </a:cubicBezTo>
                <a:cubicBezTo>
                  <a:pt x="3200400" y="688975"/>
                  <a:pt x="3200400" y="688975"/>
                  <a:pt x="3200400" y="1438275"/>
                </a:cubicBezTo>
                <a:cubicBezTo>
                  <a:pt x="3200400" y="1652361"/>
                  <a:pt x="2485227" y="1812925"/>
                  <a:pt x="1609140" y="1812925"/>
                </a:cubicBezTo>
                <a:cubicBezTo>
                  <a:pt x="715173" y="1812925"/>
                  <a:pt x="0" y="1652361"/>
                  <a:pt x="0" y="1438275"/>
                </a:cubicBezTo>
                <a:cubicBezTo>
                  <a:pt x="0" y="1438275"/>
                  <a:pt x="0" y="1438275"/>
                  <a:pt x="0" y="688975"/>
                </a:cubicBezTo>
                <a:close/>
                <a:moveTo>
                  <a:pt x="1600200" y="0"/>
                </a:moveTo>
                <a:cubicBezTo>
                  <a:pt x="2483966" y="0"/>
                  <a:pt x="3200400" y="175555"/>
                  <a:pt x="3200400" y="392113"/>
                </a:cubicBezTo>
                <a:cubicBezTo>
                  <a:pt x="3200400" y="608671"/>
                  <a:pt x="2483966" y="784226"/>
                  <a:pt x="1600200" y="784226"/>
                </a:cubicBezTo>
                <a:cubicBezTo>
                  <a:pt x="716434" y="784226"/>
                  <a:pt x="0" y="608671"/>
                  <a:pt x="0" y="392113"/>
                </a:cubicBezTo>
                <a:cubicBezTo>
                  <a:pt x="0" y="175555"/>
                  <a:pt x="716434" y="0"/>
                  <a:pt x="1600200" y="0"/>
                </a:cubicBezTo>
                <a:close/>
              </a:path>
            </a:pathLst>
          </a:custGeom>
          <a:solidFill>
            <a:srgbClr val="0070C0"/>
          </a:solidFill>
          <a:ln>
            <a:noFill/>
          </a:ln>
        </p:spPr>
        <p:txBody>
          <a:bodyPr vert="horz" wrap="square" lIns="91344" tIns="45672" rIns="91344" bIns="45672" numCol="1" anchor="t" anchorCtr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999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803" name="Freeform 32">
            <a:extLst>
              <a:ext uri="{FF2B5EF4-FFF2-40B4-BE49-F238E27FC236}">
                <a16:creationId xmlns:a16="http://schemas.microsoft.com/office/drawing/2014/main" id="{E6BF8DC6-0664-40C1-B5CB-FA9EB7C28984}"/>
              </a:ext>
            </a:extLst>
          </p:cNvPr>
          <p:cNvSpPr>
            <a:spLocks noEditPoints="1"/>
          </p:cNvSpPr>
          <p:nvPr/>
        </p:nvSpPr>
        <p:spPr bwMode="auto">
          <a:xfrm>
            <a:off x="4033511" y="3028564"/>
            <a:ext cx="196996" cy="352386"/>
          </a:xfrm>
          <a:custGeom>
            <a:avLst/>
            <a:gdLst>
              <a:gd name="T0" fmla="*/ 385 w 431"/>
              <a:gd name="T1" fmla="*/ 0 h 771"/>
              <a:gd name="T2" fmla="*/ 45 w 431"/>
              <a:gd name="T3" fmla="*/ 0 h 771"/>
              <a:gd name="T4" fmla="*/ 0 w 431"/>
              <a:gd name="T5" fmla="*/ 46 h 771"/>
              <a:gd name="T6" fmla="*/ 0 w 431"/>
              <a:gd name="T7" fmla="*/ 726 h 771"/>
              <a:gd name="T8" fmla="*/ 45 w 431"/>
              <a:gd name="T9" fmla="*/ 771 h 771"/>
              <a:gd name="T10" fmla="*/ 385 w 431"/>
              <a:gd name="T11" fmla="*/ 771 h 771"/>
              <a:gd name="T12" fmla="*/ 431 w 431"/>
              <a:gd name="T13" fmla="*/ 726 h 771"/>
              <a:gd name="T14" fmla="*/ 431 w 431"/>
              <a:gd name="T15" fmla="*/ 46 h 771"/>
              <a:gd name="T16" fmla="*/ 385 w 431"/>
              <a:gd name="T17" fmla="*/ 0 h 771"/>
              <a:gd name="T18" fmla="*/ 159 w 431"/>
              <a:gd name="T19" fmla="*/ 45 h 771"/>
              <a:gd name="T20" fmla="*/ 272 w 431"/>
              <a:gd name="T21" fmla="*/ 45 h 771"/>
              <a:gd name="T22" fmla="*/ 272 w 431"/>
              <a:gd name="T23" fmla="*/ 92 h 771"/>
              <a:gd name="T24" fmla="*/ 159 w 431"/>
              <a:gd name="T25" fmla="*/ 92 h 771"/>
              <a:gd name="T26" fmla="*/ 159 w 431"/>
              <a:gd name="T27" fmla="*/ 45 h 771"/>
              <a:gd name="T28" fmla="*/ 215 w 431"/>
              <a:gd name="T29" fmla="*/ 727 h 771"/>
              <a:gd name="T30" fmla="*/ 181 w 431"/>
              <a:gd name="T31" fmla="*/ 692 h 771"/>
              <a:gd name="T32" fmla="*/ 215 w 431"/>
              <a:gd name="T33" fmla="*/ 658 h 771"/>
              <a:gd name="T34" fmla="*/ 250 w 431"/>
              <a:gd name="T35" fmla="*/ 692 h 771"/>
              <a:gd name="T36" fmla="*/ 215 w 431"/>
              <a:gd name="T37" fmla="*/ 727 h 771"/>
              <a:gd name="T38" fmla="*/ 385 w 431"/>
              <a:gd name="T39" fmla="*/ 613 h 771"/>
              <a:gd name="T40" fmla="*/ 45 w 431"/>
              <a:gd name="T41" fmla="*/ 613 h 771"/>
              <a:gd name="T42" fmla="*/ 45 w 431"/>
              <a:gd name="T43" fmla="*/ 136 h 771"/>
              <a:gd name="T44" fmla="*/ 385 w 431"/>
              <a:gd name="T45" fmla="*/ 136 h 771"/>
              <a:gd name="T46" fmla="*/ 385 w 431"/>
              <a:gd name="T47" fmla="*/ 613 h 7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431" h="771">
                <a:moveTo>
                  <a:pt x="385" y="0"/>
                </a:moveTo>
                <a:cubicBezTo>
                  <a:pt x="45" y="0"/>
                  <a:pt x="45" y="0"/>
                  <a:pt x="45" y="0"/>
                </a:cubicBezTo>
                <a:cubicBezTo>
                  <a:pt x="20" y="0"/>
                  <a:pt x="0" y="21"/>
                  <a:pt x="0" y="46"/>
                </a:cubicBezTo>
                <a:cubicBezTo>
                  <a:pt x="0" y="726"/>
                  <a:pt x="0" y="726"/>
                  <a:pt x="0" y="726"/>
                </a:cubicBezTo>
                <a:cubicBezTo>
                  <a:pt x="0" y="751"/>
                  <a:pt x="20" y="771"/>
                  <a:pt x="45" y="771"/>
                </a:cubicBezTo>
                <a:cubicBezTo>
                  <a:pt x="385" y="771"/>
                  <a:pt x="385" y="771"/>
                  <a:pt x="385" y="771"/>
                </a:cubicBezTo>
                <a:cubicBezTo>
                  <a:pt x="410" y="771"/>
                  <a:pt x="431" y="751"/>
                  <a:pt x="431" y="726"/>
                </a:cubicBezTo>
                <a:cubicBezTo>
                  <a:pt x="431" y="46"/>
                  <a:pt x="431" y="46"/>
                  <a:pt x="431" y="46"/>
                </a:cubicBezTo>
                <a:cubicBezTo>
                  <a:pt x="431" y="21"/>
                  <a:pt x="410" y="0"/>
                  <a:pt x="385" y="0"/>
                </a:cubicBezTo>
                <a:close/>
                <a:moveTo>
                  <a:pt x="159" y="45"/>
                </a:moveTo>
                <a:cubicBezTo>
                  <a:pt x="272" y="45"/>
                  <a:pt x="272" y="45"/>
                  <a:pt x="272" y="45"/>
                </a:cubicBezTo>
                <a:cubicBezTo>
                  <a:pt x="272" y="92"/>
                  <a:pt x="272" y="92"/>
                  <a:pt x="272" y="92"/>
                </a:cubicBezTo>
                <a:cubicBezTo>
                  <a:pt x="159" y="92"/>
                  <a:pt x="159" y="92"/>
                  <a:pt x="159" y="92"/>
                </a:cubicBezTo>
                <a:lnTo>
                  <a:pt x="159" y="45"/>
                </a:lnTo>
                <a:close/>
                <a:moveTo>
                  <a:pt x="215" y="727"/>
                </a:moveTo>
                <a:cubicBezTo>
                  <a:pt x="196" y="727"/>
                  <a:pt x="181" y="712"/>
                  <a:pt x="181" y="692"/>
                </a:cubicBezTo>
                <a:cubicBezTo>
                  <a:pt x="181" y="673"/>
                  <a:pt x="196" y="658"/>
                  <a:pt x="215" y="658"/>
                </a:cubicBezTo>
                <a:cubicBezTo>
                  <a:pt x="234" y="658"/>
                  <a:pt x="250" y="673"/>
                  <a:pt x="250" y="692"/>
                </a:cubicBezTo>
                <a:cubicBezTo>
                  <a:pt x="250" y="712"/>
                  <a:pt x="234" y="727"/>
                  <a:pt x="215" y="727"/>
                </a:cubicBezTo>
                <a:close/>
                <a:moveTo>
                  <a:pt x="385" y="613"/>
                </a:moveTo>
                <a:cubicBezTo>
                  <a:pt x="45" y="613"/>
                  <a:pt x="45" y="613"/>
                  <a:pt x="45" y="613"/>
                </a:cubicBezTo>
                <a:cubicBezTo>
                  <a:pt x="45" y="136"/>
                  <a:pt x="45" y="136"/>
                  <a:pt x="45" y="136"/>
                </a:cubicBezTo>
                <a:cubicBezTo>
                  <a:pt x="385" y="136"/>
                  <a:pt x="385" y="136"/>
                  <a:pt x="385" y="136"/>
                </a:cubicBezTo>
                <a:lnTo>
                  <a:pt x="385" y="61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804" name="Freeform 37">
            <a:extLst>
              <a:ext uri="{FF2B5EF4-FFF2-40B4-BE49-F238E27FC236}">
                <a16:creationId xmlns:a16="http://schemas.microsoft.com/office/drawing/2014/main" id="{4C927D8E-36DE-4E5A-BDF7-C658577807DB}"/>
              </a:ext>
            </a:extLst>
          </p:cNvPr>
          <p:cNvSpPr>
            <a:spLocks noEditPoints="1"/>
          </p:cNvSpPr>
          <p:nvPr/>
        </p:nvSpPr>
        <p:spPr bwMode="auto">
          <a:xfrm rot="5400000">
            <a:off x="3373228" y="2982597"/>
            <a:ext cx="352386" cy="447683"/>
          </a:xfrm>
          <a:custGeom>
            <a:avLst/>
            <a:gdLst>
              <a:gd name="T0" fmla="*/ 0 w 839"/>
              <a:gd name="T1" fmla="*/ 46 h 1066"/>
              <a:gd name="T2" fmla="*/ 0 w 839"/>
              <a:gd name="T3" fmla="*/ 1021 h 1066"/>
              <a:gd name="T4" fmla="*/ 45 w 839"/>
              <a:gd name="T5" fmla="*/ 1066 h 1066"/>
              <a:gd name="T6" fmla="*/ 793 w 839"/>
              <a:gd name="T7" fmla="*/ 1066 h 1066"/>
              <a:gd name="T8" fmla="*/ 839 w 839"/>
              <a:gd name="T9" fmla="*/ 1021 h 1066"/>
              <a:gd name="T10" fmla="*/ 839 w 839"/>
              <a:gd name="T11" fmla="*/ 46 h 1066"/>
              <a:gd name="T12" fmla="*/ 793 w 839"/>
              <a:gd name="T13" fmla="*/ 0 h 1066"/>
              <a:gd name="T14" fmla="*/ 45 w 839"/>
              <a:gd name="T15" fmla="*/ 0 h 1066"/>
              <a:gd name="T16" fmla="*/ 0 w 839"/>
              <a:gd name="T17" fmla="*/ 46 h 1066"/>
              <a:gd name="T18" fmla="*/ 414 w 839"/>
              <a:gd name="T19" fmla="*/ 35 h 1066"/>
              <a:gd name="T20" fmla="*/ 441 w 839"/>
              <a:gd name="T21" fmla="*/ 62 h 1066"/>
              <a:gd name="T22" fmla="*/ 424 w 839"/>
              <a:gd name="T23" fmla="*/ 79 h 1066"/>
              <a:gd name="T24" fmla="*/ 397 w 839"/>
              <a:gd name="T25" fmla="*/ 52 h 1066"/>
              <a:gd name="T26" fmla="*/ 414 w 839"/>
              <a:gd name="T27" fmla="*/ 35 h 1066"/>
              <a:gd name="T28" fmla="*/ 427 w 839"/>
              <a:gd name="T29" fmla="*/ 1032 h 1066"/>
              <a:gd name="T30" fmla="*/ 374 w 839"/>
              <a:gd name="T31" fmla="*/ 979 h 1066"/>
              <a:gd name="T32" fmla="*/ 411 w 839"/>
              <a:gd name="T33" fmla="*/ 942 h 1066"/>
              <a:gd name="T34" fmla="*/ 464 w 839"/>
              <a:gd name="T35" fmla="*/ 995 h 1066"/>
              <a:gd name="T36" fmla="*/ 427 w 839"/>
              <a:gd name="T37" fmla="*/ 1032 h 1066"/>
              <a:gd name="T38" fmla="*/ 771 w 839"/>
              <a:gd name="T39" fmla="*/ 908 h 1066"/>
              <a:gd name="T40" fmla="*/ 68 w 839"/>
              <a:gd name="T41" fmla="*/ 908 h 1066"/>
              <a:gd name="T42" fmla="*/ 68 w 839"/>
              <a:gd name="T43" fmla="*/ 114 h 1066"/>
              <a:gd name="T44" fmla="*/ 771 w 839"/>
              <a:gd name="T45" fmla="*/ 114 h 1066"/>
              <a:gd name="T46" fmla="*/ 771 w 839"/>
              <a:gd name="T47" fmla="*/ 908 h 10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839" h="1066">
                <a:moveTo>
                  <a:pt x="0" y="46"/>
                </a:moveTo>
                <a:cubicBezTo>
                  <a:pt x="0" y="1021"/>
                  <a:pt x="0" y="1021"/>
                  <a:pt x="0" y="1021"/>
                </a:cubicBezTo>
                <a:cubicBezTo>
                  <a:pt x="0" y="1046"/>
                  <a:pt x="20" y="1066"/>
                  <a:pt x="45" y="1066"/>
                </a:cubicBezTo>
                <a:cubicBezTo>
                  <a:pt x="793" y="1066"/>
                  <a:pt x="793" y="1066"/>
                  <a:pt x="793" y="1066"/>
                </a:cubicBezTo>
                <a:cubicBezTo>
                  <a:pt x="818" y="1066"/>
                  <a:pt x="839" y="1046"/>
                  <a:pt x="839" y="1021"/>
                </a:cubicBezTo>
                <a:cubicBezTo>
                  <a:pt x="839" y="46"/>
                  <a:pt x="839" y="46"/>
                  <a:pt x="839" y="46"/>
                </a:cubicBezTo>
                <a:cubicBezTo>
                  <a:pt x="839" y="21"/>
                  <a:pt x="818" y="0"/>
                  <a:pt x="793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20" y="0"/>
                  <a:pt x="0" y="21"/>
                  <a:pt x="0" y="46"/>
                </a:cubicBezTo>
                <a:close/>
                <a:moveTo>
                  <a:pt x="414" y="35"/>
                </a:moveTo>
                <a:cubicBezTo>
                  <a:pt x="431" y="31"/>
                  <a:pt x="445" y="46"/>
                  <a:pt x="441" y="62"/>
                </a:cubicBezTo>
                <a:cubicBezTo>
                  <a:pt x="439" y="71"/>
                  <a:pt x="433" y="77"/>
                  <a:pt x="424" y="79"/>
                </a:cubicBezTo>
                <a:cubicBezTo>
                  <a:pt x="408" y="83"/>
                  <a:pt x="393" y="69"/>
                  <a:pt x="397" y="52"/>
                </a:cubicBezTo>
                <a:cubicBezTo>
                  <a:pt x="399" y="44"/>
                  <a:pt x="406" y="37"/>
                  <a:pt x="414" y="35"/>
                </a:cubicBezTo>
                <a:close/>
                <a:moveTo>
                  <a:pt x="427" y="1032"/>
                </a:moveTo>
                <a:cubicBezTo>
                  <a:pt x="396" y="1037"/>
                  <a:pt x="369" y="1010"/>
                  <a:pt x="374" y="979"/>
                </a:cubicBezTo>
                <a:cubicBezTo>
                  <a:pt x="378" y="960"/>
                  <a:pt x="393" y="945"/>
                  <a:pt x="411" y="942"/>
                </a:cubicBezTo>
                <a:cubicBezTo>
                  <a:pt x="442" y="937"/>
                  <a:pt x="469" y="964"/>
                  <a:pt x="464" y="995"/>
                </a:cubicBezTo>
                <a:cubicBezTo>
                  <a:pt x="461" y="1013"/>
                  <a:pt x="446" y="1029"/>
                  <a:pt x="427" y="1032"/>
                </a:cubicBezTo>
                <a:close/>
                <a:moveTo>
                  <a:pt x="771" y="908"/>
                </a:moveTo>
                <a:cubicBezTo>
                  <a:pt x="68" y="908"/>
                  <a:pt x="68" y="908"/>
                  <a:pt x="68" y="908"/>
                </a:cubicBezTo>
                <a:cubicBezTo>
                  <a:pt x="68" y="114"/>
                  <a:pt x="68" y="114"/>
                  <a:pt x="68" y="114"/>
                </a:cubicBezTo>
                <a:cubicBezTo>
                  <a:pt x="771" y="114"/>
                  <a:pt x="771" y="114"/>
                  <a:pt x="771" y="114"/>
                </a:cubicBezTo>
                <a:lnTo>
                  <a:pt x="771" y="90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805" name="Freeform 47">
            <a:extLst>
              <a:ext uri="{FF2B5EF4-FFF2-40B4-BE49-F238E27FC236}">
                <a16:creationId xmlns:a16="http://schemas.microsoft.com/office/drawing/2014/main" id="{4A461586-AA0D-454A-8E50-FFBF0D38D30E}"/>
              </a:ext>
            </a:extLst>
          </p:cNvPr>
          <p:cNvSpPr>
            <a:spLocks noEditPoints="1"/>
          </p:cNvSpPr>
          <p:nvPr/>
        </p:nvSpPr>
        <p:spPr bwMode="auto">
          <a:xfrm>
            <a:off x="2484938" y="3004600"/>
            <a:ext cx="624790" cy="451844"/>
          </a:xfrm>
          <a:custGeom>
            <a:avLst/>
            <a:gdLst>
              <a:gd name="T0" fmla="*/ 1066 w 1066"/>
              <a:gd name="T1" fmla="*/ 703 h 771"/>
              <a:gd name="T2" fmla="*/ 1066 w 1066"/>
              <a:gd name="T3" fmla="*/ 726 h 771"/>
              <a:gd name="T4" fmla="*/ 1021 w 1066"/>
              <a:gd name="T5" fmla="*/ 771 h 771"/>
              <a:gd name="T6" fmla="*/ 45 w 1066"/>
              <a:gd name="T7" fmla="*/ 771 h 771"/>
              <a:gd name="T8" fmla="*/ 0 w 1066"/>
              <a:gd name="T9" fmla="*/ 726 h 771"/>
              <a:gd name="T10" fmla="*/ 0 w 1066"/>
              <a:gd name="T11" fmla="*/ 703 h 771"/>
              <a:gd name="T12" fmla="*/ 114 w 1066"/>
              <a:gd name="T13" fmla="*/ 590 h 771"/>
              <a:gd name="T14" fmla="*/ 953 w 1066"/>
              <a:gd name="T15" fmla="*/ 590 h 771"/>
              <a:gd name="T16" fmla="*/ 1066 w 1066"/>
              <a:gd name="T17" fmla="*/ 703 h 771"/>
              <a:gd name="T18" fmla="*/ 114 w 1066"/>
              <a:gd name="T19" fmla="*/ 522 h 771"/>
              <a:gd name="T20" fmla="*/ 114 w 1066"/>
              <a:gd name="T21" fmla="*/ 23 h 771"/>
              <a:gd name="T22" fmla="*/ 136 w 1066"/>
              <a:gd name="T23" fmla="*/ 0 h 771"/>
              <a:gd name="T24" fmla="*/ 930 w 1066"/>
              <a:gd name="T25" fmla="*/ 0 h 771"/>
              <a:gd name="T26" fmla="*/ 953 w 1066"/>
              <a:gd name="T27" fmla="*/ 23 h 771"/>
              <a:gd name="T28" fmla="*/ 953 w 1066"/>
              <a:gd name="T29" fmla="*/ 522 h 771"/>
              <a:gd name="T30" fmla="*/ 930 w 1066"/>
              <a:gd name="T31" fmla="*/ 544 h 771"/>
              <a:gd name="T32" fmla="*/ 136 w 1066"/>
              <a:gd name="T33" fmla="*/ 544 h 771"/>
              <a:gd name="T34" fmla="*/ 114 w 1066"/>
              <a:gd name="T35" fmla="*/ 522 h 771"/>
              <a:gd name="T36" fmla="*/ 159 w 1066"/>
              <a:gd name="T37" fmla="*/ 499 h 771"/>
              <a:gd name="T38" fmla="*/ 907 w 1066"/>
              <a:gd name="T39" fmla="*/ 499 h 771"/>
              <a:gd name="T40" fmla="*/ 907 w 1066"/>
              <a:gd name="T41" fmla="*/ 46 h 771"/>
              <a:gd name="T42" fmla="*/ 159 w 1066"/>
              <a:gd name="T43" fmla="*/ 46 h 771"/>
              <a:gd name="T44" fmla="*/ 159 w 1066"/>
              <a:gd name="T45" fmla="*/ 499 h 771"/>
              <a:gd name="T46" fmla="*/ 204 w 1066"/>
              <a:gd name="T47" fmla="*/ 454 h 771"/>
              <a:gd name="T48" fmla="*/ 862 w 1066"/>
              <a:gd name="T49" fmla="*/ 454 h 771"/>
              <a:gd name="T50" fmla="*/ 862 w 1066"/>
              <a:gd name="T51" fmla="*/ 91 h 771"/>
              <a:gd name="T52" fmla="*/ 204 w 1066"/>
              <a:gd name="T53" fmla="*/ 91 h 771"/>
              <a:gd name="T54" fmla="*/ 204 w 1066"/>
              <a:gd name="T55" fmla="*/ 454 h 7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066" h="771">
                <a:moveTo>
                  <a:pt x="1066" y="703"/>
                </a:moveTo>
                <a:cubicBezTo>
                  <a:pt x="1066" y="726"/>
                  <a:pt x="1066" y="726"/>
                  <a:pt x="1066" y="726"/>
                </a:cubicBezTo>
                <a:cubicBezTo>
                  <a:pt x="1066" y="751"/>
                  <a:pt x="1046" y="771"/>
                  <a:pt x="1021" y="771"/>
                </a:cubicBezTo>
                <a:cubicBezTo>
                  <a:pt x="45" y="771"/>
                  <a:pt x="45" y="771"/>
                  <a:pt x="45" y="771"/>
                </a:cubicBezTo>
                <a:cubicBezTo>
                  <a:pt x="20" y="771"/>
                  <a:pt x="0" y="751"/>
                  <a:pt x="0" y="726"/>
                </a:cubicBezTo>
                <a:cubicBezTo>
                  <a:pt x="0" y="703"/>
                  <a:pt x="0" y="703"/>
                  <a:pt x="0" y="703"/>
                </a:cubicBezTo>
                <a:cubicBezTo>
                  <a:pt x="114" y="590"/>
                  <a:pt x="114" y="590"/>
                  <a:pt x="114" y="590"/>
                </a:cubicBezTo>
                <a:cubicBezTo>
                  <a:pt x="953" y="590"/>
                  <a:pt x="953" y="590"/>
                  <a:pt x="953" y="590"/>
                </a:cubicBezTo>
                <a:lnTo>
                  <a:pt x="1066" y="703"/>
                </a:lnTo>
                <a:close/>
                <a:moveTo>
                  <a:pt x="114" y="522"/>
                </a:moveTo>
                <a:cubicBezTo>
                  <a:pt x="114" y="23"/>
                  <a:pt x="114" y="23"/>
                  <a:pt x="114" y="23"/>
                </a:cubicBezTo>
                <a:cubicBezTo>
                  <a:pt x="114" y="10"/>
                  <a:pt x="124" y="0"/>
                  <a:pt x="136" y="0"/>
                </a:cubicBezTo>
                <a:cubicBezTo>
                  <a:pt x="930" y="0"/>
                  <a:pt x="930" y="0"/>
                  <a:pt x="930" y="0"/>
                </a:cubicBezTo>
                <a:cubicBezTo>
                  <a:pt x="942" y="0"/>
                  <a:pt x="953" y="10"/>
                  <a:pt x="953" y="23"/>
                </a:cubicBezTo>
                <a:cubicBezTo>
                  <a:pt x="953" y="522"/>
                  <a:pt x="953" y="522"/>
                  <a:pt x="953" y="522"/>
                </a:cubicBezTo>
                <a:cubicBezTo>
                  <a:pt x="953" y="534"/>
                  <a:pt x="942" y="544"/>
                  <a:pt x="930" y="544"/>
                </a:cubicBezTo>
                <a:cubicBezTo>
                  <a:pt x="136" y="544"/>
                  <a:pt x="136" y="544"/>
                  <a:pt x="136" y="544"/>
                </a:cubicBezTo>
                <a:cubicBezTo>
                  <a:pt x="124" y="544"/>
                  <a:pt x="114" y="534"/>
                  <a:pt x="114" y="522"/>
                </a:cubicBezTo>
                <a:close/>
                <a:moveTo>
                  <a:pt x="159" y="499"/>
                </a:moveTo>
                <a:cubicBezTo>
                  <a:pt x="907" y="499"/>
                  <a:pt x="907" y="499"/>
                  <a:pt x="907" y="499"/>
                </a:cubicBezTo>
                <a:cubicBezTo>
                  <a:pt x="907" y="46"/>
                  <a:pt x="907" y="46"/>
                  <a:pt x="907" y="46"/>
                </a:cubicBezTo>
                <a:cubicBezTo>
                  <a:pt x="159" y="46"/>
                  <a:pt x="159" y="46"/>
                  <a:pt x="159" y="46"/>
                </a:cubicBezTo>
                <a:lnTo>
                  <a:pt x="159" y="499"/>
                </a:lnTo>
                <a:close/>
                <a:moveTo>
                  <a:pt x="204" y="454"/>
                </a:moveTo>
                <a:cubicBezTo>
                  <a:pt x="862" y="454"/>
                  <a:pt x="862" y="454"/>
                  <a:pt x="862" y="454"/>
                </a:cubicBezTo>
                <a:cubicBezTo>
                  <a:pt x="862" y="91"/>
                  <a:pt x="862" y="91"/>
                  <a:pt x="862" y="91"/>
                </a:cubicBezTo>
                <a:cubicBezTo>
                  <a:pt x="204" y="91"/>
                  <a:pt x="204" y="91"/>
                  <a:pt x="204" y="91"/>
                </a:cubicBezTo>
                <a:lnTo>
                  <a:pt x="204" y="45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806" name="Freeform 42">
            <a:extLst>
              <a:ext uri="{FF2B5EF4-FFF2-40B4-BE49-F238E27FC236}">
                <a16:creationId xmlns:a16="http://schemas.microsoft.com/office/drawing/2014/main" id="{868499D9-1317-4827-B124-1C7FE27B87A3}"/>
              </a:ext>
            </a:extLst>
          </p:cNvPr>
          <p:cNvSpPr>
            <a:spLocks noEditPoints="1"/>
          </p:cNvSpPr>
          <p:nvPr/>
        </p:nvSpPr>
        <p:spPr bwMode="auto">
          <a:xfrm>
            <a:off x="5595970" y="3028565"/>
            <a:ext cx="500780" cy="402767"/>
          </a:xfrm>
          <a:custGeom>
            <a:avLst/>
            <a:gdLst>
              <a:gd name="T0" fmla="*/ 839 w 930"/>
              <a:gd name="T1" fmla="*/ 91 h 748"/>
              <a:gd name="T2" fmla="*/ 91 w 930"/>
              <a:gd name="T3" fmla="*/ 91 h 748"/>
              <a:gd name="T4" fmla="*/ 91 w 930"/>
              <a:gd name="T5" fmla="*/ 521 h 748"/>
              <a:gd name="T6" fmla="*/ 839 w 930"/>
              <a:gd name="T7" fmla="*/ 521 h 748"/>
              <a:gd name="T8" fmla="*/ 839 w 930"/>
              <a:gd name="T9" fmla="*/ 91 h 748"/>
              <a:gd name="T10" fmla="*/ 885 w 930"/>
              <a:gd name="T11" fmla="*/ 0 h 748"/>
              <a:gd name="T12" fmla="*/ 46 w 930"/>
              <a:gd name="T13" fmla="*/ 0 h 748"/>
              <a:gd name="T14" fmla="*/ 0 w 930"/>
              <a:gd name="T15" fmla="*/ 45 h 748"/>
              <a:gd name="T16" fmla="*/ 0 w 930"/>
              <a:gd name="T17" fmla="*/ 567 h 748"/>
              <a:gd name="T18" fmla="*/ 46 w 930"/>
              <a:gd name="T19" fmla="*/ 612 h 748"/>
              <a:gd name="T20" fmla="*/ 386 w 930"/>
              <a:gd name="T21" fmla="*/ 612 h 748"/>
              <a:gd name="T22" fmla="*/ 386 w 930"/>
              <a:gd name="T23" fmla="*/ 703 h 748"/>
              <a:gd name="T24" fmla="*/ 272 w 930"/>
              <a:gd name="T25" fmla="*/ 703 h 748"/>
              <a:gd name="T26" fmla="*/ 272 w 930"/>
              <a:gd name="T27" fmla="*/ 748 h 748"/>
              <a:gd name="T28" fmla="*/ 658 w 930"/>
              <a:gd name="T29" fmla="*/ 748 h 748"/>
              <a:gd name="T30" fmla="*/ 658 w 930"/>
              <a:gd name="T31" fmla="*/ 703 h 748"/>
              <a:gd name="T32" fmla="*/ 545 w 930"/>
              <a:gd name="T33" fmla="*/ 703 h 748"/>
              <a:gd name="T34" fmla="*/ 545 w 930"/>
              <a:gd name="T35" fmla="*/ 612 h 748"/>
              <a:gd name="T36" fmla="*/ 885 w 930"/>
              <a:gd name="T37" fmla="*/ 612 h 748"/>
              <a:gd name="T38" fmla="*/ 930 w 930"/>
              <a:gd name="T39" fmla="*/ 567 h 748"/>
              <a:gd name="T40" fmla="*/ 930 w 930"/>
              <a:gd name="T41" fmla="*/ 45 h 748"/>
              <a:gd name="T42" fmla="*/ 885 w 930"/>
              <a:gd name="T43" fmla="*/ 0 h 748"/>
              <a:gd name="T44" fmla="*/ 885 w 930"/>
              <a:gd name="T45" fmla="*/ 45 h 748"/>
              <a:gd name="T46" fmla="*/ 885 w 930"/>
              <a:gd name="T47" fmla="*/ 567 h 748"/>
              <a:gd name="T48" fmla="*/ 46 w 930"/>
              <a:gd name="T49" fmla="*/ 567 h 748"/>
              <a:gd name="T50" fmla="*/ 46 w 930"/>
              <a:gd name="T51" fmla="*/ 45 h 748"/>
              <a:gd name="T52" fmla="*/ 885 w 930"/>
              <a:gd name="T53" fmla="*/ 45 h 7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930" h="748">
                <a:moveTo>
                  <a:pt x="839" y="91"/>
                </a:moveTo>
                <a:cubicBezTo>
                  <a:pt x="91" y="91"/>
                  <a:pt x="91" y="91"/>
                  <a:pt x="91" y="91"/>
                </a:cubicBezTo>
                <a:cubicBezTo>
                  <a:pt x="91" y="521"/>
                  <a:pt x="91" y="521"/>
                  <a:pt x="91" y="521"/>
                </a:cubicBezTo>
                <a:cubicBezTo>
                  <a:pt x="839" y="521"/>
                  <a:pt x="839" y="521"/>
                  <a:pt x="839" y="521"/>
                </a:cubicBezTo>
                <a:lnTo>
                  <a:pt x="839" y="91"/>
                </a:lnTo>
                <a:close/>
                <a:moveTo>
                  <a:pt x="885" y="0"/>
                </a:moveTo>
                <a:cubicBezTo>
                  <a:pt x="46" y="0"/>
                  <a:pt x="46" y="0"/>
                  <a:pt x="46" y="0"/>
                </a:cubicBezTo>
                <a:cubicBezTo>
                  <a:pt x="21" y="0"/>
                  <a:pt x="0" y="20"/>
                  <a:pt x="0" y="45"/>
                </a:cubicBezTo>
                <a:cubicBezTo>
                  <a:pt x="0" y="567"/>
                  <a:pt x="0" y="567"/>
                  <a:pt x="0" y="567"/>
                </a:cubicBezTo>
                <a:cubicBezTo>
                  <a:pt x="0" y="592"/>
                  <a:pt x="21" y="612"/>
                  <a:pt x="46" y="612"/>
                </a:cubicBezTo>
                <a:cubicBezTo>
                  <a:pt x="386" y="612"/>
                  <a:pt x="386" y="612"/>
                  <a:pt x="386" y="612"/>
                </a:cubicBezTo>
                <a:cubicBezTo>
                  <a:pt x="386" y="703"/>
                  <a:pt x="386" y="703"/>
                  <a:pt x="386" y="703"/>
                </a:cubicBezTo>
                <a:cubicBezTo>
                  <a:pt x="272" y="703"/>
                  <a:pt x="272" y="703"/>
                  <a:pt x="272" y="703"/>
                </a:cubicBezTo>
                <a:cubicBezTo>
                  <a:pt x="272" y="748"/>
                  <a:pt x="272" y="748"/>
                  <a:pt x="272" y="748"/>
                </a:cubicBezTo>
                <a:cubicBezTo>
                  <a:pt x="658" y="748"/>
                  <a:pt x="658" y="748"/>
                  <a:pt x="658" y="748"/>
                </a:cubicBezTo>
                <a:cubicBezTo>
                  <a:pt x="658" y="703"/>
                  <a:pt x="658" y="703"/>
                  <a:pt x="658" y="703"/>
                </a:cubicBezTo>
                <a:cubicBezTo>
                  <a:pt x="545" y="703"/>
                  <a:pt x="545" y="703"/>
                  <a:pt x="545" y="703"/>
                </a:cubicBezTo>
                <a:cubicBezTo>
                  <a:pt x="545" y="612"/>
                  <a:pt x="545" y="612"/>
                  <a:pt x="545" y="612"/>
                </a:cubicBezTo>
                <a:cubicBezTo>
                  <a:pt x="885" y="612"/>
                  <a:pt x="885" y="612"/>
                  <a:pt x="885" y="612"/>
                </a:cubicBezTo>
                <a:cubicBezTo>
                  <a:pt x="910" y="612"/>
                  <a:pt x="930" y="592"/>
                  <a:pt x="930" y="567"/>
                </a:cubicBezTo>
                <a:cubicBezTo>
                  <a:pt x="930" y="45"/>
                  <a:pt x="930" y="45"/>
                  <a:pt x="930" y="45"/>
                </a:cubicBezTo>
                <a:cubicBezTo>
                  <a:pt x="930" y="20"/>
                  <a:pt x="910" y="0"/>
                  <a:pt x="885" y="0"/>
                </a:cubicBezTo>
                <a:close/>
                <a:moveTo>
                  <a:pt x="885" y="45"/>
                </a:moveTo>
                <a:cubicBezTo>
                  <a:pt x="885" y="567"/>
                  <a:pt x="885" y="567"/>
                  <a:pt x="885" y="567"/>
                </a:cubicBezTo>
                <a:cubicBezTo>
                  <a:pt x="46" y="567"/>
                  <a:pt x="46" y="567"/>
                  <a:pt x="46" y="567"/>
                </a:cubicBezTo>
                <a:cubicBezTo>
                  <a:pt x="46" y="45"/>
                  <a:pt x="46" y="45"/>
                  <a:pt x="46" y="45"/>
                </a:cubicBezTo>
                <a:lnTo>
                  <a:pt x="885" y="4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807" name="Freeform 113">
            <a:extLst>
              <a:ext uri="{FF2B5EF4-FFF2-40B4-BE49-F238E27FC236}">
                <a16:creationId xmlns:a16="http://schemas.microsoft.com/office/drawing/2014/main" id="{ABD044C2-300E-4176-9084-0EB705C7722B}"/>
              </a:ext>
            </a:extLst>
          </p:cNvPr>
          <p:cNvSpPr>
            <a:spLocks noEditPoints="1"/>
          </p:cNvSpPr>
          <p:nvPr/>
        </p:nvSpPr>
        <p:spPr bwMode="auto">
          <a:xfrm>
            <a:off x="996043" y="2900983"/>
            <a:ext cx="877129" cy="563469"/>
          </a:xfrm>
          <a:custGeom>
            <a:avLst/>
            <a:gdLst>
              <a:gd name="T0" fmla="*/ 787 w 1058"/>
              <a:gd name="T1" fmla="*/ 567 h 680"/>
              <a:gd name="T2" fmla="*/ 80 w 1058"/>
              <a:gd name="T3" fmla="*/ 600 h 680"/>
              <a:gd name="T4" fmla="*/ 114 w 1058"/>
              <a:gd name="T5" fmla="*/ 75 h 680"/>
              <a:gd name="T6" fmla="*/ 63 w 1058"/>
              <a:gd name="T7" fmla="*/ 0 h 680"/>
              <a:gd name="T8" fmla="*/ 13 w 1058"/>
              <a:gd name="T9" fmla="*/ 75 h 680"/>
              <a:gd name="T10" fmla="*/ 46 w 1058"/>
              <a:gd name="T11" fmla="*/ 635 h 680"/>
              <a:gd name="T12" fmla="*/ 787 w 1058"/>
              <a:gd name="T13" fmla="*/ 668 h 680"/>
              <a:gd name="T14" fmla="*/ 862 w 1058"/>
              <a:gd name="T15" fmla="*/ 617 h 680"/>
              <a:gd name="T16" fmla="*/ 74 w 1058"/>
              <a:gd name="T17" fmla="*/ 44 h 680"/>
              <a:gd name="T18" fmla="*/ 74 w 1058"/>
              <a:gd name="T19" fmla="*/ 45 h 680"/>
              <a:gd name="T20" fmla="*/ 52 w 1058"/>
              <a:gd name="T21" fmla="*/ 45 h 680"/>
              <a:gd name="T22" fmla="*/ 52 w 1058"/>
              <a:gd name="T23" fmla="*/ 44 h 680"/>
              <a:gd name="T24" fmla="*/ 901 w 1058"/>
              <a:gd name="T25" fmla="*/ 392 h 680"/>
              <a:gd name="T26" fmla="*/ 977 w 1058"/>
              <a:gd name="T27" fmla="*/ 612 h 680"/>
              <a:gd name="T28" fmla="*/ 901 w 1058"/>
              <a:gd name="T29" fmla="*/ 392 h 680"/>
              <a:gd name="T30" fmla="*/ 590 w 1058"/>
              <a:gd name="T31" fmla="*/ 340 h 680"/>
              <a:gd name="T32" fmla="*/ 639 w 1058"/>
              <a:gd name="T33" fmla="*/ 243 h 680"/>
              <a:gd name="T34" fmla="*/ 681 w 1058"/>
              <a:gd name="T35" fmla="*/ 181 h 680"/>
              <a:gd name="T36" fmla="*/ 794 w 1058"/>
              <a:gd name="T37" fmla="*/ 211 h 680"/>
              <a:gd name="T38" fmla="*/ 723 w 1058"/>
              <a:gd name="T39" fmla="*/ 243 h 680"/>
              <a:gd name="T40" fmla="*/ 660 w 1058"/>
              <a:gd name="T41" fmla="*/ 267 h 680"/>
              <a:gd name="T42" fmla="*/ 453 w 1058"/>
              <a:gd name="T43" fmla="*/ 227 h 680"/>
              <a:gd name="T44" fmla="*/ 907 w 1058"/>
              <a:gd name="T45" fmla="*/ 227 h 680"/>
              <a:gd name="T46" fmla="*/ 680 w 1058"/>
              <a:gd name="T47" fmla="*/ 408 h 680"/>
              <a:gd name="T48" fmla="*/ 680 w 1058"/>
              <a:gd name="T49" fmla="*/ 45 h 680"/>
              <a:gd name="T50" fmla="*/ 680 w 1058"/>
              <a:gd name="T51" fmla="*/ 408 h 680"/>
              <a:gd name="T52" fmla="*/ 420 w 1058"/>
              <a:gd name="T53" fmla="*/ 277 h 680"/>
              <a:gd name="T54" fmla="*/ 375 w 1058"/>
              <a:gd name="T55" fmla="*/ 227 h 680"/>
              <a:gd name="T56" fmla="*/ 334 w 1058"/>
              <a:gd name="T57" fmla="*/ 291 h 680"/>
              <a:gd name="T58" fmla="*/ 194 w 1058"/>
              <a:gd name="T59" fmla="*/ 408 h 680"/>
              <a:gd name="T60" fmla="*/ 114 w 1058"/>
              <a:gd name="T61" fmla="*/ 351 h 680"/>
              <a:gd name="T62" fmla="*/ 153 w 1058"/>
              <a:gd name="T63" fmla="*/ 435 h 680"/>
              <a:gd name="T64" fmla="*/ 194 w 1058"/>
              <a:gd name="T65" fmla="*/ 499 h 680"/>
              <a:gd name="T66" fmla="*/ 235 w 1058"/>
              <a:gd name="T67" fmla="*/ 435 h 680"/>
              <a:gd name="T68" fmla="*/ 375 w 1058"/>
              <a:gd name="T69" fmla="*/ 317 h 680"/>
              <a:gd name="T70" fmla="*/ 436 w 1058"/>
              <a:gd name="T71" fmla="*/ 320 h 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058" h="680">
                <a:moveTo>
                  <a:pt x="799" y="555"/>
                </a:moveTo>
                <a:cubicBezTo>
                  <a:pt x="787" y="567"/>
                  <a:pt x="787" y="567"/>
                  <a:pt x="787" y="567"/>
                </a:cubicBezTo>
                <a:cubicBezTo>
                  <a:pt x="813" y="600"/>
                  <a:pt x="813" y="600"/>
                  <a:pt x="813" y="600"/>
                </a:cubicBezTo>
                <a:cubicBezTo>
                  <a:pt x="80" y="600"/>
                  <a:pt x="80" y="600"/>
                  <a:pt x="80" y="600"/>
                </a:cubicBezTo>
                <a:cubicBezTo>
                  <a:pt x="80" y="49"/>
                  <a:pt x="80" y="49"/>
                  <a:pt x="80" y="49"/>
                </a:cubicBezTo>
                <a:cubicBezTo>
                  <a:pt x="114" y="75"/>
                  <a:pt x="114" y="75"/>
                  <a:pt x="114" y="75"/>
                </a:cubicBezTo>
                <a:cubicBezTo>
                  <a:pt x="126" y="63"/>
                  <a:pt x="126" y="63"/>
                  <a:pt x="126" y="63"/>
                </a:cubicBezTo>
                <a:cubicBezTo>
                  <a:pt x="63" y="0"/>
                  <a:pt x="63" y="0"/>
                  <a:pt x="63" y="0"/>
                </a:cubicBezTo>
                <a:cubicBezTo>
                  <a:pt x="0" y="63"/>
                  <a:pt x="0" y="63"/>
                  <a:pt x="0" y="63"/>
                </a:cubicBezTo>
                <a:cubicBezTo>
                  <a:pt x="13" y="75"/>
                  <a:pt x="13" y="75"/>
                  <a:pt x="13" y="75"/>
                </a:cubicBezTo>
                <a:cubicBezTo>
                  <a:pt x="46" y="49"/>
                  <a:pt x="46" y="49"/>
                  <a:pt x="46" y="49"/>
                </a:cubicBezTo>
                <a:cubicBezTo>
                  <a:pt x="46" y="635"/>
                  <a:pt x="46" y="635"/>
                  <a:pt x="46" y="635"/>
                </a:cubicBezTo>
                <a:cubicBezTo>
                  <a:pt x="813" y="634"/>
                  <a:pt x="813" y="634"/>
                  <a:pt x="813" y="634"/>
                </a:cubicBezTo>
                <a:cubicBezTo>
                  <a:pt x="787" y="668"/>
                  <a:pt x="787" y="668"/>
                  <a:pt x="787" y="668"/>
                </a:cubicBezTo>
                <a:cubicBezTo>
                  <a:pt x="799" y="680"/>
                  <a:pt x="799" y="680"/>
                  <a:pt x="799" y="680"/>
                </a:cubicBezTo>
                <a:cubicBezTo>
                  <a:pt x="862" y="617"/>
                  <a:pt x="862" y="617"/>
                  <a:pt x="862" y="617"/>
                </a:cubicBezTo>
                <a:lnTo>
                  <a:pt x="799" y="555"/>
                </a:lnTo>
                <a:close/>
                <a:moveTo>
                  <a:pt x="74" y="44"/>
                </a:moveTo>
                <a:cubicBezTo>
                  <a:pt x="76" y="45"/>
                  <a:pt x="76" y="45"/>
                  <a:pt x="76" y="45"/>
                </a:cubicBezTo>
                <a:cubicBezTo>
                  <a:pt x="74" y="45"/>
                  <a:pt x="74" y="45"/>
                  <a:pt x="74" y="45"/>
                </a:cubicBezTo>
                <a:lnTo>
                  <a:pt x="74" y="44"/>
                </a:lnTo>
                <a:close/>
                <a:moveTo>
                  <a:pt x="52" y="45"/>
                </a:moveTo>
                <a:cubicBezTo>
                  <a:pt x="51" y="45"/>
                  <a:pt x="51" y="45"/>
                  <a:pt x="51" y="45"/>
                </a:cubicBezTo>
                <a:cubicBezTo>
                  <a:pt x="52" y="44"/>
                  <a:pt x="52" y="44"/>
                  <a:pt x="52" y="44"/>
                </a:cubicBezTo>
                <a:lnTo>
                  <a:pt x="52" y="45"/>
                </a:lnTo>
                <a:close/>
                <a:moveTo>
                  <a:pt x="901" y="392"/>
                </a:moveTo>
                <a:cubicBezTo>
                  <a:pt x="883" y="415"/>
                  <a:pt x="862" y="435"/>
                  <a:pt x="839" y="451"/>
                </a:cubicBezTo>
                <a:cubicBezTo>
                  <a:pt x="977" y="612"/>
                  <a:pt x="977" y="612"/>
                  <a:pt x="977" y="612"/>
                </a:cubicBezTo>
                <a:cubicBezTo>
                  <a:pt x="1058" y="531"/>
                  <a:pt x="1058" y="531"/>
                  <a:pt x="1058" y="531"/>
                </a:cubicBezTo>
                <a:lnTo>
                  <a:pt x="901" y="392"/>
                </a:lnTo>
                <a:close/>
                <a:moveTo>
                  <a:pt x="660" y="267"/>
                </a:moveTo>
                <a:cubicBezTo>
                  <a:pt x="590" y="340"/>
                  <a:pt x="590" y="340"/>
                  <a:pt x="590" y="340"/>
                </a:cubicBezTo>
                <a:cubicBezTo>
                  <a:pt x="582" y="334"/>
                  <a:pt x="575" y="328"/>
                  <a:pt x="569" y="320"/>
                </a:cubicBezTo>
                <a:cubicBezTo>
                  <a:pt x="639" y="243"/>
                  <a:pt x="639" y="243"/>
                  <a:pt x="639" y="243"/>
                </a:cubicBezTo>
                <a:cubicBezTo>
                  <a:pt x="637" y="238"/>
                  <a:pt x="635" y="233"/>
                  <a:pt x="635" y="227"/>
                </a:cubicBezTo>
                <a:cubicBezTo>
                  <a:pt x="635" y="202"/>
                  <a:pt x="656" y="181"/>
                  <a:pt x="681" y="181"/>
                </a:cubicBezTo>
                <a:cubicBezTo>
                  <a:pt x="700" y="181"/>
                  <a:pt x="717" y="193"/>
                  <a:pt x="723" y="211"/>
                </a:cubicBezTo>
                <a:cubicBezTo>
                  <a:pt x="794" y="211"/>
                  <a:pt x="794" y="211"/>
                  <a:pt x="794" y="211"/>
                </a:cubicBezTo>
                <a:cubicBezTo>
                  <a:pt x="794" y="243"/>
                  <a:pt x="794" y="243"/>
                  <a:pt x="794" y="243"/>
                </a:cubicBezTo>
                <a:cubicBezTo>
                  <a:pt x="723" y="243"/>
                  <a:pt x="723" y="243"/>
                  <a:pt x="723" y="243"/>
                </a:cubicBezTo>
                <a:cubicBezTo>
                  <a:pt x="717" y="260"/>
                  <a:pt x="700" y="272"/>
                  <a:pt x="681" y="272"/>
                </a:cubicBezTo>
                <a:cubicBezTo>
                  <a:pt x="673" y="272"/>
                  <a:pt x="666" y="270"/>
                  <a:pt x="660" y="267"/>
                </a:cubicBezTo>
                <a:close/>
                <a:moveTo>
                  <a:pt x="680" y="0"/>
                </a:moveTo>
                <a:cubicBezTo>
                  <a:pt x="555" y="0"/>
                  <a:pt x="453" y="102"/>
                  <a:pt x="453" y="227"/>
                </a:cubicBezTo>
                <a:cubicBezTo>
                  <a:pt x="453" y="352"/>
                  <a:pt x="555" y="453"/>
                  <a:pt x="680" y="453"/>
                </a:cubicBezTo>
                <a:cubicBezTo>
                  <a:pt x="805" y="453"/>
                  <a:pt x="907" y="352"/>
                  <a:pt x="907" y="227"/>
                </a:cubicBezTo>
                <a:cubicBezTo>
                  <a:pt x="907" y="102"/>
                  <a:pt x="805" y="0"/>
                  <a:pt x="680" y="0"/>
                </a:cubicBezTo>
                <a:close/>
                <a:moveTo>
                  <a:pt x="680" y="408"/>
                </a:moveTo>
                <a:cubicBezTo>
                  <a:pt x="580" y="408"/>
                  <a:pt x="499" y="327"/>
                  <a:pt x="499" y="227"/>
                </a:cubicBezTo>
                <a:cubicBezTo>
                  <a:pt x="499" y="126"/>
                  <a:pt x="580" y="45"/>
                  <a:pt x="680" y="45"/>
                </a:cubicBezTo>
                <a:cubicBezTo>
                  <a:pt x="780" y="45"/>
                  <a:pt x="861" y="126"/>
                  <a:pt x="861" y="227"/>
                </a:cubicBezTo>
                <a:cubicBezTo>
                  <a:pt x="861" y="327"/>
                  <a:pt x="780" y="408"/>
                  <a:pt x="680" y="408"/>
                </a:cubicBezTo>
                <a:close/>
                <a:moveTo>
                  <a:pt x="424" y="278"/>
                </a:moveTo>
                <a:cubicBezTo>
                  <a:pt x="420" y="277"/>
                  <a:pt x="420" y="277"/>
                  <a:pt x="420" y="277"/>
                </a:cubicBezTo>
                <a:cubicBezTo>
                  <a:pt x="421" y="275"/>
                  <a:pt x="421" y="273"/>
                  <a:pt x="421" y="272"/>
                </a:cubicBezTo>
                <a:cubicBezTo>
                  <a:pt x="421" y="247"/>
                  <a:pt x="400" y="227"/>
                  <a:pt x="375" y="227"/>
                </a:cubicBezTo>
                <a:cubicBezTo>
                  <a:pt x="350" y="227"/>
                  <a:pt x="330" y="247"/>
                  <a:pt x="330" y="272"/>
                </a:cubicBezTo>
                <a:cubicBezTo>
                  <a:pt x="330" y="279"/>
                  <a:pt x="331" y="285"/>
                  <a:pt x="334" y="291"/>
                </a:cubicBezTo>
                <a:cubicBezTo>
                  <a:pt x="213" y="412"/>
                  <a:pt x="213" y="412"/>
                  <a:pt x="213" y="412"/>
                </a:cubicBezTo>
                <a:cubicBezTo>
                  <a:pt x="207" y="409"/>
                  <a:pt x="201" y="408"/>
                  <a:pt x="194" y="408"/>
                </a:cubicBezTo>
                <a:cubicBezTo>
                  <a:pt x="187" y="408"/>
                  <a:pt x="181" y="409"/>
                  <a:pt x="175" y="412"/>
                </a:cubicBezTo>
                <a:cubicBezTo>
                  <a:pt x="114" y="351"/>
                  <a:pt x="114" y="351"/>
                  <a:pt x="114" y="351"/>
                </a:cubicBezTo>
                <a:cubicBezTo>
                  <a:pt x="114" y="396"/>
                  <a:pt x="114" y="396"/>
                  <a:pt x="114" y="396"/>
                </a:cubicBezTo>
                <a:cubicBezTo>
                  <a:pt x="153" y="435"/>
                  <a:pt x="153" y="435"/>
                  <a:pt x="153" y="435"/>
                </a:cubicBezTo>
                <a:cubicBezTo>
                  <a:pt x="150" y="440"/>
                  <a:pt x="149" y="447"/>
                  <a:pt x="149" y="453"/>
                </a:cubicBezTo>
                <a:cubicBezTo>
                  <a:pt x="149" y="478"/>
                  <a:pt x="169" y="499"/>
                  <a:pt x="194" y="499"/>
                </a:cubicBezTo>
                <a:cubicBezTo>
                  <a:pt x="219" y="499"/>
                  <a:pt x="239" y="478"/>
                  <a:pt x="239" y="453"/>
                </a:cubicBezTo>
                <a:cubicBezTo>
                  <a:pt x="239" y="447"/>
                  <a:pt x="238" y="440"/>
                  <a:pt x="235" y="435"/>
                </a:cubicBezTo>
                <a:cubicBezTo>
                  <a:pt x="357" y="313"/>
                  <a:pt x="357" y="313"/>
                  <a:pt x="357" y="313"/>
                </a:cubicBezTo>
                <a:cubicBezTo>
                  <a:pt x="362" y="316"/>
                  <a:pt x="369" y="317"/>
                  <a:pt x="375" y="317"/>
                </a:cubicBezTo>
                <a:cubicBezTo>
                  <a:pt x="387" y="317"/>
                  <a:pt x="398" y="313"/>
                  <a:pt x="406" y="305"/>
                </a:cubicBezTo>
                <a:cubicBezTo>
                  <a:pt x="436" y="320"/>
                  <a:pt x="436" y="320"/>
                  <a:pt x="436" y="320"/>
                </a:cubicBezTo>
                <a:cubicBezTo>
                  <a:pt x="431" y="307"/>
                  <a:pt x="427" y="293"/>
                  <a:pt x="424" y="278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808" name="Freeform 79">
            <a:extLst>
              <a:ext uri="{FF2B5EF4-FFF2-40B4-BE49-F238E27FC236}">
                <a16:creationId xmlns:a16="http://schemas.microsoft.com/office/drawing/2014/main" id="{DA661039-4573-4435-AD6F-BB5435AAB7E3}"/>
              </a:ext>
            </a:extLst>
          </p:cNvPr>
          <p:cNvSpPr>
            <a:spLocks noEditPoints="1"/>
          </p:cNvSpPr>
          <p:nvPr/>
        </p:nvSpPr>
        <p:spPr bwMode="auto">
          <a:xfrm>
            <a:off x="8358130" y="2617113"/>
            <a:ext cx="527659" cy="314831"/>
          </a:xfrm>
          <a:custGeom>
            <a:avLst/>
            <a:gdLst>
              <a:gd name="T0" fmla="*/ 1064 w 1064"/>
              <a:gd name="T1" fmla="*/ 139 h 635"/>
              <a:gd name="T2" fmla="*/ 985 w 1064"/>
              <a:gd name="T3" fmla="*/ 85 h 635"/>
              <a:gd name="T4" fmla="*/ 949 w 1064"/>
              <a:gd name="T5" fmla="*/ 58 h 635"/>
              <a:gd name="T6" fmla="*/ 872 w 1064"/>
              <a:gd name="T7" fmla="*/ 0 h 635"/>
              <a:gd name="T8" fmla="*/ 813 w 1064"/>
              <a:gd name="T9" fmla="*/ 19 h 635"/>
              <a:gd name="T10" fmla="*/ 785 w 1064"/>
              <a:gd name="T11" fmla="*/ 111 h 635"/>
              <a:gd name="T12" fmla="*/ 771 w 1064"/>
              <a:gd name="T13" fmla="*/ 154 h 635"/>
              <a:gd name="T14" fmla="*/ 726 w 1064"/>
              <a:gd name="T15" fmla="*/ 201 h 635"/>
              <a:gd name="T16" fmla="*/ 804 w 1064"/>
              <a:gd name="T17" fmla="*/ 256 h 635"/>
              <a:gd name="T18" fmla="*/ 841 w 1064"/>
              <a:gd name="T19" fmla="*/ 283 h 635"/>
              <a:gd name="T20" fmla="*/ 918 w 1064"/>
              <a:gd name="T21" fmla="*/ 341 h 635"/>
              <a:gd name="T22" fmla="*/ 976 w 1064"/>
              <a:gd name="T23" fmla="*/ 321 h 635"/>
              <a:gd name="T24" fmla="*/ 1005 w 1064"/>
              <a:gd name="T25" fmla="*/ 230 h 635"/>
              <a:gd name="T26" fmla="*/ 1018 w 1064"/>
              <a:gd name="T27" fmla="*/ 187 h 635"/>
              <a:gd name="T28" fmla="*/ 838 w 1064"/>
              <a:gd name="T29" fmla="*/ 170 h 635"/>
              <a:gd name="T30" fmla="*/ 895 w 1064"/>
              <a:gd name="T31" fmla="*/ 227 h 635"/>
              <a:gd name="T32" fmla="*/ 178 w 1064"/>
              <a:gd name="T33" fmla="*/ 129 h 635"/>
              <a:gd name="T34" fmla="*/ 136 w 1064"/>
              <a:gd name="T35" fmla="*/ 112 h 635"/>
              <a:gd name="T36" fmla="*/ 76 w 1064"/>
              <a:gd name="T37" fmla="*/ 155 h 635"/>
              <a:gd name="T38" fmla="*/ 44 w 1064"/>
              <a:gd name="T39" fmla="*/ 187 h 635"/>
              <a:gd name="T40" fmla="*/ 0 w 1064"/>
              <a:gd name="T41" fmla="*/ 248 h 635"/>
              <a:gd name="T42" fmla="*/ 18 w 1064"/>
              <a:gd name="T43" fmla="*/ 289 h 635"/>
              <a:gd name="T44" fmla="*/ 91 w 1064"/>
              <a:gd name="T45" fmla="*/ 301 h 635"/>
              <a:gd name="T46" fmla="*/ 136 w 1064"/>
              <a:gd name="T47" fmla="*/ 301 h 635"/>
              <a:gd name="T48" fmla="*/ 210 w 1064"/>
              <a:gd name="T49" fmla="*/ 289 h 635"/>
              <a:gd name="T50" fmla="*/ 227 w 1064"/>
              <a:gd name="T51" fmla="*/ 248 h 635"/>
              <a:gd name="T52" fmla="*/ 184 w 1064"/>
              <a:gd name="T53" fmla="*/ 187 h 635"/>
              <a:gd name="T54" fmla="*/ 113 w 1064"/>
              <a:gd name="T55" fmla="*/ 190 h 635"/>
              <a:gd name="T56" fmla="*/ 659 w 1064"/>
              <a:gd name="T57" fmla="*/ 326 h 635"/>
              <a:gd name="T58" fmla="*/ 625 w 1064"/>
              <a:gd name="T59" fmla="*/ 267 h 635"/>
              <a:gd name="T60" fmla="*/ 583 w 1064"/>
              <a:gd name="T61" fmla="*/ 153 h 635"/>
              <a:gd name="T62" fmla="*/ 522 w 1064"/>
              <a:gd name="T63" fmla="*/ 136 h 635"/>
              <a:gd name="T64" fmla="*/ 428 w 1064"/>
              <a:gd name="T65" fmla="*/ 215 h 635"/>
              <a:gd name="T66" fmla="*/ 369 w 1064"/>
              <a:gd name="T67" fmla="*/ 249 h 635"/>
              <a:gd name="T68" fmla="*/ 255 w 1064"/>
              <a:gd name="T69" fmla="*/ 291 h 635"/>
              <a:gd name="T70" fmla="*/ 239 w 1064"/>
              <a:gd name="T71" fmla="*/ 352 h 635"/>
              <a:gd name="T72" fmla="*/ 317 w 1064"/>
              <a:gd name="T73" fmla="*/ 445 h 635"/>
              <a:gd name="T74" fmla="*/ 351 w 1064"/>
              <a:gd name="T75" fmla="*/ 504 h 635"/>
              <a:gd name="T76" fmla="*/ 393 w 1064"/>
              <a:gd name="T77" fmla="*/ 619 h 635"/>
              <a:gd name="T78" fmla="*/ 454 w 1064"/>
              <a:gd name="T79" fmla="*/ 635 h 635"/>
              <a:gd name="T80" fmla="*/ 548 w 1064"/>
              <a:gd name="T81" fmla="*/ 557 h 635"/>
              <a:gd name="T82" fmla="*/ 607 w 1064"/>
              <a:gd name="T83" fmla="*/ 523 h 635"/>
              <a:gd name="T84" fmla="*/ 721 w 1064"/>
              <a:gd name="T85" fmla="*/ 481 h 635"/>
              <a:gd name="T86" fmla="*/ 737 w 1064"/>
              <a:gd name="T87" fmla="*/ 420 h 635"/>
              <a:gd name="T88" fmla="*/ 659 w 1064"/>
              <a:gd name="T89" fmla="*/ 326 h 635"/>
              <a:gd name="T90" fmla="*/ 558 w 1064"/>
              <a:gd name="T91" fmla="*/ 424 h 635"/>
              <a:gd name="T92" fmla="*/ 526 w 1064"/>
              <a:gd name="T93" fmla="*/ 456 h 635"/>
              <a:gd name="T94" fmla="*/ 465 w 1064"/>
              <a:gd name="T95" fmla="*/ 499 h 635"/>
              <a:gd name="T96" fmla="*/ 424 w 1064"/>
              <a:gd name="T97" fmla="*/ 482 h 635"/>
              <a:gd name="T98" fmla="*/ 412 w 1064"/>
              <a:gd name="T99" fmla="*/ 409 h 635"/>
              <a:gd name="T100" fmla="*/ 412 w 1064"/>
              <a:gd name="T101" fmla="*/ 363 h 635"/>
              <a:gd name="T102" fmla="*/ 424 w 1064"/>
              <a:gd name="T103" fmla="*/ 290 h 635"/>
              <a:gd name="T104" fmla="*/ 465 w 1064"/>
              <a:gd name="T105" fmla="*/ 272 h 635"/>
              <a:gd name="T106" fmla="*/ 526 w 1064"/>
              <a:gd name="T107" fmla="*/ 316 h 635"/>
              <a:gd name="T108" fmla="*/ 558 w 1064"/>
              <a:gd name="T109" fmla="*/ 348 h 635"/>
              <a:gd name="T110" fmla="*/ 601 w 1064"/>
              <a:gd name="T111" fmla="*/ 409 h 635"/>
              <a:gd name="T112" fmla="*/ 451 w 1064"/>
              <a:gd name="T113" fmla="*/ 386 h 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64" h="635">
                <a:moveTo>
                  <a:pt x="1020" y="170"/>
                </a:moveTo>
                <a:cubicBezTo>
                  <a:pt x="1020" y="165"/>
                  <a:pt x="1019" y="159"/>
                  <a:pt x="1018" y="154"/>
                </a:cubicBezTo>
                <a:cubicBezTo>
                  <a:pt x="1064" y="139"/>
                  <a:pt x="1064" y="139"/>
                  <a:pt x="1064" y="139"/>
                </a:cubicBezTo>
                <a:cubicBezTo>
                  <a:pt x="1050" y="96"/>
                  <a:pt x="1050" y="96"/>
                  <a:pt x="1050" y="96"/>
                </a:cubicBezTo>
                <a:cubicBezTo>
                  <a:pt x="1005" y="111"/>
                  <a:pt x="1005" y="111"/>
                  <a:pt x="1005" y="111"/>
                </a:cubicBezTo>
                <a:cubicBezTo>
                  <a:pt x="999" y="101"/>
                  <a:pt x="993" y="92"/>
                  <a:pt x="985" y="85"/>
                </a:cubicBezTo>
                <a:cubicBezTo>
                  <a:pt x="1013" y="46"/>
                  <a:pt x="1013" y="46"/>
                  <a:pt x="1013" y="46"/>
                </a:cubicBezTo>
                <a:cubicBezTo>
                  <a:pt x="976" y="19"/>
                  <a:pt x="976" y="19"/>
                  <a:pt x="976" y="19"/>
                </a:cubicBezTo>
                <a:cubicBezTo>
                  <a:pt x="949" y="58"/>
                  <a:pt x="949" y="58"/>
                  <a:pt x="949" y="58"/>
                </a:cubicBezTo>
                <a:cubicBezTo>
                  <a:pt x="939" y="53"/>
                  <a:pt x="928" y="50"/>
                  <a:pt x="918" y="48"/>
                </a:cubicBezTo>
                <a:cubicBezTo>
                  <a:pt x="918" y="0"/>
                  <a:pt x="918" y="0"/>
                  <a:pt x="918" y="0"/>
                </a:cubicBezTo>
                <a:cubicBezTo>
                  <a:pt x="872" y="0"/>
                  <a:pt x="872" y="0"/>
                  <a:pt x="872" y="0"/>
                </a:cubicBezTo>
                <a:cubicBezTo>
                  <a:pt x="872" y="48"/>
                  <a:pt x="872" y="48"/>
                  <a:pt x="872" y="48"/>
                </a:cubicBezTo>
                <a:cubicBezTo>
                  <a:pt x="861" y="50"/>
                  <a:pt x="851" y="53"/>
                  <a:pt x="841" y="58"/>
                </a:cubicBezTo>
                <a:cubicBezTo>
                  <a:pt x="813" y="19"/>
                  <a:pt x="813" y="19"/>
                  <a:pt x="813" y="19"/>
                </a:cubicBezTo>
                <a:cubicBezTo>
                  <a:pt x="777" y="46"/>
                  <a:pt x="777" y="46"/>
                  <a:pt x="777" y="46"/>
                </a:cubicBezTo>
                <a:cubicBezTo>
                  <a:pt x="804" y="85"/>
                  <a:pt x="804" y="85"/>
                  <a:pt x="804" y="85"/>
                </a:cubicBezTo>
                <a:cubicBezTo>
                  <a:pt x="797" y="92"/>
                  <a:pt x="790" y="101"/>
                  <a:pt x="785" y="111"/>
                </a:cubicBezTo>
                <a:cubicBezTo>
                  <a:pt x="740" y="96"/>
                  <a:pt x="740" y="96"/>
                  <a:pt x="740" y="96"/>
                </a:cubicBezTo>
                <a:cubicBezTo>
                  <a:pt x="726" y="139"/>
                  <a:pt x="726" y="139"/>
                  <a:pt x="726" y="139"/>
                </a:cubicBezTo>
                <a:cubicBezTo>
                  <a:pt x="771" y="154"/>
                  <a:pt x="771" y="154"/>
                  <a:pt x="771" y="154"/>
                </a:cubicBezTo>
                <a:cubicBezTo>
                  <a:pt x="771" y="159"/>
                  <a:pt x="770" y="165"/>
                  <a:pt x="770" y="170"/>
                </a:cubicBezTo>
                <a:cubicBezTo>
                  <a:pt x="770" y="176"/>
                  <a:pt x="771" y="181"/>
                  <a:pt x="771" y="187"/>
                </a:cubicBezTo>
                <a:cubicBezTo>
                  <a:pt x="726" y="201"/>
                  <a:pt x="726" y="201"/>
                  <a:pt x="726" y="201"/>
                </a:cubicBezTo>
                <a:cubicBezTo>
                  <a:pt x="740" y="245"/>
                  <a:pt x="740" y="245"/>
                  <a:pt x="740" y="245"/>
                </a:cubicBezTo>
                <a:cubicBezTo>
                  <a:pt x="785" y="230"/>
                  <a:pt x="785" y="230"/>
                  <a:pt x="785" y="230"/>
                </a:cubicBezTo>
                <a:cubicBezTo>
                  <a:pt x="790" y="240"/>
                  <a:pt x="797" y="248"/>
                  <a:pt x="804" y="256"/>
                </a:cubicBezTo>
                <a:cubicBezTo>
                  <a:pt x="777" y="295"/>
                  <a:pt x="777" y="295"/>
                  <a:pt x="777" y="295"/>
                </a:cubicBezTo>
                <a:cubicBezTo>
                  <a:pt x="813" y="321"/>
                  <a:pt x="813" y="321"/>
                  <a:pt x="813" y="321"/>
                </a:cubicBezTo>
                <a:cubicBezTo>
                  <a:pt x="841" y="283"/>
                  <a:pt x="841" y="283"/>
                  <a:pt x="841" y="283"/>
                </a:cubicBezTo>
                <a:cubicBezTo>
                  <a:pt x="851" y="288"/>
                  <a:pt x="861" y="291"/>
                  <a:pt x="872" y="293"/>
                </a:cubicBezTo>
                <a:cubicBezTo>
                  <a:pt x="872" y="341"/>
                  <a:pt x="872" y="341"/>
                  <a:pt x="872" y="341"/>
                </a:cubicBezTo>
                <a:cubicBezTo>
                  <a:pt x="918" y="341"/>
                  <a:pt x="918" y="341"/>
                  <a:pt x="918" y="341"/>
                </a:cubicBezTo>
                <a:cubicBezTo>
                  <a:pt x="918" y="293"/>
                  <a:pt x="918" y="293"/>
                  <a:pt x="918" y="293"/>
                </a:cubicBezTo>
                <a:cubicBezTo>
                  <a:pt x="928" y="291"/>
                  <a:pt x="939" y="288"/>
                  <a:pt x="949" y="283"/>
                </a:cubicBezTo>
                <a:cubicBezTo>
                  <a:pt x="976" y="321"/>
                  <a:pt x="976" y="321"/>
                  <a:pt x="976" y="321"/>
                </a:cubicBezTo>
                <a:cubicBezTo>
                  <a:pt x="1013" y="295"/>
                  <a:pt x="1013" y="295"/>
                  <a:pt x="1013" y="295"/>
                </a:cubicBezTo>
                <a:cubicBezTo>
                  <a:pt x="985" y="256"/>
                  <a:pt x="985" y="256"/>
                  <a:pt x="985" y="256"/>
                </a:cubicBezTo>
                <a:cubicBezTo>
                  <a:pt x="993" y="248"/>
                  <a:pt x="999" y="240"/>
                  <a:pt x="1005" y="230"/>
                </a:cubicBezTo>
                <a:cubicBezTo>
                  <a:pt x="1050" y="245"/>
                  <a:pt x="1050" y="245"/>
                  <a:pt x="1050" y="245"/>
                </a:cubicBezTo>
                <a:cubicBezTo>
                  <a:pt x="1064" y="201"/>
                  <a:pt x="1064" y="201"/>
                  <a:pt x="1064" y="201"/>
                </a:cubicBezTo>
                <a:cubicBezTo>
                  <a:pt x="1018" y="187"/>
                  <a:pt x="1018" y="187"/>
                  <a:pt x="1018" y="187"/>
                </a:cubicBezTo>
                <a:cubicBezTo>
                  <a:pt x="1019" y="181"/>
                  <a:pt x="1020" y="176"/>
                  <a:pt x="1020" y="170"/>
                </a:cubicBezTo>
                <a:close/>
                <a:moveTo>
                  <a:pt x="895" y="227"/>
                </a:moveTo>
                <a:cubicBezTo>
                  <a:pt x="864" y="227"/>
                  <a:pt x="838" y="202"/>
                  <a:pt x="838" y="170"/>
                </a:cubicBezTo>
                <a:cubicBezTo>
                  <a:pt x="838" y="139"/>
                  <a:pt x="864" y="114"/>
                  <a:pt x="895" y="114"/>
                </a:cubicBezTo>
                <a:cubicBezTo>
                  <a:pt x="926" y="114"/>
                  <a:pt x="952" y="139"/>
                  <a:pt x="952" y="170"/>
                </a:cubicBezTo>
                <a:cubicBezTo>
                  <a:pt x="952" y="202"/>
                  <a:pt x="926" y="227"/>
                  <a:pt x="895" y="227"/>
                </a:cubicBezTo>
                <a:close/>
                <a:moveTo>
                  <a:pt x="184" y="187"/>
                </a:moveTo>
                <a:cubicBezTo>
                  <a:pt x="210" y="161"/>
                  <a:pt x="210" y="161"/>
                  <a:pt x="210" y="161"/>
                </a:cubicBezTo>
                <a:cubicBezTo>
                  <a:pt x="178" y="129"/>
                  <a:pt x="178" y="129"/>
                  <a:pt x="178" y="129"/>
                </a:cubicBezTo>
                <a:cubicBezTo>
                  <a:pt x="152" y="155"/>
                  <a:pt x="152" y="155"/>
                  <a:pt x="152" y="155"/>
                </a:cubicBezTo>
                <a:cubicBezTo>
                  <a:pt x="147" y="152"/>
                  <a:pt x="142" y="150"/>
                  <a:pt x="136" y="149"/>
                </a:cubicBezTo>
                <a:cubicBezTo>
                  <a:pt x="136" y="112"/>
                  <a:pt x="136" y="112"/>
                  <a:pt x="136" y="112"/>
                </a:cubicBezTo>
                <a:cubicBezTo>
                  <a:pt x="91" y="112"/>
                  <a:pt x="91" y="112"/>
                  <a:pt x="91" y="112"/>
                </a:cubicBezTo>
                <a:cubicBezTo>
                  <a:pt x="91" y="149"/>
                  <a:pt x="91" y="149"/>
                  <a:pt x="91" y="149"/>
                </a:cubicBezTo>
                <a:cubicBezTo>
                  <a:pt x="86" y="150"/>
                  <a:pt x="81" y="152"/>
                  <a:pt x="76" y="155"/>
                </a:cubicBezTo>
                <a:cubicBezTo>
                  <a:pt x="50" y="129"/>
                  <a:pt x="50" y="129"/>
                  <a:pt x="50" y="129"/>
                </a:cubicBezTo>
                <a:cubicBezTo>
                  <a:pt x="18" y="161"/>
                  <a:pt x="18" y="161"/>
                  <a:pt x="18" y="161"/>
                </a:cubicBezTo>
                <a:cubicBezTo>
                  <a:pt x="44" y="187"/>
                  <a:pt x="44" y="187"/>
                  <a:pt x="44" y="187"/>
                </a:cubicBezTo>
                <a:cubicBezTo>
                  <a:pt x="41" y="192"/>
                  <a:pt x="39" y="197"/>
                  <a:pt x="38" y="202"/>
                </a:cubicBezTo>
                <a:cubicBezTo>
                  <a:pt x="0" y="202"/>
                  <a:pt x="0" y="202"/>
                  <a:pt x="0" y="202"/>
                </a:cubicBezTo>
                <a:cubicBezTo>
                  <a:pt x="0" y="248"/>
                  <a:pt x="0" y="248"/>
                  <a:pt x="0" y="248"/>
                </a:cubicBezTo>
                <a:cubicBezTo>
                  <a:pt x="38" y="248"/>
                  <a:pt x="38" y="248"/>
                  <a:pt x="38" y="248"/>
                </a:cubicBezTo>
                <a:cubicBezTo>
                  <a:pt x="39" y="253"/>
                  <a:pt x="41" y="258"/>
                  <a:pt x="44" y="263"/>
                </a:cubicBezTo>
                <a:cubicBezTo>
                  <a:pt x="18" y="289"/>
                  <a:pt x="18" y="289"/>
                  <a:pt x="18" y="289"/>
                </a:cubicBezTo>
                <a:cubicBezTo>
                  <a:pt x="50" y="321"/>
                  <a:pt x="50" y="321"/>
                  <a:pt x="50" y="321"/>
                </a:cubicBezTo>
                <a:cubicBezTo>
                  <a:pt x="76" y="295"/>
                  <a:pt x="76" y="295"/>
                  <a:pt x="76" y="295"/>
                </a:cubicBezTo>
                <a:cubicBezTo>
                  <a:pt x="81" y="297"/>
                  <a:pt x="86" y="299"/>
                  <a:pt x="91" y="301"/>
                </a:cubicBezTo>
                <a:cubicBezTo>
                  <a:pt x="91" y="338"/>
                  <a:pt x="91" y="338"/>
                  <a:pt x="91" y="338"/>
                </a:cubicBezTo>
                <a:cubicBezTo>
                  <a:pt x="136" y="338"/>
                  <a:pt x="136" y="338"/>
                  <a:pt x="136" y="338"/>
                </a:cubicBezTo>
                <a:cubicBezTo>
                  <a:pt x="136" y="301"/>
                  <a:pt x="136" y="301"/>
                  <a:pt x="136" y="301"/>
                </a:cubicBezTo>
                <a:cubicBezTo>
                  <a:pt x="142" y="299"/>
                  <a:pt x="147" y="297"/>
                  <a:pt x="152" y="295"/>
                </a:cubicBezTo>
                <a:cubicBezTo>
                  <a:pt x="178" y="321"/>
                  <a:pt x="178" y="321"/>
                  <a:pt x="178" y="321"/>
                </a:cubicBezTo>
                <a:cubicBezTo>
                  <a:pt x="210" y="289"/>
                  <a:pt x="210" y="289"/>
                  <a:pt x="210" y="289"/>
                </a:cubicBezTo>
                <a:cubicBezTo>
                  <a:pt x="184" y="263"/>
                  <a:pt x="184" y="263"/>
                  <a:pt x="184" y="263"/>
                </a:cubicBezTo>
                <a:cubicBezTo>
                  <a:pt x="186" y="258"/>
                  <a:pt x="188" y="253"/>
                  <a:pt x="190" y="248"/>
                </a:cubicBezTo>
                <a:cubicBezTo>
                  <a:pt x="227" y="248"/>
                  <a:pt x="227" y="248"/>
                  <a:pt x="227" y="248"/>
                </a:cubicBezTo>
                <a:cubicBezTo>
                  <a:pt x="227" y="202"/>
                  <a:pt x="227" y="202"/>
                  <a:pt x="227" y="202"/>
                </a:cubicBezTo>
                <a:cubicBezTo>
                  <a:pt x="190" y="202"/>
                  <a:pt x="190" y="202"/>
                  <a:pt x="190" y="202"/>
                </a:cubicBezTo>
                <a:cubicBezTo>
                  <a:pt x="188" y="197"/>
                  <a:pt x="186" y="192"/>
                  <a:pt x="184" y="187"/>
                </a:cubicBezTo>
                <a:close/>
                <a:moveTo>
                  <a:pt x="114" y="259"/>
                </a:moveTo>
                <a:cubicBezTo>
                  <a:pt x="95" y="260"/>
                  <a:pt x="79" y="244"/>
                  <a:pt x="79" y="225"/>
                </a:cubicBezTo>
                <a:cubicBezTo>
                  <a:pt x="79" y="206"/>
                  <a:pt x="94" y="191"/>
                  <a:pt x="113" y="190"/>
                </a:cubicBezTo>
                <a:cubicBezTo>
                  <a:pt x="132" y="190"/>
                  <a:pt x="148" y="205"/>
                  <a:pt x="148" y="224"/>
                </a:cubicBezTo>
                <a:cubicBezTo>
                  <a:pt x="149" y="244"/>
                  <a:pt x="133" y="259"/>
                  <a:pt x="114" y="259"/>
                </a:cubicBezTo>
                <a:close/>
                <a:moveTo>
                  <a:pt x="659" y="326"/>
                </a:moveTo>
                <a:cubicBezTo>
                  <a:pt x="721" y="291"/>
                  <a:pt x="721" y="291"/>
                  <a:pt x="721" y="291"/>
                </a:cubicBezTo>
                <a:cubicBezTo>
                  <a:pt x="687" y="232"/>
                  <a:pt x="687" y="232"/>
                  <a:pt x="687" y="232"/>
                </a:cubicBezTo>
                <a:cubicBezTo>
                  <a:pt x="625" y="267"/>
                  <a:pt x="625" y="267"/>
                  <a:pt x="625" y="267"/>
                </a:cubicBezTo>
                <a:cubicBezTo>
                  <a:pt x="619" y="261"/>
                  <a:pt x="613" y="254"/>
                  <a:pt x="607" y="249"/>
                </a:cubicBezTo>
                <a:cubicBezTo>
                  <a:pt x="642" y="187"/>
                  <a:pt x="642" y="187"/>
                  <a:pt x="642" y="187"/>
                </a:cubicBezTo>
                <a:cubicBezTo>
                  <a:pt x="583" y="153"/>
                  <a:pt x="583" y="153"/>
                  <a:pt x="583" y="153"/>
                </a:cubicBezTo>
                <a:cubicBezTo>
                  <a:pt x="548" y="215"/>
                  <a:pt x="548" y="215"/>
                  <a:pt x="548" y="215"/>
                </a:cubicBezTo>
                <a:cubicBezTo>
                  <a:pt x="539" y="212"/>
                  <a:pt x="531" y="209"/>
                  <a:pt x="522" y="208"/>
                </a:cubicBezTo>
                <a:cubicBezTo>
                  <a:pt x="522" y="136"/>
                  <a:pt x="522" y="136"/>
                  <a:pt x="522" y="136"/>
                </a:cubicBezTo>
                <a:cubicBezTo>
                  <a:pt x="454" y="136"/>
                  <a:pt x="454" y="136"/>
                  <a:pt x="454" y="136"/>
                </a:cubicBezTo>
                <a:cubicBezTo>
                  <a:pt x="454" y="208"/>
                  <a:pt x="454" y="208"/>
                  <a:pt x="454" y="208"/>
                </a:cubicBezTo>
                <a:cubicBezTo>
                  <a:pt x="445" y="209"/>
                  <a:pt x="437" y="212"/>
                  <a:pt x="428" y="215"/>
                </a:cubicBezTo>
                <a:cubicBezTo>
                  <a:pt x="393" y="153"/>
                  <a:pt x="393" y="153"/>
                  <a:pt x="393" y="153"/>
                </a:cubicBezTo>
                <a:cubicBezTo>
                  <a:pt x="334" y="187"/>
                  <a:pt x="334" y="187"/>
                  <a:pt x="334" y="187"/>
                </a:cubicBezTo>
                <a:cubicBezTo>
                  <a:pt x="369" y="249"/>
                  <a:pt x="369" y="249"/>
                  <a:pt x="369" y="249"/>
                </a:cubicBezTo>
                <a:cubicBezTo>
                  <a:pt x="363" y="254"/>
                  <a:pt x="356" y="261"/>
                  <a:pt x="351" y="267"/>
                </a:cubicBezTo>
                <a:cubicBezTo>
                  <a:pt x="289" y="232"/>
                  <a:pt x="289" y="232"/>
                  <a:pt x="289" y="232"/>
                </a:cubicBezTo>
                <a:cubicBezTo>
                  <a:pt x="255" y="291"/>
                  <a:pt x="255" y="291"/>
                  <a:pt x="255" y="291"/>
                </a:cubicBezTo>
                <a:cubicBezTo>
                  <a:pt x="317" y="326"/>
                  <a:pt x="317" y="326"/>
                  <a:pt x="317" y="326"/>
                </a:cubicBezTo>
                <a:cubicBezTo>
                  <a:pt x="314" y="335"/>
                  <a:pt x="311" y="343"/>
                  <a:pt x="310" y="352"/>
                </a:cubicBezTo>
                <a:cubicBezTo>
                  <a:pt x="239" y="352"/>
                  <a:pt x="239" y="352"/>
                  <a:pt x="239" y="352"/>
                </a:cubicBezTo>
                <a:cubicBezTo>
                  <a:pt x="239" y="420"/>
                  <a:pt x="239" y="420"/>
                  <a:pt x="239" y="420"/>
                </a:cubicBezTo>
                <a:cubicBezTo>
                  <a:pt x="310" y="420"/>
                  <a:pt x="310" y="420"/>
                  <a:pt x="310" y="420"/>
                </a:cubicBezTo>
                <a:cubicBezTo>
                  <a:pt x="311" y="429"/>
                  <a:pt x="314" y="437"/>
                  <a:pt x="317" y="445"/>
                </a:cubicBezTo>
                <a:cubicBezTo>
                  <a:pt x="255" y="481"/>
                  <a:pt x="255" y="481"/>
                  <a:pt x="255" y="481"/>
                </a:cubicBezTo>
                <a:cubicBezTo>
                  <a:pt x="289" y="540"/>
                  <a:pt x="289" y="540"/>
                  <a:pt x="289" y="540"/>
                </a:cubicBezTo>
                <a:cubicBezTo>
                  <a:pt x="351" y="504"/>
                  <a:pt x="351" y="504"/>
                  <a:pt x="351" y="504"/>
                </a:cubicBezTo>
                <a:cubicBezTo>
                  <a:pt x="356" y="511"/>
                  <a:pt x="363" y="517"/>
                  <a:pt x="369" y="523"/>
                </a:cubicBezTo>
                <a:cubicBezTo>
                  <a:pt x="334" y="585"/>
                  <a:pt x="334" y="585"/>
                  <a:pt x="334" y="585"/>
                </a:cubicBezTo>
                <a:cubicBezTo>
                  <a:pt x="393" y="619"/>
                  <a:pt x="393" y="619"/>
                  <a:pt x="393" y="619"/>
                </a:cubicBezTo>
                <a:cubicBezTo>
                  <a:pt x="428" y="557"/>
                  <a:pt x="428" y="557"/>
                  <a:pt x="428" y="557"/>
                </a:cubicBezTo>
                <a:cubicBezTo>
                  <a:pt x="437" y="560"/>
                  <a:pt x="445" y="562"/>
                  <a:pt x="454" y="564"/>
                </a:cubicBezTo>
                <a:cubicBezTo>
                  <a:pt x="454" y="635"/>
                  <a:pt x="454" y="635"/>
                  <a:pt x="454" y="635"/>
                </a:cubicBezTo>
                <a:cubicBezTo>
                  <a:pt x="522" y="635"/>
                  <a:pt x="522" y="635"/>
                  <a:pt x="522" y="635"/>
                </a:cubicBezTo>
                <a:cubicBezTo>
                  <a:pt x="522" y="564"/>
                  <a:pt x="522" y="564"/>
                  <a:pt x="522" y="564"/>
                </a:cubicBezTo>
                <a:cubicBezTo>
                  <a:pt x="531" y="562"/>
                  <a:pt x="539" y="560"/>
                  <a:pt x="548" y="557"/>
                </a:cubicBezTo>
                <a:cubicBezTo>
                  <a:pt x="583" y="619"/>
                  <a:pt x="583" y="619"/>
                  <a:pt x="583" y="619"/>
                </a:cubicBezTo>
                <a:cubicBezTo>
                  <a:pt x="642" y="585"/>
                  <a:pt x="642" y="585"/>
                  <a:pt x="642" y="585"/>
                </a:cubicBezTo>
                <a:cubicBezTo>
                  <a:pt x="607" y="523"/>
                  <a:pt x="607" y="523"/>
                  <a:pt x="607" y="523"/>
                </a:cubicBezTo>
                <a:cubicBezTo>
                  <a:pt x="613" y="517"/>
                  <a:pt x="619" y="511"/>
                  <a:pt x="625" y="504"/>
                </a:cubicBezTo>
                <a:cubicBezTo>
                  <a:pt x="687" y="540"/>
                  <a:pt x="687" y="540"/>
                  <a:pt x="687" y="540"/>
                </a:cubicBezTo>
                <a:cubicBezTo>
                  <a:pt x="721" y="481"/>
                  <a:pt x="721" y="481"/>
                  <a:pt x="721" y="481"/>
                </a:cubicBezTo>
                <a:cubicBezTo>
                  <a:pt x="659" y="445"/>
                  <a:pt x="659" y="445"/>
                  <a:pt x="659" y="445"/>
                </a:cubicBezTo>
                <a:cubicBezTo>
                  <a:pt x="662" y="437"/>
                  <a:pt x="665" y="429"/>
                  <a:pt x="666" y="420"/>
                </a:cubicBezTo>
                <a:cubicBezTo>
                  <a:pt x="737" y="420"/>
                  <a:pt x="737" y="420"/>
                  <a:pt x="737" y="420"/>
                </a:cubicBezTo>
                <a:cubicBezTo>
                  <a:pt x="737" y="352"/>
                  <a:pt x="737" y="352"/>
                  <a:pt x="737" y="352"/>
                </a:cubicBezTo>
                <a:cubicBezTo>
                  <a:pt x="666" y="352"/>
                  <a:pt x="666" y="352"/>
                  <a:pt x="666" y="352"/>
                </a:cubicBezTo>
                <a:cubicBezTo>
                  <a:pt x="665" y="343"/>
                  <a:pt x="662" y="335"/>
                  <a:pt x="659" y="326"/>
                </a:cubicBezTo>
                <a:close/>
                <a:moveTo>
                  <a:pt x="601" y="409"/>
                </a:moveTo>
                <a:cubicBezTo>
                  <a:pt x="564" y="409"/>
                  <a:pt x="564" y="409"/>
                  <a:pt x="564" y="409"/>
                </a:cubicBezTo>
                <a:cubicBezTo>
                  <a:pt x="562" y="414"/>
                  <a:pt x="560" y="419"/>
                  <a:pt x="558" y="424"/>
                </a:cubicBezTo>
                <a:cubicBezTo>
                  <a:pt x="584" y="450"/>
                  <a:pt x="584" y="450"/>
                  <a:pt x="584" y="450"/>
                </a:cubicBezTo>
                <a:cubicBezTo>
                  <a:pt x="552" y="482"/>
                  <a:pt x="552" y="482"/>
                  <a:pt x="552" y="482"/>
                </a:cubicBezTo>
                <a:cubicBezTo>
                  <a:pt x="526" y="456"/>
                  <a:pt x="526" y="456"/>
                  <a:pt x="526" y="456"/>
                </a:cubicBezTo>
                <a:cubicBezTo>
                  <a:pt x="521" y="458"/>
                  <a:pt x="516" y="460"/>
                  <a:pt x="511" y="462"/>
                </a:cubicBezTo>
                <a:cubicBezTo>
                  <a:pt x="511" y="499"/>
                  <a:pt x="511" y="499"/>
                  <a:pt x="511" y="499"/>
                </a:cubicBezTo>
                <a:cubicBezTo>
                  <a:pt x="465" y="499"/>
                  <a:pt x="465" y="499"/>
                  <a:pt x="465" y="499"/>
                </a:cubicBezTo>
                <a:cubicBezTo>
                  <a:pt x="465" y="462"/>
                  <a:pt x="465" y="462"/>
                  <a:pt x="465" y="462"/>
                </a:cubicBezTo>
                <a:cubicBezTo>
                  <a:pt x="460" y="460"/>
                  <a:pt x="455" y="458"/>
                  <a:pt x="450" y="456"/>
                </a:cubicBezTo>
                <a:cubicBezTo>
                  <a:pt x="424" y="482"/>
                  <a:pt x="424" y="482"/>
                  <a:pt x="424" y="482"/>
                </a:cubicBezTo>
                <a:cubicBezTo>
                  <a:pt x="392" y="450"/>
                  <a:pt x="392" y="450"/>
                  <a:pt x="392" y="450"/>
                </a:cubicBezTo>
                <a:cubicBezTo>
                  <a:pt x="418" y="424"/>
                  <a:pt x="418" y="424"/>
                  <a:pt x="418" y="424"/>
                </a:cubicBezTo>
                <a:cubicBezTo>
                  <a:pt x="416" y="419"/>
                  <a:pt x="414" y="414"/>
                  <a:pt x="412" y="409"/>
                </a:cubicBezTo>
                <a:cubicBezTo>
                  <a:pt x="375" y="409"/>
                  <a:pt x="375" y="409"/>
                  <a:pt x="375" y="409"/>
                </a:cubicBezTo>
                <a:cubicBezTo>
                  <a:pt x="375" y="363"/>
                  <a:pt x="375" y="363"/>
                  <a:pt x="375" y="363"/>
                </a:cubicBezTo>
                <a:cubicBezTo>
                  <a:pt x="412" y="363"/>
                  <a:pt x="412" y="363"/>
                  <a:pt x="412" y="363"/>
                </a:cubicBezTo>
                <a:cubicBezTo>
                  <a:pt x="414" y="358"/>
                  <a:pt x="416" y="353"/>
                  <a:pt x="418" y="348"/>
                </a:cubicBezTo>
                <a:cubicBezTo>
                  <a:pt x="392" y="322"/>
                  <a:pt x="392" y="322"/>
                  <a:pt x="392" y="322"/>
                </a:cubicBezTo>
                <a:cubicBezTo>
                  <a:pt x="424" y="290"/>
                  <a:pt x="424" y="290"/>
                  <a:pt x="424" y="290"/>
                </a:cubicBezTo>
                <a:cubicBezTo>
                  <a:pt x="450" y="316"/>
                  <a:pt x="450" y="316"/>
                  <a:pt x="450" y="316"/>
                </a:cubicBezTo>
                <a:cubicBezTo>
                  <a:pt x="455" y="313"/>
                  <a:pt x="460" y="311"/>
                  <a:pt x="465" y="310"/>
                </a:cubicBezTo>
                <a:cubicBezTo>
                  <a:pt x="465" y="272"/>
                  <a:pt x="465" y="272"/>
                  <a:pt x="465" y="272"/>
                </a:cubicBezTo>
                <a:cubicBezTo>
                  <a:pt x="511" y="272"/>
                  <a:pt x="511" y="272"/>
                  <a:pt x="511" y="272"/>
                </a:cubicBezTo>
                <a:cubicBezTo>
                  <a:pt x="511" y="310"/>
                  <a:pt x="511" y="310"/>
                  <a:pt x="511" y="310"/>
                </a:cubicBezTo>
                <a:cubicBezTo>
                  <a:pt x="516" y="311"/>
                  <a:pt x="521" y="313"/>
                  <a:pt x="526" y="316"/>
                </a:cubicBezTo>
                <a:cubicBezTo>
                  <a:pt x="552" y="290"/>
                  <a:pt x="552" y="290"/>
                  <a:pt x="552" y="290"/>
                </a:cubicBezTo>
                <a:cubicBezTo>
                  <a:pt x="584" y="322"/>
                  <a:pt x="584" y="322"/>
                  <a:pt x="584" y="322"/>
                </a:cubicBezTo>
                <a:cubicBezTo>
                  <a:pt x="558" y="348"/>
                  <a:pt x="558" y="348"/>
                  <a:pt x="558" y="348"/>
                </a:cubicBezTo>
                <a:cubicBezTo>
                  <a:pt x="560" y="353"/>
                  <a:pt x="562" y="358"/>
                  <a:pt x="564" y="363"/>
                </a:cubicBezTo>
                <a:cubicBezTo>
                  <a:pt x="601" y="363"/>
                  <a:pt x="601" y="363"/>
                  <a:pt x="601" y="363"/>
                </a:cubicBezTo>
                <a:lnTo>
                  <a:pt x="601" y="409"/>
                </a:lnTo>
                <a:close/>
                <a:moveTo>
                  <a:pt x="525" y="385"/>
                </a:moveTo>
                <a:cubicBezTo>
                  <a:pt x="525" y="406"/>
                  <a:pt x="509" y="422"/>
                  <a:pt x="488" y="423"/>
                </a:cubicBezTo>
                <a:cubicBezTo>
                  <a:pt x="468" y="423"/>
                  <a:pt x="451" y="407"/>
                  <a:pt x="451" y="386"/>
                </a:cubicBezTo>
                <a:cubicBezTo>
                  <a:pt x="451" y="366"/>
                  <a:pt x="467" y="349"/>
                  <a:pt x="488" y="349"/>
                </a:cubicBezTo>
                <a:cubicBezTo>
                  <a:pt x="508" y="349"/>
                  <a:pt x="525" y="365"/>
                  <a:pt x="525" y="3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809" name="Rounded Rectangle 115">
            <a:extLst>
              <a:ext uri="{FF2B5EF4-FFF2-40B4-BE49-F238E27FC236}">
                <a16:creationId xmlns:a16="http://schemas.microsoft.com/office/drawing/2014/main" id="{C443C8F6-4E5C-419F-B6D7-923A8519DCE8}"/>
              </a:ext>
            </a:extLst>
          </p:cNvPr>
          <p:cNvSpPr/>
          <p:nvPr/>
        </p:nvSpPr>
        <p:spPr bwMode="auto">
          <a:xfrm>
            <a:off x="6409055" y="6337343"/>
            <a:ext cx="1401414" cy="468290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32A0A0"/>
            </a:solidFill>
            <a:prstDash val="solid"/>
          </a:ln>
          <a:effectLst/>
        </p:spPr>
        <p:txBody>
          <a:bodyPr wrap="square" lIns="93357" tIns="46680" rIns="93357" bIns="46680" numCol="1" spcCol="143928" rtlCol="0" anchor="ctr">
            <a:noAutofit/>
          </a:bodyPr>
          <a:lstStyle/>
          <a:p>
            <a:pPr marL="0" marR="0" lvl="0" indent="0" algn="ctr" defTabSz="790551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65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t Systems</a:t>
            </a:r>
          </a:p>
        </p:txBody>
      </p:sp>
      <p:sp>
        <p:nvSpPr>
          <p:cNvPr id="810" name="Rounded Rectangle 115">
            <a:extLst>
              <a:ext uri="{FF2B5EF4-FFF2-40B4-BE49-F238E27FC236}">
                <a16:creationId xmlns:a16="http://schemas.microsoft.com/office/drawing/2014/main" id="{7609B201-E1B4-470E-893A-9778DD231965}"/>
              </a:ext>
            </a:extLst>
          </p:cNvPr>
          <p:cNvSpPr/>
          <p:nvPr/>
        </p:nvSpPr>
        <p:spPr bwMode="auto">
          <a:xfrm>
            <a:off x="8346551" y="6334814"/>
            <a:ext cx="1401414" cy="468290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32A0A0"/>
            </a:solidFill>
            <a:prstDash val="solid"/>
          </a:ln>
          <a:effectLst/>
        </p:spPr>
        <p:txBody>
          <a:bodyPr wrap="square" lIns="93357" tIns="46680" rIns="93357" bIns="46680" numCol="1" spcCol="143928" rtlCol="0" anchor="ctr">
            <a:noAutofit/>
          </a:bodyPr>
          <a:lstStyle/>
          <a:p>
            <a:pPr marL="0" marR="0" lvl="0" indent="0" algn="ctr" defTabSz="790551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65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gineering Systems</a:t>
            </a:r>
          </a:p>
        </p:txBody>
      </p:sp>
      <p:sp>
        <p:nvSpPr>
          <p:cNvPr id="811" name="Text Box 132">
            <a:extLst>
              <a:ext uri="{FF2B5EF4-FFF2-40B4-BE49-F238E27FC236}">
                <a16:creationId xmlns:a16="http://schemas.microsoft.com/office/drawing/2014/main" id="{D434CF0B-41AA-4928-8614-ED5087163A98}"/>
              </a:ext>
            </a:extLst>
          </p:cNvPr>
          <p:cNvSpPr txBox="1">
            <a:spLocks noChangeArrowheads="1"/>
          </p:cNvSpPr>
          <p:nvPr/>
        </p:nvSpPr>
        <p:spPr bwMode="auto">
          <a:xfrm rot="5400000">
            <a:off x="9501762" y="3835828"/>
            <a:ext cx="2892085" cy="184570"/>
          </a:xfrm>
          <a:prstGeom prst="rect">
            <a:avLst/>
          </a:prstGeom>
          <a:solidFill>
            <a:srgbClr val="00646E"/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ctr" defTabSz="9134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en-US" sz="1199" b="1" dirty="0">
                <a:solidFill>
                  <a:srgbClr val="FFFFFF"/>
                </a:solidFill>
                <a:cs typeface="Arial" charset="0"/>
              </a:rPr>
              <a:t>Best Practice Packs and Helper Tools</a:t>
            </a:r>
          </a:p>
        </p:txBody>
      </p:sp>
      <p:sp>
        <p:nvSpPr>
          <p:cNvPr id="812" name="Freeform 68">
            <a:extLst>
              <a:ext uri="{FF2B5EF4-FFF2-40B4-BE49-F238E27FC236}">
                <a16:creationId xmlns:a16="http://schemas.microsoft.com/office/drawing/2014/main" id="{070BE28D-F924-473F-B746-7E257774020B}"/>
              </a:ext>
            </a:extLst>
          </p:cNvPr>
          <p:cNvSpPr>
            <a:spLocks noEditPoints="1"/>
          </p:cNvSpPr>
          <p:nvPr/>
        </p:nvSpPr>
        <p:spPr bwMode="auto">
          <a:xfrm>
            <a:off x="4501045" y="3051456"/>
            <a:ext cx="153279" cy="298824"/>
          </a:xfrm>
          <a:custGeom>
            <a:avLst/>
            <a:gdLst>
              <a:gd name="T0" fmla="*/ 318 w 476"/>
              <a:gd name="T1" fmla="*/ 363 h 929"/>
              <a:gd name="T2" fmla="*/ 318 w 476"/>
              <a:gd name="T3" fmla="*/ 566 h 929"/>
              <a:gd name="T4" fmla="*/ 114 w 476"/>
              <a:gd name="T5" fmla="*/ 566 h 929"/>
              <a:gd name="T6" fmla="*/ 113 w 476"/>
              <a:gd name="T7" fmla="*/ 362 h 929"/>
              <a:gd name="T8" fmla="*/ 318 w 476"/>
              <a:gd name="T9" fmla="*/ 363 h 929"/>
              <a:gd name="T10" fmla="*/ 318 w 476"/>
              <a:gd name="T11" fmla="*/ 0 h 929"/>
              <a:gd name="T12" fmla="*/ 113 w 476"/>
              <a:gd name="T13" fmla="*/ 0 h 929"/>
              <a:gd name="T14" fmla="*/ 91 w 476"/>
              <a:gd name="T15" fmla="*/ 204 h 929"/>
              <a:gd name="T16" fmla="*/ 340 w 476"/>
              <a:gd name="T17" fmla="*/ 204 h 929"/>
              <a:gd name="T18" fmla="*/ 318 w 476"/>
              <a:gd name="T19" fmla="*/ 0 h 929"/>
              <a:gd name="T20" fmla="*/ 363 w 476"/>
              <a:gd name="T21" fmla="*/ 317 h 929"/>
              <a:gd name="T22" fmla="*/ 68 w 476"/>
              <a:gd name="T23" fmla="*/ 317 h 929"/>
              <a:gd name="T24" fmla="*/ 68 w 476"/>
              <a:gd name="T25" fmla="*/ 612 h 929"/>
              <a:gd name="T26" fmla="*/ 363 w 476"/>
              <a:gd name="T27" fmla="*/ 612 h 929"/>
              <a:gd name="T28" fmla="*/ 363 w 476"/>
              <a:gd name="T29" fmla="*/ 317 h 929"/>
              <a:gd name="T30" fmla="*/ 476 w 476"/>
              <a:gd name="T31" fmla="*/ 430 h 929"/>
              <a:gd name="T32" fmla="*/ 476 w 476"/>
              <a:gd name="T33" fmla="*/ 362 h 929"/>
              <a:gd name="T34" fmla="*/ 431 w 476"/>
              <a:gd name="T35" fmla="*/ 362 h 929"/>
              <a:gd name="T36" fmla="*/ 431 w 476"/>
              <a:gd name="T37" fmla="*/ 289 h 929"/>
              <a:gd name="T38" fmla="*/ 391 w 476"/>
              <a:gd name="T39" fmla="*/ 249 h 929"/>
              <a:gd name="T40" fmla="*/ 40 w 476"/>
              <a:gd name="T41" fmla="*/ 249 h 929"/>
              <a:gd name="T42" fmla="*/ 0 w 476"/>
              <a:gd name="T43" fmla="*/ 289 h 929"/>
              <a:gd name="T44" fmla="*/ 0 w 476"/>
              <a:gd name="T45" fmla="*/ 640 h 929"/>
              <a:gd name="T46" fmla="*/ 40 w 476"/>
              <a:gd name="T47" fmla="*/ 680 h 929"/>
              <a:gd name="T48" fmla="*/ 391 w 476"/>
              <a:gd name="T49" fmla="*/ 680 h 929"/>
              <a:gd name="T50" fmla="*/ 431 w 476"/>
              <a:gd name="T51" fmla="*/ 640 h 929"/>
              <a:gd name="T52" fmla="*/ 431 w 476"/>
              <a:gd name="T53" fmla="*/ 566 h 929"/>
              <a:gd name="T54" fmla="*/ 476 w 476"/>
              <a:gd name="T55" fmla="*/ 566 h 929"/>
              <a:gd name="T56" fmla="*/ 476 w 476"/>
              <a:gd name="T57" fmla="*/ 498 h 929"/>
              <a:gd name="T58" fmla="*/ 431 w 476"/>
              <a:gd name="T59" fmla="*/ 498 h 929"/>
              <a:gd name="T60" fmla="*/ 431 w 476"/>
              <a:gd name="T61" fmla="*/ 430 h 929"/>
              <a:gd name="T62" fmla="*/ 476 w 476"/>
              <a:gd name="T63" fmla="*/ 430 h 929"/>
              <a:gd name="T64" fmla="*/ 113 w 476"/>
              <a:gd name="T65" fmla="*/ 929 h 929"/>
              <a:gd name="T66" fmla="*/ 318 w 476"/>
              <a:gd name="T67" fmla="*/ 929 h 929"/>
              <a:gd name="T68" fmla="*/ 340 w 476"/>
              <a:gd name="T69" fmla="*/ 725 h 929"/>
              <a:gd name="T70" fmla="*/ 91 w 476"/>
              <a:gd name="T71" fmla="*/ 725 h 929"/>
              <a:gd name="T72" fmla="*/ 113 w 476"/>
              <a:gd name="T73" fmla="*/ 929 h 9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76" h="929">
                <a:moveTo>
                  <a:pt x="318" y="363"/>
                </a:moveTo>
                <a:cubicBezTo>
                  <a:pt x="318" y="566"/>
                  <a:pt x="318" y="566"/>
                  <a:pt x="318" y="566"/>
                </a:cubicBezTo>
                <a:cubicBezTo>
                  <a:pt x="114" y="566"/>
                  <a:pt x="114" y="566"/>
                  <a:pt x="114" y="566"/>
                </a:cubicBezTo>
                <a:cubicBezTo>
                  <a:pt x="113" y="362"/>
                  <a:pt x="113" y="362"/>
                  <a:pt x="113" y="362"/>
                </a:cubicBezTo>
                <a:lnTo>
                  <a:pt x="318" y="363"/>
                </a:lnTo>
                <a:close/>
                <a:moveTo>
                  <a:pt x="318" y="0"/>
                </a:moveTo>
                <a:cubicBezTo>
                  <a:pt x="113" y="0"/>
                  <a:pt x="113" y="0"/>
                  <a:pt x="113" y="0"/>
                </a:cubicBezTo>
                <a:cubicBezTo>
                  <a:pt x="91" y="204"/>
                  <a:pt x="91" y="204"/>
                  <a:pt x="91" y="204"/>
                </a:cubicBezTo>
                <a:cubicBezTo>
                  <a:pt x="340" y="204"/>
                  <a:pt x="340" y="204"/>
                  <a:pt x="340" y="204"/>
                </a:cubicBezTo>
                <a:lnTo>
                  <a:pt x="318" y="0"/>
                </a:lnTo>
                <a:close/>
                <a:moveTo>
                  <a:pt x="363" y="317"/>
                </a:moveTo>
                <a:cubicBezTo>
                  <a:pt x="68" y="317"/>
                  <a:pt x="68" y="317"/>
                  <a:pt x="68" y="317"/>
                </a:cubicBezTo>
                <a:cubicBezTo>
                  <a:pt x="68" y="612"/>
                  <a:pt x="68" y="612"/>
                  <a:pt x="68" y="612"/>
                </a:cubicBezTo>
                <a:cubicBezTo>
                  <a:pt x="363" y="612"/>
                  <a:pt x="363" y="612"/>
                  <a:pt x="363" y="612"/>
                </a:cubicBezTo>
                <a:cubicBezTo>
                  <a:pt x="363" y="317"/>
                  <a:pt x="363" y="317"/>
                  <a:pt x="363" y="317"/>
                </a:cubicBezTo>
                <a:moveTo>
                  <a:pt x="476" y="430"/>
                </a:moveTo>
                <a:cubicBezTo>
                  <a:pt x="476" y="362"/>
                  <a:pt x="476" y="362"/>
                  <a:pt x="476" y="362"/>
                </a:cubicBezTo>
                <a:cubicBezTo>
                  <a:pt x="431" y="362"/>
                  <a:pt x="431" y="362"/>
                  <a:pt x="431" y="362"/>
                </a:cubicBezTo>
                <a:cubicBezTo>
                  <a:pt x="431" y="289"/>
                  <a:pt x="431" y="289"/>
                  <a:pt x="431" y="289"/>
                </a:cubicBezTo>
                <a:cubicBezTo>
                  <a:pt x="431" y="267"/>
                  <a:pt x="413" y="249"/>
                  <a:pt x="391" y="249"/>
                </a:cubicBezTo>
                <a:cubicBezTo>
                  <a:pt x="40" y="249"/>
                  <a:pt x="40" y="249"/>
                  <a:pt x="40" y="249"/>
                </a:cubicBezTo>
                <a:cubicBezTo>
                  <a:pt x="18" y="249"/>
                  <a:pt x="0" y="267"/>
                  <a:pt x="0" y="289"/>
                </a:cubicBezTo>
                <a:cubicBezTo>
                  <a:pt x="0" y="640"/>
                  <a:pt x="0" y="640"/>
                  <a:pt x="0" y="640"/>
                </a:cubicBezTo>
                <a:cubicBezTo>
                  <a:pt x="0" y="662"/>
                  <a:pt x="18" y="680"/>
                  <a:pt x="40" y="680"/>
                </a:cubicBezTo>
                <a:cubicBezTo>
                  <a:pt x="391" y="680"/>
                  <a:pt x="391" y="680"/>
                  <a:pt x="391" y="680"/>
                </a:cubicBezTo>
                <a:cubicBezTo>
                  <a:pt x="413" y="680"/>
                  <a:pt x="431" y="662"/>
                  <a:pt x="431" y="640"/>
                </a:cubicBezTo>
                <a:cubicBezTo>
                  <a:pt x="431" y="566"/>
                  <a:pt x="431" y="566"/>
                  <a:pt x="431" y="566"/>
                </a:cubicBezTo>
                <a:cubicBezTo>
                  <a:pt x="476" y="566"/>
                  <a:pt x="476" y="566"/>
                  <a:pt x="476" y="566"/>
                </a:cubicBezTo>
                <a:cubicBezTo>
                  <a:pt x="476" y="498"/>
                  <a:pt x="476" y="498"/>
                  <a:pt x="476" y="498"/>
                </a:cubicBezTo>
                <a:cubicBezTo>
                  <a:pt x="431" y="498"/>
                  <a:pt x="431" y="498"/>
                  <a:pt x="431" y="498"/>
                </a:cubicBezTo>
                <a:cubicBezTo>
                  <a:pt x="431" y="430"/>
                  <a:pt x="431" y="430"/>
                  <a:pt x="431" y="430"/>
                </a:cubicBezTo>
                <a:lnTo>
                  <a:pt x="476" y="430"/>
                </a:lnTo>
                <a:close/>
                <a:moveTo>
                  <a:pt x="113" y="929"/>
                </a:moveTo>
                <a:cubicBezTo>
                  <a:pt x="318" y="929"/>
                  <a:pt x="318" y="929"/>
                  <a:pt x="318" y="929"/>
                </a:cubicBezTo>
                <a:cubicBezTo>
                  <a:pt x="340" y="725"/>
                  <a:pt x="340" y="725"/>
                  <a:pt x="340" y="725"/>
                </a:cubicBezTo>
                <a:cubicBezTo>
                  <a:pt x="91" y="725"/>
                  <a:pt x="91" y="725"/>
                  <a:pt x="91" y="725"/>
                </a:cubicBezTo>
                <a:lnTo>
                  <a:pt x="113" y="92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99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813" name="Freeform 152">
            <a:extLst>
              <a:ext uri="{FF2B5EF4-FFF2-40B4-BE49-F238E27FC236}">
                <a16:creationId xmlns:a16="http://schemas.microsoft.com/office/drawing/2014/main" id="{8514171B-AF73-4F0A-B046-1D860C66165F}"/>
              </a:ext>
            </a:extLst>
          </p:cNvPr>
          <p:cNvSpPr>
            <a:spLocks noEditPoints="1"/>
          </p:cNvSpPr>
          <p:nvPr/>
        </p:nvSpPr>
        <p:spPr bwMode="auto">
          <a:xfrm>
            <a:off x="4849659" y="3101581"/>
            <a:ext cx="421316" cy="200732"/>
          </a:xfrm>
          <a:custGeom>
            <a:avLst/>
            <a:gdLst>
              <a:gd name="T0" fmla="*/ 819 w 953"/>
              <a:gd name="T1" fmla="*/ 68 h 454"/>
              <a:gd name="T2" fmla="*/ 814 w 953"/>
              <a:gd name="T3" fmla="*/ 52 h 454"/>
              <a:gd name="T4" fmla="*/ 477 w 953"/>
              <a:gd name="T5" fmla="*/ 0 h 454"/>
              <a:gd name="T6" fmla="*/ 139 w 953"/>
              <a:gd name="T7" fmla="*/ 52 h 454"/>
              <a:gd name="T8" fmla="*/ 134 w 953"/>
              <a:gd name="T9" fmla="*/ 68 h 454"/>
              <a:gd name="T10" fmla="*/ 0 w 953"/>
              <a:gd name="T11" fmla="*/ 91 h 454"/>
              <a:gd name="T12" fmla="*/ 23 w 953"/>
              <a:gd name="T13" fmla="*/ 250 h 454"/>
              <a:gd name="T14" fmla="*/ 68 w 953"/>
              <a:gd name="T15" fmla="*/ 295 h 454"/>
              <a:gd name="T16" fmla="*/ 275 w 953"/>
              <a:gd name="T17" fmla="*/ 446 h 454"/>
              <a:gd name="T18" fmla="*/ 276 w 953"/>
              <a:gd name="T19" fmla="*/ 446 h 454"/>
              <a:gd name="T20" fmla="*/ 477 w 953"/>
              <a:gd name="T21" fmla="*/ 386 h 454"/>
              <a:gd name="T22" fmla="*/ 677 w 953"/>
              <a:gd name="T23" fmla="*/ 446 h 454"/>
              <a:gd name="T24" fmla="*/ 678 w 953"/>
              <a:gd name="T25" fmla="*/ 446 h 454"/>
              <a:gd name="T26" fmla="*/ 885 w 953"/>
              <a:gd name="T27" fmla="*/ 295 h 454"/>
              <a:gd name="T28" fmla="*/ 930 w 953"/>
              <a:gd name="T29" fmla="*/ 250 h 454"/>
              <a:gd name="T30" fmla="*/ 953 w 953"/>
              <a:gd name="T31" fmla="*/ 227 h 454"/>
              <a:gd name="T32" fmla="*/ 930 w 953"/>
              <a:gd name="T33" fmla="*/ 68 h 454"/>
              <a:gd name="T34" fmla="*/ 46 w 953"/>
              <a:gd name="T35" fmla="*/ 204 h 454"/>
              <a:gd name="T36" fmla="*/ 119 w 953"/>
              <a:gd name="T37" fmla="*/ 114 h 454"/>
              <a:gd name="T38" fmla="*/ 561 w 953"/>
              <a:gd name="T39" fmla="*/ 107 h 454"/>
              <a:gd name="T40" fmla="*/ 409 w 953"/>
              <a:gd name="T41" fmla="*/ 114 h 454"/>
              <a:gd name="T42" fmla="*/ 393 w 953"/>
              <a:gd name="T43" fmla="*/ 75 h 454"/>
              <a:gd name="T44" fmla="*/ 545 w 953"/>
              <a:gd name="T45" fmla="*/ 68 h 454"/>
              <a:gd name="T46" fmla="*/ 561 w 953"/>
              <a:gd name="T47" fmla="*/ 107 h 454"/>
              <a:gd name="T48" fmla="*/ 635 w 953"/>
              <a:gd name="T49" fmla="*/ 386 h 454"/>
              <a:gd name="T50" fmla="*/ 619 w 953"/>
              <a:gd name="T51" fmla="*/ 347 h 454"/>
              <a:gd name="T52" fmla="*/ 810 w 953"/>
              <a:gd name="T53" fmla="*/ 188 h 454"/>
              <a:gd name="T54" fmla="*/ 651 w 953"/>
              <a:gd name="T55" fmla="*/ 379 h 454"/>
              <a:gd name="T56" fmla="*/ 742 w 953"/>
              <a:gd name="T57" fmla="*/ 402 h 454"/>
              <a:gd name="T58" fmla="*/ 710 w 953"/>
              <a:gd name="T59" fmla="*/ 402 h 454"/>
              <a:gd name="T60" fmla="*/ 801 w 953"/>
              <a:gd name="T61" fmla="*/ 279 h 454"/>
              <a:gd name="T62" fmla="*/ 833 w 953"/>
              <a:gd name="T63" fmla="*/ 311 h 454"/>
              <a:gd name="T64" fmla="*/ 864 w 953"/>
              <a:gd name="T65" fmla="*/ 204 h 454"/>
              <a:gd name="T66" fmla="*/ 908 w 953"/>
              <a:gd name="T67" fmla="*/ 114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953" h="454">
                <a:moveTo>
                  <a:pt x="930" y="68"/>
                </a:moveTo>
                <a:cubicBezTo>
                  <a:pt x="819" y="68"/>
                  <a:pt x="819" y="68"/>
                  <a:pt x="819" y="68"/>
                </a:cubicBezTo>
                <a:cubicBezTo>
                  <a:pt x="815" y="56"/>
                  <a:pt x="815" y="56"/>
                  <a:pt x="815" y="56"/>
                </a:cubicBezTo>
                <a:cubicBezTo>
                  <a:pt x="814" y="52"/>
                  <a:pt x="814" y="52"/>
                  <a:pt x="814" y="52"/>
                </a:cubicBezTo>
                <a:cubicBezTo>
                  <a:pt x="807" y="35"/>
                  <a:pt x="791" y="23"/>
                  <a:pt x="771" y="23"/>
                </a:cubicBezTo>
                <a:cubicBezTo>
                  <a:pt x="477" y="0"/>
                  <a:pt x="477" y="0"/>
                  <a:pt x="477" y="0"/>
                </a:cubicBezTo>
                <a:cubicBezTo>
                  <a:pt x="182" y="23"/>
                  <a:pt x="182" y="23"/>
                  <a:pt x="182" y="23"/>
                </a:cubicBezTo>
                <a:cubicBezTo>
                  <a:pt x="162" y="23"/>
                  <a:pt x="146" y="35"/>
                  <a:pt x="139" y="52"/>
                </a:cubicBezTo>
                <a:cubicBezTo>
                  <a:pt x="138" y="56"/>
                  <a:pt x="138" y="56"/>
                  <a:pt x="138" y="56"/>
                </a:cubicBezTo>
                <a:cubicBezTo>
                  <a:pt x="134" y="68"/>
                  <a:pt x="134" y="68"/>
                  <a:pt x="134" y="68"/>
                </a:cubicBezTo>
                <a:cubicBezTo>
                  <a:pt x="23" y="68"/>
                  <a:pt x="23" y="68"/>
                  <a:pt x="23" y="68"/>
                </a:cubicBezTo>
                <a:cubicBezTo>
                  <a:pt x="11" y="68"/>
                  <a:pt x="0" y="78"/>
                  <a:pt x="0" y="91"/>
                </a:cubicBezTo>
                <a:cubicBezTo>
                  <a:pt x="0" y="227"/>
                  <a:pt x="0" y="227"/>
                  <a:pt x="0" y="227"/>
                </a:cubicBezTo>
                <a:cubicBezTo>
                  <a:pt x="0" y="240"/>
                  <a:pt x="11" y="250"/>
                  <a:pt x="23" y="250"/>
                </a:cubicBezTo>
                <a:cubicBezTo>
                  <a:pt x="75" y="250"/>
                  <a:pt x="75" y="250"/>
                  <a:pt x="75" y="250"/>
                </a:cubicBezTo>
                <a:cubicBezTo>
                  <a:pt x="71" y="264"/>
                  <a:pt x="68" y="279"/>
                  <a:pt x="68" y="295"/>
                </a:cubicBezTo>
                <a:cubicBezTo>
                  <a:pt x="68" y="383"/>
                  <a:pt x="140" y="454"/>
                  <a:pt x="227" y="454"/>
                </a:cubicBezTo>
                <a:cubicBezTo>
                  <a:pt x="244" y="454"/>
                  <a:pt x="260" y="451"/>
                  <a:pt x="275" y="446"/>
                </a:cubicBezTo>
                <a:cubicBezTo>
                  <a:pt x="276" y="446"/>
                  <a:pt x="276" y="446"/>
                  <a:pt x="276" y="446"/>
                </a:cubicBezTo>
                <a:cubicBezTo>
                  <a:pt x="276" y="446"/>
                  <a:pt x="276" y="446"/>
                  <a:pt x="276" y="446"/>
                </a:cubicBezTo>
                <a:cubicBezTo>
                  <a:pt x="417" y="404"/>
                  <a:pt x="417" y="404"/>
                  <a:pt x="417" y="404"/>
                </a:cubicBezTo>
                <a:cubicBezTo>
                  <a:pt x="477" y="386"/>
                  <a:pt x="477" y="386"/>
                  <a:pt x="477" y="386"/>
                </a:cubicBezTo>
                <a:cubicBezTo>
                  <a:pt x="536" y="404"/>
                  <a:pt x="536" y="404"/>
                  <a:pt x="536" y="404"/>
                </a:cubicBezTo>
                <a:cubicBezTo>
                  <a:pt x="677" y="446"/>
                  <a:pt x="677" y="446"/>
                  <a:pt x="677" y="446"/>
                </a:cubicBezTo>
                <a:cubicBezTo>
                  <a:pt x="677" y="446"/>
                  <a:pt x="677" y="446"/>
                  <a:pt x="677" y="446"/>
                </a:cubicBezTo>
                <a:cubicBezTo>
                  <a:pt x="678" y="446"/>
                  <a:pt x="678" y="446"/>
                  <a:pt x="678" y="446"/>
                </a:cubicBezTo>
                <a:cubicBezTo>
                  <a:pt x="693" y="451"/>
                  <a:pt x="709" y="454"/>
                  <a:pt x="726" y="454"/>
                </a:cubicBezTo>
                <a:cubicBezTo>
                  <a:pt x="814" y="454"/>
                  <a:pt x="885" y="383"/>
                  <a:pt x="885" y="295"/>
                </a:cubicBezTo>
                <a:cubicBezTo>
                  <a:pt x="885" y="279"/>
                  <a:pt x="883" y="264"/>
                  <a:pt x="878" y="250"/>
                </a:cubicBezTo>
                <a:cubicBezTo>
                  <a:pt x="930" y="250"/>
                  <a:pt x="930" y="250"/>
                  <a:pt x="930" y="250"/>
                </a:cubicBezTo>
                <a:cubicBezTo>
                  <a:pt x="936" y="250"/>
                  <a:pt x="942" y="247"/>
                  <a:pt x="946" y="243"/>
                </a:cubicBezTo>
                <a:cubicBezTo>
                  <a:pt x="950" y="239"/>
                  <a:pt x="953" y="233"/>
                  <a:pt x="953" y="227"/>
                </a:cubicBezTo>
                <a:cubicBezTo>
                  <a:pt x="953" y="91"/>
                  <a:pt x="953" y="91"/>
                  <a:pt x="953" y="91"/>
                </a:cubicBezTo>
                <a:cubicBezTo>
                  <a:pt x="953" y="78"/>
                  <a:pt x="943" y="68"/>
                  <a:pt x="930" y="68"/>
                </a:cubicBezTo>
                <a:close/>
                <a:moveTo>
                  <a:pt x="90" y="204"/>
                </a:moveTo>
                <a:cubicBezTo>
                  <a:pt x="46" y="204"/>
                  <a:pt x="46" y="204"/>
                  <a:pt x="46" y="204"/>
                </a:cubicBezTo>
                <a:cubicBezTo>
                  <a:pt x="46" y="114"/>
                  <a:pt x="46" y="114"/>
                  <a:pt x="46" y="114"/>
                </a:cubicBezTo>
                <a:cubicBezTo>
                  <a:pt x="119" y="114"/>
                  <a:pt x="119" y="114"/>
                  <a:pt x="119" y="114"/>
                </a:cubicBezTo>
                <a:lnTo>
                  <a:pt x="90" y="204"/>
                </a:lnTo>
                <a:close/>
                <a:moveTo>
                  <a:pt x="561" y="107"/>
                </a:moveTo>
                <a:cubicBezTo>
                  <a:pt x="557" y="111"/>
                  <a:pt x="551" y="114"/>
                  <a:pt x="545" y="114"/>
                </a:cubicBezTo>
                <a:cubicBezTo>
                  <a:pt x="409" y="114"/>
                  <a:pt x="409" y="114"/>
                  <a:pt x="409" y="114"/>
                </a:cubicBezTo>
                <a:cubicBezTo>
                  <a:pt x="396" y="114"/>
                  <a:pt x="386" y="104"/>
                  <a:pt x="386" y="91"/>
                </a:cubicBezTo>
                <a:cubicBezTo>
                  <a:pt x="386" y="85"/>
                  <a:pt x="388" y="79"/>
                  <a:pt x="393" y="75"/>
                </a:cubicBezTo>
                <a:cubicBezTo>
                  <a:pt x="397" y="71"/>
                  <a:pt x="402" y="68"/>
                  <a:pt x="409" y="68"/>
                </a:cubicBezTo>
                <a:cubicBezTo>
                  <a:pt x="545" y="68"/>
                  <a:pt x="545" y="68"/>
                  <a:pt x="545" y="68"/>
                </a:cubicBezTo>
                <a:cubicBezTo>
                  <a:pt x="557" y="68"/>
                  <a:pt x="567" y="78"/>
                  <a:pt x="567" y="91"/>
                </a:cubicBezTo>
                <a:cubicBezTo>
                  <a:pt x="567" y="97"/>
                  <a:pt x="565" y="103"/>
                  <a:pt x="561" y="107"/>
                </a:cubicBezTo>
                <a:close/>
                <a:moveTo>
                  <a:pt x="651" y="379"/>
                </a:moveTo>
                <a:cubicBezTo>
                  <a:pt x="647" y="384"/>
                  <a:pt x="641" y="386"/>
                  <a:pt x="635" y="386"/>
                </a:cubicBezTo>
                <a:cubicBezTo>
                  <a:pt x="630" y="386"/>
                  <a:pt x="624" y="384"/>
                  <a:pt x="619" y="379"/>
                </a:cubicBezTo>
                <a:cubicBezTo>
                  <a:pt x="610" y="370"/>
                  <a:pt x="610" y="356"/>
                  <a:pt x="619" y="347"/>
                </a:cubicBezTo>
                <a:cubicBezTo>
                  <a:pt x="778" y="188"/>
                  <a:pt x="778" y="188"/>
                  <a:pt x="778" y="188"/>
                </a:cubicBezTo>
                <a:cubicBezTo>
                  <a:pt x="787" y="179"/>
                  <a:pt x="801" y="179"/>
                  <a:pt x="810" y="188"/>
                </a:cubicBezTo>
                <a:cubicBezTo>
                  <a:pt x="819" y="197"/>
                  <a:pt x="819" y="212"/>
                  <a:pt x="810" y="220"/>
                </a:cubicBezTo>
                <a:lnTo>
                  <a:pt x="651" y="379"/>
                </a:lnTo>
                <a:close/>
                <a:moveTo>
                  <a:pt x="833" y="311"/>
                </a:moveTo>
                <a:cubicBezTo>
                  <a:pt x="742" y="402"/>
                  <a:pt x="742" y="402"/>
                  <a:pt x="742" y="402"/>
                </a:cubicBezTo>
                <a:cubicBezTo>
                  <a:pt x="738" y="406"/>
                  <a:pt x="732" y="408"/>
                  <a:pt x="726" y="408"/>
                </a:cubicBezTo>
                <a:cubicBezTo>
                  <a:pt x="720" y="408"/>
                  <a:pt x="714" y="406"/>
                  <a:pt x="710" y="402"/>
                </a:cubicBezTo>
                <a:cubicBezTo>
                  <a:pt x="701" y="393"/>
                  <a:pt x="701" y="379"/>
                  <a:pt x="710" y="370"/>
                </a:cubicBezTo>
                <a:cubicBezTo>
                  <a:pt x="801" y="279"/>
                  <a:pt x="801" y="279"/>
                  <a:pt x="801" y="279"/>
                </a:cubicBezTo>
                <a:cubicBezTo>
                  <a:pt x="810" y="270"/>
                  <a:pt x="824" y="270"/>
                  <a:pt x="833" y="279"/>
                </a:cubicBezTo>
                <a:cubicBezTo>
                  <a:pt x="842" y="288"/>
                  <a:pt x="842" y="302"/>
                  <a:pt x="833" y="311"/>
                </a:cubicBezTo>
                <a:close/>
                <a:moveTo>
                  <a:pt x="908" y="204"/>
                </a:moveTo>
                <a:cubicBezTo>
                  <a:pt x="864" y="204"/>
                  <a:pt x="864" y="204"/>
                  <a:pt x="864" y="204"/>
                </a:cubicBezTo>
                <a:cubicBezTo>
                  <a:pt x="834" y="114"/>
                  <a:pt x="834" y="114"/>
                  <a:pt x="834" y="114"/>
                </a:cubicBezTo>
                <a:cubicBezTo>
                  <a:pt x="908" y="114"/>
                  <a:pt x="908" y="114"/>
                  <a:pt x="908" y="114"/>
                </a:cubicBezTo>
                <a:lnTo>
                  <a:pt x="908" y="204"/>
                </a:lnTo>
                <a:close/>
              </a:path>
            </a:pathLst>
          </a:custGeom>
          <a:solidFill>
            <a:srgbClr val="FFFFFF"/>
          </a:solidFill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9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814" name="Freeform 85">
            <a:extLst>
              <a:ext uri="{FF2B5EF4-FFF2-40B4-BE49-F238E27FC236}">
                <a16:creationId xmlns:a16="http://schemas.microsoft.com/office/drawing/2014/main" id="{34E4E124-3F4C-492A-BCFE-123B2793DDFF}"/>
              </a:ext>
            </a:extLst>
          </p:cNvPr>
          <p:cNvSpPr>
            <a:spLocks noEditPoints="1"/>
          </p:cNvSpPr>
          <p:nvPr/>
        </p:nvSpPr>
        <p:spPr bwMode="auto">
          <a:xfrm>
            <a:off x="6409961" y="5695820"/>
            <a:ext cx="394515" cy="254682"/>
          </a:xfrm>
          <a:custGeom>
            <a:avLst/>
            <a:gdLst>
              <a:gd name="T0" fmla="*/ 805 w 996"/>
              <a:gd name="T1" fmla="*/ 240 h 643"/>
              <a:gd name="T2" fmla="*/ 555 w 996"/>
              <a:gd name="T3" fmla="*/ 8 h 643"/>
              <a:gd name="T4" fmla="*/ 307 w 996"/>
              <a:gd name="T5" fmla="*/ 178 h 643"/>
              <a:gd name="T6" fmla="*/ 117 w 996"/>
              <a:gd name="T7" fmla="*/ 361 h 643"/>
              <a:gd name="T8" fmla="*/ 0 w 996"/>
              <a:gd name="T9" fmla="*/ 490 h 643"/>
              <a:gd name="T10" fmla="*/ 134 w 996"/>
              <a:gd name="T11" fmla="*/ 643 h 643"/>
              <a:gd name="T12" fmla="*/ 793 w 996"/>
              <a:gd name="T13" fmla="*/ 643 h 643"/>
              <a:gd name="T14" fmla="*/ 989 w 996"/>
              <a:gd name="T15" fmla="*/ 455 h 643"/>
              <a:gd name="T16" fmla="*/ 805 w 996"/>
              <a:gd name="T17" fmla="*/ 240 h 643"/>
              <a:gd name="T18" fmla="*/ 330 w 996"/>
              <a:gd name="T19" fmla="*/ 598 h 643"/>
              <a:gd name="T20" fmla="*/ 286 w 996"/>
              <a:gd name="T21" fmla="*/ 598 h 643"/>
              <a:gd name="T22" fmla="*/ 286 w 996"/>
              <a:gd name="T23" fmla="*/ 510 h 643"/>
              <a:gd name="T24" fmla="*/ 243 w 996"/>
              <a:gd name="T25" fmla="*/ 468 h 643"/>
              <a:gd name="T26" fmla="*/ 223 w 996"/>
              <a:gd name="T27" fmla="*/ 473 h 643"/>
              <a:gd name="T28" fmla="*/ 172 w 996"/>
              <a:gd name="T29" fmla="*/ 422 h 643"/>
              <a:gd name="T30" fmla="*/ 223 w 996"/>
              <a:gd name="T31" fmla="*/ 371 h 643"/>
              <a:gd name="T32" fmla="*/ 274 w 996"/>
              <a:gd name="T33" fmla="*/ 422 h 643"/>
              <a:gd name="T34" fmla="*/ 271 w 996"/>
              <a:gd name="T35" fmla="*/ 437 h 643"/>
              <a:gd name="T36" fmla="*/ 273 w 996"/>
              <a:gd name="T37" fmla="*/ 436 h 643"/>
              <a:gd name="T38" fmla="*/ 330 w 996"/>
              <a:gd name="T39" fmla="*/ 491 h 643"/>
              <a:gd name="T40" fmla="*/ 330 w 996"/>
              <a:gd name="T41" fmla="*/ 598 h 643"/>
              <a:gd name="T42" fmla="*/ 421 w 996"/>
              <a:gd name="T43" fmla="*/ 434 h 643"/>
              <a:gd name="T44" fmla="*/ 421 w 996"/>
              <a:gd name="T45" fmla="*/ 598 h 643"/>
              <a:gd name="T46" fmla="*/ 377 w 996"/>
              <a:gd name="T47" fmla="*/ 598 h 643"/>
              <a:gd name="T48" fmla="*/ 377 w 996"/>
              <a:gd name="T49" fmla="*/ 434 h 643"/>
              <a:gd name="T50" fmla="*/ 348 w 996"/>
              <a:gd name="T51" fmla="*/ 388 h 643"/>
              <a:gd name="T52" fmla="*/ 399 w 996"/>
              <a:gd name="T53" fmla="*/ 338 h 643"/>
              <a:gd name="T54" fmla="*/ 450 w 996"/>
              <a:gd name="T55" fmla="*/ 388 h 643"/>
              <a:gd name="T56" fmla="*/ 421 w 996"/>
              <a:gd name="T57" fmla="*/ 434 h 643"/>
              <a:gd name="T58" fmla="*/ 534 w 996"/>
              <a:gd name="T59" fmla="*/ 598 h 643"/>
              <a:gd name="T60" fmla="*/ 490 w 996"/>
              <a:gd name="T61" fmla="*/ 598 h 643"/>
              <a:gd name="T62" fmla="*/ 490 w 996"/>
              <a:gd name="T63" fmla="*/ 326 h 643"/>
              <a:gd name="T64" fmla="*/ 566 w 996"/>
              <a:gd name="T65" fmla="*/ 255 h 643"/>
              <a:gd name="T66" fmla="*/ 563 w 996"/>
              <a:gd name="T67" fmla="*/ 240 h 643"/>
              <a:gd name="T68" fmla="*/ 614 w 996"/>
              <a:gd name="T69" fmla="*/ 189 h 643"/>
              <a:gd name="T70" fmla="*/ 665 w 996"/>
              <a:gd name="T71" fmla="*/ 240 h 643"/>
              <a:gd name="T72" fmla="*/ 614 w 996"/>
              <a:gd name="T73" fmla="*/ 291 h 643"/>
              <a:gd name="T74" fmla="*/ 596 w 996"/>
              <a:gd name="T75" fmla="*/ 287 h 643"/>
              <a:gd name="T76" fmla="*/ 534 w 996"/>
              <a:gd name="T77" fmla="*/ 345 h 643"/>
              <a:gd name="T78" fmla="*/ 534 w 996"/>
              <a:gd name="T79" fmla="*/ 598 h 643"/>
              <a:gd name="T80" fmla="*/ 635 w 996"/>
              <a:gd name="T81" fmla="*/ 480 h 643"/>
              <a:gd name="T82" fmla="*/ 635 w 996"/>
              <a:gd name="T83" fmla="*/ 598 h 643"/>
              <a:gd name="T84" fmla="*/ 591 w 996"/>
              <a:gd name="T85" fmla="*/ 598 h 643"/>
              <a:gd name="T86" fmla="*/ 591 w 996"/>
              <a:gd name="T87" fmla="*/ 472 h 643"/>
              <a:gd name="T88" fmla="*/ 615 w 996"/>
              <a:gd name="T89" fmla="*/ 409 h 643"/>
              <a:gd name="T90" fmla="*/ 603 w 996"/>
              <a:gd name="T91" fmla="*/ 376 h 643"/>
              <a:gd name="T92" fmla="*/ 654 w 996"/>
              <a:gd name="T93" fmla="*/ 326 h 643"/>
              <a:gd name="T94" fmla="*/ 705 w 996"/>
              <a:gd name="T95" fmla="*/ 376 h 643"/>
              <a:gd name="T96" fmla="*/ 655 w 996"/>
              <a:gd name="T97" fmla="*/ 427 h 643"/>
              <a:gd name="T98" fmla="*/ 635 w 996"/>
              <a:gd name="T99" fmla="*/ 480 h 643"/>
              <a:gd name="T100" fmla="*/ 761 w 996"/>
              <a:gd name="T101" fmla="*/ 536 h 643"/>
              <a:gd name="T102" fmla="*/ 761 w 996"/>
              <a:gd name="T103" fmla="*/ 598 h 643"/>
              <a:gd name="T104" fmla="*/ 717 w 996"/>
              <a:gd name="T105" fmla="*/ 598 h 643"/>
              <a:gd name="T106" fmla="*/ 717 w 996"/>
              <a:gd name="T107" fmla="*/ 536 h 643"/>
              <a:gd name="T108" fmla="*/ 688 w 996"/>
              <a:gd name="T109" fmla="*/ 490 h 643"/>
              <a:gd name="T110" fmla="*/ 739 w 996"/>
              <a:gd name="T111" fmla="*/ 440 h 643"/>
              <a:gd name="T112" fmla="*/ 790 w 996"/>
              <a:gd name="T113" fmla="*/ 490 h 643"/>
              <a:gd name="T114" fmla="*/ 761 w 996"/>
              <a:gd name="T115" fmla="*/ 536 h 6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996" h="643">
                <a:moveTo>
                  <a:pt x="805" y="240"/>
                </a:moveTo>
                <a:cubicBezTo>
                  <a:pt x="761" y="0"/>
                  <a:pt x="555" y="8"/>
                  <a:pt x="555" y="8"/>
                </a:cubicBezTo>
                <a:cubicBezTo>
                  <a:pt x="363" y="8"/>
                  <a:pt x="307" y="178"/>
                  <a:pt x="307" y="178"/>
                </a:cubicBezTo>
                <a:cubicBezTo>
                  <a:pt x="108" y="178"/>
                  <a:pt x="117" y="361"/>
                  <a:pt x="117" y="361"/>
                </a:cubicBezTo>
                <a:cubicBezTo>
                  <a:pt x="0" y="380"/>
                  <a:pt x="0" y="490"/>
                  <a:pt x="0" y="490"/>
                </a:cubicBezTo>
                <a:cubicBezTo>
                  <a:pt x="0" y="636"/>
                  <a:pt x="134" y="643"/>
                  <a:pt x="134" y="643"/>
                </a:cubicBezTo>
                <a:cubicBezTo>
                  <a:pt x="793" y="643"/>
                  <a:pt x="793" y="643"/>
                  <a:pt x="793" y="643"/>
                </a:cubicBezTo>
                <a:cubicBezTo>
                  <a:pt x="989" y="637"/>
                  <a:pt x="989" y="455"/>
                  <a:pt x="989" y="455"/>
                </a:cubicBezTo>
                <a:cubicBezTo>
                  <a:pt x="996" y="248"/>
                  <a:pt x="805" y="240"/>
                  <a:pt x="805" y="240"/>
                </a:cubicBezTo>
                <a:close/>
                <a:moveTo>
                  <a:pt x="330" y="598"/>
                </a:moveTo>
                <a:cubicBezTo>
                  <a:pt x="286" y="598"/>
                  <a:pt x="286" y="598"/>
                  <a:pt x="286" y="598"/>
                </a:cubicBezTo>
                <a:cubicBezTo>
                  <a:pt x="286" y="510"/>
                  <a:pt x="286" y="510"/>
                  <a:pt x="286" y="510"/>
                </a:cubicBezTo>
                <a:cubicBezTo>
                  <a:pt x="243" y="468"/>
                  <a:pt x="243" y="468"/>
                  <a:pt x="243" y="468"/>
                </a:cubicBezTo>
                <a:cubicBezTo>
                  <a:pt x="237" y="471"/>
                  <a:pt x="230" y="473"/>
                  <a:pt x="223" y="473"/>
                </a:cubicBezTo>
                <a:cubicBezTo>
                  <a:pt x="195" y="473"/>
                  <a:pt x="172" y="450"/>
                  <a:pt x="172" y="422"/>
                </a:cubicBezTo>
                <a:cubicBezTo>
                  <a:pt x="172" y="394"/>
                  <a:pt x="195" y="371"/>
                  <a:pt x="223" y="371"/>
                </a:cubicBezTo>
                <a:cubicBezTo>
                  <a:pt x="251" y="371"/>
                  <a:pt x="274" y="394"/>
                  <a:pt x="274" y="422"/>
                </a:cubicBezTo>
                <a:cubicBezTo>
                  <a:pt x="274" y="427"/>
                  <a:pt x="273" y="432"/>
                  <a:pt x="271" y="437"/>
                </a:cubicBezTo>
                <a:cubicBezTo>
                  <a:pt x="273" y="436"/>
                  <a:pt x="273" y="436"/>
                  <a:pt x="273" y="436"/>
                </a:cubicBezTo>
                <a:cubicBezTo>
                  <a:pt x="330" y="491"/>
                  <a:pt x="330" y="491"/>
                  <a:pt x="330" y="491"/>
                </a:cubicBezTo>
                <a:lnTo>
                  <a:pt x="330" y="598"/>
                </a:lnTo>
                <a:close/>
                <a:moveTo>
                  <a:pt x="421" y="434"/>
                </a:moveTo>
                <a:cubicBezTo>
                  <a:pt x="421" y="598"/>
                  <a:pt x="421" y="598"/>
                  <a:pt x="421" y="598"/>
                </a:cubicBezTo>
                <a:cubicBezTo>
                  <a:pt x="377" y="598"/>
                  <a:pt x="377" y="598"/>
                  <a:pt x="377" y="598"/>
                </a:cubicBezTo>
                <a:cubicBezTo>
                  <a:pt x="377" y="434"/>
                  <a:pt x="377" y="434"/>
                  <a:pt x="377" y="434"/>
                </a:cubicBezTo>
                <a:cubicBezTo>
                  <a:pt x="360" y="426"/>
                  <a:pt x="348" y="408"/>
                  <a:pt x="348" y="388"/>
                </a:cubicBezTo>
                <a:cubicBezTo>
                  <a:pt x="348" y="360"/>
                  <a:pt x="371" y="338"/>
                  <a:pt x="399" y="338"/>
                </a:cubicBezTo>
                <a:cubicBezTo>
                  <a:pt x="427" y="338"/>
                  <a:pt x="450" y="360"/>
                  <a:pt x="450" y="388"/>
                </a:cubicBezTo>
                <a:cubicBezTo>
                  <a:pt x="450" y="408"/>
                  <a:pt x="438" y="426"/>
                  <a:pt x="421" y="434"/>
                </a:cubicBezTo>
                <a:close/>
                <a:moveTo>
                  <a:pt x="534" y="598"/>
                </a:moveTo>
                <a:cubicBezTo>
                  <a:pt x="490" y="598"/>
                  <a:pt x="490" y="598"/>
                  <a:pt x="490" y="598"/>
                </a:cubicBezTo>
                <a:cubicBezTo>
                  <a:pt x="490" y="326"/>
                  <a:pt x="490" y="326"/>
                  <a:pt x="490" y="326"/>
                </a:cubicBezTo>
                <a:cubicBezTo>
                  <a:pt x="566" y="255"/>
                  <a:pt x="566" y="255"/>
                  <a:pt x="566" y="255"/>
                </a:cubicBezTo>
                <a:cubicBezTo>
                  <a:pt x="564" y="250"/>
                  <a:pt x="563" y="245"/>
                  <a:pt x="563" y="240"/>
                </a:cubicBezTo>
                <a:cubicBezTo>
                  <a:pt x="563" y="212"/>
                  <a:pt x="586" y="189"/>
                  <a:pt x="614" y="189"/>
                </a:cubicBezTo>
                <a:cubicBezTo>
                  <a:pt x="642" y="189"/>
                  <a:pt x="665" y="212"/>
                  <a:pt x="665" y="240"/>
                </a:cubicBezTo>
                <a:cubicBezTo>
                  <a:pt x="665" y="268"/>
                  <a:pt x="642" y="291"/>
                  <a:pt x="614" y="291"/>
                </a:cubicBezTo>
                <a:cubicBezTo>
                  <a:pt x="608" y="291"/>
                  <a:pt x="601" y="289"/>
                  <a:pt x="596" y="287"/>
                </a:cubicBezTo>
                <a:cubicBezTo>
                  <a:pt x="534" y="345"/>
                  <a:pt x="534" y="345"/>
                  <a:pt x="534" y="345"/>
                </a:cubicBezTo>
                <a:lnTo>
                  <a:pt x="534" y="598"/>
                </a:lnTo>
                <a:close/>
                <a:moveTo>
                  <a:pt x="635" y="480"/>
                </a:moveTo>
                <a:cubicBezTo>
                  <a:pt x="635" y="598"/>
                  <a:pt x="635" y="598"/>
                  <a:pt x="635" y="598"/>
                </a:cubicBezTo>
                <a:cubicBezTo>
                  <a:pt x="591" y="598"/>
                  <a:pt x="591" y="598"/>
                  <a:pt x="591" y="598"/>
                </a:cubicBezTo>
                <a:cubicBezTo>
                  <a:pt x="591" y="472"/>
                  <a:pt x="591" y="472"/>
                  <a:pt x="591" y="472"/>
                </a:cubicBezTo>
                <a:cubicBezTo>
                  <a:pt x="615" y="409"/>
                  <a:pt x="615" y="409"/>
                  <a:pt x="615" y="409"/>
                </a:cubicBezTo>
                <a:cubicBezTo>
                  <a:pt x="607" y="400"/>
                  <a:pt x="603" y="389"/>
                  <a:pt x="603" y="376"/>
                </a:cubicBezTo>
                <a:cubicBezTo>
                  <a:pt x="603" y="348"/>
                  <a:pt x="626" y="326"/>
                  <a:pt x="654" y="326"/>
                </a:cubicBezTo>
                <a:cubicBezTo>
                  <a:pt x="682" y="326"/>
                  <a:pt x="705" y="348"/>
                  <a:pt x="705" y="376"/>
                </a:cubicBezTo>
                <a:cubicBezTo>
                  <a:pt x="705" y="404"/>
                  <a:pt x="682" y="427"/>
                  <a:pt x="655" y="427"/>
                </a:cubicBezTo>
                <a:lnTo>
                  <a:pt x="635" y="480"/>
                </a:lnTo>
                <a:close/>
                <a:moveTo>
                  <a:pt x="761" y="536"/>
                </a:moveTo>
                <a:cubicBezTo>
                  <a:pt x="761" y="598"/>
                  <a:pt x="761" y="598"/>
                  <a:pt x="761" y="598"/>
                </a:cubicBezTo>
                <a:cubicBezTo>
                  <a:pt x="717" y="598"/>
                  <a:pt x="717" y="598"/>
                  <a:pt x="717" y="598"/>
                </a:cubicBezTo>
                <a:cubicBezTo>
                  <a:pt x="717" y="536"/>
                  <a:pt x="717" y="536"/>
                  <a:pt x="717" y="536"/>
                </a:cubicBezTo>
                <a:cubicBezTo>
                  <a:pt x="700" y="528"/>
                  <a:pt x="688" y="511"/>
                  <a:pt x="688" y="490"/>
                </a:cubicBezTo>
                <a:cubicBezTo>
                  <a:pt x="688" y="462"/>
                  <a:pt x="711" y="440"/>
                  <a:pt x="739" y="440"/>
                </a:cubicBezTo>
                <a:cubicBezTo>
                  <a:pt x="767" y="440"/>
                  <a:pt x="790" y="462"/>
                  <a:pt x="790" y="490"/>
                </a:cubicBezTo>
                <a:cubicBezTo>
                  <a:pt x="790" y="511"/>
                  <a:pt x="778" y="528"/>
                  <a:pt x="761" y="536"/>
                </a:cubicBezTo>
                <a:close/>
              </a:path>
            </a:pathLst>
          </a:custGeom>
          <a:solidFill>
            <a:srgbClr val="0F8287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799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815" name="Freeform 51">
            <a:extLst>
              <a:ext uri="{FF2B5EF4-FFF2-40B4-BE49-F238E27FC236}">
                <a16:creationId xmlns:a16="http://schemas.microsoft.com/office/drawing/2014/main" id="{2CA18D61-FE9E-4911-8AB4-D4724A64938B}"/>
              </a:ext>
            </a:extLst>
          </p:cNvPr>
          <p:cNvSpPr>
            <a:spLocks noEditPoints="1"/>
          </p:cNvSpPr>
          <p:nvPr/>
        </p:nvSpPr>
        <p:spPr bwMode="auto">
          <a:xfrm>
            <a:off x="8561482" y="5684015"/>
            <a:ext cx="214447" cy="279208"/>
          </a:xfrm>
          <a:custGeom>
            <a:avLst/>
            <a:gdLst>
              <a:gd name="T0" fmla="*/ 1285 w 1606"/>
              <a:gd name="T1" fmla="*/ 2091 h 2091"/>
              <a:gd name="T2" fmla="*/ 0 w 1606"/>
              <a:gd name="T3" fmla="*/ 2091 h 2091"/>
              <a:gd name="T4" fmla="*/ 0 w 1606"/>
              <a:gd name="T5" fmla="*/ 215 h 2091"/>
              <a:gd name="T6" fmla="*/ 106 w 1606"/>
              <a:gd name="T7" fmla="*/ 215 h 2091"/>
              <a:gd name="T8" fmla="*/ 106 w 1606"/>
              <a:gd name="T9" fmla="*/ 1983 h 2091"/>
              <a:gd name="T10" fmla="*/ 1285 w 1606"/>
              <a:gd name="T11" fmla="*/ 1983 h 2091"/>
              <a:gd name="T12" fmla="*/ 1285 w 1606"/>
              <a:gd name="T13" fmla="*/ 2091 h 2091"/>
              <a:gd name="T14" fmla="*/ 1231 w 1606"/>
              <a:gd name="T15" fmla="*/ 0 h 2091"/>
              <a:gd name="T16" fmla="*/ 1231 w 1606"/>
              <a:gd name="T17" fmla="*/ 376 h 2091"/>
              <a:gd name="T18" fmla="*/ 1606 w 1606"/>
              <a:gd name="T19" fmla="*/ 376 h 2091"/>
              <a:gd name="T20" fmla="*/ 1231 w 1606"/>
              <a:gd name="T21" fmla="*/ 0 h 2091"/>
              <a:gd name="T22" fmla="*/ 1606 w 1606"/>
              <a:gd name="T23" fmla="*/ 482 h 2091"/>
              <a:gd name="T24" fmla="*/ 1606 w 1606"/>
              <a:gd name="T25" fmla="*/ 1874 h 2091"/>
              <a:gd name="T26" fmla="*/ 215 w 1606"/>
              <a:gd name="T27" fmla="*/ 1874 h 2091"/>
              <a:gd name="T28" fmla="*/ 215 w 1606"/>
              <a:gd name="T29" fmla="*/ 0 h 2091"/>
              <a:gd name="T30" fmla="*/ 1124 w 1606"/>
              <a:gd name="T31" fmla="*/ 0 h 2091"/>
              <a:gd name="T32" fmla="*/ 1124 w 1606"/>
              <a:gd name="T33" fmla="*/ 482 h 2091"/>
              <a:gd name="T34" fmla="*/ 1606 w 1606"/>
              <a:gd name="T35" fmla="*/ 482 h 2091"/>
              <a:gd name="T36" fmla="*/ 321 w 1606"/>
              <a:gd name="T37" fmla="*/ 643 h 2091"/>
              <a:gd name="T38" fmla="*/ 321 w 1606"/>
              <a:gd name="T39" fmla="*/ 752 h 2091"/>
              <a:gd name="T40" fmla="*/ 1339 w 1606"/>
              <a:gd name="T41" fmla="*/ 752 h 2091"/>
              <a:gd name="T42" fmla="*/ 1339 w 1606"/>
              <a:gd name="T43" fmla="*/ 643 h 2091"/>
              <a:gd name="T44" fmla="*/ 321 w 1606"/>
              <a:gd name="T45" fmla="*/ 643 h 2091"/>
              <a:gd name="T46" fmla="*/ 321 w 1606"/>
              <a:gd name="T47" fmla="*/ 376 h 2091"/>
              <a:gd name="T48" fmla="*/ 1018 w 1606"/>
              <a:gd name="T49" fmla="*/ 376 h 2091"/>
              <a:gd name="T50" fmla="*/ 1018 w 1606"/>
              <a:gd name="T51" fmla="*/ 161 h 2091"/>
              <a:gd name="T52" fmla="*/ 321 w 1606"/>
              <a:gd name="T53" fmla="*/ 161 h 2091"/>
              <a:gd name="T54" fmla="*/ 321 w 1606"/>
              <a:gd name="T55" fmla="*/ 376 h 2091"/>
              <a:gd name="T56" fmla="*/ 803 w 1606"/>
              <a:gd name="T57" fmla="*/ 1340 h 2091"/>
              <a:gd name="T58" fmla="*/ 321 w 1606"/>
              <a:gd name="T59" fmla="*/ 1340 h 2091"/>
              <a:gd name="T60" fmla="*/ 321 w 1606"/>
              <a:gd name="T61" fmla="*/ 1446 h 2091"/>
              <a:gd name="T62" fmla="*/ 803 w 1606"/>
              <a:gd name="T63" fmla="*/ 1446 h 2091"/>
              <a:gd name="T64" fmla="*/ 803 w 1606"/>
              <a:gd name="T65" fmla="*/ 1340 h 2091"/>
              <a:gd name="T66" fmla="*/ 964 w 1606"/>
              <a:gd name="T67" fmla="*/ 1125 h 2091"/>
              <a:gd name="T68" fmla="*/ 321 w 1606"/>
              <a:gd name="T69" fmla="*/ 1125 h 2091"/>
              <a:gd name="T70" fmla="*/ 321 w 1606"/>
              <a:gd name="T71" fmla="*/ 1234 h 2091"/>
              <a:gd name="T72" fmla="*/ 964 w 1606"/>
              <a:gd name="T73" fmla="*/ 1234 h 2091"/>
              <a:gd name="T74" fmla="*/ 964 w 1606"/>
              <a:gd name="T75" fmla="*/ 1125 h 2091"/>
              <a:gd name="T76" fmla="*/ 1500 w 1606"/>
              <a:gd name="T77" fmla="*/ 1125 h 2091"/>
              <a:gd name="T78" fmla="*/ 1124 w 1606"/>
              <a:gd name="T79" fmla="*/ 1125 h 2091"/>
              <a:gd name="T80" fmla="*/ 1124 w 1606"/>
              <a:gd name="T81" fmla="*/ 1501 h 2091"/>
              <a:gd name="T82" fmla="*/ 1500 w 1606"/>
              <a:gd name="T83" fmla="*/ 1501 h 2091"/>
              <a:gd name="T84" fmla="*/ 1500 w 1606"/>
              <a:gd name="T85" fmla="*/ 1125 h 2091"/>
              <a:gd name="T86" fmla="*/ 1500 w 1606"/>
              <a:gd name="T87" fmla="*/ 858 h 2091"/>
              <a:gd name="T88" fmla="*/ 321 w 1606"/>
              <a:gd name="T89" fmla="*/ 858 h 2091"/>
              <a:gd name="T90" fmla="*/ 321 w 1606"/>
              <a:gd name="T91" fmla="*/ 964 h 2091"/>
              <a:gd name="T92" fmla="*/ 1500 w 1606"/>
              <a:gd name="T93" fmla="*/ 964 h 2091"/>
              <a:gd name="T94" fmla="*/ 1500 w 1606"/>
              <a:gd name="T95" fmla="*/ 858 h 20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606" h="2091">
                <a:moveTo>
                  <a:pt x="1285" y="2091"/>
                </a:moveTo>
                <a:lnTo>
                  <a:pt x="0" y="2091"/>
                </a:lnTo>
                <a:lnTo>
                  <a:pt x="0" y="215"/>
                </a:lnTo>
                <a:lnTo>
                  <a:pt x="106" y="215"/>
                </a:lnTo>
                <a:lnTo>
                  <a:pt x="106" y="1983"/>
                </a:lnTo>
                <a:lnTo>
                  <a:pt x="1285" y="1983"/>
                </a:lnTo>
                <a:lnTo>
                  <a:pt x="1285" y="2091"/>
                </a:lnTo>
                <a:close/>
                <a:moveTo>
                  <a:pt x="1231" y="0"/>
                </a:moveTo>
                <a:lnTo>
                  <a:pt x="1231" y="376"/>
                </a:lnTo>
                <a:lnTo>
                  <a:pt x="1606" y="376"/>
                </a:lnTo>
                <a:lnTo>
                  <a:pt x="1231" y="0"/>
                </a:lnTo>
                <a:close/>
                <a:moveTo>
                  <a:pt x="1606" y="482"/>
                </a:moveTo>
                <a:lnTo>
                  <a:pt x="1606" y="1874"/>
                </a:lnTo>
                <a:lnTo>
                  <a:pt x="215" y="1874"/>
                </a:lnTo>
                <a:lnTo>
                  <a:pt x="215" y="0"/>
                </a:lnTo>
                <a:lnTo>
                  <a:pt x="1124" y="0"/>
                </a:lnTo>
                <a:lnTo>
                  <a:pt x="1124" y="482"/>
                </a:lnTo>
                <a:lnTo>
                  <a:pt x="1606" y="482"/>
                </a:lnTo>
                <a:close/>
                <a:moveTo>
                  <a:pt x="321" y="643"/>
                </a:moveTo>
                <a:lnTo>
                  <a:pt x="321" y="752"/>
                </a:lnTo>
                <a:lnTo>
                  <a:pt x="1339" y="752"/>
                </a:lnTo>
                <a:lnTo>
                  <a:pt x="1339" y="643"/>
                </a:lnTo>
                <a:lnTo>
                  <a:pt x="321" y="643"/>
                </a:lnTo>
                <a:close/>
                <a:moveTo>
                  <a:pt x="321" y="376"/>
                </a:moveTo>
                <a:lnTo>
                  <a:pt x="1018" y="376"/>
                </a:lnTo>
                <a:lnTo>
                  <a:pt x="1018" y="161"/>
                </a:lnTo>
                <a:lnTo>
                  <a:pt x="321" y="161"/>
                </a:lnTo>
                <a:lnTo>
                  <a:pt x="321" y="376"/>
                </a:lnTo>
                <a:close/>
                <a:moveTo>
                  <a:pt x="803" y="1340"/>
                </a:moveTo>
                <a:lnTo>
                  <a:pt x="321" y="1340"/>
                </a:lnTo>
                <a:lnTo>
                  <a:pt x="321" y="1446"/>
                </a:lnTo>
                <a:lnTo>
                  <a:pt x="803" y="1446"/>
                </a:lnTo>
                <a:lnTo>
                  <a:pt x="803" y="1340"/>
                </a:lnTo>
                <a:close/>
                <a:moveTo>
                  <a:pt x="964" y="1125"/>
                </a:moveTo>
                <a:lnTo>
                  <a:pt x="321" y="1125"/>
                </a:lnTo>
                <a:lnTo>
                  <a:pt x="321" y="1234"/>
                </a:lnTo>
                <a:lnTo>
                  <a:pt x="964" y="1234"/>
                </a:lnTo>
                <a:lnTo>
                  <a:pt x="964" y="1125"/>
                </a:lnTo>
                <a:close/>
                <a:moveTo>
                  <a:pt x="1500" y="1125"/>
                </a:moveTo>
                <a:lnTo>
                  <a:pt x="1124" y="1125"/>
                </a:lnTo>
                <a:lnTo>
                  <a:pt x="1124" y="1501"/>
                </a:lnTo>
                <a:lnTo>
                  <a:pt x="1500" y="1501"/>
                </a:lnTo>
                <a:lnTo>
                  <a:pt x="1500" y="1125"/>
                </a:lnTo>
                <a:close/>
                <a:moveTo>
                  <a:pt x="1500" y="858"/>
                </a:moveTo>
                <a:lnTo>
                  <a:pt x="321" y="858"/>
                </a:lnTo>
                <a:lnTo>
                  <a:pt x="321" y="964"/>
                </a:lnTo>
                <a:lnTo>
                  <a:pt x="1500" y="964"/>
                </a:lnTo>
                <a:lnTo>
                  <a:pt x="1500" y="858"/>
                </a:lnTo>
                <a:close/>
              </a:path>
            </a:pathLst>
          </a:custGeom>
          <a:solidFill>
            <a:srgbClr val="0F8287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799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816" name="Rectangle 815">
            <a:extLst>
              <a:ext uri="{FF2B5EF4-FFF2-40B4-BE49-F238E27FC236}">
                <a16:creationId xmlns:a16="http://schemas.microsoft.com/office/drawing/2014/main" id="{C5747041-1D22-4E24-84B1-C77302BF6C9A}"/>
              </a:ext>
            </a:extLst>
          </p:cNvPr>
          <p:cNvSpPr/>
          <p:nvPr/>
        </p:nvSpPr>
        <p:spPr bwMode="auto">
          <a:xfrm>
            <a:off x="6677714" y="3078259"/>
            <a:ext cx="631654" cy="41568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817" name="Text Box 15">
            <a:extLst>
              <a:ext uri="{FF2B5EF4-FFF2-40B4-BE49-F238E27FC236}">
                <a16:creationId xmlns:a16="http://schemas.microsoft.com/office/drawing/2014/main" id="{30455BB7-28E2-43AF-9A7E-EE2B7D0B77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76186" y="3084776"/>
            <a:ext cx="638798" cy="39964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marL="0" marR="0" lvl="0" indent="0" algn="ctr" defTabSz="913486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49EAA"/>
              </a:buClr>
              <a:buSzTx/>
              <a:buFontTx/>
              <a:buNone/>
              <a:tabLst/>
              <a:defRPr/>
            </a:pPr>
            <a:r>
              <a:rPr kumimoji="0" lang="en-US" altLang="en-US" sz="999" b="0" i="0" u="none" strike="noStrike" kern="0" cap="none" spc="0" normalizeH="0" baseline="0" noProof="0" dirty="0">
                <a:ln>
                  <a:noFill/>
                </a:ln>
                <a:solidFill>
                  <a:srgbClr val="41AAAA"/>
                </a:solidFill>
                <a:effectLst/>
                <a:uLnTx/>
                <a:uFillTx/>
                <a:latin typeface="Arial" charset="0"/>
                <a:ea typeface="宋体" pitchFamily="2" charset="-122"/>
              </a:rPr>
              <a:t>XHQ BI (OData)</a:t>
            </a:r>
          </a:p>
        </p:txBody>
      </p:sp>
      <p:sp>
        <p:nvSpPr>
          <p:cNvPr id="818" name="Rectangle 817">
            <a:extLst>
              <a:ext uri="{FF2B5EF4-FFF2-40B4-BE49-F238E27FC236}">
                <a16:creationId xmlns:a16="http://schemas.microsoft.com/office/drawing/2014/main" id="{00380394-A23B-41AC-9601-403D7FFACE70}"/>
              </a:ext>
            </a:extLst>
          </p:cNvPr>
          <p:cNvSpPr/>
          <p:nvPr/>
        </p:nvSpPr>
        <p:spPr bwMode="auto">
          <a:xfrm>
            <a:off x="7496380" y="3075594"/>
            <a:ext cx="631654" cy="41568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819" name="Rectangle 818">
            <a:extLst>
              <a:ext uri="{FF2B5EF4-FFF2-40B4-BE49-F238E27FC236}">
                <a16:creationId xmlns:a16="http://schemas.microsoft.com/office/drawing/2014/main" id="{EECF5534-286B-4D64-9F70-ADEECCEFC250}"/>
              </a:ext>
            </a:extLst>
          </p:cNvPr>
          <p:cNvSpPr/>
          <p:nvPr/>
        </p:nvSpPr>
        <p:spPr bwMode="auto">
          <a:xfrm>
            <a:off x="8317412" y="3075594"/>
            <a:ext cx="631654" cy="41568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820" name="Rectangle 819">
            <a:extLst>
              <a:ext uri="{FF2B5EF4-FFF2-40B4-BE49-F238E27FC236}">
                <a16:creationId xmlns:a16="http://schemas.microsoft.com/office/drawing/2014/main" id="{D37A74C1-A770-4DB7-A2EF-5612A9B8C7F6}"/>
              </a:ext>
            </a:extLst>
          </p:cNvPr>
          <p:cNvSpPr/>
          <p:nvPr/>
        </p:nvSpPr>
        <p:spPr bwMode="auto">
          <a:xfrm>
            <a:off x="9136086" y="3075594"/>
            <a:ext cx="631654" cy="41568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821" name="Rectangle 820">
            <a:extLst>
              <a:ext uri="{FF2B5EF4-FFF2-40B4-BE49-F238E27FC236}">
                <a16:creationId xmlns:a16="http://schemas.microsoft.com/office/drawing/2014/main" id="{CAC2C6CA-7551-4CD5-A032-F807C62DBDAF}"/>
              </a:ext>
            </a:extLst>
          </p:cNvPr>
          <p:cNvSpPr/>
          <p:nvPr/>
        </p:nvSpPr>
        <p:spPr bwMode="auto">
          <a:xfrm>
            <a:off x="9937928" y="3072949"/>
            <a:ext cx="631654" cy="41568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822" name="Text Box 15">
            <a:extLst>
              <a:ext uri="{FF2B5EF4-FFF2-40B4-BE49-F238E27FC236}">
                <a16:creationId xmlns:a16="http://schemas.microsoft.com/office/drawing/2014/main" id="{54CA970D-4DB1-4316-9463-93CC190933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38288" y="3153456"/>
            <a:ext cx="755380" cy="2459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de-DE"/>
            </a:defPPr>
            <a:lvl1pPr marL="0" marR="0" lvl="0" indent="0" algn="ctr" defTabSz="914400" eaLnBrk="0" latinLnBrk="0" hangingPunct="0">
              <a:lnSpc>
                <a:spcPct val="100000"/>
              </a:lnSpc>
              <a:buClr>
                <a:srgbClr val="949EAA"/>
              </a:buClr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49EAA"/>
              </a:buClr>
              <a:buSzTx/>
              <a:buFontTx/>
              <a:buNone/>
              <a:tabLst/>
              <a:defRPr/>
            </a:pPr>
            <a:r>
              <a:rPr kumimoji="0" lang="en-US" altLang="en-US" sz="999" b="0" i="0" u="none" strike="noStrike" kern="0" cap="none" spc="0" normalizeH="0" baseline="0" noProof="0" dirty="0">
                <a:ln>
                  <a:noFill/>
                </a:ln>
                <a:solidFill>
                  <a:srgbClr val="41AAAA"/>
                </a:solidFill>
                <a:effectLst/>
                <a:uLnTx/>
                <a:uFillTx/>
                <a:latin typeface="Arial" charset="0"/>
                <a:ea typeface="宋体" pitchFamily="2" charset="-122"/>
              </a:rPr>
              <a:t>ADO.NET </a:t>
            </a:r>
          </a:p>
        </p:txBody>
      </p:sp>
      <p:sp>
        <p:nvSpPr>
          <p:cNvPr id="823" name="Text Box 15">
            <a:extLst>
              <a:ext uri="{FF2B5EF4-FFF2-40B4-BE49-F238E27FC236}">
                <a16:creationId xmlns:a16="http://schemas.microsoft.com/office/drawing/2014/main" id="{69A35D0A-C34B-48A4-B858-B460841520E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46735" y="3088944"/>
            <a:ext cx="785650" cy="39969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marL="0" marR="0" lvl="0" indent="0" algn="ctr" defTabSz="913486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49EAA"/>
              </a:buClr>
              <a:buSzTx/>
              <a:buFontTx/>
              <a:buNone/>
              <a:tabLst/>
              <a:defRPr/>
            </a:pPr>
            <a:r>
              <a:rPr kumimoji="0" lang="en-US" altLang="en-US" sz="999" b="0" i="0" u="none" strike="noStrike" kern="0" cap="none" spc="0" normalizeH="0" baseline="0" noProof="0" dirty="0">
                <a:ln>
                  <a:noFill/>
                </a:ln>
                <a:solidFill>
                  <a:srgbClr val="41AAAA"/>
                </a:solidFill>
                <a:effectLst/>
                <a:uLnTx/>
                <a:uFillTx/>
                <a:latin typeface="Arial" charset="0"/>
                <a:ea typeface="宋体" pitchFamily="2" charset="-122"/>
              </a:rPr>
              <a:t>Web APIs (REST)</a:t>
            </a:r>
          </a:p>
        </p:txBody>
      </p:sp>
      <p:sp>
        <p:nvSpPr>
          <p:cNvPr id="824" name="Text Box 15">
            <a:extLst>
              <a:ext uri="{FF2B5EF4-FFF2-40B4-BE49-F238E27FC236}">
                <a16:creationId xmlns:a16="http://schemas.microsoft.com/office/drawing/2014/main" id="{1210E4A0-0420-4693-B13D-2A9BAD5A3B1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57218" y="3081980"/>
            <a:ext cx="563296" cy="39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marL="0" marR="0" lvl="0" indent="0" algn="ctr" defTabSz="913486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49EAA"/>
              </a:buClr>
              <a:buSzTx/>
              <a:buFontTx/>
              <a:buNone/>
              <a:tabLst/>
              <a:defRPr/>
            </a:pPr>
            <a:r>
              <a:rPr kumimoji="0" lang="en-US" altLang="en-US" sz="999" b="0" i="0" u="none" strike="noStrike" kern="0" cap="none" spc="0" normalizeH="0" baseline="0" noProof="0" dirty="0">
                <a:ln>
                  <a:noFill/>
                </a:ln>
                <a:solidFill>
                  <a:srgbClr val="41AAAA"/>
                </a:solidFill>
                <a:effectLst/>
                <a:uLnTx/>
                <a:uFillTx/>
                <a:latin typeface="Arial" charset="0"/>
                <a:ea typeface="宋体" pitchFamily="2" charset="-122"/>
              </a:rPr>
              <a:t>Java APIs</a:t>
            </a:r>
          </a:p>
        </p:txBody>
      </p:sp>
      <p:sp>
        <p:nvSpPr>
          <p:cNvPr id="825" name="Text Box 15">
            <a:extLst>
              <a:ext uri="{FF2B5EF4-FFF2-40B4-BE49-F238E27FC236}">
                <a16:creationId xmlns:a16="http://schemas.microsoft.com/office/drawing/2014/main" id="{B8CF283C-84EC-4FAA-BE99-29AF089B668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903866" y="3090651"/>
            <a:ext cx="709852" cy="414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marL="0" marR="0" lvl="0" indent="0" algn="ctr" defTabSz="913486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49EAA"/>
              </a:buClr>
              <a:buSzTx/>
              <a:buFontTx/>
              <a:buNone/>
              <a:tabLst/>
              <a:defRPr/>
            </a:pPr>
            <a:r>
              <a:rPr kumimoji="0" lang="en-US" altLang="en-US" sz="999" b="0" i="0" u="none" strike="noStrike" kern="0" cap="none" spc="0" normalizeH="0" baseline="0" noProof="0" dirty="0">
                <a:ln>
                  <a:noFill/>
                </a:ln>
                <a:solidFill>
                  <a:srgbClr val="41AAAA"/>
                </a:solidFill>
                <a:effectLst/>
                <a:uLnTx/>
                <a:uFillTx/>
                <a:latin typeface="Arial" charset="0"/>
                <a:ea typeface="宋体" pitchFamily="2" charset="-122"/>
              </a:rPr>
              <a:t>OPC UA Server</a:t>
            </a:r>
          </a:p>
        </p:txBody>
      </p:sp>
      <p:sp>
        <p:nvSpPr>
          <p:cNvPr id="826" name="Rectangle 3">
            <a:extLst>
              <a:ext uri="{FF2B5EF4-FFF2-40B4-BE49-F238E27FC236}">
                <a16:creationId xmlns:a16="http://schemas.microsoft.com/office/drawing/2014/main" id="{FE732B53-887C-4BCE-9336-FA24C87998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5443" y="5602907"/>
            <a:ext cx="10820892" cy="1233599"/>
          </a:xfrm>
          <a:prstGeom prst="rect">
            <a:avLst/>
          </a:prstGeom>
          <a:noFill/>
          <a:ln w="19050">
            <a:solidFill>
              <a:srgbClr val="AAB414"/>
            </a:solidFill>
          </a:ln>
          <a:effectLst/>
        </p:spPr>
        <p:txBody>
          <a:bodyPr lIns="0" tIns="71926" rIns="182690" bIns="71926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</a:pPr>
            <a:endParaRPr lang="en-US" sz="900" dirty="0">
              <a:solidFill>
                <a:srgbClr val="FFFFFF"/>
              </a:solidFill>
              <a:latin typeface="Arial"/>
              <a:ea typeface="+mn-ea"/>
            </a:endParaRPr>
          </a:p>
        </p:txBody>
      </p:sp>
      <p:sp>
        <p:nvSpPr>
          <p:cNvPr id="827" name="Rectangle 826">
            <a:extLst>
              <a:ext uri="{FF2B5EF4-FFF2-40B4-BE49-F238E27FC236}">
                <a16:creationId xmlns:a16="http://schemas.microsoft.com/office/drawing/2014/main" id="{F0EF542B-9435-4194-98B5-7E0D49D17722}"/>
              </a:ext>
            </a:extLst>
          </p:cNvPr>
          <p:cNvSpPr/>
          <p:nvPr/>
        </p:nvSpPr>
        <p:spPr>
          <a:xfrm>
            <a:off x="4820744" y="4492783"/>
            <a:ext cx="998648" cy="293448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0" h="0"/>
          </a:sp3d>
        </p:spPr>
        <p:txBody>
          <a:bodyPr anchor="ctr"/>
          <a:lstStyle/>
          <a:p>
            <a:pPr marL="0" marR="0" lvl="0" indent="0" algn="ctr" defTabSz="9134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Aggregation</a:t>
            </a:r>
          </a:p>
        </p:txBody>
      </p:sp>
      <p:sp>
        <p:nvSpPr>
          <p:cNvPr id="828" name="Rectangle 827">
            <a:extLst>
              <a:ext uri="{FF2B5EF4-FFF2-40B4-BE49-F238E27FC236}">
                <a16:creationId xmlns:a16="http://schemas.microsoft.com/office/drawing/2014/main" id="{DF53BA34-DE27-4629-8B7D-E663DA6F259B}"/>
              </a:ext>
            </a:extLst>
          </p:cNvPr>
          <p:cNvSpPr/>
          <p:nvPr/>
        </p:nvSpPr>
        <p:spPr>
          <a:xfrm>
            <a:off x="5656075" y="4492783"/>
            <a:ext cx="1206554" cy="293448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0" h="0"/>
          </a:sp3d>
        </p:spPr>
        <p:txBody>
          <a:bodyPr anchor="ctr"/>
          <a:lstStyle/>
          <a:p>
            <a:pPr marL="0" marR="0" lvl="0" indent="0" algn="ctr" defTabSz="9134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Contextualization</a:t>
            </a:r>
          </a:p>
        </p:txBody>
      </p:sp>
      <p:grpSp>
        <p:nvGrpSpPr>
          <p:cNvPr id="829" name="Gruppieren 14">
            <a:extLst>
              <a:ext uri="{FF2B5EF4-FFF2-40B4-BE49-F238E27FC236}">
                <a16:creationId xmlns:a16="http://schemas.microsoft.com/office/drawing/2014/main" id="{5AFC925F-6BB1-4105-9E79-9A58BFE89C08}"/>
              </a:ext>
            </a:extLst>
          </p:cNvPr>
          <p:cNvGrpSpPr>
            <a:grpSpLocks/>
          </p:cNvGrpSpPr>
          <p:nvPr/>
        </p:nvGrpSpPr>
        <p:grpSpPr>
          <a:xfrm>
            <a:off x="6043598" y="4040273"/>
            <a:ext cx="385985" cy="384799"/>
            <a:chOff x="4521201" y="1870075"/>
            <a:chExt cx="1031874" cy="1028700"/>
          </a:xfrm>
          <a:solidFill>
            <a:srgbClr val="FFFFFF"/>
          </a:solidFill>
        </p:grpSpPr>
        <p:sp>
          <p:nvSpPr>
            <p:cNvPr id="830" name="Freeform 11">
              <a:extLst>
                <a:ext uri="{FF2B5EF4-FFF2-40B4-BE49-F238E27FC236}">
                  <a16:creationId xmlns:a16="http://schemas.microsoft.com/office/drawing/2014/main" id="{F47FD6FD-2031-4DD7-BFA6-7346D3FF3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1201" y="2422525"/>
              <a:ext cx="630237" cy="476250"/>
            </a:xfrm>
            <a:custGeom>
              <a:avLst/>
              <a:gdLst>
                <a:gd name="T0" fmla="*/ 463 w 513"/>
                <a:gd name="T1" fmla="*/ 247 h 388"/>
                <a:gd name="T2" fmla="*/ 435 w 513"/>
                <a:gd name="T3" fmla="*/ 240 h 388"/>
                <a:gd name="T4" fmla="*/ 389 w 513"/>
                <a:gd name="T5" fmla="*/ 240 h 388"/>
                <a:gd name="T6" fmla="*/ 389 w 513"/>
                <a:gd name="T7" fmla="*/ 388 h 388"/>
                <a:gd name="T8" fmla="*/ 0 w 513"/>
                <a:gd name="T9" fmla="*/ 388 h 388"/>
                <a:gd name="T10" fmla="*/ 0 w 513"/>
                <a:gd name="T11" fmla="*/ 0 h 388"/>
                <a:gd name="T12" fmla="*/ 70 w 513"/>
                <a:gd name="T13" fmla="*/ 0 h 388"/>
                <a:gd name="T14" fmla="*/ 195 w 513"/>
                <a:gd name="T15" fmla="*/ 125 h 388"/>
                <a:gd name="T16" fmla="*/ 319 w 513"/>
                <a:gd name="T17" fmla="*/ 0 h 388"/>
                <a:gd name="T18" fmla="*/ 389 w 513"/>
                <a:gd name="T19" fmla="*/ 0 h 388"/>
                <a:gd name="T20" fmla="*/ 389 w 513"/>
                <a:gd name="T21" fmla="*/ 148 h 388"/>
                <a:gd name="T22" fmla="*/ 435 w 513"/>
                <a:gd name="T23" fmla="*/ 149 h 388"/>
                <a:gd name="T24" fmla="*/ 463 w 513"/>
                <a:gd name="T25" fmla="*/ 141 h 388"/>
                <a:gd name="T26" fmla="*/ 513 w 513"/>
                <a:gd name="T27" fmla="*/ 195 h 388"/>
                <a:gd name="T28" fmla="*/ 463 w 513"/>
                <a:gd name="T29" fmla="*/ 247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13" h="388">
                  <a:moveTo>
                    <a:pt x="463" y="247"/>
                  </a:moveTo>
                  <a:cubicBezTo>
                    <a:pt x="452" y="247"/>
                    <a:pt x="443" y="243"/>
                    <a:pt x="435" y="240"/>
                  </a:cubicBezTo>
                  <a:cubicBezTo>
                    <a:pt x="415" y="232"/>
                    <a:pt x="393" y="217"/>
                    <a:pt x="389" y="240"/>
                  </a:cubicBezTo>
                  <a:cubicBezTo>
                    <a:pt x="389" y="388"/>
                    <a:pt x="389" y="388"/>
                    <a:pt x="389" y="388"/>
                  </a:cubicBezTo>
                  <a:cubicBezTo>
                    <a:pt x="0" y="388"/>
                    <a:pt x="0" y="388"/>
                    <a:pt x="0" y="38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0" y="68"/>
                    <a:pt x="126" y="125"/>
                    <a:pt x="195" y="125"/>
                  </a:cubicBezTo>
                  <a:cubicBezTo>
                    <a:pt x="263" y="125"/>
                    <a:pt x="319" y="68"/>
                    <a:pt x="319" y="0"/>
                  </a:cubicBezTo>
                  <a:cubicBezTo>
                    <a:pt x="389" y="0"/>
                    <a:pt x="389" y="0"/>
                    <a:pt x="389" y="0"/>
                  </a:cubicBezTo>
                  <a:cubicBezTo>
                    <a:pt x="389" y="148"/>
                    <a:pt x="389" y="148"/>
                    <a:pt x="389" y="148"/>
                  </a:cubicBezTo>
                  <a:cubicBezTo>
                    <a:pt x="393" y="171"/>
                    <a:pt x="415" y="156"/>
                    <a:pt x="435" y="149"/>
                  </a:cubicBezTo>
                  <a:cubicBezTo>
                    <a:pt x="443" y="145"/>
                    <a:pt x="452" y="141"/>
                    <a:pt x="463" y="141"/>
                  </a:cubicBezTo>
                  <a:cubicBezTo>
                    <a:pt x="491" y="141"/>
                    <a:pt x="513" y="164"/>
                    <a:pt x="513" y="195"/>
                  </a:cubicBezTo>
                  <a:cubicBezTo>
                    <a:pt x="513" y="223"/>
                    <a:pt x="491" y="247"/>
                    <a:pt x="463" y="2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</a:endParaRPr>
            </a:p>
          </p:txBody>
        </p:sp>
        <p:sp>
          <p:nvSpPr>
            <p:cNvPr id="831" name="Freeform 12">
              <a:extLst>
                <a:ext uri="{FF2B5EF4-FFF2-40B4-BE49-F238E27FC236}">
                  <a16:creationId xmlns:a16="http://schemas.microsoft.com/office/drawing/2014/main" id="{CA748B22-4E65-4C92-9411-4BE2BA56F27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75238" y="2270125"/>
              <a:ext cx="477837" cy="628650"/>
            </a:xfrm>
            <a:custGeom>
              <a:avLst/>
              <a:gdLst>
                <a:gd name="T0" fmla="*/ 240 w 390"/>
                <a:gd name="T1" fmla="*/ 80 h 513"/>
                <a:gd name="T2" fmla="*/ 248 w 390"/>
                <a:gd name="T3" fmla="*/ 51 h 513"/>
                <a:gd name="T4" fmla="*/ 195 w 390"/>
                <a:gd name="T5" fmla="*/ 0 h 513"/>
                <a:gd name="T6" fmla="*/ 141 w 390"/>
                <a:gd name="T7" fmla="*/ 51 h 513"/>
                <a:gd name="T8" fmla="*/ 150 w 390"/>
                <a:gd name="T9" fmla="*/ 80 h 513"/>
                <a:gd name="T10" fmla="*/ 148 w 390"/>
                <a:gd name="T11" fmla="*/ 125 h 513"/>
                <a:gd name="T12" fmla="*/ 0 w 390"/>
                <a:gd name="T13" fmla="*/ 125 h 513"/>
                <a:gd name="T14" fmla="*/ 0 w 390"/>
                <a:gd name="T15" fmla="*/ 195 h 513"/>
                <a:gd name="T16" fmla="*/ 125 w 390"/>
                <a:gd name="T17" fmla="*/ 320 h 513"/>
                <a:gd name="T18" fmla="*/ 0 w 390"/>
                <a:gd name="T19" fmla="*/ 443 h 513"/>
                <a:gd name="T20" fmla="*/ 0 w 390"/>
                <a:gd name="T21" fmla="*/ 513 h 513"/>
                <a:gd name="T22" fmla="*/ 390 w 390"/>
                <a:gd name="T23" fmla="*/ 513 h 513"/>
                <a:gd name="T24" fmla="*/ 390 w 390"/>
                <a:gd name="T25" fmla="*/ 125 h 513"/>
                <a:gd name="T26" fmla="*/ 240 w 390"/>
                <a:gd name="T27" fmla="*/ 125 h 513"/>
                <a:gd name="T28" fmla="*/ 240 w 390"/>
                <a:gd name="T29" fmla="*/ 80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90" h="513">
                  <a:moveTo>
                    <a:pt x="240" y="80"/>
                  </a:moveTo>
                  <a:cubicBezTo>
                    <a:pt x="244" y="70"/>
                    <a:pt x="248" y="60"/>
                    <a:pt x="248" y="51"/>
                  </a:cubicBezTo>
                  <a:cubicBezTo>
                    <a:pt x="248" y="23"/>
                    <a:pt x="224" y="0"/>
                    <a:pt x="195" y="0"/>
                  </a:cubicBezTo>
                  <a:cubicBezTo>
                    <a:pt x="165" y="0"/>
                    <a:pt x="141" y="23"/>
                    <a:pt x="141" y="51"/>
                  </a:cubicBezTo>
                  <a:cubicBezTo>
                    <a:pt x="141" y="60"/>
                    <a:pt x="145" y="70"/>
                    <a:pt x="150" y="80"/>
                  </a:cubicBezTo>
                  <a:cubicBezTo>
                    <a:pt x="158" y="98"/>
                    <a:pt x="171" y="119"/>
                    <a:pt x="148" y="125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69" y="195"/>
                    <a:pt x="125" y="251"/>
                    <a:pt x="125" y="320"/>
                  </a:cubicBezTo>
                  <a:cubicBezTo>
                    <a:pt x="125" y="388"/>
                    <a:pt x="69" y="443"/>
                    <a:pt x="0" y="443"/>
                  </a:cubicBezTo>
                  <a:cubicBezTo>
                    <a:pt x="0" y="513"/>
                    <a:pt x="0" y="513"/>
                    <a:pt x="0" y="513"/>
                  </a:cubicBezTo>
                  <a:cubicBezTo>
                    <a:pt x="390" y="513"/>
                    <a:pt x="390" y="513"/>
                    <a:pt x="390" y="513"/>
                  </a:cubicBezTo>
                  <a:cubicBezTo>
                    <a:pt x="390" y="125"/>
                    <a:pt x="390" y="125"/>
                    <a:pt x="390" y="125"/>
                  </a:cubicBezTo>
                  <a:cubicBezTo>
                    <a:pt x="240" y="125"/>
                    <a:pt x="240" y="125"/>
                    <a:pt x="240" y="125"/>
                  </a:cubicBezTo>
                  <a:cubicBezTo>
                    <a:pt x="217" y="119"/>
                    <a:pt x="232" y="98"/>
                    <a:pt x="240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</a:endParaRPr>
            </a:p>
          </p:txBody>
        </p:sp>
        <p:sp>
          <p:nvSpPr>
            <p:cNvPr id="832" name="Freeform 13">
              <a:extLst>
                <a:ext uri="{FF2B5EF4-FFF2-40B4-BE49-F238E27FC236}">
                  <a16:creationId xmlns:a16="http://schemas.microsoft.com/office/drawing/2014/main" id="{9FCF292A-7F93-4836-9B34-9F6BAF21E8F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1201" y="1870075"/>
              <a:ext cx="476250" cy="628650"/>
            </a:xfrm>
            <a:custGeom>
              <a:avLst/>
              <a:gdLst>
                <a:gd name="T0" fmla="*/ 141 w 388"/>
                <a:gd name="T1" fmla="*/ 463 h 513"/>
                <a:gd name="T2" fmla="*/ 148 w 388"/>
                <a:gd name="T3" fmla="*/ 435 h 513"/>
                <a:gd name="T4" fmla="*/ 148 w 388"/>
                <a:gd name="T5" fmla="*/ 389 h 513"/>
                <a:gd name="T6" fmla="*/ 0 w 388"/>
                <a:gd name="T7" fmla="*/ 389 h 513"/>
                <a:gd name="T8" fmla="*/ 0 w 388"/>
                <a:gd name="T9" fmla="*/ 0 h 513"/>
                <a:gd name="T10" fmla="*/ 388 w 388"/>
                <a:gd name="T11" fmla="*/ 0 h 513"/>
                <a:gd name="T12" fmla="*/ 388 w 388"/>
                <a:gd name="T13" fmla="*/ 70 h 513"/>
                <a:gd name="T14" fmla="*/ 263 w 388"/>
                <a:gd name="T15" fmla="*/ 195 h 513"/>
                <a:gd name="T16" fmla="*/ 388 w 388"/>
                <a:gd name="T17" fmla="*/ 319 h 513"/>
                <a:gd name="T18" fmla="*/ 388 w 388"/>
                <a:gd name="T19" fmla="*/ 389 h 513"/>
                <a:gd name="T20" fmla="*/ 240 w 388"/>
                <a:gd name="T21" fmla="*/ 389 h 513"/>
                <a:gd name="T22" fmla="*/ 238 w 388"/>
                <a:gd name="T23" fmla="*/ 435 h 513"/>
                <a:gd name="T24" fmla="*/ 247 w 388"/>
                <a:gd name="T25" fmla="*/ 463 h 513"/>
                <a:gd name="T26" fmla="*/ 193 w 388"/>
                <a:gd name="T27" fmla="*/ 513 h 513"/>
                <a:gd name="T28" fmla="*/ 141 w 388"/>
                <a:gd name="T29" fmla="*/ 463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8" h="513">
                  <a:moveTo>
                    <a:pt x="141" y="463"/>
                  </a:moveTo>
                  <a:cubicBezTo>
                    <a:pt x="141" y="452"/>
                    <a:pt x="145" y="443"/>
                    <a:pt x="148" y="435"/>
                  </a:cubicBezTo>
                  <a:cubicBezTo>
                    <a:pt x="156" y="415"/>
                    <a:pt x="171" y="393"/>
                    <a:pt x="148" y="389"/>
                  </a:cubicBezTo>
                  <a:cubicBezTo>
                    <a:pt x="0" y="389"/>
                    <a:pt x="0" y="389"/>
                    <a:pt x="0" y="38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88" y="0"/>
                    <a:pt x="388" y="0"/>
                    <a:pt x="388" y="0"/>
                  </a:cubicBezTo>
                  <a:cubicBezTo>
                    <a:pt x="388" y="70"/>
                    <a:pt x="388" y="70"/>
                    <a:pt x="388" y="70"/>
                  </a:cubicBezTo>
                  <a:cubicBezTo>
                    <a:pt x="319" y="70"/>
                    <a:pt x="263" y="126"/>
                    <a:pt x="263" y="195"/>
                  </a:cubicBezTo>
                  <a:cubicBezTo>
                    <a:pt x="263" y="263"/>
                    <a:pt x="319" y="319"/>
                    <a:pt x="388" y="319"/>
                  </a:cubicBezTo>
                  <a:cubicBezTo>
                    <a:pt x="388" y="389"/>
                    <a:pt x="388" y="389"/>
                    <a:pt x="388" y="389"/>
                  </a:cubicBezTo>
                  <a:cubicBezTo>
                    <a:pt x="240" y="389"/>
                    <a:pt x="240" y="389"/>
                    <a:pt x="240" y="389"/>
                  </a:cubicBezTo>
                  <a:cubicBezTo>
                    <a:pt x="216" y="393"/>
                    <a:pt x="231" y="415"/>
                    <a:pt x="238" y="435"/>
                  </a:cubicBezTo>
                  <a:cubicBezTo>
                    <a:pt x="242" y="443"/>
                    <a:pt x="247" y="452"/>
                    <a:pt x="247" y="463"/>
                  </a:cubicBezTo>
                  <a:cubicBezTo>
                    <a:pt x="247" y="491"/>
                    <a:pt x="223" y="513"/>
                    <a:pt x="193" y="513"/>
                  </a:cubicBezTo>
                  <a:cubicBezTo>
                    <a:pt x="164" y="513"/>
                    <a:pt x="141" y="491"/>
                    <a:pt x="141" y="4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</a:endParaRPr>
            </a:p>
          </p:txBody>
        </p:sp>
        <p:sp>
          <p:nvSpPr>
            <p:cNvPr id="833" name="Freeform 14">
              <a:extLst>
                <a:ext uri="{FF2B5EF4-FFF2-40B4-BE49-F238E27FC236}">
                  <a16:creationId xmlns:a16="http://schemas.microsoft.com/office/drawing/2014/main" id="{969B2395-F345-4543-B7DC-8C25FD39A1D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4425" y="1870075"/>
              <a:ext cx="628650" cy="476250"/>
            </a:xfrm>
            <a:custGeom>
              <a:avLst/>
              <a:gdLst>
                <a:gd name="T0" fmla="*/ 49 w 513"/>
                <a:gd name="T1" fmla="*/ 141 h 388"/>
                <a:gd name="T2" fmla="*/ 78 w 513"/>
                <a:gd name="T3" fmla="*/ 148 h 388"/>
                <a:gd name="T4" fmla="*/ 123 w 513"/>
                <a:gd name="T5" fmla="*/ 148 h 388"/>
                <a:gd name="T6" fmla="*/ 123 w 513"/>
                <a:gd name="T7" fmla="*/ 0 h 388"/>
                <a:gd name="T8" fmla="*/ 513 w 513"/>
                <a:gd name="T9" fmla="*/ 0 h 388"/>
                <a:gd name="T10" fmla="*/ 513 w 513"/>
                <a:gd name="T11" fmla="*/ 388 h 388"/>
                <a:gd name="T12" fmla="*/ 443 w 513"/>
                <a:gd name="T13" fmla="*/ 388 h 388"/>
                <a:gd name="T14" fmla="*/ 318 w 513"/>
                <a:gd name="T15" fmla="*/ 263 h 388"/>
                <a:gd name="T16" fmla="*/ 193 w 513"/>
                <a:gd name="T17" fmla="*/ 388 h 388"/>
                <a:gd name="T18" fmla="*/ 123 w 513"/>
                <a:gd name="T19" fmla="*/ 388 h 388"/>
                <a:gd name="T20" fmla="*/ 123 w 513"/>
                <a:gd name="T21" fmla="*/ 240 h 388"/>
                <a:gd name="T22" fmla="*/ 78 w 513"/>
                <a:gd name="T23" fmla="*/ 238 h 388"/>
                <a:gd name="T24" fmla="*/ 49 w 513"/>
                <a:gd name="T25" fmla="*/ 247 h 388"/>
                <a:gd name="T26" fmla="*/ 0 w 513"/>
                <a:gd name="T27" fmla="*/ 193 h 388"/>
                <a:gd name="T28" fmla="*/ 49 w 513"/>
                <a:gd name="T29" fmla="*/ 141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13" h="388">
                  <a:moveTo>
                    <a:pt x="49" y="141"/>
                  </a:moveTo>
                  <a:cubicBezTo>
                    <a:pt x="60" y="141"/>
                    <a:pt x="70" y="145"/>
                    <a:pt x="78" y="148"/>
                  </a:cubicBezTo>
                  <a:cubicBezTo>
                    <a:pt x="97" y="156"/>
                    <a:pt x="119" y="171"/>
                    <a:pt x="123" y="148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513" y="0"/>
                    <a:pt x="513" y="0"/>
                    <a:pt x="513" y="0"/>
                  </a:cubicBezTo>
                  <a:cubicBezTo>
                    <a:pt x="513" y="388"/>
                    <a:pt x="513" y="388"/>
                    <a:pt x="513" y="388"/>
                  </a:cubicBezTo>
                  <a:cubicBezTo>
                    <a:pt x="443" y="388"/>
                    <a:pt x="443" y="388"/>
                    <a:pt x="443" y="388"/>
                  </a:cubicBezTo>
                  <a:cubicBezTo>
                    <a:pt x="443" y="319"/>
                    <a:pt x="386" y="263"/>
                    <a:pt x="318" y="263"/>
                  </a:cubicBezTo>
                  <a:cubicBezTo>
                    <a:pt x="249" y="263"/>
                    <a:pt x="193" y="319"/>
                    <a:pt x="193" y="388"/>
                  </a:cubicBezTo>
                  <a:cubicBezTo>
                    <a:pt x="123" y="388"/>
                    <a:pt x="123" y="388"/>
                    <a:pt x="123" y="388"/>
                  </a:cubicBezTo>
                  <a:cubicBezTo>
                    <a:pt x="123" y="240"/>
                    <a:pt x="123" y="240"/>
                    <a:pt x="123" y="240"/>
                  </a:cubicBezTo>
                  <a:cubicBezTo>
                    <a:pt x="119" y="216"/>
                    <a:pt x="97" y="232"/>
                    <a:pt x="78" y="238"/>
                  </a:cubicBezTo>
                  <a:cubicBezTo>
                    <a:pt x="70" y="242"/>
                    <a:pt x="60" y="247"/>
                    <a:pt x="49" y="247"/>
                  </a:cubicBezTo>
                  <a:cubicBezTo>
                    <a:pt x="22" y="247"/>
                    <a:pt x="0" y="223"/>
                    <a:pt x="0" y="193"/>
                  </a:cubicBezTo>
                  <a:cubicBezTo>
                    <a:pt x="0" y="164"/>
                    <a:pt x="22" y="141"/>
                    <a:pt x="49" y="1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</a:endParaRPr>
            </a:p>
          </p:txBody>
        </p:sp>
      </p:grpSp>
      <p:grpSp>
        <p:nvGrpSpPr>
          <p:cNvPr id="834" name="Group 58">
            <a:extLst>
              <a:ext uri="{FF2B5EF4-FFF2-40B4-BE49-F238E27FC236}">
                <a16:creationId xmlns:a16="http://schemas.microsoft.com/office/drawing/2014/main" id="{9445F7F0-42A0-446A-BE58-08D7D5ED00F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70000" y="3935262"/>
            <a:ext cx="538271" cy="538566"/>
            <a:chOff x="2933" y="1248"/>
            <a:chExt cx="1821" cy="1822"/>
          </a:xfrm>
          <a:solidFill>
            <a:srgbClr val="FFFFFF"/>
          </a:solidFill>
        </p:grpSpPr>
        <p:sp>
          <p:nvSpPr>
            <p:cNvPr id="835" name="Rectangle 59">
              <a:extLst>
                <a:ext uri="{FF2B5EF4-FFF2-40B4-BE49-F238E27FC236}">
                  <a16:creationId xmlns:a16="http://schemas.microsoft.com/office/drawing/2014/main" id="{B8DE2C46-927C-4100-9BC3-7B77BF04A3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8" y="1943"/>
              <a:ext cx="430" cy="43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</a:endParaRPr>
            </a:p>
          </p:txBody>
        </p:sp>
        <p:sp>
          <p:nvSpPr>
            <p:cNvPr id="836" name="Freeform 60">
              <a:extLst>
                <a:ext uri="{FF2B5EF4-FFF2-40B4-BE49-F238E27FC236}">
                  <a16:creationId xmlns:a16="http://schemas.microsoft.com/office/drawing/2014/main" id="{C99AE76F-109B-484E-82F2-53234F5AB9B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7" y="2479"/>
              <a:ext cx="593" cy="591"/>
            </a:xfrm>
            <a:custGeom>
              <a:avLst/>
              <a:gdLst>
                <a:gd name="T0" fmla="*/ 234 w 593"/>
                <a:gd name="T1" fmla="*/ 224 h 591"/>
                <a:gd name="T2" fmla="*/ 244 w 593"/>
                <a:gd name="T3" fmla="*/ 591 h 591"/>
                <a:gd name="T4" fmla="*/ 348 w 593"/>
                <a:gd name="T5" fmla="*/ 591 h 591"/>
                <a:gd name="T6" fmla="*/ 357 w 593"/>
                <a:gd name="T7" fmla="*/ 224 h 591"/>
                <a:gd name="T8" fmla="*/ 522 w 593"/>
                <a:gd name="T9" fmla="*/ 369 h 591"/>
                <a:gd name="T10" fmla="*/ 593 w 593"/>
                <a:gd name="T11" fmla="*/ 298 h 591"/>
                <a:gd name="T12" fmla="*/ 296 w 593"/>
                <a:gd name="T13" fmla="*/ 0 h 591"/>
                <a:gd name="T14" fmla="*/ 0 w 593"/>
                <a:gd name="T15" fmla="*/ 298 h 591"/>
                <a:gd name="T16" fmla="*/ 71 w 593"/>
                <a:gd name="T17" fmla="*/ 369 h 591"/>
                <a:gd name="T18" fmla="*/ 234 w 593"/>
                <a:gd name="T19" fmla="*/ 224 h 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3" h="591">
                  <a:moveTo>
                    <a:pt x="234" y="224"/>
                  </a:moveTo>
                  <a:lnTo>
                    <a:pt x="244" y="591"/>
                  </a:lnTo>
                  <a:lnTo>
                    <a:pt x="348" y="591"/>
                  </a:lnTo>
                  <a:lnTo>
                    <a:pt x="357" y="224"/>
                  </a:lnTo>
                  <a:lnTo>
                    <a:pt x="522" y="369"/>
                  </a:lnTo>
                  <a:lnTo>
                    <a:pt x="593" y="298"/>
                  </a:lnTo>
                  <a:lnTo>
                    <a:pt x="296" y="0"/>
                  </a:lnTo>
                  <a:lnTo>
                    <a:pt x="0" y="298"/>
                  </a:lnTo>
                  <a:lnTo>
                    <a:pt x="71" y="369"/>
                  </a:lnTo>
                  <a:lnTo>
                    <a:pt x="234" y="2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</a:endParaRPr>
            </a:p>
          </p:txBody>
        </p:sp>
        <p:sp>
          <p:nvSpPr>
            <p:cNvPr id="837" name="Freeform 61">
              <a:extLst>
                <a:ext uri="{FF2B5EF4-FFF2-40B4-BE49-F238E27FC236}">
                  <a16:creationId xmlns:a16="http://schemas.microsoft.com/office/drawing/2014/main" id="{6FEF43D0-2946-4DD7-801E-98ACBED6EF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7" y="1248"/>
              <a:ext cx="593" cy="589"/>
            </a:xfrm>
            <a:custGeom>
              <a:avLst/>
              <a:gdLst>
                <a:gd name="T0" fmla="*/ 357 w 593"/>
                <a:gd name="T1" fmla="*/ 364 h 589"/>
                <a:gd name="T2" fmla="*/ 348 w 593"/>
                <a:gd name="T3" fmla="*/ 0 h 589"/>
                <a:gd name="T4" fmla="*/ 244 w 593"/>
                <a:gd name="T5" fmla="*/ 0 h 589"/>
                <a:gd name="T6" fmla="*/ 234 w 593"/>
                <a:gd name="T7" fmla="*/ 364 h 589"/>
                <a:gd name="T8" fmla="*/ 71 w 593"/>
                <a:gd name="T9" fmla="*/ 223 h 589"/>
                <a:gd name="T10" fmla="*/ 0 w 593"/>
                <a:gd name="T11" fmla="*/ 293 h 589"/>
                <a:gd name="T12" fmla="*/ 296 w 593"/>
                <a:gd name="T13" fmla="*/ 589 h 589"/>
                <a:gd name="T14" fmla="*/ 593 w 593"/>
                <a:gd name="T15" fmla="*/ 293 h 589"/>
                <a:gd name="T16" fmla="*/ 522 w 593"/>
                <a:gd name="T17" fmla="*/ 223 h 589"/>
                <a:gd name="T18" fmla="*/ 357 w 593"/>
                <a:gd name="T19" fmla="*/ 364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3" h="589">
                  <a:moveTo>
                    <a:pt x="357" y="364"/>
                  </a:moveTo>
                  <a:lnTo>
                    <a:pt x="348" y="0"/>
                  </a:lnTo>
                  <a:lnTo>
                    <a:pt x="244" y="0"/>
                  </a:lnTo>
                  <a:lnTo>
                    <a:pt x="234" y="364"/>
                  </a:lnTo>
                  <a:lnTo>
                    <a:pt x="71" y="223"/>
                  </a:lnTo>
                  <a:lnTo>
                    <a:pt x="0" y="293"/>
                  </a:lnTo>
                  <a:lnTo>
                    <a:pt x="296" y="589"/>
                  </a:lnTo>
                  <a:lnTo>
                    <a:pt x="593" y="293"/>
                  </a:lnTo>
                  <a:lnTo>
                    <a:pt x="522" y="223"/>
                  </a:lnTo>
                  <a:lnTo>
                    <a:pt x="357" y="3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</a:endParaRPr>
            </a:p>
          </p:txBody>
        </p:sp>
        <p:sp>
          <p:nvSpPr>
            <p:cNvPr id="838" name="Freeform 62">
              <a:extLst>
                <a:ext uri="{FF2B5EF4-FFF2-40B4-BE49-F238E27FC236}">
                  <a16:creationId xmlns:a16="http://schemas.microsoft.com/office/drawing/2014/main" id="{A935CD2C-123A-494F-8EC4-AC5887978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4" y="1863"/>
              <a:ext cx="590" cy="592"/>
            </a:xfrm>
            <a:custGeom>
              <a:avLst/>
              <a:gdLst>
                <a:gd name="T0" fmla="*/ 297 w 590"/>
                <a:gd name="T1" fmla="*/ 592 h 592"/>
                <a:gd name="T2" fmla="*/ 368 w 590"/>
                <a:gd name="T3" fmla="*/ 522 h 592"/>
                <a:gd name="T4" fmla="*/ 224 w 590"/>
                <a:gd name="T5" fmla="*/ 356 h 592"/>
                <a:gd name="T6" fmla="*/ 590 w 590"/>
                <a:gd name="T7" fmla="*/ 347 h 592"/>
                <a:gd name="T8" fmla="*/ 590 w 590"/>
                <a:gd name="T9" fmla="*/ 243 h 592"/>
                <a:gd name="T10" fmla="*/ 224 w 590"/>
                <a:gd name="T11" fmla="*/ 233 h 592"/>
                <a:gd name="T12" fmla="*/ 368 w 590"/>
                <a:gd name="T13" fmla="*/ 70 h 592"/>
                <a:gd name="T14" fmla="*/ 297 w 590"/>
                <a:gd name="T15" fmla="*/ 0 h 592"/>
                <a:gd name="T16" fmla="*/ 0 w 590"/>
                <a:gd name="T17" fmla="*/ 295 h 592"/>
                <a:gd name="T18" fmla="*/ 297 w 590"/>
                <a:gd name="T19" fmla="*/ 592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0" h="592">
                  <a:moveTo>
                    <a:pt x="297" y="592"/>
                  </a:moveTo>
                  <a:lnTo>
                    <a:pt x="368" y="522"/>
                  </a:lnTo>
                  <a:lnTo>
                    <a:pt x="224" y="356"/>
                  </a:lnTo>
                  <a:lnTo>
                    <a:pt x="590" y="347"/>
                  </a:lnTo>
                  <a:lnTo>
                    <a:pt x="590" y="243"/>
                  </a:lnTo>
                  <a:lnTo>
                    <a:pt x="224" y="233"/>
                  </a:lnTo>
                  <a:lnTo>
                    <a:pt x="368" y="70"/>
                  </a:lnTo>
                  <a:lnTo>
                    <a:pt x="297" y="0"/>
                  </a:lnTo>
                  <a:lnTo>
                    <a:pt x="0" y="295"/>
                  </a:lnTo>
                  <a:lnTo>
                    <a:pt x="297" y="59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</a:endParaRPr>
            </a:p>
          </p:txBody>
        </p:sp>
        <p:sp>
          <p:nvSpPr>
            <p:cNvPr id="839" name="Freeform 63">
              <a:extLst>
                <a:ext uri="{FF2B5EF4-FFF2-40B4-BE49-F238E27FC236}">
                  <a16:creationId xmlns:a16="http://schemas.microsoft.com/office/drawing/2014/main" id="{04B6FEBB-9FFE-4AE7-BFAA-56422264F31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3" y="1863"/>
              <a:ext cx="588" cy="592"/>
            </a:xfrm>
            <a:custGeom>
              <a:avLst/>
              <a:gdLst>
                <a:gd name="T0" fmla="*/ 222 w 588"/>
                <a:gd name="T1" fmla="*/ 522 h 592"/>
                <a:gd name="T2" fmla="*/ 293 w 588"/>
                <a:gd name="T3" fmla="*/ 592 h 592"/>
                <a:gd name="T4" fmla="*/ 588 w 588"/>
                <a:gd name="T5" fmla="*/ 295 h 592"/>
                <a:gd name="T6" fmla="*/ 293 w 588"/>
                <a:gd name="T7" fmla="*/ 0 h 592"/>
                <a:gd name="T8" fmla="*/ 222 w 588"/>
                <a:gd name="T9" fmla="*/ 70 h 592"/>
                <a:gd name="T10" fmla="*/ 364 w 588"/>
                <a:gd name="T11" fmla="*/ 233 h 592"/>
                <a:gd name="T12" fmla="*/ 0 w 588"/>
                <a:gd name="T13" fmla="*/ 243 h 592"/>
                <a:gd name="T14" fmla="*/ 0 w 588"/>
                <a:gd name="T15" fmla="*/ 347 h 592"/>
                <a:gd name="T16" fmla="*/ 364 w 588"/>
                <a:gd name="T17" fmla="*/ 356 h 592"/>
                <a:gd name="T18" fmla="*/ 222 w 588"/>
                <a:gd name="T19" fmla="*/ 522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88" h="592">
                  <a:moveTo>
                    <a:pt x="222" y="522"/>
                  </a:moveTo>
                  <a:lnTo>
                    <a:pt x="293" y="592"/>
                  </a:lnTo>
                  <a:lnTo>
                    <a:pt x="588" y="295"/>
                  </a:lnTo>
                  <a:lnTo>
                    <a:pt x="293" y="0"/>
                  </a:lnTo>
                  <a:lnTo>
                    <a:pt x="222" y="70"/>
                  </a:lnTo>
                  <a:lnTo>
                    <a:pt x="364" y="233"/>
                  </a:lnTo>
                  <a:lnTo>
                    <a:pt x="0" y="243"/>
                  </a:lnTo>
                  <a:lnTo>
                    <a:pt x="0" y="347"/>
                  </a:lnTo>
                  <a:lnTo>
                    <a:pt x="364" y="356"/>
                  </a:lnTo>
                  <a:lnTo>
                    <a:pt x="222" y="52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</a:endParaRPr>
            </a:p>
          </p:txBody>
        </p:sp>
      </p:grpSp>
      <p:sp>
        <p:nvSpPr>
          <p:cNvPr id="840" name="Freeform 40">
            <a:extLst>
              <a:ext uri="{FF2B5EF4-FFF2-40B4-BE49-F238E27FC236}">
                <a16:creationId xmlns:a16="http://schemas.microsoft.com/office/drawing/2014/main" id="{D309FF71-8D38-4AE7-8B66-6C8F2A8E96DC}"/>
              </a:ext>
            </a:extLst>
          </p:cNvPr>
          <p:cNvSpPr>
            <a:spLocks/>
          </p:cNvSpPr>
          <p:nvPr/>
        </p:nvSpPr>
        <p:spPr bwMode="auto">
          <a:xfrm rot="10800000">
            <a:off x="6654872" y="5003809"/>
            <a:ext cx="360564" cy="222524"/>
          </a:xfrm>
          <a:custGeom>
            <a:avLst/>
            <a:gdLst>
              <a:gd name="T0" fmla="*/ 839 w 1066"/>
              <a:gd name="T1" fmla="*/ 250 h 658"/>
              <a:gd name="T2" fmla="*/ 1021 w 1066"/>
              <a:gd name="T3" fmla="*/ 431 h 658"/>
              <a:gd name="T4" fmla="*/ 1021 w 1066"/>
              <a:gd name="T5" fmla="*/ 658 h 658"/>
              <a:gd name="T6" fmla="*/ 1066 w 1066"/>
              <a:gd name="T7" fmla="*/ 658 h 658"/>
              <a:gd name="T8" fmla="*/ 1066 w 1066"/>
              <a:gd name="T9" fmla="*/ 431 h 658"/>
              <a:gd name="T10" fmla="*/ 839 w 1066"/>
              <a:gd name="T11" fmla="*/ 204 h 658"/>
              <a:gd name="T12" fmla="*/ 567 w 1066"/>
              <a:gd name="T13" fmla="*/ 204 h 658"/>
              <a:gd name="T14" fmla="*/ 567 w 1066"/>
              <a:gd name="T15" fmla="*/ 136 h 658"/>
              <a:gd name="T16" fmla="*/ 522 w 1066"/>
              <a:gd name="T17" fmla="*/ 136 h 658"/>
              <a:gd name="T18" fmla="*/ 522 w 1066"/>
              <a:gd name="T19" fmla="*/ 68 h 658"/>
              <a:gd name="T20" fmla="*/ 363 w 1066"/>
              <a:gd name="T21" fmla="*/ 68 h 658"/>
              <a:gd name="T22" fmla="*/ 363 w 1066"/>
              <a:gd name="T23" fmla="*/ 0 h 658"/>
              <a:gd name="T24" fmla="*/ 182 w 1066"/>
              <a:gd name="T25" fmla="*/ 0 h 658"/>
              <a:gd name="T26" fmla="*/ 182 w 1066"/>
              <a:gd name="T27" fmla="*/ 91 h 658"/>
              <a:gd name="T28" fmla="*/ 34 w 1066"/>
              <a:gd name="T29" fmla="*/ 91 h 658"/>
              <a:gd name="T30" fmla="*/ 0 w 1066"/>
              <a:gd name="T31" fmla="*/ 125 h 658"/>
              <a:gd name="T32" fmla="*/ 0 w 1066"/>
              <a:gd name="T33" fmla="*/ 125 h 658"/>
              <a:gd name="T34" fmla="*/ 34 w 1066"/>
              <a:gd name="T35" fmla="*/ 159 h 658"/>
              <a:gd name="T36" fmla="*/ 182 w 1066"/>
              <a:gd name="T37" fmla="*/ 159 h 658"/>
              <a:gd name="T38" fmla="*/ 182 w 1066"/>
              <a:gd name="T39" fmla="*/ 295 h 658"/>
              <a:gd name="T40" fmla="*/ 34 w 1066"/>
              <a:gd name="T41" fmla="*/ 295 h 658"/>
              <a:gd name="T42" fmla="*/ 0 w 1066"/>
              <a:gd name="T43" fmla="*/ 329 h 658"/>
              <a:gd name="T44" fmla="*/ 0 w 1066"/>
              <a:gd name="T45" fmla="*/ 329 h 658"/>
              <a:gd name="T46" fmla="*/ 34 w 1066"/>
              <a:gd name="T47" fmla="*/ 363 h 658"/>
              <a:gd name="T48" fmla="*/ 182 w 1066"/>
              <a:gd name="T49" fmla="*/ 363 h 658"/>
              <a:gd name="T50" fmla="*/ 182 w 1066"/>
              <a:gd name="T51" fmla="*/ 454 h 658"/>
              <a:gd name="T52" fmla="*/ 363 w 1066"/>
              <a:gd name="T53" fmla="*/ 454 h 658"/>
              <a:gd name="T54" fmla="*/ 363 w 1066"/>
              <a:gd name="T55" fmla="*/ 386 h 658"/>
              <a:gd name="T56" fmla="*/ 522 w 1066"/>
              <a:gd name="T57" fmla="*/ 386 h 658"/>
              <a:gd name="T58" fmla="*/ 522 w 1066"/>
              <a:gd name="T59" fmla="*/ 318 h 658"/>
              <a:gd name="T60" fmla="*/ 567 w 1066"/>
              <a:gd name="T61" fmla="*/ 318 h 658"/>
              <a:gd name="T62" fmla="*/ 567 w 1066"/>
              <a:gd name="T63" fmla="*/ 250 h 658"/>
              <a:gd name="T64" fmla="*/ 839 w 1066"/>
              <a:gd name="T65" fmla="*/ 250 h 6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066" h="658">
                <a:moveTo>
                  <a:pt x="839" y="250"/>
                </a:moveTo>
                <a:cubicBezTo>
                  <a:pt x="939" y="250"/>
                  <a:pt x="1021" y="331"/>
                  <a:pt x="1021" y="431"/>
                </a:cubicBezTo>
                <a:cubicBezTo>
                  <a:pt x="1021" y="658"/>
                  <a:pt x="1021" y="658"/>
                  <a:pt x="1021" y="658"/>
                </a:cubicBezTo>
                <a:cubicBezTo>
                  <a:pt x="1066" y="658"/>
                  <a:pt x="1066" y="658"/>
                  <a:pt x="1066" y="658"/>
                </a:cubicBezTo>
                <a:cubicBezTo>
                  <a:pt x="1066" y="431"/>
                  <a:pt x="1066" y="431"/>
                  <a:pt x="1066" y="431"/>
                </a:cubicBezTo>
                <a:cubicBezTo>
                  <a:pt x="1066" y="306"/>
                  <a:pt x="964" y="204"/>
                  <a:pt x="839" y="204"/>
                </a:cubicBezTo>
                <a:cubicBezTo>
                  <a:pt x="567" y="204"/>
                  <a:pt x="567" y="204"/>
                  <a:pt x="567" y="204"/>
                </a:cubicBezTo>
                <a:cubicBezTo>
                  <a:pt x="567" y="136"/>
                  <a:pt x="567" y="136"/>
                  <a:pt x="567" y="136"/>
                </a:cubicBezTo>
                <a:cubicBezTo>
                  <a:pt x="522" y="136"/>
                  <a:pt x="522" y="136"/>
                  <a:pt x="522" y="136"/>
                </a:cubicBezTo>
                <a:cubicBezTo>
                  <a:pt x="522" y="68"/>
                  <a:pt x="522" y="68"/>
                  <a:pt x="522" y="68"/>
                </a:cubicBezTo>
                <a:cubicBezTo>
                  <a:pt x="363" y="68"/>
                  <a:pt x="363" y="68"/>
                  <a:pt x="363" y="68"/>
                </a:cubicBezTo>
                <a:cubicBezTo>
                  <a:pt x="363" y="0"/>
                  <a:pt x="363" y="0"/>
                  <a:pt x="363" y="0"/>
                </a:cubicBezTo>
                <a:cubicBezTo>
                  <a:pt x="182" y="0"/>
                  <a:pt x="182" y="0"/>
                  <a:pt x="182" y="0"/>
                </a:cubicBezTo>
                <a:cubicBezTo>
                  <a:pt x="182" y="91"/>
                  <a:pt x="182" y="91"/>
                  <a:pt x="182" y="91"/>
                </a:cubicBezTo>
                <a:cubicBezTo>
                  <a:pt x="34" y="91"/>
                  <a:pt x="34" y="91"/>
                  <a:pt x="34" y="91"/>
                </a:cubicBezTo>
                <a:cubicBezTo>
                  <a:pt x="15" y="91"/>
                  <a:pt x="0" y="106"/>
                  <a:pt x="0" y="125"/>
                </a:cubicBezTo>
                <a:cubicBezTo>
                  <a:pt x="0" y="125"/>
                  <a:pt x="0" y="125"/>
                  <a:pt x="0" y="125"/>
                </a:cubicBezTo>
                <a:cubicBezTo>
                  <a:pt x="0" y="144"/>
                  <a:pt x="15" y="159"/>
                  <a:pt x="34" y="159"/>
                </a:cubicBezTo>
                <a:cubicBezTo>
                  <a:pt x="182" y="159"/>
                  <a:pt x="182" y="159"/>
                  <a:pt x="182" y="159"/>
                </a:cubicBezTo>
                <a:cubicBezTo>
                  <a:pt x="182" y="295"/>
                  <a:pt x="182" y="295"/>
                  <a:pt x="182" y="295"/>
                </a:cubicBezTo>
                <a:cubicBezTo>
                  <a:pt x="34" y="295"/>
                  <a:pt x="34" y="295"/>
                  <a:pt x="34" y="295"/>
                </a:cubicBezTo>
                <a:cubicBezTo>
                  <a:pt x="15" y="295"/>
                  <a:pt x="0" y="310"/>
                  <a:pt x="0" y="329"/>
                </a:cubicBezTo>
                <a:cubicBezTo>
                  <a:pt x="0" y="329"/>
                  <a:pt x="0" y="329"/>
                  <a:pt x="0" y="329"/>
                </a:cubicBezTo>
                <a:cubicBezTo>
                  <a:pt x="0" y="348"/>
                  <a:pt x="15" y="363"/>
                  <a:pt x="34" y="363"/>
                </a:cubicBezTo>
                <a:cubicBezTo>
                  <a:pt x="182" y="363"/>
                  <a:pt x="182" y="363"/>
                  <a:pt x="182" y="363"/>
                </a:cubicBezTo>
                <a:cubicBezTo>
                  <a:pt x="182" y="454"/>
                  <a:pt x="182" y="454"/>
                  <a:pt x="182" y="454"/>
                </a:cubicBezTo>
                <a:cubicBezTo>
                  <a:pt x="363" y="454"/>
                  <a:pt x="363" y="454"/>
                  <a:pt x="363" y="454"/>
                </a:cubicBezTo>
                <a:cubicBezTo>
                  <a:pt x="363" y="386"/>
                  <a:pt x="363" y="386"/>
                  <a:pt x="363" y="386"/>
                </a:cubicBezTo>
                <a:cubicBezTo>
                  <a:pt x="522" y="386"/>
                  <a:pt x="522" y="386"/>
                  <a:pt x="522" y="386"/>
                </a:cubicBezTo>
                <a:cubicBezTo>
                  <a:pt x="522" y="318"/>
                  <a:pt x="522" y="318"/>
                  <a:pt x="522" y="318"/>
                </a:cubicBezTo>
                <a:cubicBezTo>
                  <a:pt x="567" y="318"/>
                  <a:pt x="567" y="318"/>
                  <a:pt x="567" y="318"/>
                </a:cubicBezTo>
                <a:cubicBezTo>
                  <a:pt x="567" y="250"/>
                  <a:pt x="567" y="250"/>
                  <a:pt x="567" y="250"/>
                </a:cubicBezTo>
                <a:lnTo>
                  <a:pt x="839" y="25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99" b="0" i="0" u="none" strike="noStrike" kern="14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</a:endParaRPr>
          </a:p>
        </p:txBody>
      </p:sp>
      <p:sp>
        <p:nvSpPr>
          <p:cNvPr id="841" name="Freihandform: Form 161">
            <a:extLst>
              <a:ext uri="{FF2B5EF4-FFF2-40B4-BE49-F238E27FC236}">
                <a16:creationId xmlns:a16="http://schemas.microsoft.com/office/drawing/2014/main" id="{E8A026FE-EC76-4C58-A977-61458D7C6F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44221" y="5672996"/>
            <a:ext cx="214447" cy="290228"/>
          </a:xfrm>
          <a:custGeom>
            <a:avLst/>
            <a:gdLst>
              <a:gd name="connsiteX0" fmla="*/ 0 w 3200400"/>
              <a:gd name="connsiteY0" fmla="*/ 2746376 h 3870326"/>
              <a:gd name="connsiteX1" fmla="*/ 1609140 w 3200400"/>
              <a:gd name="connsiteY1" fmla="*/ 3121026 h 3870326"/>
              <a:gd name="connsiteX2" fmla="*/ 3200400 w 3200400"/>
              <a:gd name="connsiteY2" fmla="*/ 2746376 h 3870326"/>
              <a:gd name="connsiteX3" fmla="*/ 3200400 w 3200400"/>
              <a:gd name="connsiteY3" fmla="*/ 3495676 h 3870326"/>
              <a:gd name="connsiteX4" fmla="*/ 1609140 w 3200400"/>
              <a:gd name="connsiteY4" fmla="*/ 3870326 h 3870326"/>
              <a:gd name="connsiteX5" fmla="*/ 0 w 3200400"/>
              <a:gd name="connsiteY5" fmla="*/ 3495676 h 3870326"/>
              <a:gd name="connsiteX6" fmla="*/ 0 w 3200400"/>
              <a:gd name="connsiteY6" fmla="*/ 2746376 h 3870326"/>
              <a:gd name="connsiteX7" fmla="*/ 0 w 3200400"/>
              <a:gd name="connsiteY7" fmla="*/ 1717675 h 3870326"/>
              <a:gd name="connsiteX8" fmla="*/ 1609140 w 3200400"/>
              <a:gd name="connsiteY8" fmla="*/ 2092325 h 3870326"/>
              <a:gd name="connsiteX9" fmla="*/ 3200400 w 3200400"/>
              <a:gd name="connsiteY9" fmla="*/ 1717675 h 3870326"/>
              <a:gd name="connsiteX10" fmla="*/ 3200400 w 3200400"/>
              <a:gd name="connsiteY10" fmla="*/ 2466975 h 3870326"/>
              <a:gd name="connsiteX11" fmla="*/ 1609140 w 3200400"/>
              <a:gd name="connsiteY11" fmla="*/ 2841625 h 3870326"/>
              <a:gd name="connsiteX12" fmla="*/ 0 w 3200400"/>
              <a:gd name="connsiteY12" fmla="*/ 2466975 h 3870326"/>
              <a:gd name="connsiteX13" fmla="*/ 0 w 3200400"/>
              <a:gd name="connsiteY13" fmla="*/ 1717675 h 3870326"/>
              <a:gd name="connsiteX14" fmla="*/ 0 w 3200400"/>
              <a:gd name="connsiteY14" fmla="*/ 688975 h 3870326"/>
              <a:gd name="connsiteX15" fmla="*/ 1609140 w 3200400"/>
              <a:gd name="connsiteY15" fmla="*/ 1063625 h 3870326"/>
              <a:gd name="connsiteX16" fmla="*/ 3200400 w 3200400"/>
              <a:gd name="connsiteY16" fmla="*/ 688975 h 3870326"/>
              <a:gd name="connsiteX17" fmla="*/ 3200400 w 3200400"/>
              <a:gd name="connsiteY17" fmla="*/ 1438275 h 3870326"/>
              <a:gd name="connsiteX18" fmla="*/ 1609140 w 3200400"/>
              <a:gd name="connsiteY18" fmla="*/ 1812925 h 3870326"/>
              <a:gd name="connsiteX19" fmla="*/ 0 w 3200400"/>
              <a:gd name="connsiteY19" fmla="*/ 1438275 h 3870326"/>
              <a:gd name="connsiteX20" fmla="*/ 0 w 3200400"/>
              <a:gd name="connsiteY20" fmla="*/ 688975 h 3870326"/>
              <a:gd name="connsiteX21" fmla="*/ 1600200 w 3200400"/>
              <a:gd name="connsiteY21" fmla="*/ 0 h 3870326"/>
              <a:gd name="connsiteX22" fmla="*/ 3200400 w 3200400"/>
              <a:gd name="connsiteY22" fmla="*/ 392113 h 3870326"/>
              <a:gd name="connsiteX23" fmla="*/ 1600200 w 3200400"/>
              <a:gd name="connsiteY23" fmla="*/ 784226 h 3870326"/>
              <a:gd name="connsiteX24" fmla="*/ 0 w 3200400"/>
              <a:gd name="connsiteY24" fmla="*/ 392113 h 3870326"/>
              <a:gd name="connsiteX25" fmla="*/ 1600200 w 3200400"/>
              <a:gd name="connsiteY25" fmla="*/ 0 h 3870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3200400" h="3870326">
                <a:moveTo>
                  <a:pt x="0" y="2746376"/>
                </a:moveTo>
                <a:cubicBezTo>
                  <a:pt x="0" y="2960462"/>
                  <a:pt x="715173" y="3121026"/>
                  <a:pt x="1609140" y="3121026"/>
                </a:cubicBezTo>
                <a:cubicBezTo>
                  <a:pt x="2485227" y="3121026"/>
                  <a:pt x="3200400" y="2960462"/>
                  <a:pt x="3200400" y="2746376"/>
                </a:cubicBezTo>
                <a:cubicBezTo>
                  <a:pt x="3200400" y="2746376"/>
                  <a:pt x="3200400" y="2746376"/>
                  <a:pt x="3200400" y="3495676"/>
                </a:cubicBezTo>
                <a:cubicBezTo>
                  <a:pt x="3200400" y="3691921"/>
                  <a:pt x="2485227" y="3870326"/>
                  <a:pt x="1609140" y="3870326"/>
                </a:cubicBezTo>
                <a:cubicBezTo>
                  <a:pt x="715173" y="3870326"/>
                  <a:pt x="0" y="3691921"/>
                  <a:pt x="0" y="3495676"/>
                </a:cubicBezTo>
                <a:cubicBezTo>
                  <a:pt x="0" y="3495676"/>
                  <a:pt x="0" y="3495676"/>
                  <a:pt x="0" y="2746376"/>
                </a:cubicBezTo>
                <a:close/>
                <a:moveTo>
                  <a:pt x="0" y="1717675"/>
                </a:moveTo>
                <a:cubicBezTo>
                  <a:pt x="0" y="1931761"/>
                  <a:pt x="715173" y="2092325"/>
                  <a:pt x="1609140" y="2092325"/>
                </a:cubicBezTo>
                <a:cubicBezTo>
                  <a:pt x="2485227" y="2092325"/>
                  <a:pt x="3200400" y="1931761"/>
                  <a:pt x="3200400" y="1717675"/>
                </a:cubicBezTo>
                <a:cubicBezTo>
                  <a:pt x="3200400" y="1717675"/>
                  <a:pt x="3200400" y="1717675"/>
                  <a:pt x="3200400" y="2466975"/>
                </a:cubicBezTo>
                <a:cubicBezTo>
                  <a:pt x="3200400" y="2663220"/>
                  <a:pt x="2485227" y="2841625"/>
                  <a:pt x="1609140" y="2841625"/>
                </a:cubicBezTo>
                <a:cubicBezTo>
                  <a:pt x="715173" y="2841625"/>
                  <a:pt x="0" y="2663220"/>
                  <a:pt x="0" y="2466975"/>
                </a:cubicBezTo>
                <a:cubicBezTo>
                  <a:pt x="0" y="2466975"/>
                  <a:pt x="0" y="2466975"/>
                  <a:pt x="0" y="1717675"/>
                </a:cubicBezTo>
                <a:close/>
                <a:moveTo>
                  <a:pt x="0" y="688975"/>
                </a:moveTo>
                <a:cubicBezTo>
                  <a:pt x="0" y="903061"/>
                  <a:pt x="715173" y="1063625"/>
                  <a:pt x="1609140" y="1063625"/>
                </a:cubicBezTo>
                <a:cubicBezTo>
                  <a:pt x="2485227" y="1063625"/>
                  <a:pt x="3200400" y="903061"/>
                  <a:pt x="3200400" y="688975"/>
                </a:cubicBezTo>
                <a:cubicBezTo>
                  <a:pt x="3200400" y="688975"/>
                  <a:pt x="3200400" y="688975"/>
                  <a:pt x="3200400" y="1438275"/>
                </a:cubicBezTo>
                <a:cubicBezTo>
                  <a:pt x="3200400" y="1652361"/>
                  <a:pt x="2485227" y="1812925"/>
                  <a:pt x="1609140" y="1812925"/>
                </a:cubicBezTo>
                <a:cubicBezTo>
                  <a:pt x="715173" y="1812925"/>
                  <a:pt x="0" y="1652361"/>
                  <a:pt x="0" y="1438275"/>
                </a:cubicBezTo>
                <a:cubicBezTo>
                  <a:pt x="0" y="1438275"/>
                  <a:pt x="0" y="1438275"/>
                  <a:pt x="0" y="688975"/>
                </a:cubicBezTo>
                <a:close/>
                <a:moveTo>
                  <a:pt x="1600200" y="0"/>
                </a:moveTo>
                <a:cubicBezTo>
                  <a:pt x="2483966" y="0"/>
                  <a:pt x="3200400" y="175555"/>
                  <a:pt x="3200400" y="392113"/>
                </a:cubicBezTo>
                <a:cubicBezTo>
                  <a:pt x="3200400" y="608671"/>
                  <a:pt x="2483966" y="784226"/>
                  <a:pt x="1600200" y="784226"/>
                </a:cubicBezTo>
                <a:cubicBezTo>
                  <a:pt x="716434" y="784226"/>
                  <a:pt x="0" y="608671"/>
                  <a:pt x="0" y="392113"/>
                </a:cubicBezTo>
                <a:cubicBezTo>
                  <a:pt x="0" y="175555"/>
                  <a:pt x="716434" y="0"/>
                  <a:pt x="1600200" y="0"/>
                </a:cubicBezTo>
                <a:close/>
              </a:path>
            </a:pathLst>
          </a:custGeom>
          <a:solidFill>
            <a:srgbClr val="EB780A"/>
          </a:solidFill>
          <a:ln>
            <a:noFill/>
          </a:ln>
        </p:spPr>
        <p:txBody>
          <a:bodyPr vert="horz" wrap="square" lIns="91344" tIns="45672" rIns="91344" bIns="45672" numCol="1" anchor="t" anchorCtr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999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842" name="Rectangle: Rounded Corners 841">
            <a:extLst>
              <a:ext uri="{FF2B5EF4-FFF2-40B4-BE49-F238E27FC236}">
                <a16:creationId xmlns:a16="http://schemas.microsoft.com/office/drawing/2014/main" id="{DD2263CF-6104-40A4-BFE6-D273F35D3A72}"/>
              </a:ext>
            </a:extLst>
          </p:cNvPr>
          <p:cNvSpPr/>
          <p:nvPr/>
        </p:nvSpPr>
        <p:spPr bwMode="auto">
          <a:xfrm>
            <a:off x="7145119" y="6029971"/>
            <a:ext cx="991094" cy="220521"/>
          </a:xfrm>
          <a:prstGeom prst="roundRect">
            <a:avLst/>
          </a:prstGeom>
          <a:solidFill>
            <a:srgbClr val="DFE6ED"/>
          </a:solidFill>
          <a:ln>
            <a:noFill/>
          </a:ln>
          <a:effectLst/>
        </p:spPr>
        <p:txBody>
          <a:bodyPr rot="0" spcFirstLastPara="0" vertOverflow="overflow" horzOverflow="overflow" vert="horz" wrap="square" lIns="0" tIns="45696" rIns="0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sz="800" b="1" dirty="0">
                <a:solidFill>
                  <a:srgbClr val="000000"/>
                </a:solidFill>
                <a:latin typeface="Arial"/>
                <a:ea typeface="+mn-ea"/>
              </a:rPr>
              <a:t>Web Services / API</a:t>
            </a:r>
            <a:endParaRPr lang="en-US" sz="800" b="1" dirty="0" err="1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843" name="TextBox 83">
            <a:extLst>
              <a:ext uri="{FF2B5EF4-FFF2-40B4-BE49-F238E27FC236}">
                <a16:creationId xmlns:a16="http://schemas.microsoft.com/office/drawing/2014/main" id="{D321718C-D3D9-40B7-B574-E2FFB7AAB4B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16181" y="2295810"/>
            <a:ext cx="4216336" cy="298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de-DE"/>
            </a:defPPr>
            <a:lvl1pPr algn="ctr" eaLnBrk="1" hangingPunct="1">
              <a:buClr>
                <a:srgbClr val="949EAA"/>
              </a:buClr>
              <a:defRPr sz="1100" b="1">
                <a:solidFill>
                  <a:srgbClr val="00646E"/>
                </a:solidFill>
                <a:latin typeface="Arial" charset="0"/>
                <a:ea typeface="宋体" pitchFamily="2" charset="-122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marL="0" marR="0" lvl="0" indent="0" algn="ctr" defTabSz="9134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49EAA"/>
              </a:buClr>
              <a:buSzTx/>
              <a:buFontTx/>
              <a:buNone/>
              <a:tabLst/>
              <a:defRPr/>
            </a:pPr>
            <a:r>
              <a:rPr kumimoji="0" lang="en-US" altLang="en-US" sz="1298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宋体" pitchFamily="2" charset="-122"/>
                <a:cs typeface="Arial" charset="0"/>
              </a:rPr>
              <a:t>Interoperability</a:t>
            </a:r>
          </a:p>
        </p:txBody>
      </p:sp>
      <p:sp>
        <p:nvSpPr>
          <p:cNvPr id="844" name="TextBox 83">
            <a:extLst>
              <a:ext uri="{FF2B5EF4-FFF2-40B4-BE49-F238E27FC236}">
                <a16:creationId xmlns:a16="http://schemas.microsoft.com/office/drawing/2014/main" id="{B68634C6-B448-45BA-A86F-13EAA708340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8525" y="2286774"/>
            <a:ext cx="1546815" cy="298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de-DE"/>
            </a:defPPr>
            <a:lvl1pPr algn="ctr" eaLnBrk="1" hangingPunct="1">
              <a:buClr>
                <a:srgbClr val="949EAA"/>
              </a:buClr>
              <a:defRPr sz="1100" b="1">
                <a:solidFill>
                  <a:srgbClr val="00646E"/>
                </a:solidFill>
                <a:latin typeface="Arial" charset="0"/>
                <a:ea typeface="宋体" pitchFamily="2" charset="-122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marL="0" marR="0" lvl="0" indent="0" algn="ctr" defTabSz="9134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49EAA"/>
              </a:buClr>
              <a:buSzTx/>
              <a:buFontTx/>
              <a:buNone/>
              <a:tabLst/>
              <a:defRPr/>
            </a:pPr>
            <a:r>
              <a:rPr kumimoji="0" lang="en-US" altLang="en-US" sz="1298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宋体" pitchFamily="2" charset="-122"/>
                <a:cs typeface="Arial" charset="0"/>
              </a:rPr>
              <a:t>Analytics</a:t>
            </a:r>
          </a:p>
        </p:txBody>
      </p:sp>
      <p:sp>
        <p:nvSpPr>
          <p:cNvPr id="845" name="TextBox 83">
            <a:extLst>
              <a:ext uri="{FF2B5EF4-FFF2-40B4-BE49-F238E27FC236}">
                <a16:creationId xmlns:a16="http://schemas.microsoft.com/office/drawing/2014/main" id="{00FB6E33-AA4A-4B88-A478-0A342FC83B3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26668" y="3628421"/>
            <a:ext cx="5804736" cy="298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de-DE"/>
            </a:defPPr>
            <a:lvl1pPr algn="ctr" eaLnBrk="1" hangingPunct="1">
              <a:buClr>
                <a:srgbClr val="949EAA"/>
              </a:buClr>
              <a:defRPr sz="1100" b="1">
                <a:solidFill>
                  <a:srgbClr val="00646E"/>
                </a:solidFill>
                <a:latin typeface="Arial" charset="0"/>
                <a:ea typeface="宋体" pitchFamily="2" charset="-122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marL="0" marR="0" lvl="0" indent="0" algn="ctr" defTabSz="9134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49EAA"/>
              </a:buClr>
              <a:buSzTx/>
              <a:buFontTx/>
              <a:buNone/>
              <a:tabLst/>
              <a:defRPr/>
            </a:pPr>
            <a:r>
              <a:rPr kumimoji="0" lang="en-US" altLang="en-US" sz="1298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宋体" pitchFamily="2" charset="-122"/>
                <a:cs typeface="Arial" charset="0"/>
              </a:rPr>
              <a:t>Intelligence Server</a:t>
            </a:r>
          </a:p>
        </p:txBody>
      </p:sp>
      <p:sp>
        <p:nvSpPr>
          <p:cNvPr id="846" name="TextBox 83">
            <a:extLst>
              <a:ext uri="{FF2B5EF4-FFF2-40B4-BE49-F238E27FC236}">
                <a16:creationId xmlns:a16="http://schemas.microsoft.com/office/drawing/2014/main" id="{AD542F97-1136-4634-838E-742B3D0624E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2749" y="3631754"/>
            <a:ext cx="4214250" cy="298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de-DE"/>
            </a:defPPr>
            <a:lvl1pPr algn="ctr" eaLnBrk="1" hangingPunct="1">
              <a:buClr>
                <a:srgbClr val="949EAA"/>
              </a:buClr>
              <a:defRPr sz="1100" b="1">
                <a:solidFill>
                  <a:srgbClr val="00646E"/>
                </a:solidFill>
                <a:latin typeface="Arial" charset="0"/>
                <a:ea typeface="宋体" pitchFamily="2" charset="-122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marL="0" marR="0" lvl="0" indent="0" algn="ctr" defTabSz="9134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49EAA"/>
              </a:buClr>
              <a:buSzTx/>
              <a:buFontTx/>
              <a:buNone/>
              <a:tabLst/>
              <a:defRPr/>
            </a:pPr>
            <a:r>
              <a:rPr kumimoji="0" lang="en-US" altLang="en-US" sz="1298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宋体" pitchFamily="2" charset="-122"/>
                <a:cs typeface="Arial" charset="0"/>
              </a:rPr>
              <a:t>Performance Management</a:t>
            </a:r>
          </a:p>
        </p:txBody>
      </p:sp>
      <p:sp>
        <p:nvSpPr>
          <p:cNvPr id="847" name="TextBox 83">
            <a:extLst>
              <a:ext uri="{FF2B5EF4-FFF2-40B4-BE49-F238E27FC236}">
                <a16:creationId xmlns:a16="http://schemas.microsoft.com/office/drawing/2014/main" id="{73F3D3E2-F1FB-4616-87C7-385942437A5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9087" y="4927512"/>
            <a:ext cx="10102316" cy="298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de-DE"/>
            </a:defPPr>
            <a:lvl1pPr algn="ctr" eaLnBrk="1" hangingPunct="1">
              <a:buClr>
                <a:srgbClr val="949EAA"/>
              </a:buClr>
              <a:defRPr sz="1100" b="1">
                <a:solidFill>
                  <a:srgbClr val="00646E"/>
                </a:solidFill>
                <a:latin typeface="Arial" charset="0"/>
                <a:ea typeface="宋体" pitchFamily="2" charset="-122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marL="0" marR="0" lvl="0" indent="0" algn="ctr" defTabSz="9134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49EAA"/>
              </a:buClr>
              <a:buSzTx/>
              <a:buFontTx/>
              <a:buNone/>
              <a:tabLst/>
              <a:defRPr/>
            </a:pPr>
            <a:r>
              <a:rPr kumimoji="0" lang="en-US" altLang="en-US" sz="1298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Arial" charset="0"/>
              </a:rPr>
              <a:t>               Connectivity</a:t>
            </a:r>
            <a:endParaRPr kumimoji="0" lang="en-US" altLang="en-US" sz="1298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宋体" pitchFamily="2" charset="-122"/>
              <a:cs typeface="Arial" charset="0"/>
            </a:endParaRPr>
          </a:p>
        </p:txBody>
      </p:sp>
      <p:sp>
        <p:nvSpPr>
          <p:cNvPr id="848" name="Rectangle: Rounded Corners 847">
            <a:extLst>
              <a:ext uri="{FF2B5EF4-FFF2-40B4-BE49-F238E27FC236}">
                <a16:creationId xmlns:a16="http://schemas.microsoft.com/office/drawing/2014/main" id="{124640A6-DEBE-43C2-9499-FB3AD829BC79}"/>
              </a:ext>
            </a:extLst>
          </p:cNvPr>
          <p:cNvSpPr/>
          <p:nvPr/>
        </p:nvSpPr>
        <p:spPr bwMode="auto">
          <a:xfrm>
            <a:off x="5065295" y="6026664"/>
            <a:ext cx="991094" cy="220521"/>
          </a:xfrm>
          <a:prstGeom prst="roundRect">
            <a:avLst/>
          </a:prstGeom>
          <a:solidFill>
            <a:srgbClr val="DFE6ED"/>
          </a:solidFill>
          <a:ln>
            <a:noFill/>
          </a:ln>
          <a:effectLst/>
        </p:spPr>
        <p:txBody>
          <a:bodyPr rot="0" spcFirstLastPara="0" vertOverflow="overflow" horzOverflow="overflow" vert="horz" wrap="square" lIns="0" tIns="45696" rIns="0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sz="800" b="1" dirty="0">
                <a:solidFill>
                  <a:srgbClr val="000000"/>
                </a:solidFill>
                <a:latin typeface="Arial"/>
                <a:ea typeface="+mn-ea"/>
              </a:rPr>
              <a:t>BATCH</a:t>
            </a:r>
            <a:endParaRPr lang="en-US" sz="800" b="1" dirty="0" err="1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849" name="Rectangle: Rounded Corners 848">
            <a:extLst>
              <a:ext uri="{FF2B5EF4-FFF2-40B4-BE49-F238E27FC236}">
                <a16:creationId xmlns:a16="http://schemas.microsoft.com/office/drawing/2014/main" id="{F7D999C1-E177-471B-80E4-90950E106A73}"/>
              </a:ext>
            </a:extLst>
          </p:cNvPr>
          <p:cNvSpPr/>
          <p:nvPr/>
        </p:nvSpPr>
        <p:spPr bwMode="auto">
          <a:xfrm>
            <a:off x="6109790" y="6026460"/>
            <a:ext cx="991094" cy="220521"/>
          </a:xfrm>
          <a:prstGeom prst="roundRect">
            <a:avLst/>
          </a:prstGeom>
          <a:solidFill>
            <a:srgbClr val="DFE6ED"/>
          </a:solidFill>
          <a:ln>
            <a:noFill/>
          </a:ln>
          <a:effectLst/>
        </p:spPr>
        <p:txBody>
          <a:bodyPr rot="0" spcFirstLastPara="0" vertOverflow="overflow" horzOverflow="overflow" vert="horz" wrap="square" lIns="0" tIns="45696" rIns="0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sz="800" b="1" dirty="0">
                <a:solidFill>
                  <a:srgbClr val="000000"/>
                </a:solidFill>
                <a:latin typeface="Arial"/>
                <a:ea typeface="+mn-ea"/>
              </a:rPr>
              <a:t>MindSphere IoT</a:t>
            </a:r>
            <a:endParaRPr lang="en-US" sz="800" b="1" dirty="0" err="1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850" name="Rectangle: Rounded Corners 849">
            <a:extLst>
              <a:ext uri="{FF2B5EF4-FFF2-40B4-BE49-F238E27FC236}">
                <a16:creationId xmlns:a16="http://schemas.microsoft.com/office/drawing/2014/main" id="{3229990B-DAEE-4514-991A-05FCFA1A1314}"/>
              </a:ext>
            </a:extLst>
          </p:cNvPr>
          <p:cNvSpPr/>
          <p:nvPr/>
        </p:nvSpPr>
        <p:spPr bwMode="auto">
          <a:xfrm>
            <a:off x="4025382" y="6026664"/>
            <a:ext cx="991094" cy="220521"/>
          </a:xfrm>
          <a:prstGeom prst="roundRect">
            <a:avLst/>
          </a:prstGeom>
          <a:solidFill>
            <a:srgbClr val="DFE6ED"/>
          </a:solidFill>
          <a:ln>
            <a:noFill/>
          </a:ln>
          <a:effectLst/>
        </p:spPr>
        <p:txBody>
          <a:bodyPr rot="0" spcFirstLastPara="0" vertOverflow="overflow" horzOverflow="overflow" vert="horz" wrap="square" lIns="0" tIns="45696" rIns="0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sz="800" b="1" dirty="0">
                <a:solidFill>
                  <a:srgbClr val="000000"/>
                </a:solidFill>
                <a:latin typeface="Arial"/>
                <a:ea typeface="+mn-ea"/>
              </a:rPr>
              <a:t>SAP</a:t>
            </a:r>
            <a:endParaRPr lang="en-US" sz="800" b="1" dirty="0" err="1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851" name="Rectangle: Rounded Corners 850">
            <a:extLst>
              <a:ext uri="{FF2B5EF4-FFF2-40B4-BE49-F238E27FC236}">
                <a16:creationId xmlns:a16="http://schemas.microsoft.com/office/drawing/2014/main" id="{07C0B57E-2767-47FB-99FC-FAF367F61E45}"/>
              </a:ext>
            </a:extLst>
          </p:cNvPr>
          <p:cNvSpPr/>
          <p:nvPr/>
        </p:nvSpPr>
        <p:spPr bwMode="auto">
          <a:xfrm>
            <a:off x="2985470" y="6024055"/>
            <a:ext cx="991094" cy="220521"/>
          </a:xfrm>
          <a:prstGeom prst="roundRect">
            <a:avLst/>
          </a:prstGeom>
          <a:solidFill>
            <a:srgbClr val="DFE6ED"/>
          </a:solidFill>
          <a:ln>
            <a:noFill/>
          </a:ln>
          <a:effectLst/>
        </p:spPr>
        <p:txBody>
          <a:bodyPr rot="0" spcFirstLastPara="0" vertOverflow="overflow" horzOverflow="overflow" vert="horz" wrap="square" lIns="0" tIns="45696" rIns="0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sz="800" b="1" dirty="0">
                <a:solidFill>
                  <a:srgbClr val="000000"/>
                </a:solidFill>
                <a:latin typeface="Arial"/>
                <a:ea typeface="+mn-ea"/>
              </a:rPr>
              <a:t>Relational</a:t>
            </a:r>
            <a:endParaRPr lang="en-US" sz="800" b="1" dirty="0" err="1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852" name="Rectangle: Rounded Corners 851">
            <a:extLst>
              <a:ext uri="{FF2B5EF4-FFF2-40B4-BE49-F238E27FC236}">
                <a16:creationId xmlns:a16="http://schemas.microsoft.com/office/drawing/2014/main" id="{397E3544-B061-493E-B5C9-327E14FFD407}"/>
              </a:ext>
            </a:extLst>
          </p:cNvPr>
          <p:cNvSpPr/>
          <p:nvPr/>
        </p:nvSpPr>
        <p:spPr bwMode="auto">
          <a:xfrm>
            <a:off x="1943210" y="6024055"/>
            <a:ext cx="991094" cy="220521"/>
          </a:xfrm>
          <a:prstGeom prst="roundRect">
            <a:avLst/>
          </a:prstGeom>
          <a:solidFill>
            <a:srgbClr val="DFE6ED"/>
          </a:solidFill>
          <a:ln>
            <a:noFill/>
          </a:ln>
          <a:effectLst/>
        </p:spPr>
        <p:txBody>
          <a:bodyPr rot="0" spcFirstLastPara="0" vertOverflow="overflow" horzOverflow="overflow" vert="horz" wrap="square" lIns="0" tIns="45696" rIns="0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sz="800" b="1" dirty="0">
                <a:solidFill>
                  <a:srgbClr val="000000"/>
                </a:solidFill>
                <a:latin typeface="Arial"/>
                <a:ea typeface="+mn-ea"/>
              </a:rPr>
              <a:t>Historian</a:t>
            </a:r>
            <a:endParaRPr lang="en-US" sz="800" b="1" dirty="0" err="1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853" name="Rectangle: Rounded Corners 852">
            <a:extLst>
              <a:ext uri="{FF2B5EF4-FFF2-40B4-BE49-F238E27FC236}">
                <a16:creationId xmlns:a16="http://schemas.microsoft.com/office/drawing/2014/main" id="{66F79FFC-AF66-4EDC-9CF8-D9B3C50697B5}"/>
              </a:ext>
            </a:extLst>
          </p:cNvPr>
          <p:cNvSpPr/>
          <p:nvPr/>
        </p:nvSpPr>
        <p:spPr bwMode="auto">
          <a:xfrm>
            <a:off x="8185032" y="6031696"/>
            <a:ext cx="991094" cy="220521"/>
          </a:xfrm>
          <a:prstGeom prst="roundRect">
            <a:avLst/>
          </a:prstGeom>
          <a:solidFill>
            <a:srgbClr val="DFE6ED"/>
          </a:solidFill>
          <a:ln>
            <a:noFill/>
          </a:ln>
          <a:effectLst/>
        </p:spPr>
        <p:txBody>
          <a:bodyPr rot="0" spcFirstLastPara="0" vertOverflow="overflow" horzOverflow="overflow" vert="horz" wrap="square" lIns="0" tIns="45696" rIns="0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sz="800" b="1" dirty="0">
                <a:solidFill>
                  <a:srgbClr val="000000"/>
                </a:solidFill>
                <a:latin typeface="Arial"/>
                <a:ea typeface="+mn-ea"/>
              </a:rPr>
              <a:t>Documents</a:t>
            </a:r>
            <a:endParaRPr lang="en-US" sz="800" b="1" dirty="0" err="1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854" name="Rectangle: Rounded Corners 853">
            <a:extLst>
              <a:ext uri="{FF2B5EF4-FFF2-40B4-BE49-F238E27FC236}">
                <a16:creationId xmlns:a16="http://schemas.microsoft.com/office/drawing/2014/main" id="{FB8BC493-ED60-4081-BC29-70DEFEE101F2}"/>
              </a:ext>
            </a:extLst>
          </p:cNvPr>
          <p:cNvSpPr/>
          <p:nvPr/>
        </p:nvSpPr>
        <p:spPr bwMode="auto">
          <a:xfrm>
            <a:off x="9224944" y="6029971"/>
            <a:ext cx="991094" cy="220521"/>
          </a:xfrm>
          <a:prstGeom prst="roundRect">
            <a:avLst/>
          </a:prstGeom>
          <a:solidFill>
            <a:srgbClr val="DFE6ED"/>
          </a:solidFill>
          <a:ln>
            <a:noFill/>
          </a:ln>
          <a:effectLst/>
        </p:spPr>
        <p:txBody>
          <a:bodyPr rot="0" spcFirstLastPara="0" vertOverflow="overflow" horzOverflow="overflow" vert="horz" wrap="square" lIns="0" tIns="45696" rIns="0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sz="800" b="1" dirty="0">
                <a:solidFill>
                  <a:srgbClr val="000000"/>
                </a:solidFill>
                <a:latin typeface="Arial"/>
                <a:ea typeface="+mn-ea"/>
              </a:rPr>
              <a:t>Restful</a:t>
            </a:r>
            <a:endParaRPr lang="en-US" sz="800" b="1" dirty="0" err="1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855" name="Freeform 169">
            <a:extLst>
              <a:ext uri="{FF2B5EF4-FFF2-40B4-BE49-F238E27FC236}">
                <a16:creationId xmlns:a16="http://schemas.microsoft.com/office/drawing/2014/main" id="{5C1DB598-4B30-4D40-8AD1-B2D1AC136DD7}"/>
              </a:ext>
            </a:extLst>
          </p:cNvPr>
          <p:cNvSpPr>
            <a:spLocks noEditPoints="1"/>
          </p:cNvSpPr>
          <p:nvPr/>
        </p:nvSpPr>
        <p:spPr bwMode="auto">
          <a:xfrm>
            <a:off x="9570815" y="5687406"/>
            <a:ext cx="274447" cy="280501"/>
          </a:xfrm>
          <a:custGeom>
            <a:avLst/>
            <a:gdLst>
              <a:gd name="T0" fmla="*/ 748 w 998"/>
              <a:gd name="T1" fmla="*/ 839 h 1020"/>
              <a:gd name="T2" fmla="*/ 794 w 998"/>
              <a:gd name="T3" fmla="*/ 453 h 1020"/>
              <a:gd name="T4" fmla="*/ 975 w 998"/>
              <a:gd name="T5" fmla="*/ 294 h 1020"/>
              <a:gd name="T6" fmla="*/ 794 w 998"/>
              <a:gd name="T7" fmla="*/ 223 h 1020"/>
              <a:gd name="T8" fmla="*/ 748 w 998"/>
              <a:gd name="T9" fmla="*/ 223 h 1020"/>
              <a:gd name="T10" fmla="*/ 612 w 998"/>
              <a:gd name="T11" fmla="*/ 476 h 1020"/>
              <a:gd name="T12" fmla="*/ 635 w 998"/>
              <a:gd name="T13" fmla="*/ 771 h 1020"/>
              <a:gd name="T14" fmla="*/ 453 w 998"/>
              <a:gd name="T15" fmla="*/ 431 h 1020"/>
              <a:gd name="T16" fmla="*/ 567 w 998"/>
              <a:gd name="T17" fmla="*/ 0 h 1020"/>
              <a:gd name="T18" fmla="*/ 453 w 998"/>
              <a:gd name="T19" fmla="*/ 385 h 1020"/>
              <a:gd name="T20" fmla="*/ 351 w 998"/>
              <a:gd name="T21" fmla="*/ 238 h 1020"/>
              <a:gd name="T22" fmla="*/ 272 w 998"/>
              <a:gd name="T23" fmla="*/ 158 h 1020"/>
              <a:gd name="T24" fmla="*/ 363 w 998"/>
              <a:gd name="T25" fmla="*/ 90 h 1020"/>
              <a:gd name="T26" fmla="*/ 227 w 998"/>
              <a:gd name="T27" fmla="*/ 22 h 1020"/>
              <a:gd name="T28" fmla="*/ 34 w 998"/>
              <a:gd name="T29" fmla="*/ 181 h 1020"/>
              <a:gd name="T30" fmla="*/ 227 w 998"/>
              <a:gd name="T31" fmla="*/ 249 h 1020"/>
              <a:gd name="T32" fmla="*/ 50 w 998"/>
              <a:gd name="T33" fmla="*/ 308 h 1020"/>
              <a:gd name="T34" fmla="*/ 227 w 998"/>
              <a:gd name="T35" fmla="*/ 385 h 1020"/>
              <a:gd name="T36" fmla="*/ 0 w 998"/>
              <a:gd name="T37" fmla="*/ 544 h 1020"/>
              <a:gd name="T38" fmla="*/ 227 w 998"/>
              <a:gd name="T39" fmla="*/ 604 h 1020"/>
              <a:gd name="T40" fmla="*/ 204 w 998"/>
              <a:gd name="T41" fmla="*/ 839 h 1020"/>
              <a:gd name="T42" fmla="*/ 272 w 998"/>
              <a:gd name="T43" fmla="*/ 756 h 1020"/>
              <a:gd name="T44" fmla="*/ 521 w 998"/>
              <a:gd name="T45" fmla="*/ 567 h 1020"/>
              <a:gd name="T46" fmla="*/ 306 w 998"/>
              <a:gd name="T47" fmla="*/ 941 h 1020"/>
              <a:gd name="T48" fmla="*/ 408 w 998"/>
              <a:gd name="T49" fmla="*/ 816 h 1020"/>
              <a:gd name="T50" fmla="*/ 544 w 998"/>
              <a:gd name="T51" fmla="*/ 939 h 1020"/>
              <a:gd name="T52" fmla="*/ 635 w 998"/>
              <a:gd name="T53" fmla="*/ 816 h 1020"/>
              <a:gd name="T54" fmla="*/ 975 w 998"/>
              <a:gd name="T55" fmla="*/ 929 h 1020"/>
              <a:gd name="T56" fmla="*/ 680 w 998"/>
              <a:gd name="T57" fmla="*/ 657 h 1020"/>
              <a:gd name="T58" fmla="*/ 828 w 998"/>
              <a:gd name="T59" fmla="*/ 555 h 1020"/>
              <a:gd name="T60" fmla="*/ 703 w 998"/>
              <a:gd name="T61" fmla="*/ 476 h 1020"/>
              <a:gd name="T62" fmla="*/ 748 w 998"/>
              <a:gd name="T63" fmla="*/ 499 h 1020"/>
              <a:gd name="T64" fmla="*/ 737 w 998"/>
              <a:gd name="T65" fmla="*/ 147 h 1020"/>
              <a:gd name="T66" fmla="*/ 771 w 998"/>
              <a:gd name="T67" fmla="*/ 181 h 1020"/>
              <a:gd name="T68" fmla="*/ 465 w 998"/>
              <a:gd name="T69" fmla="*/ 238 h 1020"/>
              <a:gd name="T70" fmla="*/ 113 w 998"/>
              <a:gd name="T71" fmla="*/ 215 h 1020"/>
              <a:gd name="T72" fmla="*/ 113 w 998"/>
              <a:gd name="T73" fmla="*/ 215 h 1020"/>
              <a:gd name="T74" fmla="*/ 45 w 998"/>
              <a:gd name="T75" fmla="*/ 544 h 1020"/>
              <a:gd name="T76" fmla="*/ 272 w 998"/>
              <a:gd name="T77" fmla="*/ 431 h 1020"/>
              <a:gd name="T78" fmla="*/ 272 w 998"/>
              <a:gd name="T79" fmla="*/ 431 h 1020"/>
              <a:gd name="T80" fmla="*/ 272 w 998"/>
              <a:gd name="T81" fmla="*/ 705 h 1020"/>
              <a:gd name="T82" fmla="*/ 227 w 998"/>
              <a:gd name="T83" fmla="*/ 655 h 1020"/>
              <a:gd name="T84" fmla="*/ 275 w 998"/>
              <a:gd name="T85" fmla="*/ 657 h 1020"/>
              <a:gd name="T86" fmla="*/ 272 w 998"/>
              <a:gd name="T87" fmla="*/ 604 h 1020"/>
              <a:gd name="T88" fmla="*/ 419 w 998"/>
              <a:gd name="T89" fmla="*/ 941 h 1020"/>
              <a:gd name="T90" fmla="*/ 351 w 998"/>
              <a:gd name="T91" fmla="*/ 941 h 1020"/>
              <a:gd name="T92" fmla="*/ 419 w 998"/>
              <a:gd name="T93" fmla="*/ 941 h 1020"/>
              <a:gd name="T94" fmla="*/ 930 w 998"/>
              <a:gd name="T95" fmla="*/ 929 h 1020"/>
              <a:gd name="T96" fmla="*/ 794 w 998"/>
              <a:gd name="T97" fmla="*/ 635 h 1020"/>
              <a:gd name="T98" fmla="*/ 862 w 998"/>
              <a:gd name="T99" fmla="*/ 635 h 1020"/>
              <a:gd name="T100" fmla="*/ 794 w 998"/>
              <a:gd name="T101" fmla="*/ 635 h 10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998" h="1020">
                <a:moveTo>
                  <a:pt x="787" y="771"/>
                </a:moveTo>
                <a:cubicBezTo>
                  <a:pt x="780" y="757"/>
                  <a:pt x="765" y="748"/>
                  <a:pt x="748" y="748"/>
                </a:cubicBezTo>
                <a:cubicBezTo>
                  <a:pt x="723" y="748"/>
                  <a:pt x="703" y="768"/>
                  <a:pt x="703" y="793"/>
                </a:cubicBezTo>
                <a:cubicBezTo>
                  <a:pt x="703" y="818"/>
                  <a:pt x="723" y="839"/>
                  <a:pt x="748" y="839"/>
                </a:cubicBezTo>
                <a:cubicBezTo>
                  <a:pt x="765" y="839"/>
                  <a:pt x="780" y="830"/>
                  <a:pt x="787" y="816"/>
                </a:cubicBezTo>
                <a:cubicBezTo>
                  <a:pt x="998" y="816"/>
                  <a:pt x="998" y="816"/>
                  <a:pt x="998" y="816"/>
                </a:cubicBezTo>
                <a:cubicBezTo>
                  <a:pt x="998" y="453"/>
                  <a:pt x="998" y="453"/>
                  <a:pt x="998" y="453"/>
                </a:cubicBezTo>
                <a:cubicBezTo>
                  <a:pt x="794" y="453"/>
                  <a:pt x="794" y="453"/>
                  <a:pt x="794" y="453"/>
                </a:cubicBezTo>
                <a:cubicBezTo>
                  <a:pt x="794" y="317"/>
                  <a:pt x="794" y="317"/>
                  <a:pt x="794" y="317"/>
                </a:cubicBezTo>
                <a:cubicBezTo>
                  <a:pt x="890" y="317"/>
                  <a:pt x="890" y="317"/>
                  <a:pt x="890" y="317"/>
                </a:cubicBezTo>
                <a:cubicBezTo>
                  <a:pt x="898" y="331"/>
                  <a:pt x="913" y="340"/>
                  <a:pt x="930" y="340"/>
                </a:cubicBezTo>
                <a:cubicBezTo>
                  <a:pt x="955" y="340"/>
                  <a:pt x="975" y="320"/>
                  <a:pt x="975" y="294"/>
                </a:cubicBezTo>
                <a:cubicBezTo>
                  <a:pt x="975" y="269"/>
                  <a:pt x="955" y="249"/>
                  <a:pt x="930" y="249"/>
                </a:cubicBezTo>
                <a:cubicBezTo>
                  <a:pt x="913" y="249"/>
                  <a:pt x="898" y="258"/>
                  <a:pt x="890" y="272"/>
                </a:cubicBezTo>
                <a:cubicBezTo>
                  <a:pt x="794" y="272"/>
                  <a:pt x="794" y="272"/>
                  <a:pt x="794" y="272"/>
                </a:cubicBezTo>
                <a:cubicBezTo>
                  <a:pt x="794" y="223"/>
                  <a:pt x="794" y="223"/>
                  <a:pt x="794" y="223"/>
                </a:cubicBezTo>
                <a:cubicBezTo>
                  <a:pt x="826" y="213"/>
                  <a:pt x="850" y="183"/>
                  <a:pt x="850" y="147"/>
                </a:cubicBezTo>
                <a:cubicBezTo>
                  <a:pt x="850" y="103"/>
                  <a:pt x="815" y="68"/>
                  <a:pt x="771" y="68"/>
                </a:cubicBezTo>
                <a:cubicBezTo>
                  <a:pt x="727" y="68"/>
                  <a:pt x="691" y="103"/>
                  <a:pt x="691" y="147"/>
                </a:cubicBezTo>
                <a:cubicBezTo>
                  <a:pt x="691" y="183"/>
                  <a:pt x="715" y="213"/>
                  <a:pt x="748" y="223"/>
                </a:cubicBezTo>
                <a:cubicBezTo>
                  <a:pt x="748" y="272"/>
                  <a:pt x="748" y="272"/>
                  <a:pt x="748" y="272"/>
                </a:cubicBezTo>
                <a:cubicBezTo>
                  <a:pt x="635" y="272"/>
                  <a:pt x="635" y="272"/>
                  <a:pt x="635" y="272"/>
                </a:cubicBezTo>
                <a:cubicBezTo>
                  <a:pt x="635" y="437"/>
                  <a:pt x="635" y="437"/>
                  <a:pt x="635" y="437"/>
                </a:cubicBezTo>
                <a:cubicBezTo>
                  <a:pt x="621" y="445"/>
                  <a:pt x="612" y="459"/>
                  <a:pt x="612" y="476"/>
                </a:cubicBezTo>
                <a:cubicBezTo>
                  <a:pt x="612" y="493"/>
                  <a:pt x="621" y="507"/>
                  <a:pt x="635" y="515"/>
                </a:cubicBezTo>
                <a:cubicBezTo>
                  <a:pt x="635" y="635"/>
                  <a:pt x="635" y="635"/>
                  <a:pt x="635" y="635"/>
                </a:cubicBezTo>
                <a:cubicBezTo>
                  <a:pt x="635" y="657"/>
                  <a:pt x="635" y="657"/>
                  <a:pt x="635" y="657"/>
                </a:cubicBezTo>
                <a:cubicBezTo>
                  <a:pt x="635" y="771"/>
                  <a:pt x="635" y="771"/>
                  <a:pt x="635" y="771"/>
                </a:cubicBezTo>
                <a:cubicBezTo>
                  <a:pt x="567" y="771"/>
                  <a:pt x="567" y="771"/>
                  <a:pt x="567" y="771"/>
                </a:cubicBezTo>
                <a:cubicBezTo>
                  <a:pt x="567" y="521"/>
                  <a:pt x="567" y="521"/>
                  <a:pt x="567" y="521"/>
                </a:cubicBezTo>
                <a:cubicBezTo>
                  <a:pt x="453" y="521"/>
                  <a:pt x="453" y="521"/>
                  <a:pt x="453" y="521"/>
                </a:cubicBezTo>
                <a:cubicBezTo>
                  <a:pt x="453" y="431"/>
                  <a:pt x="453" y="431"/>
                  <a:pt x="453" y="431"/>
                </a:cubicBezTo>
                <a:cubicBezTo>
                  <a:pt x="589" y="431"/>
                  <a:pt x="589" y="431"/>
                  <a:pt x="589" y="431"/>
                </a:cubicBezTo>
                <a:cubicBezTo>
                  <a:pt x="589" y="84"/>
                  <a:pt x="589" y="84"/>
                  <a:pt x="589" y="84"/>
                </a:cubicBezTo>
                <a:cubicBezTo>
                  <a:pt x="603" y="76"/>
                  <a:pt x="612" y="62"/>
                  <a:pt x="612" y="45"/>
                </a:cubicBezTo>
                <a:cubicBezTo>
                  <a:pt x="612" y="20"/>
                  <a:pt x="592" y="0"/>
                  <a:pt x="567" y="0"/>
                </a:cubicBezTo>
                <a:cubicBezTo>
                  <a:pt x="542" y="0"/>
                  <a:pt x="521" y="20"/>
                  <a:pt x="521" y="45"/>
                </a:cubicBezTo>
                <a:cubicBezTo>
                  <a:pt x="521" y="62"/>
                  <a:pt x="531" y="76"/>
                  <a:pt x="544" y="84"/>
                </a:cubicBezTo>
                <a:cubicBezTo>
                  <a:pt x="544" y="385"/>
                  <a:pt x="544" y="385"/>
                  <a:pt x="544" y="385"/>
                </a:cubicBezTo>
                <a:cubicBezTo>
                  <a:pt x="453" y="385"/>
                  <a:pt x="453" y="385"/>
                  <a:pt x="453" y="385"/>
                </a:cubicBezTo>
                <a:cubicBezTo>
                  <a:pt x="453" y="314"/>
                  <a:pt x="453" y="314"/>
                  <a:pt x="453" y="314"/>
                </a:cubicBezTo>
                <a:cubicBezTo>
                  <a:pt x="486" y="304"/>
                  <a:pt x="510" y="274"/>
                  <a:pt x="510" y="238"/>
                </a:cubicBezTo>
                <a:cubicBezTo>
                  <a:pt x="510" y="194"/>
                  <a:pt x="474" y="158"/>
                  <a:pt x="431" y="158"/>
                </a:cubicBezTo>
                <a:cubicBezTo>
                  <a:pt x="387" y="158"/>
                  <a:pt x="351" y="194"/>
                  <a:pt x="351" y="238"/>
                </a:cubicBezTo>
                <a:cubicBezTo>
                  <a:pt x="351" y="274"/>
                  <a:pt x="375" y="304"/>
                  <a:pt x="408" y="314"/>
                </a:cubicBezTo>
                <a:cubicBezTo>
                  <a:pt x="408" y="385"/>
                  <a:pt x="408" y="385"/>
                  <a:pt x="408" y="385"/>
                </a:cubicBezTo>
                <a:cubicBezTo>
                  <a:pt x="272" y="385"/>
                  <a:pt x="272" y="385"/>
                  <a:pt x="272" y="385"/>
                </a:cubicBezTo>
                <a:cubicBezTo>
                  <a:pt x="272" y="158"/>
                  <a:pt x="272" y="158"/>
                  <a:pt x="272" y="158"/>
                </a:cubicBezTo>
                <a:cubicBezTo>
                  <a:pt x="272" y="158"/>
                  <a:pt x="272" y="158"/>
                  <a:pt x="272" y="158"/>
                </a:cubicBezTo>
                <a:cubicBezTo>
                  <a:pt x="272" y="68"/>
                  <a:pt x="272" y="68"/>
                  <a:pt x="272" y="68"/>
                </a:cubicBezTo>
                <a:cubicBezTo>
                  <a:pt x="323" y="68"/>
                  <a:pt x="323" y="68"/>
                  <a:pt x="323" y="68"/>
                </a:cubicBezTo>
                <a:cubicBezTo>
                  <a:pt x="331" y="81"/>
                  <a:pt x="346" y="90"/>
                  <a:pt x="363" y="90"/>
                </a:cubicBezTo>
                <a:cubicBezTo>
                  <a:pt x="388" y="90"/>
                  <a:pt x="408" y="70"/>
                  <a:pt x="408" y="45"/>
                </a:cubicBezTo>
                <a:cubicBezTo>
                  <a:pt x="408" y="20"/>
                  <a:pt x="388" y="0"/>
                  <a:pt x="363" y="0"/>
                </a:cubicBezTo>
                <a:cubicBezTo>
                  <a:pt x="346" y="0"/>
                  <a:pt x="331" y="9"/>
                  <a:pt x="323" y="22"/>
                </a:cubicBezTo>
                <a:cubicBezTo>
                  <a:pt x="227" y="22"/>
                  <a:pt x="227" y="22"/>
                  <a:pt x="227" y="22"/>
                </a:cubicBezTo>
                <a:cubicBezTo>
                  <a:pt x="227" y="158"/>
                  <a:pt x="227" y="158"/>
                  <a:pt x="227" y="158"/>
                </a:cubicBezTo>
                <a:cubicBezTo>
                  <a:pt x="189" y="158"/>
                  <a:pt x="189" y="158"/>
                  <a:pt x="189" y="158"/>
                </a:cubicBezTo>
                <a:cubicBezTo>
                  <a:pt x="180" y="126"/>
                  <a:pt x="149" y="102"/>
                  <a:pt x="113" y="102"/>
                </a:cubicBezTo>
                <a:cubicBezTo>
                  <a:pt x="69" y="102"/>
                  <a:pt x="34" y="137"/>
                  <a:pt x="34" y="181"/>
                </a:cubicBezTo>
                <a:cubicBezTo>
                  <a:pt x="34" y="225"/>
                  <a:pt x="69" y="260"/>
                  <a:pt x="113" y="260"/>
                </a:cubicBezTo>
                <a:cubicBezTo>
                  <a:pt x="149" y="260"/>
                  <a:pt x="179" y="237"/>
                  <a:pt x="189" y="204"/>
                </a:cubicBezTo>
                <a:cubicBezTo>
                  <a:pt x="227" y="204"/>
                  <a:pt x="227" y="204"/>
                  <a:pt x="227" y="204"/>
                </a:cubicBezTo>
                <a:cubicBezTo>
                  <a:pt x="227" y="249"/>
                  <a:pt x="227" y="249"/>
                  <a:pt x="227" y="249"/>
                </a:cubicBezTo>
                <a:cubicBezTo>
                  <a:pt x="227" y="249"/>
                  <a:pt x="227" y="249"/>
                  <a:pt x="227" y="249"/>
                </a:cubicBezTo>
                <a:cubicBezTo>
                  <a:pt x="227" y="340"/>
                  <a:pt x="227" y="340"/>
                  <a:pt x="227" y="340"/>
                </a:cubicBezTo>
                <a:cubicBezTo>
                  <a:pt x="96" y="340"/>
                  <a:pt x="96" y="340"/>
                  <a:pt x="96" y="340"/>
                </a:cubicBezTo>
                <a:cubicBezTo>
                  <a:pt x="89" y="321"/>
                  <a:pt x="71" y="308"/>
                  <a:pt x="50" y="308"/>
                </a:cubicBezTo>
                <a:cubicBezTo>
                  <a:pt x="22" y="308"/>
                  <a:pt x="0" y="330"/>
                  <a:pt x="0" y="358"/>
                </a:cubicBezTo>
                <a:cubicBezTo>
                  <a:pt x="0" y="386"/>
                  <a:pt x="22" y="408"/>
                  <a:pt x="50" y="408"/>
                </a:cubicBezTo>
                <a:cubicBezTo>
                  <a:pt x="67" y="408"/>
                  <a:pt x="83" y="399"/>
                  <a:pt x="91" y="385"/>
                </a:cubicBezTo>
                <a:cubicBezTo>
                  <a:pt x="227" y="385"/>
                  <a:pt x="227" y="385"/>
                  <a:pt x="227" y="385"/>
                </a:cubicBezTo>
                <a:cubicBezTo>
                  <a:pt x="227" y="521"/>
                  <a:pt x="227" y="521"/>
                  <a:pt x="227" y="521"/>
                </a:cubicBezTo>
                <a:cubicBezTo>
                  <a:pt x="155" y="521"/>
                  <a:pt x="155" y="521"/>
                  <a:pt x="155" y="521"/>
                </a:cubicBezTo>
                <a:cubicBezTo>
                  <a:pt x="145" y="488"/>
                  <a:pt x="115" y="465"/>
                  <a:pt x="79" y="465"/>
                </a:cubicBezTo>
                <a:cubicBezTo>
                  <a:pt x="35" y="465"/>
                  <a:pt x="0" y="500"/>
                  <a:pt x="0" y="544"/>
                </a:cubicBezTo>
                <a:cubicBezTo>
                  <a:pt x="0" y="588"/>
                  <a:pt x="35" y="623"/>
                  <a:pt x="79" y="623"/>
                </a:cubicBezTo>
                <a:cubicBezTo>
                  <a:pt x="115" y="623"/>
                  <a:pt x="145" y="599"/>
                  <a:pt x="155" y="567"/>
                </a:cubicBezTo>
                <a:cubicBezTo>
                  <a:pt x="227" y="567"/>
                  <a:pt x="227" y="567"/>
                  <a:pt x="227" y="567"/>
                </a:cubicBezTo>
                <a:cubicBezTo>
                  <a:pt x="227" y="604"/>
                  <a:pt x="227" y="604"/>
                  <a:pt x="227" y="604"/>
                </a:cubicBezTo>
                <a:cubicBezTo>
                  <a:pt x="194" y="614"/>
                  <a:pt x="170" y="644"/>
                  <a:pt x="170" y="680"/>
                </a:cubicBezTo>
                <a:cubicBezTo>
                  <a:pt x="170" y="716"/>
                  <a:pt x="194" y="746"/>
                  <a:pt x="227" y="756"/>
                </a:cubicBezTo>
                <a:cubicBezTo>
                  <a:pt x="227" y="800"/>
                  <a:pt x="227" y="800"/>
                  <a:pt x="227" y="800"/>
                </a:cubicBezTo>
                <a:cubicBezTo>
                  <a:pt x="213" y="807"/>
                  <a:pt x="204" y="822"/>
                  <a:pt x="204" y="839"/>
                </a:cubicBezTo>
                <a:cubicBezTo>
                  <a:pt x="204" y="864"/>
                  <a:pt x="224" y="884"/>
                  <a:pt x="249" y="884"/>
                </a:cubicBezTo>
                <a:cubicBezTo>
                  <a:pt x="274" y="884"/>
                  <a:pt x="295" y="864"/>
                  <a:pt x="295" y="839"/>
                </a:cubicBezTo>
                <a:cubicBezTo>
                  <a:pt x="295" y="822"/>
                  <a:pt x="285" y="807"/>
                  <a:pt x="272" y="800"/>
                </a:cubicBezTo>
                <a:cubicBezTo>
                  <a:pt x="272" y="756"/>
                  <a:pt x="272" y="756"/>
                  <a:pt x="272" y="756"/>
                </a:cubicBezTo>
                <a:cubicBezTo>
                  <a:pt x="298" y="748"/>
                  <a:pt x="318" y="728"/>
                  <a:pt x="325" y="703"/>
                </a:cubicBezTo>
                <a:cubicBezTo>
                  <a:pt x="453" y="703"/>
                  <a:pt x="453" y="703"/>
                  <a:pt x="453" y="703"/>
                </a:cubicBezTo>
                <a:cubicBezTo>
                  <a:pt x="453" y="567"/>
                  <a:pt x="453" y="567"/>
                  <a:pt x="453" y="567"/>
                </a:cubicBezTo>
                <a:cubicBezTo>
                  <a:pt x="521" y="567"/>
                  <a:pt x="521" y="567"/>
                  <a:pt x="521" y="567"/>
                </a:cubicBezTo>
                <a:cubicBezTo>
                  <a:pt x="521" y="771"/>
                  <a:pt x="521" y="771"/>
                  <a:pt x="521" y="771"/>
                </a:cubicBezTo>
                <a:cubicBezTo>
                  <a:pt x="363" y="771"/>
                  <a:pt x="363" y="771"/>
                  <a:pt x="363" y="771"/>
                </a:cubicBezTo>
                <a:cubicBezTo>
                  <a:pt x="363" y="865"/>
                  <a:pt x="363" y="865"/>
                  <a:pt x="363" y="865"/>
                </a:cubicBezTo>
                <a:cubicBezTo>
                  <a:pt x="330" y="874"/>
                  <a:pt x="306" y="905"/>
                  <a:pt x="306" y="941"/>
                </a:cubicBezTo>
                <a:cubicBezTo>
                  <a:pt x="306" y="985"/>
                  <a:pt x="342" y="1020"/>
                  <a:pt x="385" y="1020"/>
                </a:cubicBezTo>
                <a:cubicBezTo>
                  <a:pt x="429" y="1020"/>
                  <a:pt x="465" y="985"/>
                  <a:pt x="465" y="941"/>
                </a:cubicBezTo>
                <a:cubicBezTo>
                  <a:pt x="465" y="905"/>
                  <a:pt x="441" y="874"/>
                  <a:pt x="408" y="865"/>
                </a:cubicBezTo>
                <a:cubicBezTo>
                  <a:pt x="408" y="816"/>
                  <a:pt x="408" y="816"/>
                  <a:pt x="408" y="816"/>
                </a:cubicBezTo>
                <a:cubicBezTo>
                  <a:pt x="521" y="816"/>
                  <a:pt x="521" y="816"/>
                  <a:pt x="521" y="816"/>
                </a:cubicBezTo>
                <a:cubicBezTo>
                  <a:pt x="521" y="844"/>
                  <a:pt x="521" y="844"/>
                  <a:pt x="521" y="844"/>
                </a:cubicBezTo>
                <a:cubicBezTo>
                  <a:pt x="505" y="852"/>
                  <a:pt x="494" y="869"/>
                  <a:pt x="494" y="889"/>
                </a:cubicBezTo>
                <a:cubicBezTo>
                  <a:pt x="494" y="916"/>
                  <a:pt x="517" y="939"/>
                  <a:pt x="544" y="939"/>
                </a:cubicBezTo>
                <a:cubicBezTo>
                  <a:pt x="572" y="939"/>
                  <a:pt x="594" y="916"/>
                  <a:pt x="594" y="889"/>
                </a:cubicBezTo>
                <a:cubicBezTo>
                  <a:pt x="594" y="869"/>
                  <a:pt x="583" y="852"/>
                  <a:pt x="567" y="844"/>
                </a:cubicBezTo>
                <a:cubicBezTo>
                  <a:pt x="567" y="816"/>
                  <a:pt x="567" y="816"/>
                  <a:pt x="567" y="816"/>
                </a:cubicBezTo>
                <a:cubicBezTo>
                  <a:pt x="635" y="816"/>
                  <a:pt x="635" y="816"/>
                  <a:pt x="635" y="816"/>
                </a:cubicBezTo>
                <a:cubicBezTo>
                  <a:pt x="635" y="952"/>
                  <a:pt x="635" y="952"/>
                  <a:pt x="635" y="952"/>
                </a:cubicBezTo>
                <a:cubicBezTo>
                  <a:pt x="820" y="952"/>
                  <a:pt x="820" y="952"/>
                  <a:pt x="820" y="952"/>
                </a:cubicBezTo>
                <a:cubicBezTo>
                  <a:pt x="829" y="985"/>
                  <a:pt x="860" y="1009"/>
                  <a:pt x="896" y="1009"/>
                </a:cubicBezTo>
                <a:cubicBezTo>
                  <a:pt x="939" y="1009"/>
                  <a:pt x="975" y="973"/>
                  <a:pt x="975" y="929"/>
                </a:cubicBezTo>
                <a:cubicBezTo>
                  <a:pt x="975" y="886"/>
                  <a:pt x="939" y="850"/>
                  <a:pt x="896" y="850"/>
                </a:cubicBezTo>
                <a:cubicBezTo>
                  <a:pt x="860" y="850"/>
                  <a:pt x="829" y="874"/>
                  <a:pt x="820" y="907"/>
                </a:cubicBezTo>
                <a:cubicBezTo>
                  <a:pt x="680" y="907"/>
                  <a:pt x="680" y="907"/>
                  <a:pt x="680" y="907"/>
                </a:cubicBezTo>
                <a:cubicBezTo>
                  <a:pt x="680" y="657"/>
                  <a:pt x="680" y="657"/>
                  <a:pt x="680" y="657"/>
                </a:cubicBezTo>
                <a:cubicBezTo>
                  <a:pt x="751" y="657"/>
                  <a:pt x="751" y="657"/>
                  <a:pt x="751" y="657"/>
                </a:cubicBezTo>
                <a:cubicBezTo>
                  <a:pt x="761" y="690"/>
                  <a:pt x="792" y="714"/>
                  <a:pt x="828" y="714"/>
                </a:cubicBezTo>
                <a:cubicBezTo>
                  <a:pt x="871" y="714"/>
                  <a:pt x="907" y="678"/>
                  <a:pt x="907" y="635"/>
                </a:cubicBezTo>
                <a:cubicBezTo>
                  <a:pt x="907" y="591"/>
                  <a:pt x="871" y="555"/>
                  <a:pt x="828" y="555"/>
                </a:cubicBezTo>
                <a:cubicBezTo>
                  <a:pt x="792" y="555"/>
                  <a:pt x="761" y="579"/>
                  <a:pt x="751" y="612"/>
                </a:cubicBezTo>
                <a:cubicBezTo>
                  <a:pt x="680" y="612"/>
                  <a:pt x="680" y="612"/>
                  <a:pt x="680" y="612"/>
                </a:cubicBezTo>
                <a:cubicBezTo>
                  <a:pt x="680" y="515"/>
                  <a:pt x="680" y="515"/>
                  <a:pt x="680" y="515"/>
                </a:cubicBezTo>
                <a:cubicBezTo>
                  <a:pt x="694" y="507"/>
                  <a:pt x="703" y="493"/>
                  <a:pt x="703" y="476"/>
                </a:cubicBezTo>
                <a:cubicBezTo>
                  <a:pt x="703" y="459"/>
                  <a:pt x="694" y="445"/>
                  <a:pt x="680" y="437"/>
                </a:cubicBezTo>
                <a:cubicBezTo>
                  <a:pt x="680" y="317"/>
                  <a:pt x="680" y="317"/>
                  <a:pt x="680" y="317"/>
                </a:cubicBezTo>
                <a:cubicBezTo>
                  <a:pt x="748" y="317"/>
                  <a:pt x="748" y="317"/>
                  <a:pt x="748" y="317"/>
                </a:cubicBezTo>
                <a:cubicBezTo>
                  <a:pt x="748" y="499"/>
                  <a:pt x="748" y="499"/>
                  <a:pt x="748" y="499"/>
                </a:cubicBezTo>
                <a:cubicBezTo>
                  <a:pt x="952" y="499"/>
                  <a:pt x="952" y="499"/>
                  <a:pt x="952" y="499"/>
                </a:cubicBezTo>
                <a:cubicBezTo>
                  <a:pt x="952" y="771"/>
                  <a:pt x="952" y="771"/>
                  <a:pt x="952" y="771"/>
                </a:cubicBezTo>
                <a:lnTo>
                  <a:pt x="787" y="771"/>
                </a:lnTo>
                <a:close/>
                <a:moveTo>
                  <a:pt x="737" y="147"/>
                </a:moveTo>
                <a:cubicBezTo>
                  <a:pt x="737" y="128"/>
                  <a:pt x="752" y="113"/>
                  <a:pt x="771" y="113"/>
                </a:cubicBezTo>
                <a:cubicBezTo>
                  <a:pt x="790" y="113"/>
                  <a:pt x="805" y="128"/>
                  <a:pt x="805" y="147"/>
                </a:cubicBezTo>
                <a:cubicBezTo>
                  <a:pt x="805" y="157"/>
                  <a:pt x="800" y="166"/>
                  <a:pt x="794" y="172"/>
                </a:cubicBezTo>
                <a:cubicBezTo>
                  <a:pt x="788" y="178"/>
                  <a:pt x="780" y="181"/>
                  <a:pt x="771" y="181"/>
                </a:cubicBezTo>
                <a:cubicBezTo>
                  <a:pt x="762" y="181"/>
                  <a:pt x="754" y="178"/>
                  <a:pt x="748" y="172"/>
                </a:cubicBezTo>
                <a:cubicBezTo>
                  <a:pt x="741" y="166"/>
                  <a:pt x="737" y="157"/>
                  <a:pt x="737" y="147"/>
                </a:cubicBezTo>
                <a:close/>
                <a:moveTo>
                  <a:pt x="431" y="204"/>
                </a:moveTo>
                <a:cubicBezTo>
                  <a:pt x="449" y="204"/>
                  <a:pt x="465" y="219"/>
                  <a:pt x="465" y="238"/>
                </a:cubicBezTo>
                <a:cubicBezTo>
                  <a:pt x="465" y="257"/>
                  <a:pt x="449" y="272"/>
                  <a:pt x="431" y="272"/>
                </a:cubicBezTo>
                <a:cubicBezTo>
                  <a:pt x="412" y="272"/>
                  <a:pt x="397" y="257"/>
                  <a:pt x="397" y="238"/>
                </a:cubicBezTo>
                <a:cubicBezTo>
                  <a:pt x="397" y="219"/>
                  <a:pt x="412" y="204"/>
                  <a:pt x="431" y="204"/>
                </a:cubicBezTo>
                <a:close/>
                <a:moveTo>
                  <a:pt x="113" y="215"/>
                </a:moveTo>
                <a:cubicBezTo>
                  <a:pt x="94" y="215"/>
                  <a:pt x="79" y="200"/>
                  <a:pt x="79" y="181"/>
                </a:cubicBezTo>
                <a:cubicBezTo>
                  <a:pt x="79" y="162"/>
                  <a:pt x="94" y="147"/>
                  <a:pt x="113" y="147"/>
                </a:cubicBezTo>
                <a:cubicBezTo>
                  <a:pt x="132" y="147"/>
                  <a:pt x="147" y="162"/>
                  <a:pt x="147" y="181"/>
                </a:cubicBezTo>
                <a:cubicBezTo>
                  <a:pt x="147" y="200"/>
                  <a:pt x="132" y="215"/>
                  <a:pt x="113" y="215"/>
                </a:cubicBezTo>
                <a:close/>
                <a:moveTo>
                  <a:pt x="113" y="544"/>
                </a:moveTo>
                <a:cubicBezTo>
                  <a:pt x="113" y="553"/>
                  <a:pt x="110" y="561"/>
                  <a:pt x="105" y="567"/>
                </a:cubicBezTo>
                <a:cubicBezTo>
                  <a:pt x="98" y="574"/>
                  <a:pt x="89" y="578"/>
                  <a:pt x="79" y="578"/>
                </a:cubicBezTo>
                <a:cubicBezTo>
                  <a:pt x="60" y="578"/>
                  <a:pt x="45" y="563"/>
                  <a:pt x="45" y="544"/>
                </a:cubicBezTo>
                <a:cubicBezTo>
                  <a:pt x="45" y="525"/>
                  <a:pt x="60" y="510"/>
                  <a:pt x="79" y="510"/>
                </a:cubicBezTo>
                <a:cubicBezTo>
                  <a:pt x="89" y="510"/>
                  <a:pt x="98" y="514"/>
                  <a:pt x="105" y="521"/>
                </a:cubicBezTo>
                <a:cubicBezTo>
                  <a:pt x="110" y="527"/>
                  <a:pt x="113" y="535"/>
                  <a:pt x="113" y="544"/>
                </a:cubicBezTo>
                <a:close/>
                <a:moveTo>
                  <a:pt x="272" y="431"/>
                </a:moveTo>
                <a:cubicBezTo>
                  <a:pt x="408" y="431"/>
                  <a:pt x="408" y="431"/>
                  <a:pt x="408" y="431"/>
                </a:cubicBezTo>
                <a:cubicBezTo>
                  <a:pt x="408" y="521"/>
                  <a:pt x="408" y="521"/>
                  <a:pt x="408" y="521"/>
                </a:cubicBezTo>
                <a:cubicBezTo>
                  <a:pt x="272" y="521"/>
                  <a:pt x="272" y="521"/>
                  <a:pt x="272" y="521"/>
                </a:cubicBezTo>
                <a:lnTo>
                  <a:pt x="272" y="431"/>
                </a:lnTo>
                <a:close/>
                <a:moveTo>
                  <a:pt x="283" y="680"/>
                </a:moveTo>
                <a:cubicBezTo>
                  <a:pt x="283" y="689"/>
                  <a:pt x="280" y="697"/>
                  <a:pt x="275" y="703"/>
                </a:cubicBezTo>
                <a:cubicBezTo>
                  <a:pt x="272" y="703"/>
                  <a:pt x="272" y="703"/>
                  <a:pt x="272" y="703"/>
                </a:cubicBezTo>
                <a:cubicBezTo>
                  <a:pt x="272" y="705"/>
                  <a:pt x="272" y="705"/>
                  <a:pt x="272" y="705"/>
                </a:cubicBezTo>
                <a:cubicBezTo>
                  <a:pt x="266" y="711"/>
                  <a:pt x="258" y="714"/>
                  <a:pt x="249" y="714"/>
                </a:cubicBezTo>
                <a:cubicBezTo>
                  <a:pt x="241" y="714"/>
                  <a:pt x="233" y="711"/>
                  <a:pt x="227" y="705"/>
                </a:cubicBezTo>
                <a:cubicBezTo>
                  <a:pt x="220" y="699"/>
                  <a:pt x="215" y="690"/>
                  <a:pt x="215" y="680"/>
                </a:cubicBezTo>
                <a:cubicBezTo>
                  <a:pt x="215" y="670"/>
                  <a:pt x="220" y="661"/>
                  <a:pt x="227" y="655"/>
                </a:cubicBezTo>
                <a:cubicBezTo>
                  <a:pt x="233" y="649"/>
                  <a:pt x="241" y="646"/>
                  <a:pt x="249" y="646"/>
                </a:cubicBezTo>
                <a:cubicBezTo>
                  <a:pt x="258" y="646"/>
                  <a:pt x="266" y="649"/>
                  <a:pt x="272" y="655"/>
                </a:cubicBezTo>
                <a:cubicBezTo>
                  <a:pt x="272" y="657"/>
                  <a:pt x="272" y="657"/>
                  <a:pt x="272" y="657"/>
                </a:cubicBezTo>
                <a:cubicBezTo>
                  <a:pt x="275" y="657"/>
                  <a:pt x="275" y="657"/>
                  <a:pt x="275" y="657"/>
                </a:cubicBezTo>
                <a:cubicBezTo>
                  <a:pt x="280" y="663"/>
                  <a:pt x="283" y="671"/>
                  <a:pt x="283" y="680"/>
                </a:cubicBezTo>
                <a:close/>
                <a:moveTo>
                  <a:pt x="408" y="657"/>
                </a:moveTo>
                <a:cubicBezTo>
                  <a:pt x="325" y="657"/>
                  <a:pt x="325" y="657"/>
                  <a:pt x="325" y="657"/>
                </a:cubicBezTo>
                <a:cubicBezTo>
                  <a:pt x="318" y="632"/>
                  <a:pt x="298" y="612"/>
                  <a:pt x="272" y="604"/>
                </a:cubicBezTo>
                <a:cubicBezTo>
                  <a:pt x="272" y="567"/>
                  <a:pt x="272" y="567"/>
                  <a:pt x="272" y="567"/>
                </a:cubicBezTo>
                <a:cubicBezTo>
                  <a:pt x="408" y="567"/>
                  <a:pt x="408" y="567"/>
                  <a:pt x="408" y="567"/>
                </a:cubicBezTo>
                <a:lnTo>
                  <a:pt x="408" y="657"/>
                </a:lnTo>
                <a:close/>
                <a:moveTo>
                  <a:pt x="419" y="941"/>
                </a:moveTo>
                <a:cubicBezTo>
                  <a:pt x="419" y="951"/>
                  <a:pt x="415" y="960"/>
                  <a:pt x="408" y="966"/>
                </a:cubicBezTo>
                <a:cubicBezTo>
                  <a:pt x="402" y="972"/>
                  <a:pt x="394" y="975"/>
                  <a:pt x="385" y="975"/>
                </a:cubicBezTo>
                <a:cubicBezTo>
                  <a:pt x="377" y="975"/>
                  <a:pt x="369" y="972"/>
                  <a:pt x="363" y="966"/>
                </a:cubicBezTo>
                <a:cubicBezTo>
                  <a:pt x="356" y="960"/>
                  <a:pt x="351" y="951"/>
                  <a:pt x="351" y="941"/>
                </a:cubicBezTo>
                <a:cubicBezTo>
                  <a:pt x="351" y="931"/>
                  <a:pt x="356" y="922"/>
                  <a:pt x="363" y="916"/>
                </a:cubicBezTo>
                <a:cubicBezTo>
                  <a:pt x="369" y="910"/>
                  <a:pt x="377" y="907"/>
                  <a:pt x="385" y="907"/>
                </a:cubicBezTo>
                <a:cubicBezTo>
                  <a:pt x="394" y="907"/>
                  <a:pt x="402" y="910"/>
                  <a:pt x="408" y="915"/>
                </a:cubicBezTo>
                <a:cubicBezTo>
                  <a:pt x="415" y="922"/>
                  <a:pt x="419" y="931"/>
                  <a:pt x="419" y="941"/>
                </a:cubicBezTo>
                <a:close/>
                <a:moveTo>
                  <a:pt x="862" y="929"/>
                </a:moveTo>
                <a:cubicBezTo>
                  <a:pt x="862" y="921"/>
                  <a:pt x="865" y="913"/>
                  <a:pt x="870" y="907"/>
                </a:cubicBezTo>
                <a:cubicBezTo>
                  <a:pt x="876" y="900"/>
                  <a:pt x="886" y="895"/>
                  <a:pt x="896" y="895"/>
                </a:cubicBezTo>
                <a:cubicBezTo>
                  <a:pt x="914" y="895"/>
                  <a:pt x="930" y="911"/>
                  <a:pt x="930" y="929"/>
                </a:cubicBezTo>
                <a:cubicBezTo>
                  <a:pt x="930" y="948"/>
                  <a:pt x="914" y="963"/>
                  <a:pt x="896" y="963"/>
                </a:cubicBezTo>
                <a:cubicBezTo>
                  <a:pt x="886" y="963"/>
                  <a:pt x="876" y="959"/>
                  <a:pt x="870" y="952"/>
                </a:cubicBezTo>
                <a:cubicBezTo>
                  <a:pt x="865" y="946"/>
                  <a:pt x="862" y="938"/>
                  <a:pt x="862" y="929"/>
                </a:cubicBezTo>
                <a:close/>
                <a:moveTo>
                  <a:pt x="794" y="635"/>
                </a:moveTo>
                <a:cubicBezTo>
                  <a:pt x="794" y="626"/>
                  <a:pt x="797" y="618"/>
                  <a:pt x="802" y="612"/>
                </a:cubicBezTo>
                <a:cubicBezTo>
                  <a:pt x="808" y="605"/>
                  <a:pt x="818" y="601"/>
                  <a:pt x="828" y="601"/>
                </a:cubicBezTo>
                <a:cubicBezTo>
                  <a:pt x="838" y="601"/>
                  <a:pt x="847" y="605"/>
                  <a:pt x="853" y="612"/>
                </a:cubicBezTo>
                <a:cubicBezTo>
                  <a:pt x="858" y="618"/>
                  <a:pt x="862" y="626"/>
                  <a:pt x="862" y="635"/>
                </a:cubicBezTo>
                <a:cubicBezTo>
                  <a:pt x="862" y="643"/>
                  <a:pt x="858" y="651"/>
                  <a:pt x="853" y="657"/>
                </a:cubicBezTo>
                <a:cubicBezTo>
                  <a:pt x="847" y="664"/>
                  <a:pt x="838" y="669"/>
                  <a:pt x="828" y="669"/>
                </a:cubicBezTo>
                <a:cubicBezTo>
                  <a:pt x="818" y="669"/>
                  <a:pt x="808" y="664"/>
                  <a:pt x="802" y="657"/>
                </a:cubicBezTo>
                <a:cubicBezTo>
                  <a:pt x="797" y="651"/>
                  <a:pt x="794" y="643"/>
                  <a:pt x="794" y="635"/>
                </a:cubicBezTo>
                <a:close/>
              </a:path>
            </a:pathLst>
          </a:custGeom>
          <a:solidFill>
            <a:srgbClr val="0F8287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799">
              <a:solidFill>
                <a:srgbClr val="000000"/>
              </a:solidFill>
              <a:latin typeface="Arial"/>
              <a:ea typeface="+mn-ea"/>
            </a:endParaRPr>
          </a:p>
        </p:txBody>
      </p:sp>
      <p:grpSp>
        <p:nvGrpSpPr>
          <p:cNvPr id="856" name="Group 855">
            <a:extLst>
              <a:ext uri="{FF2B5EF4-FFF2-40B4-BE49-F238E27FC236}">
                <a16:creationId xmlns:a16="http://schemas.microsoft.com/office/drawing/2014/main" id="{ADD48388-D0D9-4F05-95C4-20476D41E89E}"/>
              </a:ext>
            </a:extLst>
          </p:cNvPr>
          <p:cNvGrpSpPr/>
          <p:nvPr/>
        </p:nvGrpSpPr>
        <p:grpSpPr>
          <a:xfrm>
            <a:off x="7415315" y="5707614"/>
            <a:ext cx="395155" cy="274521"/>
            <a:chOff x="7794093" y="5609501"/>
            <a:chExt cx="378039" cy="259077"/>
          </a:xfrm>
        </p:grpSpPr>
        <p:sp>
          <p:nvSpPr>
            <p:cNvPr id="857" name="Freeform 62">
              <a:extLst>
                <a:ext uri="{FF2B5EF4-FFF2-40B4-BE49-F238E27FC236}">
                  <a16:creationId xmlns:a16="http://schemas.microsoft.com/office/drawing/2014/main" id="{9862C624-9243-4395-914A-67743F98AEEA}"/>
                </a:ext>
              </a:extLst>
            </p:cNvPr>
            <p:cNvSpPr>
              <a:spLocks/>
            </p:cNvSpPr>
            <p:nvPr/>
          </p:nvSpPr>
          <p:spPr bwMode="auto">
            <a:xfrm>
              <a:off x="7794093" y="5609501"/>
              <a:ext cx="378039" cy="244233"/>
            </a:xfrm>
            <a:custGeom>
              <a:avLst/>
              <a:gdLst>
                <a:gd name="T0" fmla="*/ 121 w 890"/>
                <a:gd name="T1" fmla="*/ 575 h 575"/>
                <a:gd name="T2" fmla="*/ 709 w 890"/>
                <a:gd name="T3" fmla="*/ 575 h 575"/>
                <a:gd name="T4" fmla="*/ 884 w 890"/>
                <a:gd name="T5" fmla="*/ 407 h 575"/>
                <a:gd name="T6" fmla="*/ 720 w 890"/>
                <a:gd name="T7" fmla="*/ 214 h 575"/>
                <a:gd name="T8" fmla="*/ 497 w 890"/>
                <a:gd name="T9" fmla="*/ 8 h 575"/>
                <a:gd name="T10" fmla="*/ 275 w 890"/>
                <a:gd name="T11" fmla="*/ 160 h 575"/>
                <a:gd name="T12" fmla="*/ 105 w 890"/>
                <a:gd name="T13" fmla="*/ 323 h 575"/>
                <a:gd name="T14" fmla="*/ 0 w 890"/>
                <a:gd name="T15" fmla="*/ 438 h 575"/>
                <a:gd name="T16" fmla="*/ 121 w 890"/>
                <a:gd name="T17" fmla="*/ 575 h 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0" h="575">
                  <a:moveTo>
                    <a:pt x="121" y="575"/>
                  </a:moveTo>
                  <a:cubicBezTo>
                    <a:pt x="709" y="575"/>
                    <a:pt x="709" y="575"/>
                    <a:pt x="709" y="575"/>
                  </a:cubicBezTo>
                  <a:cubicBezTo>
                    <a:pt x="884" y="570"/>
                    <a:pt x="884" y="407"/>
                    <a:pt x="884" y="407"/>
                  </a:cubicBezTo>
                  <a:cubicBezTo>
                    <a:pt x="890" y="222"/>
                    <a:pt x="720" y="214"/>
                    <a:pt x="720" y="214"/>
                  </a:cubicBezTo>
                  <a:cubicBezTo>
                    <a:pt x="681" y="0"/>
                    <a:pt x="497" y="8"/>
                    <a:pt x="497" y="8"/>
                  </a:cubicBezTo>
                  <a:cubicBezTo>
                    <a:pt x="325" y="8"/>
                    <a:pt x="275" y="160"/>
                    <a:pt x="275" y="160"/>
                  </a:cubicBezTo>
                  <a:cubicBezTo>
                    <a:pt x="97" y="160"/>
                    <a:pt x="105" y="323"/>
                    <a:pt x="105" y="323"/>
                  </a:cubicBezTo>
                  <a:cubicBezTo>
                    <a:pt x="0" y="340"/>
                    <a:pt x="0" y="438"/>
                    <a:pt x="0" y="438"/>
                  </a:cubicBezTo>
                  <a:cubicBezTo>
                    <a:pt x="0" y="568"/>
                    <a:pt x="121" y="575"/>
                    <a:pt x="121" y="575"/>
                  </a:cubicBezTo>
                  <a:close/>
                </a:path>
              </a:pathLst>
            </a:custGeom>
            <a:solidFill>
              <a:srgbClr val="0F8287"/>
            </a:solidFill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799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pic>
          <p:nvPicPr>
            <p:cNvPr id="858" name="Graphic 857" descr="Single gear">
              <a:extLst>
                <a:ext uri="{FF2B5EF4-FFF2-40B4-BE49-F238E27FC236}">
                  <a16:creationId xmlns:a16="http://schemas.microsoft.com/office/drawing/2014/main" id="{9FA6239C-9065-4674-8595-20223C395245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7872121" y="5631527"/>
              <a:ext cx="237051" cy="2370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8799755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25">
            <a:extLst>
              <a:ext uri="{FF2B5EF4-FFF2-40B4-BE49-F238E27FC236}">
                <a16:creationId xmlns:a16="http://schemas.microsoft.com/office/drawing/2014/main" id="{B3D1A60B-3678-406A-C641-FAAB08A753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7109" y="1551208"/>
            <a:ext cx="11020697" cy="4648414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1588372-5365-BDC8-F916-D1F7BC003FE8}"/>
              </a:ext>
            </a:extLst>
          </p:cNvPr>
          <p:cNvSpPr/>
          <p:nvPr/>
        </p:nvSpPr>
        <p:spPr bwMode="auto">
          <a:xfrm>
            <a:off x="648974" y="5884323"/>
            <a:ext cx="6970101" cy="93711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1799" kern="0" dirty="0" err="1">
              <a:solidFill>
                <a:srgbClr val="000000"/>
              </a:solidFill>
            </a:endParaRPr>
          </a:p>
        </p:txBody>
      </p:sp>
      <p:sp>
        <p:nvSpPr>
          <p:cNvPr id="787" name="Text Box 73">
            <a:extLst>
              <a:ext uri="{FF2B5EF4-FFF2-40B4-BE49-F238E27FC236}">
                <a16:creationId xmlns:a16="http://schemas.microsoft.com/office/drawing/2014/main" id="{9665CDBE-4993-2951-4073-A53518BB87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554" y="1573236"/>
            <a:ext cx="1560460" cy="1300999"/>
          </a:xfrm>
          <a:prstGeom prst="rect">
            <a:avLst/>
          </a:prstGeom>
          <a:solidFill>
            <a:srgbClr val="0F8287"/>
          </a:solidFill>
          <a:ln w="19050">
            <a:noFill/>
          </a:ln>
          <a:effectLst/>
        </p:spPr>
        <p:txBody>
          <a:bodyPr lIns="913448" tIns="71926" rIns="182690" bIns="71926" rtlCol="0" anchor="t" anchorCtr="0"/>
          <a:lstStyle>
            <a:defPPr>
              <a:defRPr lang="de-DE"/>
            </a:defPPr>
            <a:lvl1pPr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 sz="900" b="1">
                <a:solidFill>
                  <a:schemeClr val="bg1"/>
                </a:solidFill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defTabSz="913486">
              <a:buClr>
                <a:srgbClr val="FFFFFF"/>
              </a:buClr>
              <a:defRPr/>
            </a:pPr>
            <a:endParaRPr lang="en-US" altLang="en-US" dirty="0">
              <a:solidFill>
                <a:srgbClr val="FFFFFF"/>
              </a:solidFill>
            </a:endParaRPr>
          </a:p>
        </p:txBody>
      </p:sp>
      <p:sp>
        <p:nvSpPr>
          <p:cNvPr id="788" name="Rectangle 787">
            <a:extLst>
              <a:ext uri="{FF2B5EF4-FFF2-40B4-BE49-F238E27FC236}">
                <a16:creationId xmlns:a16="http://schemas.microsoft.com/office/drawing/2014/main" id="{934B2BE4-8BF6-4D16-DFE1-DAB3DE2201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17212" y="1580031"/>
            <a:ext cx="4152690" cy="1294986"/>
          </a:xfrm>
          <a:prstGeom prst="rect">
            <a:avLst/>
          </a:prstGeom>
          <a:solidFill>
            <a:srgbClr val="AAB414"/>
          </a:solidFill>
          <a:ln w="19050">
            <a:noFill/>
          </a:ln>
          <a:effectLst/>
        </p:spPr>
        <p:txBody>
          <a:bodyPr lIns="913448" tIns="71926" rIns="182690" bIns="71926" rtlCol="0" anchor="t" anchorCtr="0"/>
          <a:lstStyle/>
          <a:p>
            <a:pPr defTabSz="913486">
              <a:buClr>
                <a:srgbClr val="FFFFFF"/>
              </a:buClr>
              <a:defRPr/>
            </a:pPr>
            <a:endParaRPr lang="en-US" sz="1798" dirty="0">
              <a:solidFill>
                <a:srgbClr val="ADBECB"/>
              </a:solidFill>
            </a:endParaRPr>
          </a:p>
        </p:txBody>
      </p:sp>
      <p:sp>
        <p:nvSpPr>
          <p:cNvPr id="789" name="Rectangle 3">
            <a:extLst>
              <a:ext uri="{FF2B5EF4-FFF2-40B4-BE49-F238E27FC236}">
                <a16:creationId xmlns:a16="http://schemas.microsoft.com/office/drawing/2014/main" id="{31FD8E12-497D-5BA1-808A-EAD117273C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537" y="2913134"/>
            <a:ext cx="5755364" cy="1240541"/>
          </a:xfrm>
          <a:prstGeom prst="rect">
            <a:avLst/>
          </a:prstGeom>
          <a:solidFill>
            <a:srgbClr val="41AAC8"/>
          </a:solidFill>
          <a:ln w="19050">
            <a:noFill/>
          </a:ln>
          <a:effectLst/>
        </p:spPr>
        <p:txBody>
          <a:bodyPr lIns="913448" tIns="71926" rIns="182690" bIns="71926" rtlCol="0" anchor="t" anchorCtr="0"/>
          <a:lstStyle/>
          <a:p>
            <a:pPr defTabSz="913486">
              <a:buClr>
                <a:srgbClr val="FFFFFF"/>
              </a:buClr>
              <a:defRPr/>
            </a:pPr>
            <a:endParaRPr lang="en-US" sz="900" b="1" dirty="0">
              <a:solidFill>
                <a:srgbClr val="FFFFFF"/>
              </a:solidFill>
            </a:endParaRPr>
          </a:p>
        </p:txBody>
      </p:sp>
      <p:sp>
        <p:nvSpPr>
          <p:cNvPr id="795" name="Text Box 132">
            <a:extLst>
              <a:ext uri="{FF2B5EF4-FFF2-40B4-BE49-F238E27FC236}">
                <a16:creationId xmlns:a16="http://schemas.microsoft.com/office/drawing/2014/main" id="{8C610D4F-6208-6AD4-5B70-F0F4FFE286C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4539" y="4204544"/>
            <a:ext cx="5768327" cy="638518"/>
          </a:xfrm>
          <a:prstGeom prst="rect">
            <a:avLst/>
          </a:prstGeom>
          <a:solidFill>
            <a:srgbClr val="2387AA"/>
          </a:solidFill>
          <a:ln w="19050">
            <a:noFill/>
          </a:ln>
          <a:effectLst/>
        </p:spPr>
        <p:txBody>
          <a:bodyPr lIns="913448" tIns="71926" rIns="182690" bIns="71926" rtlCol="0" anchor="ctr" anchorCtr="0"/>
          <a:lstStyle>
            <a:defPPr>
              <a:defRPr lang="de-DE"/>
            </a:defPPr>
            <a:lvl1pPr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 sz="900" b="1">
                <a:solidFill>
                  <a:schemeClr val="bg1"/>
                </a:solidFill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ctr" defTabSz="913486">
              <a:spcAft>
                <a:spcPts val="600"/>
              </a:spcAft>
              <a:buClr>
                <a:srgbClr val="FFFFFF"/>
              </a:buClr>
              <a:defRPr/>
            </a:pPr>
            <a:endParaRPr lang="en-US" altLang="en-US" sz="1298" dirty="0">
              <a:solidFill>
                <a:srgbClr val="FFFFFF"/>
              </a:solidFill>
            </a:endParaRPr>
          </a:p>
        </p:txBody>
      </p:sp>
      <p:sp>
        <p:nvSpPr>
          <p:cNvPr id="797" name="TextBox 83">
            <a:extLst>
              <a:ext uri="{FF2B5EF4-FFF2-40B4-BE49-F238E27FC236}">
                <a16:creationId xmlns:a16="http://schemas.microsoft.com/office/drawing/2014/main" id="{46B0B411-C98C-5A42-10EF-79ACFE3BF8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038512" y="1758574"/>
            <a:ext cx="384401" cy="3231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vert" wrap="square">
            <a:spAutoFit/>
          </a:bodyPr>
          <a:lstStyle>
            <a:defPPr>
              <a:defRPr lang="de-DE"/>
            </a:defPPr>
            <a:lvl1pPr algn="ctr" eaLnBrk="1" hangingPunct="1">
              <a:buClr>
                <a:srgbClr val="949EAA"/>
              </a:buClr>
              <a:defRPr sz="1100" b="1">
                <a:solidFill>
                  <a:srgbClr val="00646E"/>
                </a:solidFill>
                <a:latin typeface="Arial" charset="0"/>
                <a:ea typeface="宋体" pitchFamily="2" charset="-122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defTabSz="91348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en-US" sz="1298" kern="0" dirty="0">
                <a:solidFill>
                  <a:srgbClr val="FFFFFF"/>
                </a:solidFill>
              </a:rPr>
              <a:t>Development and Administration Tools</a:t>
            </a:r>
          </a:p>
        </p:txBody>
      </p:sp>
      <p:sp>
        <p:nvSpPr>
          <p:cNvPr id="798" name="TextBox 797">
            <a:extLst>
              <a:ext uri="{FF2B5EF4-FFF2-40B4-BE49-F238E27FC236}">
                <a16:creationId xmlns:a16="http://schemas.microsoft.com/office/drawing/2014/main" id="{CE78A131-0086-9871-A9FF-20A8BA61CD37}"/>
              </a:ext>
            </a:extLst>
          </p:cNvPr>
          <p:cNvSpPr txBox="1"/>
          <p:nvPr/>
        </p:nvSpPr>
        <p:spPr bwMode="auto">
          <a:xfrm>
            <a:off x="4586019" y="1934056"/>
            <a:ext cx="1464924" cy="35362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defTabSz="913449">
              <a:lnSpc>
                <a:spcPct val="90000"/>
              </a:lnSpc>
              <a:defRPr/>
            </a:pPr>
            <a:r>
              <a:rPr lang="en-US" sz="999" b="1" dirty="0">
                <a:solidFill>
                  <a:srgbClr val="FFFFFF"/>
                </a:solidFill>
                <a:ea typeface="Segoe UI" pitchFamily="34" charset="0"/>
                <a:cs typeface="Segoe UI" pitchFamily="34" charset="0"/>
              </a:rPr>
              <a:t>Visual Tile </a:t>
            </a:r>
          </a:p>
          <a:p>
            <a:pPr algn="ctr" defTabSz="913449">
              <a:lnSpc>
                <a:spcPct val="90000"/>
              </a:lnSpc>
              <a:defRPr/>
            </a:pPr>
            <a:r>
              <a:rPr lang="en-US" sz="999" b="1" dirty="0">
                <a:solidFill>
                  <a:srgbClr val="FFFFFF"/>
                </a:solidFill>
                <a:ea typeface="Segoe UI" pitchFamily="34" charset="0"/>
                <a:cs typeface="Segoe UI" pitchFamily="34" charset="0"/>
              </a:rPr>
              <a:t>Composer</a:t>
            </a:r>
          </a:p>
        </p:txBody>
      </p:sp>
      <p:sp>
        <p:nvSpPr>
          <p:cNvPr id="800" name="Rectangle 799">
            <a:extLst>
              <a:ext uri="{FF2B5EF4-FFF2-40B4-BE49-F238E27FC236}">
                <a16:creationId xmlns:a16="http://schemas.microsoft.com/office/drawing/2014/main" id="{B86D3638-97C9-81C1-7BF9-C4B4A0E5F004}"/>
              </a:ext>
            </a:extLst>
          </p:cNvPr>
          <p:cNvSpPr/>
          <p:nvPr/>
        </p:nvSpPr>
        <p:spPr>
          <a:xfrm>
            <a:off x="2495806" y="3807688"/>
            <a:ext cx="998648" cy="293448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0" h="0"/>
          </a:sp3d>
        </p:spPr>
        <p:txBody>
          <a:bodyPr anchor="ctr"/>
          <a:lstStyle/>
          <a:p>
            <a:pPr algn="ctr" defTabSz="913486">
              <a:defRPr/>
            </a:pPr>
            <a:r>
              <a:rPr lang="en-US" sz="999" kern="0" dirty="0">
                <a:solidFill>
                  <a:srgbClr val="FFFFFF"/>
                </a:solidFill>
                <a:cs typeface="Arial" charset="0"/>
              </a:rPr>
              <a:t>Caching</a:t>
            </a:r>
          </a:p>
        </p:txBody>
      </p:sp>
      <p:sp>
        <p:nvSpPr>
          <p:cNvPr id="801" name="Rectangle 800">
            <a:extLst>
              <a:ext uri="{FF2B5EF4-FFF2-40B4-BE49-F238E27FC236}">
                <a16:creationId xmlns:a16="http://schemas.microsoft.com/office/drawing/2014/main" id="{8771A6AE-5843-36AC-CDE7-EEC4938C9151}"/>
              </a:ext>
            </a:extLst>
          </p:cNvPr>
          <p:cNvSpPr/>
          <p:nvPr/>
        </p:nvSpPr>
        <p:spPr>
          <a:xfrm>
            <a:off x="3254565" y="3807688"/>
            <a:ext cx="998648" cy="293448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0" h="0"/>
          </a:sp3d>
        </p:spPr>
        <p:txBody>
          <a:bodyPr anchor="ctr"/>
          <a:lstStyle/>
          <a:p>
            <a:pPr algn="ctr" defTabSz="913486">
              <a:defRPr/>
            </a:pPr>
            <a:r>
              <a:rPr lang="en-US" sz="999" kern="0" dirty="0">
                <a:solidFill>
                  <a:srgbClr val="FFFFFF"/>
                </a:solidFill>
                <a:cs typeface="Arial" charset="0"/>
              </a:rPr>
              <a:t>Modeling</a:t>
            </a:r>
          </a:p>
        </p:txBody>
      </p:sp>
      <p:sp>
        <p:nvSpPr>
          <p:cNvPr id="805" name="TextBox 804">
            <a:extLst>
              <a:ext uri="{FF2B5EF4-FFF2-40B4-BE49-F238E27FC236}">
                <a16:creationId xmlns:a16="http://schemas.microsoft.com/office/drawing/2014/main" id="{4E22E77A-DA41-3223-61CA-94FC58D055F3}"/>
              </a:ext>
            </a:extLst>
          </p:cNvPr>
          <p:cNvSpPr txBox="1"/>
          <p:nvPr/>
        </p:nvSpPr>
        <p:spPr bwMode="auto">
          <a:xfrm>
            <a:off x="2921238" y="1998352"/>
            <a:ext cx="971653" cy="14154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defTabSz="913449">
              <a:lnSpc>
                <a:spcPct val="90000"/>
              </a:lnSpc>
              <a:defRPr/>
            </a:pPr>
            <a:r>
              <a:rPr lang="en-US" sz="999" b="1" dirty="0">
                <a:solidFill>
                  <a:srgbClr val="FFFFFF"/>
                </a:solidFill>
                <a:ea typeface="Segoe UI" pitchFamily="34" charset="0"/>
                <a:cs typeface="Segoe UI" pitchFamily="34" charset="0"/>
              </a:rPr>
              <a:t>Solution Viewer</a:t>
            </a:r>
          </a:p>
        </p:txBody>
      </p:sp>
      <p:pic>
        <p:nvPicPr>
          <p:cNvPr id="809" name="Graphic 808">
            <a:extLst>
              <a:ext uri="{FF2B5EF4-FFF2-40B4-BE49-F238E27FC236}">
                <a16:creationId xmlns:a16="http://schemas.microsoft.com/office/drawing/2014/main" id="{FC94B730-98D5-0AB8-FD10-BFD97ADFEC5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682545" y="3321383"/>
            <a:ext cx="414610" cy="386969"/>
          </a:xfrm>
          <a:prstGeom prst="rect">
            <a:avLst/>
          </a:prstGeom>
        </p:spPr>
      </p:pic>
      <p:pic>
        <p:nvPicPr>
          <p:cNvPr id="810" name="Graphic 809">
            <a:extLst>
              <a:ext uri="{FF2B5EF4-FFF2-40B4-BE49-F238E27FC236}">
                <a16:creationId xmlns:a16="http://schemas.microsoft.com/office/drawing/2014/main" id="{0598AE5D-EB46-ED2A-0D2E-7EFE7BC5ADB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473904" y="3317847"/>
            <a:ext cx="339178" cy="399897"/>
          </a:xfrm>
          <a:prstGeom prst="rect">
            <a:avLst/>
          </a:prstGeom>
        </p:spPr>
      </p:pic>
      <p:pic>
        <p:nvPicPr>
          <p:cNvPr id="813" name="Graphic 812">
            <a:extLst>
              <a:ext uri="{FF2B5EF4-FFF2-40B4-BE49-F238E27FC236}">
                <a16:creationId xmlns:a16="http://schemas.microsoft.com/office/drawing/2014/main" id="{7B7BB071-F6B1-3B12-FD33-E617397689FB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26446" y="3342471"/>
            <a:ext cx="377969" cy="412034"/>
          </a:xfrm>
          <a:prstGeom prst="rect">
            <a:avLst/>
          </a:prstGeom>
        </p:spPr>
      </p:pic>
      <p:sp>
        <p:nvSpPr>
          <p:cNvPr id="831" name="Freeform 32">
            <a:extLst>
              <a:ext uri="{FF2B5EF4-FFF2-40B4-BE49-F238E27FC236}">
                <a16:creationId xmlns:a16="http://schemas.microsoft.com/office/drawing/2014/main" id="{71DAD95B-6A88-9B84-43F5-71A4429D2E9B}"/>
              </a:ext>
            </a:extLst>
          </p:cNvPr>
          <p:cNvSpPr>
            <a:spLocks noEditPoints="1"/>
          </p:cNvSpPr>
          <p:nvPr/>
        </p:nvSpPr>
        <p:spPr bwMode="auto">
          <a:xfrm>
            <a:off x="3518960" y="2317748"/>
            <a:ext cx="196996" cy="352386"/>
          </a:xfrm>
          <a:custGeom>
            <a:avLst/>
            <a:gdLst>
              <a:gd name="T0" fmla="*/ 385 w 431"/>
              <a:gd name="T1" fmla="*/ 0 h 771"/>
              <a:gd name="T2" fmla="*/ 45 w 431"/>
              <a:gd name="T3" fmla="*/ 0 h 771"/>
              <a:gd name="T4" fmla="*/ 0 w 431"/>
              <a:gd name="T5" fmla="*/ 46 h 771"/>
              <a:gd name="T6" fmla="*/ 0 w 431"/>
              <a:gd name="T7" fmla="*/ 726 h 771"/>
              <a:gd name="T8" fmla="*/ 45 w 431"/>
              <a:gd name="T9" fmla="*/ 771 h 771"/>
              <a:gd name="T10" fmla="*/ 385 w 431"/>
              <a:gd name="T11" fmla="*/ 771 h 771"/>
              <a:gd name="T12" fmla="*/ 431 w 431"/>
              <a:gd name="T13" fmla="*/ 726 h 771"/>
              <a:gd name="T14" fmla="*/ 431 w 431"/>
              <a:gd name="T15" fmla="*/ 46 h 771"/>
              <a:gd name="T16" fmla="*/ 385 w 431"/>
              <a:gd name="T17" fmla="*/ 0 h 771"/>
              <a:gd name="T18" fmla="*/ 159 w 431"/>
              <a:gd name="T19" fmla="*/ 45 h 771"/>
              <a:gd name="T20" fmla="*/ 272 w 431"/>
              <a:gd name="T21" fmla="*/ 45 h 771"/>
              <a:gd name="T22" fmla="*/ 272 w 431"/>
              <a:gd name="T23" fmla="*/ 92 h 771"/>
              <a:gd name="T24" fmla="*/ 159 w 431"/>
              <a:gd name="T25" fmla="*/ 92 h 771"/>
              <a:gd name="T26" fmla="*/ 159 w 431"/>
              <a:gd name="T27" fmla="*/ 45 h 771"/>
              <a:gd name="T28" fmla="*/ 215 w 431"/>
              <a:gd name="T29" fmla="*/ 727 h 771"/>
              <a:gd name="T30" fmla="*/ 181 w 431"/>
              <a:gd name="T31" fmla="*/ 692 h 771"/>
              <a:gd name="T32" fmla="*/ 215 w 431"/>
              <a:gd name="T33" fmla="*/ 658 h 771"/>
              <a:gd name="T34" fmla="*/ 250 w 431"/>
              <a:gd name="T35" fmla="*/ 692 h 771"/>
              <a:gd name="T36" fmla="*/ 215 w 431"/>
              <a:gd name="T37" fmla="*/ 727 h 771"/>
              <a:gd name="T38" fmla="*/ 385 w 431"/>
              <a:gd name="T39" fmla="*/ 613 h 771"/>
              <a:gd name="T40" fmla="*/ 45 w 431"/>
              <a:gd name="T41" fmla="*/ 613 h 771"/>
              <a:gd name="T42" fmla="*/ 45 w 431"/>
              <a:gd name="T43" fmla="*/ 136 h 771"/>
              <a:gd name="T44" fmla="*/ 385 w 431"/>
              <a:gd name="T45" fmla="*/ 136 h 771"/>
              <a:gd name="T46" fmla="*/ 385 w 431"/>
              <a:gd name="T47" fmla="*/ 613 h 7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431" h="771">
                <a:moveTo>
                  <a:pt x="385" y="0"/>
                </a:moveTo>
                <a:cubicBezTo>
                  <a:pt x="45" y="0"/>
                  <a:pt x="45" y="0"/>
                  <a:pt x="45" y="0"/>
                </a:cubicBezTo>
                <a:cubicBezTo>
                  <a:pt x="20" y="0"/>
                  <a:pt x="0" y="21"/>
                  <a:pt x="0" y="46"/>
                </a:cubicBezTo>
                <a:cubicBezTo>
                  <a:pt x="0" y="726"/>
                  <a:pt x="0" y="726"/>
                  <a:pt x="0" y="726"/>
                </a:cubicBezTo>
                <a:cubicBezTo>
                  <a:pt x="0" y="751"/>
                  <a:pt x="20" y="771"/>
                  <a:pt x="45" y="771"/>
                </a:cubicBezTo>
                <a:cubicBezTo>
                  <a:pt x="385" y="771"/>
                  <a:pt x="385" y="771"/>
                  <a:pt x="385" y="771"/>
                </a:cubicBezTo>
                <a:cubicBezTo>
                  <a:pt x="410" y="771"/>
                  <a:pt x="431" y="751"/>
                  <a:pt x="431" y="726"/>
                </a:cubicBezTo>
                <a:cubicBezTo>
                  <a:pt x="431" y="46"/>
                  <a:pt x="431" y="46"/>
                  <a:pt x="431" y="46"/>
                </a:cubicBezTo>
                <a:cubicBezTo>
                  <a:pt x="431" y="21"/>
                  <a:pt x="410" y="0"/>
                  <a:pt x="385" y="0"/>
                </a:cubicBezTo>
                <a:close/>
                <a:moveTo>
                  <a:pt x="159" y="45"/>
                </a:moveTo>
                <a:cubicBezTo>
                  <a:pt x="272" y="45"/>
                  <a:pt x="272" y="45"/>
                  <a:pt x="272" y="45"/>
                </a:cubicBezTo>
                <a:cubicBezTo>
                  <a:pt x="272" y="92"/>
                  <a:pt x="272" y="92"/>
                  <a:pt x="272" y="92"/>
                </a:cubicBezTo>
                <a:cubicBezTo>
                  <a:pt x="159" y="92"/>
                  <a:pt x="159" y="92"/>
                  <a:pt x="159" y="92"/>
                </a:cubicBezTo>
                <a:lnTo>
                  <a:pt x="159" y="45"/>
                </a:lnTo>
                <a:close/>
                <a:moveTo>
                  <a:pt x="215" y="727"/>
                </a:moveTo>
                <a:cubicBezTo>
                  <a:pt x="196" y="727"/>
                  <a:pt x="181" y="712"/>
                  <a:pt x="181" y="692"/>
                </a:cubicBezTo>
                <a:cubicBezTo>
                  <a:pt x="181" y="673"/>
                  <a:pt x="196" y="658"/>
                  <a:pt x="215" y="658"/>
                </a:cubicBezTo>
                <a:cubicBezTo>
                  <a:pt x="234" y="658"/>
                  <a:pt x="250" y="673"/>
                  <a:pt x="250" y="692"/>
                </a:cubicBezTo>
                <a:cubicBezTo>
                  <a:pt x="250" y="712"/>
                  <a:pt x="234" y="727"/>
                  <a:pt x="215" y="727"/>
                </a:cubicBezTo>
                <a:close/>
                <a:moveTo>
                  <a:pt x="385" y="613"/>
                </a:moveTo>
                <a:cubicBezTo>
                  <a:pt x="45" y="613"/>
                  <a:pt x="45" y="613"/>
                  <a:pt x="45" y="613"/>
                </a:cubicBezTo>
                <a:cubicBezTo>
                  <a:pt x="45" y="136"/>
                  <a:pt x="45" y="136"/>
                  <a:pt x="45" y="136"/>
                </a:cubicBezTo>
                <a:cubicBezTo>
                  <a:pt x="385" y="136"/>
                  <a:pt x="385" y="136"/>
                  <a:pt x="385" y="136"/>
                </a:cubicBezTo>
                <a:lnTo>
                  <a:pt x="385" y="61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1799" kern="0">
              <a:solidFill>
                <a:srgbClr val="000000"/>
              </a:solidFill>
            </a:endParaRPr>
          </a:p>
        </p:txBody>
      </p:sp>
      <p:sp>
        <p:nvSpPr>
          <p:cNvPr id="832" name="Freeform 37">
            <a:extLst>
              <a:ext uri="{FF2B5EF4-FFF2-40B4-BE49-F238E27FC236}">
                <a16:creationId xmlns:a16="http://schemas.microsoft.com/office/drawing/2014/main" id="{C0C1FF50-11AF-7E89-B1F6-79738A209110}"/>
              </a:ext>
            </a:extLst>
          </p:cNvPr>
          <p:cNvSpPr>
            <a:spLocks noEditPoints="1"/>
          </p:cNvSpPr>
          <p:nvPr/>
        </p:nvSpPr>
        <p:spPr bwMode="auto">
          <a:xfrm rot="5400000">
            <a:off x="2858677" y="2271782"/>
            <a:ext cx="352386" cy="447683"/>
          </a:xfrm>
          <a:custGeom>
            <a:avLst/>
            <a:gdLst>
              <a:gd name="T0" fmla="*/ 0 w 839"/>
              <a:gd name="T1" fmla="*/ 46 h 1066"/>
              <a:gd name="T2" fmla="*/ 0 w 839"/>
              <a:gd name="T3" fmla="*/ 1021 h 1066"/>
              <a:gd name="T4" fmla="*/ 45 w 839"/>
              <a:gd name="T5" fmla="*/ 1066 h 1066"/>
              <a:gd name="T6" fmla="*/ 793 w 839"/>
              <a:gd name="T7" fmla="*/ 1066 h 1066"/>
              <a:gd name="T8" fmla="*/ 839 w 839"/>
              <a:gd name="T9" fmla="*/ 1021 h 1066"/>
              <a:gd name="T10" fmla="*/ 839 w 839"/>
              <a:gd name="T11" fmla="*/ 46 h 1066"/>
              <a:gd name="T12" fmla="*/ 793 w 839"/>
              <a:gd name="T13" fmla="*/ 0 h 1066"/>
              <a:gd name="T14" fmla="*/ 45 w 839"/>
              <a:gd name="T15" fmla="*/ 0 h 1066"/>
              <a:gd name="T16" fmla="*/ 0 w 839"/>
              <a:gd name="T17" fmla="*/ 46 h 1066"/>
              <a:gd name="T18" fmla="*/ 414 w 839"/>
              <a:gd name="T19" fmla="*/ 35 h 1066"/>
              <a:gd name="T20" fmla="*/ 441 w 839"/>
              <a:gd name="T21" fmla="*/ 62 h 1066"/>
              <a:gd name="T22" fmla="*/ 424 w 839"/>
              <a:gd name="T23" fmla="*/ 79 h 1066"/>
              <a:gd name="T24" fmla="*/ 397 w 839"/>
              <a:gd name="T25" fmla="*/ 52 h 1066"/>
              <a:gd name="T26" fmla="*/ 414 w 839"/>
              <a:gd name="T27" fmla="*/ 35 h 1066"/>
              <a:gd name="T28" fmla="*/ 427 w 839"/>
              <a:gd name="T29" fmla="*/ 1032 h 1066"/>
              <a:gd name="T30" fmla="*/ 374 w 839"/>
              <a:gd name="T31" fmla="*/ 979 h 1066"/>
              <a:gd name="T32" fmla="*/ 411 w 839"/>
              <a:gd name="T33" fmla="*/ 942 h 1066"/>
              <a:gd name="T34" fmla="*/ 464 w 839"/>
              <a:gd name="T35" fmla="*/ 995 h 1066"/>
              <a:gd name="T36" fmla="*/ 427 w 839"/>
              <a:gd name="T37" fmla="*/ 1032 h 1066"/>
              <a:gd name="T38" fmla="*/ 771 w 839"/>
              <a:gd name="T39" fmla="*/ 908 h 1066"/>
              <a:gd name="T40" fmla="*/ 68 w 839"/>
              <a:gd name="T41" fmla="*/ 908 h 1066"/>
              <a:gd name="T42" fmla="*/ 68 w 839"/>
              <a:gd name="T43" fmla="*/ 114 h 1066"/>
              <a:gd name="T44" fmla="*/ 771 w 839"/>
              <a:gd name="T45" fmla="*/ 114 h 1066"/>
              <a:gd name="T46" fmla="*/ 771 w 839"/>
              <a:gd name="T47" fmla="*/ 908 h 10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839" h="1066">
                <a:moveTo>
                  <a:pt x="0" y="46"/>
                </a:moveTo>
                <a:cubicBezTo>
                  <a:pt x="0" y="1021"/>
                  <a:pt x="0" y="1021"/>
                  <a:pt x="0" y="1021"/>
                </a:cubicBezTo>
                <a:cubicBezTo>
                  <a:pt x="0" y="1046"/>
                  <a:pt x="20" y="1066"/>
                  <a:pt x="45" y="1066"/>
                </a:cubicBezTo>
                <a:cubicBezTo>
                  <a:pt x="793" y="1066"/>
                  <a:pt x="793" y="1066"/>
                  <a:pt x="793" y="1066"/>
                </a:cubicBezTo>
                <a:cubicBezTo>
                  <a:pt x="818" y="1066"/>
                  <a:pt x="839" y="1046"/>
                  <a:pt x="839" y="1021"/>
                </a:cubicBezTo>
                <a:cubicBezTo>
                  <a:pt x="839" y="46"/>
                  <a:pt x="839" y="46"/>
                  <a:pt x="839" y="46"/>
                </a:cubicBezTo>
                <a:cubicBezTo>
                  <a:pt x="839" y="21"/>
                  <a:pt x="818" y="0"/>
                  <a:pt x="793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20" y="0"/>
                  <a:pt x="0" y="21"/>
                  <a:pt x="0" y="46"/>
                </a:cubicBezTo>
                <a:close/>
                <a:moveTo>
                  <a:pt x="414" y="35"/>
                </a:moveTo>
                <a:cubicBezTo>
                  <a:pt x="431" y="31"/>
                  <a:pt x="445" y="46"/>
                  <a:pt x="441" y="62"/>
                </a:cubicBezTo>
                <a:cubicBezTo>
                  <a:pt x="439" y="71"/>
                  <a:pt x="433" y="77"/>
                  <a:pt x="424" y="79"/>
                </a:cubicBezTo>
                <a:cubicBezTo>
                  <a:pt x="408" y="83"/>
                  <a:pt x="393" y="69"/>
                  <a:pt x="397" y="52"/>
                </a:cubicBezTo>
                <a:cubicBezTo>
                  <a:pt x="399" y="44"/>
                  <a:pt x="406" y="37"/>
                  <a:pt x="414" y="35"/>
                </a:cubicBezTo>
                <a:close/>
                <a:moveTo>
                  <a:pt x="427" y="1032"/>
                </a:moveTo>
                <a:cubicBezTo>
                  <a:pt x="396" y="1037"/>
                  <a:pt x="369" y="1010"/>
                  <a:pt x="374" y="979"/>
                </a:cubicBezTo>
                <a:cubicBezTo>
                  <a:pt x="378" y="960"/>
                  <a:pt x="393" y="945"/>
                  <a:pt x="411" y="942"/>
                </a:cubicBezTo>
                <a:cubicBezTo>
                  <a:pt x="442" y="937"/>
                  <a:pt x="469" y="964"/>
                  <a:pt x="464" y="995"/>
                </a:cubicBezTo>
                <a:cubicBezTo>
                  <a:pt x="461" y="1013"/>
                  <a:pt x="446" y="1029"/>
                  <a:pt x="427" y="1032"/>
                </a:cubicBezTo>
                <a:close/>
                <a:moveTo>
                  <a:pt x="771" y="908"/>
                </a:moveTo>
                <a:cubicBezTo>
                  <a:pt x="68" y="908"/>
                  <a:pt x="68" y="908"/>
                  <a:pt x="68" y="908"/>
                </a:cubicBezTo>
                <a:cubicBezTo>
                  <a:pt x="68" y="114"/>
                  <a:pt x="68" y="114"/>
                  <a:pt x="68" y="114"/>
                </a:cubicBezTo>
                <a:cubicBezTo>
                  <a:pt x="771" y="114"/>
                  <a:pt x="771" y="114"/>
                  <a:pt x="771" y="114"/>
                </a:cubicBezTo>
                <a:lnTo>
                  <a:pt x="771" y="90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1799" kern="0">
              <a:solidFill>
                <a:srgbClr val="000000"/>
              </a:solidFill>
            </a:endParaRPr>
          </a:p>
        </p:txBody>
      </p:sp>
      <p:sp>
        <p:nvSpPr>
          <p:cNvPr id="833" name="Freeform 47">
            <a:extLst>
              <a:ext uri="{FF2B5EF4-FFF2-40B4-BE49-F238E27FC236}">
                <a16:creationId xmlns:a16="http://schemas.microsoft.com/office/drawing/2014/main" id="{7B8A28D3-BD1C-25D5-48E3-C6F1C9C65DE8}"/>
              </a:ext>
            </a:extLst>
          </p:cNvPr>
          <p:cNvSpPr>
            <a:spLocks noEditPoints="1"/>
          </p:cNvSpPr>
          <p:nvPr/>
        </p:nvSpPr>
        <p:spPr bwMode="auto">
          <a:xfrm>
            <a:off x="1970387" y="2293784"/>
            <a:ext cx="624790" cy="451844"/>
          </a:xfrm>
          <a:custGeom>
            <a:avLst/>
            <a:gdLst>
              <a:gd name="T0" fmla="*/ 1066 w 1066"/>
              <a:gd name="T1" fmla="*/ 703 h 771"/>
              <a:gd name="T2" fmla="*/ 1066 w 1066"/>
              <a:gd name="T3" fmla="*/ 726 h 771"/>
              <a:gd name="T4" fmla="*/ 1021 w 1066"/>
              <a:gd name="T5" fmla="*/ 771 h 771"/>
              <a:gd name="T6" fmla="*/ 45 w 1066"/>
              <a:gd name="T7" fmla="*/ 771 h 771"/>
              <a:gd name="T8" fmla="*/ 0 w 1066"/>
              <a:gd name="T9" fmla="*/ 726 h 771"/>
              <a:gd name="T10" fmla="*/ 0 w 1066"/>
              <a:gd name="T11" fmla="*/ 703 h 771"/>
              <a:gd name="T12" fmla="*/ 114 w 1066"/>
              <a:gd name="T13" fmla="*/ 590 h 771"/>
              <a:gd name="T14" fmla="*/ 953 w 1066"/>
              <a:gd name="T15" fmla="*/ 590 h 771"/>
              <a:gd name="T16" fmla="*/ 1066 w 1066"/>
              <a:gd name="T17" fmla="*/ 703 h 771"/>
              <a:gd name="T18" fmla="*/ 114 w 1066"/>
              <a:gd name="T19" fmla="*/ 522 h 771"/>
              <a:gd name="T20" fmla="*/ 114 w 1066"/>
              <a:gd name="T21" fmla="*/ 23 h 771"/>
              <a:gd name="T22" fmla="*/ 136 w 1066"/>
              <a:gd name="T23" fmla="*/ 0 h 771"/>
              <a:gd name="T24" fmla="*/ 930 w 1066"/>
              <a:gd name="T25" fmla="*/ 0 h 771"/>
              <a:gd name="T26" fmla="*/ 953 w 1066"/>
              <a:gd name="T27" fmla="*/ 23 h 771"/>
              <a:gd name="T28" fmla="*/ 953 w 1066"/>
              <a:gd name="T29" fmla="*/ 522 h 771"/>
              <a:gd name="T30" fmla="*/ 930 w 1066"/>
              <a:gd name="T31" fmla="*/ 544 h 771"/>
              <a:gd name="T32" fmla="*/ 136 w 1066"/>
              <a:gd name="T33" fmla="*/ 544 h 771"/>
              <a:gd name="T34" fmla="*/ 114 w 1066"/>
              <a:gd name="T35" fmla="*/ 522 h 771"/>
              <a:gd name="T36" fmla="*/ 159 w 1066"/>
              <a:gd name="T37" fmla="*/ 499 h 771"/>
              <a:gd name="T38" fmla="*/ 907 w 1066"/>
              <a:gd name="T39" fmla="*/ 499 h 771"/>
              <a:gd name="T40" fmla="*/ 907 w 1066"/>
              <a:gd name="T41" fmla="*/ 46 h 771"/>
              <a:gd name="T42" fmla="*/ 159 w 1066"/>
              <a:gd name="T43" fmla="*/ 46 h 771"/>
              <a:gd name="T44" fmla="*/ 159 w 1066"/>
              <a:gd name="T45" fmla="*/ 499 h 771"/>
              <a:gd name="T46" fmla="*/ 204 w 1066"/>
              <a:gd name="T47" fmla="*/ 454 h 771"/>
              <a:gd name="T48" fmla="*/ 862 w 1066"/>
              <a:gd name="T49" fmla="*/ 454 h 771"/>
              <a:gd name="T50" fmla="*/ 862 w 1066"/>
              <a:gd name="T51" fmla="*/ 91 h 771"/>
              <a:gd name="T52" fmla="*/ 204 w 1066"/>
              <a:gd name="T53" fmla="*/ 91 h 771"/>
              <a:gd name="T54" fmla="*/ 204 w 1066"/>
              <a:gd name="T55" fmla="*/ 454 h 7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066" h="771">
                <a:moveTo>
                  <a:pt x="1066" y="703"/>
                </a:moveTo>
                <a:cubicBezTo>
                  <a:pt x="1066" y="726"/>
                  <a:pt x="1066" y="726"/>
                  <a:pt x="1066" y="726"/>
                </a:cubicBezTo>
                <a:cubicBezTo>
                  <a:pt x="1066" y="751"/>
                  <a:pt x="1046" y="771"/>
                  <a:pt x="1021" y="771"/>
                </a:cubicBezTo>
                <a:cubicBezTo>
                  <a:pt x="45" y="771"/>
                  <a:pt x="45" y="771"/>
                  <a:pt x="45" y="771"/>
                </a:cubicBezTo>
                <a:cubicBezTo>
                  <a:pt x="20" y="771"/>
                  <a:pt x="0" y="751"/>
                  <a:pt x="0" y="726"/>
                </a:cubicBezTo>
                <a:cubicBezTo>
                  <a:pt x="0" y="703"/>
                  <a:pt x="0" y="703"/>
                  <a:pt x="0" y="703"/>
                </a:cubicBezTo>
                <a:cubicBezTo>
                  <a:pt x="114" y="590"/>
                  <a:pt x="114" y="590"/>
                  <a:pt x="114" y="590"/>
                </a:cubicBezTo>
                <a:cubicBezTo>
                  <a:pt x="953" y="590"/>
                  <a:pt x="953" y="590"/>
                  <a:pt x="953" y="590"/>
                </a:cubicBezTo>
                <a:lnTo>
                  <a:pt x="1066" y="703"/>
                </a:lnTo>
                <a:close/>
                <a:moveTo>
                  <a:pt x="114" y="522"/>
                </a:moveTo>
                <a:cubicBezTo>
                  <a:pt x="114" y="23"/>
                  <a:pt x="114" y="23"/>
                  <a:pt x="114" y="23"/>
                </a:cubicBezTo>
                <a:cubicBezTo>
                  <a:pt x="114" y="10"/>
                  <a:pt x="124" y="0"/>
                  <a:pt x="136" y="0"/>
                </a:cubicBezTo>
                <a:cubicBezTo>
                  <a:pt x="930" y="0"/>
                  <a:pt x="930" y="0"/>
                  <a:pt x="930" y="0"/>
                </a:cubicBezTo>
                <a:cubicBezTo>
                  <a:pt x="942" y="0"/>
                  <a:pt x="953" y="10"/>
                  <a:pt x="953" y="23"/>
                </a:cubicBezTo>
                <a:cubicBezTo>
                  <a:pt x="953" y="522"/>
                  <a:pt x="953" y="522"/>
                  <a:pt x="953" y="522"/>
                </a:cubicBezTo>
                <a:cubicBezTo>
                  <a:pt x="953" y="534"/>
                  <a:pt x="942" y="544"/>
                  <a:pt x="930" y="544"/>
                </a:cubicBezTo>
                <a:cubicBezTo>
                  <a:pt x="136" y="544"/>
                  <a:pt x="136" y="544"/>
                  <a:pt x="136" y="544"/>
                </a:cubicBezTo>
                <a:cubicBezTo>
                  <a:pt x="124" y="544"/>
                  <a:pt x="114" y="534"/>
                  <a:pt x="114" y="522"/>
                </a:cubicBezTo>
                <a:close/>
                <a:moveTo>
                  <a:pt x="159" y="499"/>
                </a:moveTo>
                <a:cubicBezTo>
                  <a:pt x="907" y="499"/>
                  <a:pt x="907" y="499"/>
                  <a:pt x="907" y="499"/>
                </a:cubicBezTo>
                <a:cubicBezTo>
                  <a:pt x="907" y="46"/>
                  <a:pt x="907" y="46"/>
                  <a:pt x="907" y="46"/>
                </a:cubicBezTo>
                <a:cubicBezTo>
                  <a:pt x="159" y="46"/>
                  <a:pt x="159" y="46"/>
                  <a:pt x="159" y="46"/>
                </a:cubicBezTo>
                <a:lnTo>
                  <a:pt x="159" y="499"/>
                </a:lnTo>
                <a:close/>
                <a:moveTo>
                  <a:pt x="204" y="454"/>
                </a:moveTo>
                <a:cubicBezTo>
                  <a:pt x="862" y="454"/>
                  <a:pt x="862" y="454"/>
                  <a:pt x="862" y="454"/>
                </a:cubicBezTo>
                <a:cubicBezTo>
                  <a:pt x="862" y="91"/>
                  <a:pt x="862" y="91"/>
                  <a:pt x="862" y="91"/>
                </a:cubicBezTo>
                <a:cubicBezTo>
                  <a:pt x="204" y="91"/>
                  <a:pt x="204" y="91"/>
                  <a:pt x="204" y="91"/>
                </a:cubicBezTo>
                <a:lnTo>
                  <a:pt x="204" y="45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1799" kern="0">
              <a:solidFill>
                <a:srgbClr val="000000"/>
              </a:solidFill>
            </a:endParaRPr>
          </a:p>
        </p:txBody>
      </p:sp>
      <p:sp>
        <p:nvSpPr>
          <p:cNvPr id="834" name="Freeform 42">
            <a:extLst>
              <a:ext uri="{FF2B5EF4-FFF2-40B4-BE49-F238E27FC236}">
                <a16:creationId xmlns:a16="http://schemas.microsoft.com/office/drawing/2014/main" id="{AA829728-52B2-F2EA-B880-2ED8646F339D}"/>
              </a:ext>
            </a:extLst>
          </p:cNvPr>
          <p:cNvSpPr>
            <a:spLocks noEditPoints="1"/>
          </p:cNvSpPr>
          <p:nvPr/>
        </p:nvSpPr>
        <p:spPr bwMode="auto">
          <a:xfrm>
            <a:off x="5081419" y="2317750"/>
            <a:ext cx="500780" cy="402767"/>
          </a:xfrm>
          <a:custGeom>
            <a:avLst/>
            <a:gdLst>
              <a:gd name="T0" fmla="*/ 839 w 930"/>
              <a:gd name="T1" fmla="*/ 91 h 748"/>
              <a:gd name="T2" fmla="*/ 91 w 930"/>
              <a:gd name="T3" fmla="*/ 91 h 748"/>
              <a:gd name="T4" fmla="*/ 91 w 930"/>
              <a:gd name="T5" fmla="*/ 521 h 748"/>
              <a:gd name="T6" fmla="*/ 839 w 930"/>
              <a:gd name="T7" fmla="*/ 521 h 748"/>
              <a:gd name="T8" fmla="*/ 839 w 930"/>
              <a:gd name="T9" fmla="*/ 91 h 748"/>
              <a:gd name="T10" fmla="*/ 885 w 930"/>
              <a:gd name="T11" fmla="*/ 0 h 748"/>
              <a:gd name="T12" fmla="*/ 46 w 930"/>
              <a:gd name="T13" fmla="*/ 0 h 748"/>
              <a:gd name="T14" fmla="*/ 0 w 930"/>
              <a:gd name="T15" fmla="*/ 45 h 748"/>
              <a:gd name="T16" fmla="*/ 0 w 930"/>
              <a:gd name="T17" fmla="*/ 567 h 748"/>
              <a:gd name="T18" fmla="*/ 46 w 930"/>
              <a:gd name="T19" fmla="*/ 612 h 748"/>
              <a:gd name="T20" fmla="*/ 386 w 930"/>
              <a:gd name="T21" fmla="*/ 612 h 748"/>
              <a:gd name="T22" fmla="*/ 386 w 930"/>
              <a:gd name="T23" fmla="*/ 703 h 748"/>
              <a:gd name="T24" fmla="*/ 272 w 930"/>
              <a:gd name="T25" fmla="*/ 703 h 748"/>
              <a:gd name="T26" fmla="*/ 272 w 930"/>
              <a:gd name="T27" fmla="*/ 748 h 748"/>
              <a:gd name="T28" fmla="*/ 658 w 930"/>
              <a:gd name="T29" fmla="*/ 748 h 748"/>
              <a:gd name="T30" fmla="*/ 658 w 930"/>
              <a:gd name="T31" fmla="*/ 703 h 748"/>
              <a:gd name="T32" fmla="*/ 545 w 930"/>
              <a:gd name="T33" fmla="*/ 703 h 748"/>
              <a:gd name="T34" fmla="*/ 545 w 930"/>
              <a:gd name="T35" fmla="*/ 612 h 748"/>
              <a:gd name="T36" fmla="*/ 885 w 930"/>
              <a:gd name="T37" fmla="*/ 612 h 748"/>
              <a:gd name="T38" fmla="*/ 930 w 930"/>
              <a:gd name="T39" fmla="*/ 567 h 748"/>
              <a:gd name="T40" fmla="*/ 930 w 930"/>
              <a:gd name="T41" fmla="*/ 45 h 748"/>
              <a:gd name="T42" fmla="*/ 885 w 930"/>
              <a:gd name="T43" fmla="*/ 0 h 748"/>
              <a:gd name="T44" fmla="*/ 885 w 930"/>
              <a:gd name="T45" fmla="*/ 45 h 748"/>
              <a:gd name="T46" fmla="*/ 885 w 930"/>
              <a:gd name="T47" fmla="*/ 567 h 748"/>
              <a:gd name="T48" fmla="*/ 46 w 930"/>
              <a:gd name="T49" fmla="*/ 567 h 748"/>
              <a:gd name="T50" fmla="*/ 46 w 930"/>
              <a:gd name="T51" fmla="*/ 45 h 748"/>
              <a:gd name="T52" fmla="*/ 885 w 930"/>
              <a:gd name="T53" fmla="*/ 45 h 7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930" h="748">
                <a:moveTo>
                  <a:pt x="839" y="91"/>
                </a:moveTo>
                <a:cubicBezTo>
                  <a:pt x="91" y="91"/>
                  <a:pt x="91" y="91"/>
                  <a:pt x="91" y="91"/>
                </a:cubicBezTo>
                <a:cubicBezTo>
                  <a:pt x="91" y="521"/>
                  <a:pt x="91" y="521"/>
                  <a:pt x="91" y="521"/>
                </a:cubicBezTo>
                <a:cubicBezTo>
                  <a:pt x="839" y="521"/>
                  <a:pt x="839" y="521"/>
                  <a:pt x="839" y="521"/>
                </a:cubicBezTo>
                <a:lnTo>
                  <a:pt x="839" y="91"/>
                </a:lnTo>
                <a:close/>
                <a:moveTo>
                  <a:pt x="885" y="0"/>
                </a:moveTo>
                <a:cubicBezTo>
                  <a:pt x="46" y="0"/>
                  <a:pt x="46" y="0"/>
                  <a:pt x="46" y="0"/>
                </a:cubicBezTo>
                <a:cubicBezTo>
                  <a:pt x="21" y="0"/>
                  <a:pt x="0" y="20"/>
                  <a:pt x="0" y="45"/>
                </a:cubicBezTo>
                <a:cubicBezTo>
                  <a:pt x="0" y="567"/>
                  <a:pt x="0" y="567"/>
                  <a:pt x="0" y="567"/>
                </a:cubicBezTo>
                <a:cubicBezTo>
                  <a:pt x="0" y="592"/>
                  <a:pt x="21" y="612"/>
                  <a:pt x="46" y="612"/>
                </a:cubicBezTo>
                <a:cubicBezTo>
                  <a:pt x="386" y="612"/>
                  <a:pt x="386" y="612"/>
                  <a:pt x="386" y="612"/>
                </a:cubicBezTo>
                <a:cubicBezTo>
                  <a:pt x="386" y="703"/>
                  <a:pt x="386" y="703"/>
                  <a:pt x="386" y="703"/>
                </a:cubicBezTo>
                <a:cubicBezTo>
                  <a:pt x="272" y="703"/>
                  <a:pt x="272" y="703"/>
                  <a:pt x="272" y="703"/>
                </a:cubicBezTo>
                <a:cubicBezTo>
                  <a:pt x="272" y="748"/>
                  <a:pt x="272" y="748"/>
                  <a:pt x="272" y="748"/>
                </a:cubicBezTo>
                <a:cubicBezTo>
                  <a:pt x="658" y="748"/>
                  <a:pt x="658" y="748"/>
                  <a:pt x="658" y="748"/>
                </a:cubicBezTo>
                <a:cubicBezTo>
                  <a:pt x="658" y="703"/>
                  <a:pt x="658" y="703"/>
                  <a:pt x="658" y="703"/>
                </a:cubicBezTo>
                <a:cubicBezTo>
                  <a:pt x="545" y="703"/>
                  <a:pt x="545" y="703"/>
                  <a:pt x="545" y="703"/>
                </a:cubicBezTo>
                <a:cubicBezTo>
                  <a:pt x="545" y="612"/>
                  <a:pt x="545" y="612"/>
                  <a:pt x="545" y="612"/>
                </a:cubicBezTo>
                <a:cubicBezTo>
                  <a:pt x="885" y="612"/>
                  <a:pt x="885" y="612"/>
                  <a:pt x="885" y="612"/>
                </a:cubicBezTo>
                <a:cubicBezTo>
                  <a:pt x="910" y="612"/>
                  <a:pt x="930" y="592"/>
                  <a:pt x="930" y="567"/>
                </a:cubicBezTo>
                <a:cubicBezTo>
                  <a:pt x="930" y="45"/>
                  <a:pt x="930" y="45"/>
                  <a:pt x="930" y="45"/>
                </a:cubicBezTo>
                <a:cubicBezTo>
                  <a:pt x="930" y="20"/>
                  <a:pt x="910" y="0"/>
                  <a:pt x="885" y="0"/>
                </a:cubicBezTo>
                <a:close/>
                <a:moveTo>
                  <a:pt x="885" y="45"/>
                </a:moveTo>
                <a:cubicBezTo>
                  <a:pt x="885" y="567"/>
                  <a:pt x="885" y="567"/>
                  <a:pt x="885" y="567"/>
                </a:cubicBezTo>
                <a:cubicBezTo>
                  <a:pt x="46" y="567"/>
                  <a:pt x="46" y="567"/>
                  <a:pt x="46" y="567"/>
                </a:cubicBezTo>
                <a:cubicBezTo>
                  <a:pt x="46" y="45"/>
                  <a:pt x="46" y="45"/>
                  <a:pt x="46" y="45"/>
                </a:cubicBezTo>
                <a:lnTo>
                  <a:pt x="885" y="4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1799" kern="0">
              <a:solidFill>
                <a:srgbClr val="000000"/>
              </a:solidFill>
            </a:endParaRPr>
          </a:p>
        </p:txBody>
      </p:sp>
      <p:sp>
        <p:nvSpPr>
          <p:cNvPr id="835" name="Freeform 113">
            <a:extLst>
              <a:ext uri="{FF2B5EF4-FFF2-40B4-BE49-F238E27FC236}">
                <a16:creationId xmlns:a16="http://schemas.microsoft.com/office/drawing/2014/main" id="{62AB40B7-36D0-B9AB-FDC7-B3D52F5BE7C4}"/>
              </a:ext>
            </a:extLst>
          </p:cNvPr>
          <p:cNvSpPr>
            <a:spLocks noEditPoints="1"/>
          </p:cNvSpPr>
          <p:nvPr/>
        </p:nvSpPr>
        <p:spPr bwMode="auto">
          <a:xfrm>
            <a:off x="481493" y="2190168"/>
            <a:ext cx="877129" cy="563469"/>
          </a:xfrm>
          <a:custGeom>
            <a:avLst/>
            <a:gdLst>
              <a:gd name="T0" fmla="*/ 787 w 1058"/>
              <a:gd name="T1" fmla="*/ 567 h 680"/>
              <a:gd name="T2" fmla="*/ 80 w 1058"/>
              <a:gd name="T3" fmla="*/ 600 h 680"/>
              <a:gd name="T4" fmla="*/ 114 w 1058"/>
              <a:gd name="T5" fmla="*/ 75 h 680"/>
              <a:gd name="T6" fmla="*/ 63 w 1058"/>
              <a:gd name="T7" fmla="*/ 0 h 680"/>
              <a:gd name="T8" fmla="*/ 13 w 1058"/>
              <a:gd name="T9" fmla="*/ 75 h 680"/>
              <a:gd name="T10" fmla="*/ 46 w 1058"/>
              <a:gd name="T11" fmla="*/ 635 h 680"/>
              <a:gd name="T12" fmla="*/ 787 w 1058"/>
              <a:gd name="T13" fmla="*/ 668 h 680"/>
              <a:gd name="T14" fmla="*/ 862 w 1058"/>
              <a:gd name="T15" fmla="*/ 617 h 680"/>
              <a:gd name="T16" fmla="*/ 74 w 1058"/>
              <a:gd name="T17" fmla="*/ 44 h 680"/>
              <a:gd name="T18" fmla="*/ 74 w 1058"/>
              <a:gd name="T19" fmla="*/ 45 h 680"/>
              <a:gd name="T20" fmla="*/ 52 w 1058"/>
              <a:gd name="T21" fmla="*/ 45 h 680"/>
              <a:gd name="T22" fmla="*/ 52 w 1058"/>
              <a:gd name="T23" fmla="*/ 44 h 680"/>
              <a:gd name="T24" fmla="*/ 901 w 1058"/>
              <a:gd name="T25" fmla="*/ 392 h 680"/>
              <a:gd name="T26" fmla="*/ 977 w 1058"/>
              <a:gd name="T27" fmla="*/ 612 h 680"/>
              <a:gd name="T28" fmla="*/ 901 w 1058"/>
              <a:gd name="T29" fmla="*/ 392 h 680"/>
              <a:gd name="T30" fmla="*/ 590 w 1058"/>
              <a:gd name="T31" fmla="*/ 340 h 680"/>
              <a:gd name="T32" fmla="*/ 639 w 1058"/>
              <a:gd name="T33" fmla="*/ 243 h 680"/>
              <a:gd name="T34" fmla="*/ 681 w 1058"/>
              <a:gd name="T35" fmla="*/ 181 h 680"/>
              <a:gd name="T36" fmla="*/ 794 w 1058"/>
              <a:gd name="T37" fmla="*/ 211 h 680"/>
              <a:gd name="T38" fmla="*/ 723 w 1058"/>
              <a:gd name="T39" fmla="*/ 243 h 680"/>
              <a:gd name="T40" fmla="*/ 660 w 1058"/>
              <a:gd name="T41" fmla="*/ 267 h 680"/>
              <a:gd name="T42" fmla="*/ 453 w 1058"/>
              <a:gd name="T43" fmla="*/ 227 h 680"/>
              <a:gd name="T44" fmla="*/ 907 w 1058"/>
              <a:gd name="T45" fmla="*/ 227 h 680"/>
              <a:gd name="T46" fmla="*/ 680 w 1058"/>
              <a:gd name="T47" fmla="*/ 408 h 680"/>
              <a:gd name="T48" fmla="*/ 680 w 1058"/>
              <a:gd name="T49" fmla="*/ 45 h 680"/>
              <a:gd name="T50" fmla="*/ 680 w 1058"/>
              <a:gd name="T51" fmla="*/ 408 h 680"/>
              <a:gd name="T52" fmla="*/ 420 w 1058"/>
              <a:gd name="T53" fmla="*/ 277 h 680"/>
              <a:gd name="T54" fmla="*/ 375 w 1058"/>
              <a:gd name="T55" fmla="*/ 227 h 680"/>
              <a:gd name="T56" fmla="*/ 334 w 1058"/>
              <a:gd name="T57" fmla="*/ 291 h 680"/>
              <a:gd name="T58" fmla="*/ 194 w 1058"/>
              <a:gd name="T59" fmla="*/ 408 h 680"/>
              <a:gd name="T60" fmla="*/ 114 w 1058"/>
              <a:gd name="T61" fmla="*/ 351 h 680"/>
              <a:gd name="T62" fmla="*/ 153 w 1058"/>
              <a:gd name="T63" fmla="*/ 435 h 680"/>
              <a:gd name="T64" fmla="*/ 194 w 1058"/>
              <a:gd name="T65" fmla="*/ 499 h 680"/>
              <a:gd name="T66" fmla="*/ 235 w 1058"/>
              <a:gd name="T67" fmla="*/ 435 h 680"/>
              <a:gd name="T68" fmla="*/ 375 w 1058"/>
              <a:gd name="T69" fmla="*/ 317 h 680"/>
              <a:gd name="T70" fmla="*/ 436 w 1058"/>
              <a:gd name="T71" fmla="*/ 320 h 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058" h="680">
                <a:moveTo>
                  <a:pt x="799" y="555"/>
                </a:moveTo>
                <a:cubicBezTo>
                  <a:pt x="787" y="567"/>
                  <a:pt x="787" y="567"/>
                  <a:pt x="787" y="567"/>
                </a:cubicBezTo>
                <a:cubicBezTo>
                  <a:pt x="813" y="600"/>
                  <a:pt x="813" y="600"/>
                  <a:pt x="813" y="600"/>
                </a:cubicBezTo>
                <a:cubicBezTo>
                  <a:pt x="80" y="600"/>
                  <a:pt x="80" y="600"/>
                  <a:pt x="80" y="600"/>
                </a:cubicBezTo>
                <a:cubicBezTo>
                  <a:pt x="80" y="49"/>
                  <a:pt x="80" y="49"/>
                  <a:pt x="80" y="49"/>
                </a:cubicBezTo>
                <a:cubicBezTo>
                  <a:pt x="114" y="75"/>
                  <a:pt x="114" y="75"/>
                  <a:pt x="114" y="75"/>
                </a:cubicBezTo>
                <a:cubicBezTo>
                  <a:pt x="126" y="63"/>
                  <a:pt x="126" y="63"/>
                  <a:pt x="126" y="63"/>
                </a:cubicBezTo>
                <a:cubicBezTo>
                  <a:pt x="63" y="0"/>
                  <a:pt x="63" y="0"/>
                  <a:pt x="63" y="0"/>
                </a:cubicBezTo>
                <a:cubicBezTo>
                  <a:pt x="0" y="63"/>
                  <a:pt x="0" y="63"/>
                  <a:pt x="0" y="63"/>
                </a:cubicBezTo>
                <a:cubicBezTo>
                  <a:pt x="13" y="75"/>
                  <a:pt x="13" y="75"/>
                  <a:pt x="13" y="75"/>
                </a:cubicBezTo>
                <a:cubicBezTo>
                  <a:pt x="46" y="49"/>
                  <a:pt x="46" y="49"/>
                  <a:pt x="46" y="49"/>
                </a:cubicBezTo>
                <a:cubicBezTo>
                  <a:pt x="46" y="635"/>
                  <a:pt x="46" y="635"/>
                  <a:pt x="46" y="635"/>
                </a:cubicBezTo>
                <a:cubicBezTo>
                  <a:pt x="813" y="634"/>
                  <a:pt x="813" y="634"/>
                  <a:pt x="813" y="634"/>
                </a:cubicBezTo>
                <a:cubicBezTo>
                  <a:pt x="787" y="668"/>
                  <a:pt x="787" y="668"/>
                  <a:pt x="787" y="668"/>
                </a:cubicBezTo>
                <a:cubicBezTo>
                  <a:pt x="799" y="680"/>
                  <a:pt x="799" y="680"/>
                  <a:pt x="799" y="680"/>
                </a:cubicBezTo>
                <a:cubicBezTo>
                  <a:pt x="862" y="617"/>
                  <a:pt x="862" y="617"/>
                  <a:pt x="862" y="617"/>
                </a:cubicBezTo>
                <a:lnTo>
                  <a:pt x="799" y="555"/>
                </a:lnTo>
                <a:close/>
                <a:moveTo>
                  <a:pt x="74" y="44"/>
                </a:moveTo>
                <a:cubicBezTo>
                  <a:pt x="76" y="45"/>
                  <a:pt x="76" y="45"/>
                  <a:pt x="76" y="45"/>
                </a:cubicBezTo>
                <a:cubicBezTo>
                  <a:pt x="74" y="45"/>
                  <a:pt x="74" y="45"/>
                  <a:pt x="74" y="45"/>
                </a:cubicBezTo>
                <a:lnTo>
                  <a:pt x="74" y="44"/>
                </a:lnTo>
                <a:close/>
                <a:moveTo>
                  <a:pt x="52" y="45"/>
                </a:moveTo>
                <a:cubicBezTo>
                  <a:pt x="51" y="45"/>
                  <a:pt x="51" y="45"/>
                  <a:pt x="51" y="45"/>
                </a:cubicBezTo>
                <a:cubicBezTo>
                  <a:pt x="52" y="44"/>
                  <a:pt x="52" y="44"/>
                  <a:pt x="52" y="44"/>
                </a:cubicBezTo>
                <a:lnTo>
                  <a:pt x="52" y="45"/>
                </a:lnTo>
                <a:close/>
                <a:moveTo>
                  <a:pt x="901" y="392"/>
                </a:moveTo>
                <a:cubicBezTo>
                  <a:pt x="883" y="415"/>
                  <a:pt x="862" y="435"/>
                  <a:pt x="839" y="451"/>
                </a:cubicBezTo>
                <a:cubicBezTo>
                  <a:pt x="977" y="612"/>
                  <a:pt x="977" y="612"/>
                  <a:pt x="977" y="612"/>
                </a:cubicBezTo>
                <a:cubicBezTo>
                  <a:pt x="1058" y="531"/>
                  <a:pt x="1058" y="531"/>
                  <a:pt x="1058" y="531"/>
                </a:cubicBezTo>
                <a:lnTo>
                  <a:pt x="901" y="392"/>
                </a:lnTo>
                <a:close/>
                <a:moveTo>
                  <a:pt x="660" y="267"/>
                </a:moveTo>
                <a:cubicBezTo>
                  <a:pt x="590" y="340"/>
                  <a:pt x="590" y="340"/>
                  <a:pt x="590" y="340"/>
                </a:cubicBezTo>
                <a:cubicBezTo>
                  <a:pt x="582" y="334"/>
                  <a:pt x="575" y="328"/>
                  <a:pt x="569" y="320"/>
                </a:cubicBezTo>
                <a:cubicBezTo>
                  <a:pt x="639" y="243"/>
                  <a:pt x="639" y="243"/>
                  <a:pt x="639" y="243"/>
                </a:cubicBezTo>
                <a:cubicBezTo>
                  <a:pt x="637" y="238"/>
                  <a:pt x="635" y="233"/>
                  <a:pt x="635" y="227"/>
                </a:cubicBezTo>
                <a:cubicBezTo>
                  <a:pt x="635" y="202"/>
                  <a:pt x="656" y="181"/>
                  <a:pt x="681" y="181"/>
                </a:cubicBezTo>
                <a:cubicBezTo>
                  <a:pt x="700" y="181"/>
                  <a:pt x="717" y="193"/>
                  <a:pt x="723" y="211"/>
                </a:cubicBezTo>
                <a:cubicBezTo>
                  <a:pt x="794" y="211"/>
                  <a:pt x="794" y="211"/>
                  <a:pt x="794" y="211"/>
                </a:cubicBezTo>
                <a:cubicBezTo>
                  <a:pt x="794" y="243"/>
                  <a:pt x="794" y="243"/>
                  <a:pt x="794" y="243"/>
                </a:cubicBezTo>
                <a:cubicBezTo>
                  <a:pt x="723" y="243"/>
                  <a:pt x="723" y="243"/>
                  <a:pt x="723" y="243"/>
                </a:cubicBezTo>
                <a:cubicBezTo>
                  <a:pt x="717" y="260"/>
                  <a:pt x="700" y="272"/>
                  <a:pt x="681" y="272"/>
                </a:cubicBezTo>
                <a:cubicBezTo>
                  <a:pt x="673" y="272"/>
                  <a:pt x="666" y="270"/>
                  <a:pt x="660" y="267"/>
                </a:cubicBezTo>
                <a:close/>
                <a:moveTo>
                  <a:pt x="680" y="0"/>
                </a:moveTo>
                <a:cubicBezTo>
                  <a:pt x="555" y="0"/>
                  <a:pt x="453" y="102"/>
                  <a:pt x="453" y="227"/>
                </a:cubicBezTo>
                <a:cubicBezTo>
                  <a:pt x="453" y="352"/>
                  <a:pt x="555" y="453"/>
                  <a:pt x="680" y="453"/>
                </a:cubicBezTo>
                <a:cubicBezTo>
                  <a:pt x="805" y="453"/>
                  <a:pt x="907" y="352"/>
                  <a:pt x="907" y="227"/>
                </a:cubicBezTo>
                <a:cubicBezTo>
                  <a:pt x="907" y="102"/>
                  <a:pt x="805" y="0"/>
                  <a:pt x="680" y="0"/>
                </a:cubicBezTo>
                <a:close/>
                <a:moveTo>
                  <a:pt x="680" y="408"/>
                </a:moveTo>
                <a:cubicBezTo>
                  <a:pt x="580" y="408"/>
                  <a:pt x="499" y="327"/>
                  <a:pt x="499" y="227"/>
                </a:cubicBezTo>
                <a:cubicBezTo>
                  <a:pt x="499" y="126"/>
                  <a:pt x="580" y="45"/>
                  <a:pt x="680" y="45"/>
                </a:cubicBezTo>
                <a:cubicBezTo>
                  <a:pt x="780" y="45"/>
                  <a:pt x="861" y="126"/>
                  <a:pt x="861" y="227"/>
                </a:cubicBezTo>
                <a:cubicBezTo>
                  <a:pt x="861" y="327"/>
                  <a:pt x="780" y="408"/>
                  <a:pt x="680" y="408"/>
                </a:cubicBezTo>
                <a:close/>
                <a:moveTo>
                  <a:pt x="424" y="278"/>
                </a:moveTo>
                <a:cubicBezTo>
                  <a:pt x="420" y="277"/>
                  <a:pt x="420" y="277"/>
                  <a:pt x="420" y="277"/>
                </a:cubicBezTo>
                <a:cubicBezTo>
                  <a:pt x="421" y="275"/>
                  <a:pt x="421" y="273"/>
                  <a:pt x="421" y="272"/>
                </a:cubicBezTo>
                <a:cubicBezTo>
                  <a:pt x="421" y="247"/>
                  <a:pt x="400" y="227"/>
                  <a:pt x="375" y="227"/>
                </a:cubicBezTo>
                <a:cubicBezTo>
                  <a:pt x="350" y="227"/>
                  <a:pt x="330" y="247"/>
                  <a:pt x="330" y="272"/>
                </a:cubicBezTo>
                <a:cubicBezTo>
                  <a:pt x="330" y="279"/>
                  <a:pt x="331" y="285"/>
                  <a:pt x="334" y="291"/>
                </a:cubicBezTo>
                <a:cubicBezTo>
                  <a:pt x="213" y="412"/>
                  <a:pt x="213" y="412"/>
                  <a:pt x="213" y="412"/>
                </a:cubicBezTo>
                <a:cubicBezTo>
                  <a:pt x="207" y="409"/>
                  <a:pt x="201" y="408"/>
                  <a:pt x="194" y="408"/>
                </a:cubicBezTo>
                <a:cubicBezTo>
                  <a:pt x="187" y="408"/>
                  <a:pt x="181" y="409"/>
                  <a:pt x="175" y="412"/>
                </a:cubicBezTo>
                <a:cubicBezTo>
                  <a:pt x="114" y="351"/>
                  <a:pt x="114" y="351"/>
                  <a:pt x="114" y="351"/>
                </a:cubicBezTo>
                <a:cubicBezTo>
                  <a:pt x="114" y="396"/>
                  <a:pt x="114" y="396"/>
                  <a:pt x="114" y="396"/>
                </a:cubicBezTo>
                <a:cubicBezTo>
                  <a:pt x="153" y="435"/>
                  <a:pt x="153" y="435"/>
                  <a:pt x="153" y="435"/>
                </a:cubicBezTo>
                <a:cubicBezTo>
                  <a:pt x="150" y="440"/>
                  <a:pt x="149" y="447"/>
                  <a:pt x="149" y="453"/>
                </a:cubicBezTo>
                <a:cubicBezTo>
                  <a:pt x="149" y="478"/>
                  <a:pt x="169" y="499"/>
                  <a:pt x="194" y="499"/>
                </a:cubicBezTo>
                <a:cubicBezTo>
                  <a:pt x="219" y="499"/>
                  <a:pt x="239" y="478"/>
                  <a:pt x="239" y="453"/>
                </a:cubicBezTo>
                <a:cubicBezTo>
                  <a:pt x="239" y="447"/>
                  <a:pt x="238" y="440"/>
                  <a:pt x="235" y="435"/>
                </a:cubicBezTo>
                <a:cubicBezTo>
                  <a:pt x="357" y="313"/>
                  <a:pt x="357" y="313"/>
                  <a:pt x="357" y="313"/>
                </a:cubicBezTo>
                <a:cubicBezTo>
                  <a:pt x="362" y="316"/>
                  <a:pt x="369" y="317"/>
                  <a:pt x="375" y="317"/>
                </a:cubicBezTo>
                <a:cubicBezTo>
                  <a:pt x="387" y="317"/>
                  <a:pt x="398" y="313"/>
                  <a:pt x="406" y="305"/>
                </a:cubicBezTo>
                <a:cubicBezTo>
                  <a:pt x="436" y="320"/>
                  <a:pt x="436" y="320"/>
                  <a:pt x="436" y="320"/>
                </a:cubicBezTo>
                <a:cubicBezTo>
                  <a:pt x="431" y="307"/>
                  <a:pt x="427" y="293"/>
                  <a:pt x="424" y="278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1799" kern="0">
              <a:solidFill>
                <a:srgbClr val="000000"/>
              </a:solidFill>
            </a:endParaRPr>
          </a:p>
        </p:txBody>
      </p:sp>
      <p:sp>
        <p:nvSpPr>
          <p:cNvPr id="840" name="Freeform 68">
            <a:extLst>
              <a:ext uri="{FF2B5EF4-FFF2-40B4-BE49-F238E27FC236}">
                <a16:creationId xmlns:a16="http://schemas.microsoft.com/office/drawing/2014/main" id="{81168D7D-899B-82FE-64B4-4B8101BDB6E5}"/>
              </a:ext>
            </a:extLst>
          </p:cNvPr>
          <p:cNvSpPr>
            <a:spLocks noEditPoints="1"/>
          </p:cNvSpPr>
          <p:nvPr/>
        </p:nvSpPr>
        <p:spPr bwMode="auto">
          <a:xfrm>
            <a:off x="3986495" y="2340640"/>
            <a:ext cx="153279" cy="298824"/>
          </a:xfrm>
          <a:custGeom>
            <a:avLst/>
            <a:gdLst>
              <a:gd name="T0" fmla="*/ 318 w 476"/>
              <a:gd name="T1" fmla="*/ 363 h 929"/>
              <a:gd name="T2" fmla="*/ 318 w 476"/>
              <a:gd name="T3" fmla="*/ 566 h 929"/>
              <a:gd name="T4" fmla="*/ 114 w 476"/>
              <a:gd name="T5" fmla="*/ 566 h 929"/>
              <a:gd name="T6" fmla="*/ 113 w 476"/>
              <a:gd name="T7" fmla="*/ 362 h 929"/>
              <a:gd name="T8" fmla="*/ 318 w 476"/>
              <a:gd name="T9" fmla="*/ 363 h 929"/>
              <a:gd name="T10" fmla="*/ 318 w 476"/>
              <a:gd name="T11" fmla="*/ 0 h 929"/>
              <a:gd name="T12" fmla="*/ 113 w 476"/>
              <a:gd name="T13" fmla="*/ 0 h 929"/>
              <a:gd name="T14" fmla="*/ 91 w 476"/>
              <a:gd name="T15" fmla="*/ 204 h 929"/>
              <a:gd name="T16" fmla="*/ 340 w 476"/>
              <a:gd name="T17" fmla="*/ 204 h 929"/>
              <a:gd name="T18" fmla="*/ 318 w 476"/>
              <a:gd name="T19" fmla="*/ 0 h 929"/>
              <a:gd name="T20" fmla="*/ 363 w 476"/>
              <a:gd name="T21" fmla="*/ 317 h 929"/>
              <a:gd name="T22" fmla="*/ 68 w 476"/>
              <a:gd name="T23" fmla="*/ 317 h 929"/>
              <a:gd name="T24" fmla="*/ 68 w 476"/>
              <a:gd name="T25" fmla="*/ 612 h 929"/>
              <a:gd name="T26" fmla="*/ 363 w 476"/>
              <a:gd name="T27" fmla="*/ 612 h 929"/>
              <a:gd name="T28" fmla="*/ 363 w 476"/>
              <a:gd name="T29" fmla="*/ 317 h 929"/>
              <a:gd name="T30" fmla="*/ 476 w 476"/>
              <a:gd name="T31" fmla="*/ 430 h 929"/>
              <a:gd name="T32" fmla="*/ 476 w 476"/>
              <a:gd name="T33" fmla="*/ 362 h 929"/>
              <a:gd name="T34" fmla="*/ 431 w 476"/>
              <a:gd name="T35" fmla="*/ 362 h 929"/>
              <a:gd name="T36" fmla="*/ 431 w 476"/>
              <a:gd name="T37" fmla="*/ 289 h 929"/>
              <a:gd name="T38" fmla="*/ 391 w 476"/>
              <a:gd name="T39" fmla="*/ 249 h 929"/>
              <a:gd name="T40" fmla="*/ 40 w 476"/>
              <a:gd name="T41" fmla="*/ 249 h 929"/>
              <a:gd name="T42" fmla="*/ 0 w 476"/>
              <a:gd name="T43" fmla="*/ 289 h 929"/>
              <a:gd name="T44" fmla="*/ 0 w 476"/>
              <a:gd name="T45" fmla="*/ 640 h 929"/>
              <a:gd name="T46" fmla="*/ 40 w 476"/>
              <a:gd name="T47" fmla="*/ 680 h 929"/>
              <a:gd name="T48" fmla="*/ 391 w 476"/>
              <a:gd name="T49" fmla="*/ 680 h 929"/>
              <a:gd name="T50" fmla="*/ 431 w 476"/>
              <a:gd name="T51" fmla="*/ 640 h 929"/>
              <a:gd name="T52" fmla="*/ 431 w 476"/>
              <a:gd name="T53" fmla="*/ 566 h 929"/>
              <a:gd name="T54" fmla="*/ 476 w 476"/>
              <a:gd name="T55" fmla="*/ 566 h 929"/>
              <a:gd name="T56" fmla="*/ 476 w 476"/>
              <a:gd name="T57" fmla="*/ 498 h 929"/>
              <a:gd name="T58" fmla="*/ 431 w 476"/>
              <a:gd name="T59" fmla="*/ 498 h 929"/>
              <a:gd name="T60" fmla="*/ 431 w 476"/>
              <a:gd name="T61" fmla="*/ 430 h 929"/>
              <a:gd name="T62" fmla="*/ 476 w 476"/>
              <a:gd name="T63" fmla="*/ 430 h 929"/>
              <a:gd name="T64" fmla="*/ 113 w 476"/>
              <a:gd name="T65" fmla="*/ 929 h 929"/>
              <a:gd name="T66" fmla="*/ 318 w 476"/>
              <a:gd name="T67" fmla="*/ 929 h 929"/>
              <a:gd name="T68" fmla="*/ 340 w 476"/>
              <a:gd name="T69" fmla="*/ 725 h 929"/>
              <a:gd name="T70" fmla="*/ 91 w 476"/>
              <a:gd name="T71" fmla="*/ 725 h 929"/>
              <a:gd name="T72" fmla="*/ 113 w 476"/>
              <a:gd name="T73" fmla="*/ 929 h 9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76" h="929">
                <a:moveTo>
                  <a:pt x="318" y="363"/>
                </a:moveTo>
                <a:cubicBezTo>
                  <a:pt x="318" y="566"/>
                  <a:pt x="318" y="566"/>
                  <a:pt x="318" y="566"/>
                </a:cubicBezTo>
                <a:cubicBezTo>
                  <a:pt x="114" y="566"/>
                  <a:pt x="114" y="566"/>
                  <a:pt x="114" y="566"/>
                </a:cubicBezTo>
                <a:cubicBezTo>
                  <a:pt x="113" y="362"/>
                  <a:pt x="113" y="362"/>
                  <a:pt x="113" y="362"/>
                </a:cubicBezTo>
                <a:lnTo>
                  <a:pt x="318" y="363"/>
                </a:lnTo>
                <a:close/>
                <a:moveTo>
                  <a:pt x="318" y="0"/>
                </a:moveTo>
                <a:cubicBezTo>
                  <a:pt x="113" y="0"/>
                  <a:pt x="113" y="0"/>
                  <a:pt x="113" y="0"/>
                </a:cubicBezTo>
                <a:cubicBezTo>
                  <a:pt x="91" y="204"/>
                  <a:pt x="91" y="204"/>
                  <a:pt x="91" y="204"/>
                </a:cubicBezTo>
                <a:cubicBezTo>
                  <a:pt x="340" y="204"/>
                  <a:pt x="340" y="204"/>
                  <a:pt x="340" y="204"/>
                </a:cubicBezTo>
                <a:lnTo>
                  <a:pt x="318" y="0"/>
                </a:lnTo>
                <a:close/>
                <a:moveTo>
                  <a:pt x="363" y="317"/>
                </a:moveTo>
                <a:cubicBezTo>
                  <a:pt x="68" y="317"/>
                  <a:pt x="68" y="317"/>
                  <a:pt x="68" y="317"/>
                </a:cubicBezTo>
                <a:cubicBezTo>
                  <a:pt x="68" y="612"/>
                  <a:pt x="68" y="612"/>
                  <a:pt x="68" y="612"/>
                </a:cubicBezTo>
                <a:cubicBezTo>
                  <a:pt x="363" y="612"/>
                  <a:pt x="363" y="612"/>
                  <a:pt x="363" y="612"/>
                </a:cubicBezTo>
                <a:cubicBezTo>
                  <a:pt x="363" y="317"/>
                  <a:pt x="363" y="317"/>
                  <a:pt x="363" y="317"/>
                </a:cubicBezTo>
                <a:moveTo>
                  <a:pt x="476" y="430"/>
                </a:moveTo>
                <a:cubicBezTo>
                  <a:pt x="476" y="362"/>
                  <a:pt x="476" y="362"/>
                  <a:pt x="476" y="362"/>
                </a:cubicBezTo>
                <a:cubicBezTo>
                  <a:pt x="431" y="362"/>
                  <a:pt x="431" y="362"/>
                  <a:pt x="431" y="362"/>
                </a:cubicBezTo>
                <a:cubicBezTo>
                  <a:pt x="431" y="289"/>
                  <a:pt x="431" y="289"/>
                  <a:pt x="431" y="289"/>
                </a:cubicBezTo>
                <a:cubicBezTo>
                  <a:pt x="431" y="267"/>
                  <a:pt x="413" y="249"/>
                  <a:pt x="391" y="249"/>
                </a:cubicBezTo>
                <a:cubicBezTo>
                  <a:pt x="40" y="249"/>
                  <a:pt x="40" y="249"/>
                  <a:pt x="40" y="249"/>
                </a:cubicBezTo>
                <a:cubicBezTo>
                  <a:pt x="18" y="249"/>
                  <a:pt x="0" y="267"/>
                  <a:pt x="0" y="289"/>
                </a:cubicBezTo>
                <a:cubicBezTo>
                  <a:pt x="0" y="640"/>
                  <a:pt x="0" y="640"/>
                  <a:pt x="0" y="640"/>
                </a:cubicBezTo>
                <a:cubicBezTo>
                  <a:pt x="0" y="662"/>
                  <a:pt x="18" y="680"/>
                  <a:pt x="40" y="680"/>
                </a:cubicBezTo>
                <a:cubicBezTo>
                  <a:pt x="391" y="680"/>
                  <a:pt x="391" y="680"/>
                  <a:pt x="391" y="680"/>
                </a:cubicBezTo>
                <a:cubicBezTo>
                  <a:pt x="413" y="680"/>
                  <a:pt x="431" y="662"/>
                  <a:pt x="431" y="640"/>
                </a:cubicBezTo>
                <a:cubicBezTo>
                  <a:pt x="431" y="566"/>
                  <a:pt x="431" y="566"/>
                  <a:pt x="431" y="566"/>
                </a:cubicBezTo>
                <a:cubicBezTo>
                  <a:pt x="476" y="566"/>
                  <a:pt x="476" y="566"/>
                  <a:pt x="476" y="566"/>
                </a:cubicBezTo>
                <a:cubicBezTo>
                  <a:pt x="476" y="498"/>
                  <a:pt x="476" y="498"/>
                  <a:pt x="476" y="498"/>
                </a:cubicBezTo>
                <a:cubicBezTo>
                  <a:pt x="431" y="498"/>
                  <a:pt x="431" y="498"/>
                  <a:pt x="431" y="498"/>
                </a:cubicBezTo>
                <a:cubicBezTo>
                  <a:pt x="431" y="430"/>
                  <a:pt x="431" y="430"/>
                  <a:pt x="431" y="430"/>
                </a:cubicBezTo>
                <a:lnTo>
                  <a:pt x="476" y="430"/>
                </a:lnTo>
                <a:close/>
                <a:moveTo>
                  <a:pt x="113" y="929"/>
                </a:moveTo>
                <a:cubicBezTo>
                  <a:pt x="318" y="929"/>
                  <a:pt x="318" y="929"/>
                  <a:pt x="318" y="929"/>
                </a:cubicBezTo>
                <a:cubicBezTo>
                  <a:pt x="340" y="725"/>
                  <a:pt x="340" y="725"/>
                  <a:pt x="340" y="725"/>
                </a:cubicBezTo>
                <a:cubicBezTo>
                  <a:pt x="91" y="725"/>
                  <a:pt x="91" y="725"/>
                  <a:pt x="91" y="725"/>
                </a:cubicBezTo>
                <a:lnTo>
                  <a:pt x="113" y="92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de-DE" sz="1799" kern="0" dirty="0">
              <a:solidFill>
                <a:srgbClr val="000000"/>
              </a:solidFill>
            </a:endParaRPr>
          </a:p>
        </p:txBody>
      </p:sp>
      <p:sp>
        <p:nvSpPr>
          <p:cNvPr id="841" name="Freeform 152">
            <a:extLst>
              <a:ext uri="{FF2B5EF4-FFF2-40B4-BE49-F238E27FC236}">
                <a16:creationId xmlns:a16="http://schemas.microsoft.com/office/drawing/2014/main" id="{BE85CB87-F315-04FA-10FB-63F2E43270BD}"/>
              </a:ext>
            </a:extLst>
          </p:cNvPr>
          <p:cNvSpPr>
            <a:spLocks noEditPoints="1"/>
          </p:cNvSpPr>
          <p:nvPr/>
        </p:nvSpPr>
        <p:spPr bwMode="auto">
          <a:xfrm>
            <a:off x="4335108" y="2390765"/>
            <a:ext cx="421316" cy="200732"/>
          </a:xfrm>
          <a:custGeom>
            <a:avLst/>
            <a:gdLst>
              <a:gd name="T0" fmla="*/ 819 w 953"/>
              <a:gd name="T1" fmla="*/ 68 h 454"/>
              <a:gd name="T2" fmla="*/ 814 w 953"/>
              <a:gd name="T3" fmla="*/ 52 h 454"/>
              <a:gd name="T4" fmla="*/ 477 w 953"/>
              <a:gd name="T5" fmla="*/ 0 h 454"/>
              <a:gd name="T6" fmla="*/ 139 w 953"/>
              <a:gd name="T7" fmla="*/ 52 h 454"/>
              <a:gd name="T8" fmla="*/ 134 w 953"/>
              <a:gd name="T9" fmla="*/ 68 h 454"/>
              <a:gd name="T10" fmla="*/ 0 w 953"/>
              <a:gd name="T11" fmla="*/ 91 h 454"/>
              <a:gd name="T12" fmla="*/ 23 w 953"/>
              <a:gd name="T13" fmla="*/ 250 h 454"/>
              <a:gd name="T14" fmla="*/ 68 w 953"/>
              <a:gd name="T15" fmla="*/ 295 h 454"/>
              <a:gd name="T16" fmla="*/ 275 w 953"/>
              <a:gd name="T17" fmla="*/ 446 h 454"/>
              <a:gd name="T18" fmla="*/ 276 w 953"/>
              <a:gd name="T19" fmla="*/ 446 h 454"/>
              <a:gd name="T20" fmla="*/ 477 w 953"/>
              <a:gd name="T21" fmla="*/ 386 h 454"/>
              <a:gd name="T22" fmla="*/ 677 w 953"/>
              <a:gd name="T23" fmla="*/ 446 h 454"/>
              <a:gd name="T24" fmla="*/ 678 w 953"/>
              <a:gd name="T25" fmla="*/ 446 h 454"/>
              <a:gd name="T26" fmla="*/ 885 w 953"/>
              <a:gd name="T27" fmla="*/ 295 h 454"/>
              <a:gd name="T28" fmla="*/ 930 w 953"/>
              <a:gd name="T29" fmla="*/ 250 h 454"/>
              <a:gd name="T30" fmla="*/ 953 w 953"/>
              <a:gd name="T31" fmla="*/ 227 h 454"/>
              <a:gd name="T32" fmla="*/ 930 w 953"/>
              <a:gd name="T33" fmla="*/ 68 h 454"/>
              <a:gd name="T34" fmla="*/ 46 w 953"/>
              <a:gd name="T35" fmla="*/ 204 h 454"/>
              <a:gd name="T36" fmla="*/ 119 w 953"/>
              <a:gd name="T37" fmla="*/ 114 h 454"/>
              <a:gd name="T38" fmla="*/ 561 w 953"/>
              <a:gd name="T39" fmla="*/ 107 h 454"/>
              <a:gd name="T40" fmla="*/ 409 w 953"/>
              <a:gd name="T41" fmla="*/ 114 h 454"/>
              <a:gd name="T42" fmla="*/ 393 w 953"/>
              <a:gd name="T43" fmla="*/ 75 h 454"/>
              <a:gd name="T44" fmla="*/ 545 w 953"/>
              <a:gd name="T45" fmla="*/ 68 h 454"/>
              <a:gd name="T46" fmla="*/ 561 w 953"/>
              <a:gd name="T47" fmla="*/ 107 h 454"/>
              <a:gd name="T48" fmla="*/ 635 w 953"/>
              <a:gd name="T49" fmla="*/ 386 h 454"/>
              <a:gd name="T50" fmla="*/ 619 w 953"/>
              <a:gd name="T51" fmla="*/ 347 h 454"/>
              <a:gd name="T52" fmla="*/ 810 w 953"/>
              <a:gd name="T53" fmla="*/ 188 h 454"/>
              <a:gd name="T54" fmla="*/ 651 w 953"/>
              <a:gd name="T55" fmla="*/ 379 h 454"/>
              <a:gd name="T56" fmla="*/ 742 w 953"/>
              <a:gd name="T57" fmla="*/ 402 h 454"/>
              <a:gd name="T58" fmla="*/ 710 w 953"/>
              <a:gd name="T59" fmla="*/ 402 h 454"/>
              <a:gd name="T60" fmla="*/ 801 w 953"/>
              <a:gd name="T61" fmla="*/ 279 h 454"/>
              <a:gd name="T62" fmla="*/ 833 w 953"/>
              <a:gd name="T63" fmla="*/ 311 h 454"/>
              <a:gd name="T64" fmla="*/ 864 w 953"/>
              <a:gd name="T65" fmla="*/ 204 h 454"/>
              <a:gd name="T66" fmla="*/ 908 w 953"/>
              <a:gd name="T67" fmla="*/ 114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953" h="454">
                <a:moveTo>
                  <a:pt x="930" y="68"/>
                </a:moveTo>
                <a:cubicBezTo>
                  <a:pt x="819" y="68"/>
                  <a:pt x="819" y="68"/>
                  <a:pt x="819" y="68"/>
                </a:cubicBezTo>
                <a:cubicBezTo>
                  <a:pt x="815" y="56"/>
                  <a:pt x="815" y="56"/>
                  <a:pt x="815" y="56"/>
                </a:cubicBezTo>
                <a:cubicBezTo>
                  <a:pt x="814" y="52"/>
                  <a:pt x="814" y="52"/>
                  <a:pt x="814" y="52"/>
                </a:cubicBezTo>
                <a:cubicBezTo>
                  <a:pt x="807" y="35"/>
                  <a:pt x="791" y="23"/>
                  <a:pt x="771" y="23"/>
                </a:cubicBezTo>
                <a:cubicBezTo>
                  <a:pt x="477" y="0"/>
                  <a:pt x="477" y="0"/>
                  <a:pt x="477" y="0"/>
                </a:cubicBezTo>
                <a:cubicBezTo>
                  <a:pt x="182" y="23"/>
                  <a:pt x="182" y="23"/>
                  <a:pt x="182" y="23"/>
                </a:cubicBezTo>
                <a:cubicBezTo>
                  <a:pt x="162" y="23"/>
                  <a:pt x="146" y="35"/>
                  <a:pt x="139" y="52"/>
                </a:cubicBezTo>
                <a:cubicBezTo>
                  <a:pt x="138" y="56"/>
                  <a:pt x="138" y="56"/>
                  <a:pt x="138" y="56"/>
                </a:cubicBezTo>
                <a:cubicBezTo>
                  <a:pt x="134" y="68"/>
                  <a:pt x="134" y="68"/>
                  <a:pt x="134" y="68"/>
                </a:cubicBezTo>
                <a:cubicBezTo>
                  <a:pt x="23" y="68"/>
                  <a:pt x="23" y="68"/>
                  <a:pt x="23" y="68"/>
                </a:cubicBezTo>
                <a:cubicBezTo>
                  <a:pt x="11" y="68"/>
                  <a:pt x="0" y="78"/>
                  <a:pt x="0" y="91"/>
                </a:cubicBezTo>
                <a:cubicBezTo>
                  <a:pt x="0" y="227"/>
                  <a:pt x="0" y="227"/>
                  <a:pt x="0" y="227"/>
                </a:cubicBezTo>
                <a:cubicBezTo>
                  <a:pt x="0" y="240"/>
                  <a:pt x="11" y="250"/>
                  <a:pt x="23" y="250"/>
                </a:cubicBezTo>
                <a:cubicBezTo>
                  <a:pt x="75" y="250"/>
                  <a:pt x="75" y="250"/>
                  <a:pt x="75" y="250"/>
                </a:cubicBezTo>
                <a:cubicBezTo>
                  <a:pt x="71" y="264"/>
                  <a:pt x="68" y="279"/>
                  <a:pt x="68" y="295"/>
                </a:cubicBezTo>
                <a:cubicBezTo>
                  <a:pt x="68" y="383"/>
                  <a:pt x="140" y="454"/>
                  <a:pt x="227" y="454"/>
                </a:cubicBezTo>
                <a:cubicBezTo>
                  <a:pt x="244" y="454"/>
                  <a:pt x="260" y="451"/>
                  <a:pt x="275" y="446"/>
                </a:cubicBezTo>
                <a:cubicBezTo>
                  <a:pt x="276" y="446"/>
                  <a:pt x="276" y="446"/>
                  <a:pt x="276" y="446"/>
                </a:cubicBezTo>
                <a:cubicBezTo>
                  <a:pt x="276" y="446"/>
                  <a:pt x="276" y="446"/>
                  <a:pt x="276" y="446"/>
                </a:cubicBezTo>
                <a:cubicBezTo>
                  <a:pt x="417" y="404"/>
                  <a:pt x="417" y="404"/>
                  <a:pt x="417" y="404"/>
                </a:cubicBezTo>
                <a:cubicBezTo>
                  <a:pt x="477" y="386"/>
                  <a:pt x="477" y="386"/>
                  <a:pt x="477" y="386"/>
                </a:cubicBezTo>
                <a:cubicBezTo>
                  <a:pt x="536" y="404"/>
                  <a:pt x="536" y="404"/>
                  <a:pt x="536" y="404"/>
                </a:cubicBezTo>
                <a:cubicBezTo>
                  <a:pt x="677" y="446"/>
                  <a:pt x="677" y="446"/>
                  <a:pt x="677" y="446"/>
                </a:cubicBezTo>
                <a:cubicBezTo>
                  <a:pt x="677" y="446"/>
                  <a:pt x="677" y="446"/>
                  <a:pt x="677" y="446"/>
                </a:cubicBezTo>
                <a:cubicBezTo>
                  <a:pt x="678" y="446"/>
                  <a:pt x="678" y="446"/>
                  <a:pt x="678" y="446"/>
                </a:cubicBezTo>
                <a:cubicBezTo>
                  <a:pt x="693" y="451"/>
                  <a:pt x="709" y="454"/>
                  <a:pt x="726" y="454"/>
                </a:cubicBezTo>
                <a:cubicBezTo>
                  <a:pt x="814" y="454"/>
                  <a:pt x="885" y="383"/>
                  <a:pt x="885" y="295"/>
                </a:cubicBezTo>
                <a:cubicBezTo>
                  <a:pt x="885" y="279"/>
                  <a:pt x="883" y="264"/>
                  <a:pt x="878" y="250"/>
                </a:cubicBezTo>
                <a:cubicBezTo>
                  <a:pt x="930" y="250"/>
                  <a:pt x="930" y="250"/>
                  <a:pt x="930" y="250"/>
                </a:cubicBezTo>
                <a:cubicBezTo>
                  <a:pt x="936" y="250"/>
                  <a:pt x="942" y="247"/>
                  <a:pt x="946" y="243"/>
                </a:cubicBezTo>
                <a:cubicBezTo>
                  <a:pt x="950" y="239"/>
                  <a:pt x="953" y="233"/>
                  <a:pt x="953" y="227"/>
                </a:cubicBezTo>
                <a:cubicBezTo>
                  <a:pt x="953" y="91"/>
                  <a:pt x="953" y="91"/>
                  <a:pt x="953" y="91"/>
                </a:cubicBezTo>
                <a:cubicBezTo>
                  <a:pt x="953" y="78"/>
                  <a:pt x="943" y="68"/>
                  <a:pt x="930" y="68"/>
                </a:cubicBezTo>
                <a:close/>
                <a:moveTo>
                  <a:pt x="90" y="204"/>
                </a:moveTo>
                <a:cubicBezTo>
                  <a:pt x="46" y="204"/>
                  <a:pt x="46" y="204"/>
                  <a:pt x="46" y="204"/>
                </a:cubicBezTo>
                <a:cubicBezTo>
                  <a:pt x="46" y="114"/>
                  <a:pt x="46" y="114"/>
                  <a:pt x="46" y="114"/>
                </a:cubicBezTo>
                <a:cubicBezTo>
                  <a:pt x="119" y="114"/>
                  <a:pt x="119" y="114"/>
                  <a:pt x="119" y="114"/>
                </a:cubicBezTo>
                <a:lnTo>
                  <a:pt x="90" y="204"/>
                </a:lnTo>
                <a:close/>
                <a:moveTo>
                  <a:pt x="561" y="107"/>
                </a:moveTo>
                <a:cubicBezTo>
                  <a:pt x="557" y="111"/>
                  <a:pt x="551" y="114"/>
                  <a:pt x="545" y="114"/>
                </a:cubicBezTo>
                <a:cubicBezTo>
                  <a:pt x="409" y="114"/>
                  <a:pt x="409" y="114"/>
                  <a:pt x="409" y="114"/>
                </a:cubicBezTo>
                <a:cubicBezTo>
                  <a:pt x="396" y="114"/>
                  <a:pt x="386" y="104"/>
                  <a:pt x="386" y="91"/>
                </a:cubicBezTo>
                <a:cubicBezTo>
                  <a:pt x="386" y="85"/>
                  <a:pt x="388" y="79"/>
                  <a:pt x="393" y="75"/>
                </a:cubicBezTo>
                <a:cubicBezTo>
                  <a:pt x="397" y="71"/>
                  <a:pt x="402" y="68"/>
                  <a:pt x="409" y="68"/>
                </a:cubicBezTo>
                <a:cubicBezTo>
                  <a:pt x="545" y="68"/>
                  <a:pt x="545" y="68"/>
                  <a:pt x="545" y="68"/>
                </a:cubicBezTo>
                <a:cubicBezTo>
                  <a:pt x="557" y="68"/>
                  <a:pt x="567" y="78"/>
                  <a:pt x="567" y="91"/>
                </a:cubicBezTo>
                <a:cubicBezTo>
                  <a:pt x="567" y="97"/>
                  <a:pt x="565" y="103"/>
                  <a:pt x="561" y="107"/>
                </a:cubicBezTo>
                <a:close/>
                <a:moveTo>
                  <a:pt x="651" y="379"/>
                </a:moveTo>
                <a:cubicBezTo>
                  <a:pt x="647" y="384"/>
                  <a:pt x="641" y="386"/>
                  <a:pt x="635" y="386"/>
                </a:cubicBezTo>
                <a:cubicBezTo>
                  <a:pt x="630" y="386"/>
                  <a:pt x="624" y="384"/>
                  <a:pt x="619" y="379"/>
                </a:cubicBezTo>
                <a:cubicBezTo>
                  <a:pt x="610" y="370"/>
                  <a:pt x="610" y="356"/>
                  <a:pt x="619" y="347"/>
                </a:cubicBezTo>
                <a:cubicBezTo>
                  <a:pt x="778" y="188"/>
                  <a:pt x="778" y="188"/>
                  <a:pt x="778" y="188"/>
                </a:cubicBezTo>
                <a:cubicBezTo>
                  <a:pt x="787" y="179"/>
                  <a:pt x="801" y="179"/>
                  <a:pt x="810" y="188"/>
                </a:cubicBezTo>
                <a:cubicBezTo>
                  <a:pt x="819" y="197"/>
                  <a:pt x="819" y="212"/>
                  <a:pt x="810" y="220"/>
                </a:cubicBezTo>
                <a:lnTo>
                  <a:pt x="651" y="379"/>
                </a:lnTo>
                <a:close/>
                <a:moveTo>
                  <a:pt x="833" y="311"/>
                </a:moveTo>
                <a:cubicBezTo>
                  <a:pt x="742" y="402"/>
                  <a:pt x="742" y="402"/>
                  <a:pt x="742" y="402"/>
                </a:cubicBezTo>
                <a:cubicBezTo>
                  <a:pt x="738" y="406"/>
                  <a:pt x="732" y="408"/>
                  <a:pt x="726" y="408"/>
                </a:cubicBezTo>
                <a:cubicBezTo>
                  <a:pt x="720" y="408"/>
                  <a:pt x="714" y="406"/>
                  <a:pt x="710" y="402"/>
                </a:cubicBezTo>
                <a:cubicBezTo>
                  <a:pt x="701" y="393"/>
                  <a:pt x="701" y="379"/>
                  <a:pt x="710" y="370"/>
                </a:cubicBezTo>
                <a:cubicBezTo>
                  <a:pt x="801" y="279"/>
                  <a:pt x="801" y="279"/>
                  <a:pt x="801" y="279"/>
                </a:cubicBezTo>
                <a:cubicBezTo>
                  <a:pt x="810" y="270"/>
                  <a:pt x="824" y="270"/>
                  <a:pt x="833" y="279"/>
                </a:cubicBezTo>
                <a:cubicBezTo>
                  <a:pt x="842" y="288"/>
                  <a:pt x="842" y="302"/>
                  <a:pt x="833" y="311"/>
                </a:cubicBezTo>
                <a:close/>
                <a:moveTo>
                  <a:pt x="908" y="204"/>
                </a:moveTo>
                <a:cubicBezTo>
                  <a:pt x="864" y="204"/>
                  <a:pt x="864" y="204"/>
                  <a:pt x="864" y="204"/>
                </a:cubicBezTo>
                <a:cubicBezTo>
                  <a:pt x="834" y="114"/>
                  <a:pt x="834" y="114"/>
                  <a:pt x="834" y="114"/>
                </a:cubicBezTo>
                <a:cubicBezTo>
                  <a:pt x="908" y="114"/>
                  <a:pt x="908" y="114"/>
                  <a:pt x="908" y="114"/>
                </a:cubicBezTo>
                <a:lnTo>
                  <a:pt x="908" y="204"/>
                </a:lnTo>
                <a:close/>
              </a:path>
            </a:pathLst>
          </a:custGeom>
          <a:solidFill>
            <a:srgbClr val="FFFFFF"/>
          </a:solidFill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de-DE" sz="1799" kern="0">
              <a:solidFill>
                <a:srgbClr val="000000"/>
              </a:solidFill>
            </a:endParaRPr>
          </a:p>
        </p:txBody>
      </p:sp>
      <p:sp>
        <p:nvSpPr>
          <p:cNvPr id="855" name="Rectangle 854">
            <a:extLst>
              <a:ext uri="{FF2B5EF4-FFF2-40B4-BE49-F238E27FC236}">
                <a16:creationId xmlns:a16="http://schemas.microsoft.com/office/drawing/2014/main" id="{4530CCCB-845C-B5D1-C345-4AA13F83F385}"/>
              </a:ext>
            </a:extLst>
          </p:cNvPr>
          <p:cNvSpPr/>
          <p:nvPr/>
        </p:nvSpPr>
        <p:spPr>
          <a:xfrm>
            <a:off x="714990" y="3811800"/>
            <a:ext cx="998648" cy="293448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0" h="0"/>
          </a:sp3d>
        </p:spPr>
        <p:txBody>
          <a:bodyPr anchor="ctr"/>
          <a:lstStyle/>
          <a:p>
            <a:pPr algn="ctr" defTabSz="913486">
              <a:defRPr/>
            </a:pPr>
            <a:r>
              <a:rPr lang="en-US" sz="999" kern="0" dirty="0">
                <a:solidFill>
                  <a:srgbClr val="FFFFFF"/>
                </a:solidFill>
                <a:cs typeface="Arial" charset="0"/>
              </a:rPr>
              <a:t>Aggregation</a:t>
            </a:r>
          </a:p>
        </p:txBody>
      </p:sp>
      <p:sp>
        <p:nvSpPr>
          <p:cNvPr id="856" name="Rectangle 855">
            <a:extLst>
              <a:ext uri="{FF2B5EF4-FFF2-40B4-BE49-F238E27FC236}">
                <a16:creationId xmlns:a16="http://schemas.microsoft.com/office/drawing/2014/main" id="{3E1E124E-2570-58EB-2E34-871503096F38}"/>
              </a:ext>
            </a:extLst>
          </p:cNvPr>
          <p:cNvSpPr/>
          <p:nvPr/>
        </p:nvSpPr>
        <p:spPr>
          <a:xfrm>
            <a:off x="1550321" y="3811800"/>
            <a:ext cx="1206554" cy="293448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0" h="0"/>
          </a:sp3d>
        </p:spPr>
        <p:txBody>
          <a:bodyPr anchor="ctr"/>
          <a:lstStyle/>
          <a:p>
            <a:pPr algn="ctr" defTabSz="913486">
              <a:defRPr/>
            </a:pPr>
            <a:r>
              <a:rPr lang="en-US" sz="999" kern="0" dirty="0">
                <a:solidFill>
                  <a:srgbClr val="FFFFFF"/>
                </a:solidFill>
                <a:cs typeface="Arial" charset="0"/>
              </a:rPr>
              <a:t>Contextualization</a:t>
            </a:r>
          </a:p>
        </p:txBody>
      </p:sp>
      <p:grpSp>
        <p:nvGrpSpPr>
          <p:cNvPr id="857" name="Gruppieren 14">
            <a:extLst>
              <a:ext uri="{FF2B5EF4-FFF2-40B4-BE49-F238E27FC236}">
                <a16:creationId xmlns:a16="http://schemas.microsoft.com/office/drawing/2014/main" id="{7FFB1E53-DA7D-E08E-A7C9-F455E327D719}"/>
              </a:ext>
            </a:extLst>
          </p:cNvPr>
          <p:cNvGrpSpPr>
            <a:grpSpLocks/>
          </p:cNvGrpSpPr>
          <p:nvPr/>
        </p:nvGrpSpPr>
        <p:grpSpPr>
          <a:xfrm>
            <a:off x="1841248" y="3302370"/>
            <a:ext cx="385985" cy="384799"/>
            <a:chOff x="4521201" y="1870075"/>
            <a:chExt cx="1031874" cy="1028700"/>
          </a:xfrm>
          <a:solidFill>
            <a:srgbClr val="FFFFFF"/>
          </a:solidFill>
        </p:grpSpPr>
        <p:sp>
          <p:nvSpPr>
            <p:cNvPr id="858" name="Freeform 11">
              <a:extLst>
                <a:ext uri="{FF2B5EF4-FFF2-40B4-BE49-F238E27FC236}">
                  <a16:creationId xmlns:a16="http://schemas.microsoft.com/office/drawing/2014/main" id="{54743ABC-2C0E-AA71-6200-D24045BA2E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1201" y="2422525"/>
              <a:ext cx="630237" cy="476250"/>
            </a:xfrm>
            <a:custGeom>
              <a:avLst/>
              <a:gdLst>
                <a:gd name="T0" fmla="*/ 463 w 513"/>
                <a:gd name="T1" fmla="*/ 247 h 388"/>
                <a:gd name="T2" fmla="*/ 435 w 513"/>
                <a:gd name="T3" fmla="*/ 240 h 388"/>
                <a:gd name="T4" fmla="*/ 389 w 513"/>
                <a:gd name="T5" fmla="*/ 240 h 388"/>
                <a:gd name="T6" fmla="*/ 389 w 513"/>
                <a:gd name="T7" fmla="*/ 388 h 388"/>
                <a:gd name="T8" fmla="*/ 0 w 513"/>
                <a:gd name="T9" fmla="*/ 388 h 388"/>
                <a:gd name="T10" fmla="*/ 0 w 513"/>
                <a:gd name="T11" fmla="*/ 0 h 388"/>
                <a:gd name="T12" fmla="*/ 70 w 513"/>
                <a:gd name="T13" fmla="*/ 0 h 388"/>
                <a:gd name="T14" fmla="*/ 195 w 513"/>
                <a:gd name="T15" fmla="*/ 125 h 388"/>
                <a:gd name="T16" fmla="*/ 319 w 513"/>
                <a:gd name="T17" fmla="*/ 0 h 388"/>
                <a:gd name="T18" fmla="*/ 389 w 513"/>
                <a:gd name="T19" fmla="*/ 0 h 388"/>
                <a:gd name="T20" fmla="*/ 389 w 513"/>
                <a:gd name="T21" fmla="*/ 148 h 388"/>
                <a:gd name="T22" fmla="*/ 435 w 513"/>
                <a:gd name="T23" fmla="*/ 149 h 388"/>
                <a:gd name="T24" fmla="*/ 463 w 513"/>
                <a:gd name="T25" fmla="*/ 141 h 388"/>
                <a:gd name="T26" fmla="*/ 513 w 513"/>
                <a:gd name="T27" fmla="*/ 195 h 388"/>
                <a:gd name="T28" fmla="*/ 463 w 513"/>
                <a:gd name="T29" fmla="*/ 247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13" h="388">
                  <a:moveTo>
                    <a:pt x="463" y="247"/>
                  </a:moveTo>
                  <a:cubicBezTo>
                    <a:pt x="452" y="247"/>
                    <a:pt x="443" y="243"/>
                    <a:pt x="435" y="240"/>
                  </a:cubicBezTo>
                  <a:cubicBezTo>
                    <a:pt x="415" y="232"/>
                    <a:pt x="393" y="217"/>
                    <a:pt x="389" y="240"/>
                  </a:cubicBezTo>
                  <a:cubicBezTo>
                    <a:pt x="389" y="388"/>
                    <a:pt x="389" y="388"/>
                    <a:pt x="389" y="388"/>
                  </a:cubicBezTo>
                  <a:cubicBezTo>
                    <a:pt x="0" y="388"/>
                    <a:pt x="0" y="388"/>
                    <a:pt x="0" y="38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0" y="68"/>
                    <a:pt x="126" y="125"/>
                    <a:pt x="195" y="125"/>
                  </a:cubicBezTo>
                  <a:cubicBezTo>
                    <a:pt x="263" y="125"/>
                    <a:pt x="319" y="68"/>
                    <a:pt x="319" y="0"/>
                  </a:cubicBezTo>
                  <a:cubicBezTo>
                    <a:pt x="389" y="0"/>
                    <a:pt x="389" y="0"/>
                    <a:pt x="389" y="0"/>
                  </a:cubicBezTo>
                  <a:cubicBezTo>
                    <a:pt x="389" y="148"/>
                    <a:pt x="389" y="148"/>
                    <a:pt x="389" y="148"/>
                  </a:cubicBezTo>
                  <a:cubicBezTo>
                    <a:pt x="393" y="171"/>
                    <a:pt x="415" y="156"/>
                    <a:pt x="435" y="149"/>
                  </a:cubicBezTo>
                  <a:cubicBezTo>
                    <a:pt x="443" y="145"/>
                    <a:pt x="452" y="141"/>
                    <a:pt x="463" y="141"/>
                  </a:cubicBezTo>
                  <a:cubicBezTo>
                    <a:pt x="491" y="141"/>
                    <a:pt x="513" y="164"/>
                    <a:pt x="513" y="195"/>
                  </a:cubicBezTo>
                  <a:cubicBezTo>
                    <a:pt x="513" y="223"/>
                    <a:pt x="491" y="247"/>
                    <a:pt x="463" y="2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de-DE" sz="1799" kern="0">
                <a:solidFill>
                  <a:srgbClr val="000000"/>
                </a:solidFill>
              </a:endParaRPr>
            </a:p>
          </p:txBody>
        </p:sp>
        <p:sp>
          <p:nvSpPr>
            <p:cNvPr id="859" name="Freeform 12">
              <a:extLst>
                <a:ext uri="{FF2B5EF4-FFF2-40B4-BE49-F238E27FC236}">
                  <a16:creationId xmlns:a16="http://schemas.microsoft.com/office/drawing/2014/main" id="{19A1F536-C108-5D35-2A74-2FEEA1E0161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75238" y="2270125"/>
              <a:ext cx="477837" cy="628650"/>
            </a:xfrm>
            <a:custGeom>
              <a:avLst/>
              <a:gdLst>
                <a:gd name="T0" fmla="*/ 240 w 390"/>
                <a:gd name="T1" fmla="*/ 80 h 513"/>
                <a:gd name="T2" fmla="*/ 248 w 390"/>
                <a:gd name="T3" fmla="*/ 51 h 513"/>
                <a:gd name="T4" fmla="*/ 195 w 390"/>
                <a:gd name="T5" fmla="*/ 0 h 513"/>
                <a:gd name="T6" fmla="*/ 141 w 390"/>
                <a:gd name="T7" fmla="*/ 51 h 513"/>
                <a:gd name="T8" fmla="*/ 150 w 390"/>
                <a:gd name="T9" fmla="*/ 80 h 513"/>
                <a:gd name="T10" fmla="*/ 148 w 390"/>
                <a:gd name="T11" fmla="*/ 125 h 513"/>
                <a:gd name="T12" fmla="*/ 0 w 390"/>
                <a:gd name="T13" fmla="*/ 125 h 513"/>
                <a:gd name="T14" fmla="*/ 0 w 390"/>
                <a:gd name="T15" fmla="*/ 195 h 513"/>
                <a:gd name="T16" fmla="*/ 125 w 390"/>
                <a:gd name="T17" fmla="*/ 320 h 513"/>
                <a:gd name="T18" fmla="*/ 0 w 390"/>
                <a:gd name="T19" fmla="*/ 443 h 513"/>
                <a:gd name="T20" fmla="*/ 0 w 390"/>
                <a:gd name="T21" fmla="*/ 513 h 513"/>
                <a:gd name="T22" fmla="*/ 390 w 390"/>
                <a:gd name="T23" fmla="*/ 513 h 513"/>
                <a:gd name="T24" fmla="*/ 390 w 390"/>
                <a:gd name="T25" fmla="*/ 125 h 513"/>
                <a:gd name="T26" fmla="*/ 240 w 390"/>
                <a:gd name="T27" fmla="*/ 125 h 513"/>
                <a:gd name="T28" fmla="*/ 240 w 390"/>
                <a:gd name="T29" fmla="*/ 80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90" h="513">
                  <a:moveTo>
                    <a:pt x="240" y="80"/>
                  </a:moveTo>
                  <a:cubicBezTo>
                    <a:pt x="244" y="70"/>
                    <a:pt x="248" y="60"/>
                    <a:pt x="248" y="51"/>
                  </a:cubicBezTo>
                  <a:cubicBezTo>
                    <a:pt x="248" y="23"/>
                    <a:pt x="224" y="0"/>
                    <a:pt x="195" y="0"/>
                  </a:cubicBezTo>
                  <a:cubicBezTo>
                    <a:pt x="165" y="0"/>
                    <a:pt x="141" y="23"/>
                    <a:pt x="141" y="51"/>
                  </a:cubicBezTo>
                  <a:cubicBezTo>
                    <a:pt x="141" y="60"/>
                    <a:pt x="145" y="70"/>
                    <a:pt x="150" y="80"/>
                  </a:cubicBezTo>
                  <a:cubicBezTo>
                    <a:pt x="158" y="98"/>
                    <a:pt x="171" y="119"/>
                    <a:pt x="148" y="125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69" y="195"/>
                    <a:pt x="125" y="251"/>
                    <a:pt x="125" y="320"/>
                  </a:cubicBezTo>
                  <a:cubicBezTo>
                    <a:pt x="125" y="388"/>
                    <a:pt x="69" y="443"/>
                    <a:pt x="0" y="443"/>
                  </a:cubicBezTo>
                  <a:cubicBezTo>
                    <a:pt x="0" y="513"/>
                    <a:pt x="0" y="513"/>
                    <a:pt x="0" y="513"/>
                  </a:cubicBezTo>
                  <a:cubicBezTo>
                    <a:pt x="390" y="513"/>
                    <a:pt x="390" y="513"/>
                    <a:pt x="390" y="513"/>
                  </a:cubicBezTo>
                  <a:cubicBezTo>
                    <a:pt x="390" y="125"/>
                    <a:pt x="390" y="125"/>
                    <a:pt x="390" y="125"/>
                  </a:cubicBezTo>
                  <a:cubicBezTo>
                    <a:pt x="240" y="125"/>
                    <a:pt x="240" y="125"/>
                    <a:pt x="240" y="125"/>
                  </a:cubicBezTo>
                  <a:cubicBezTo>
                    <a:pt x="217" y="119"/>
                    <a:pt x="232" y="98"/>
                    <a:pt x="240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de-DE" sz="1799" kern="0">
                <a:solidFill>
                  <a:srgbClr val="000000"/>
                </a:solidFill>
              </a:endParaRPr>
            </a:p>
          </p:txBody>
        </p:sp>
        <p:sp>
          <p:nvSpPr>
            <p:cNvPr id="860" name="Freeform 13">
              <a:extLst>
                <a:ext uri="{FF2B5EF4-FFF2-40B4-BE49-F238E27FC236}">
                  <a16:creationId xmlns:a16="http://schemas.microsoft.com/office/drawing/2014/main" id="{88C2C583-3D03-B4B4-FA68-73656DB4E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1201" y="1870075"/>
              <a:ext cx="476250" cy="628650"/>
            </a:xfrm>
            <a:custGeom>
              <a:avLst/>
              <a:gdLst>
                <a:gd name="T0" fmla="*/ 141 w 388"/>
                <a:gd name="T1" fmla="*/ 463 h 513"/>
                <a:gd name="T2" fmla="*/ 148 w 388"/>
                <a:gd name="T3" fmla="*/ 435 h 513"/>
                <a:gd name="T4" fmla="*/ 148 w 388"/>
                <a:gd name="T5" fmla="*/ 389 h 513"/>
                <a:gd name="T6" fmla="*/ 0 w 388"/>
                <a:gd name="T7" fmla="*/ 389 h 513"/>
                <a:gd name="T8" fmla="*/ 0 w 388"/>
                <a:gd name="T9" fmla="*/ 0 h 513"/>
                <a:gd name="T10" fmla="*/ 388 w 388"/>
                <a:gd name="T11" fmla="*/ 0 h 513"/>
                <a:gd name="T12" fmla="*/ 388 w 388"/>
                <a:gd name="T13" fmla="*/ 70 h 513"/>
                <a:gd name="T14" fmla="*/ 263 w 388"/>
                <a:gd name="T15" fmla="*/ 195 h 513"/>
                <a:gd name="T16" fmla="*/ 388 w 388"/>
                <a:gd name="T17" fmla="*/ 319 h 513"/>
                <a:gd name="T18" fmla="*/ 388 w 388"/>
                <a:gd name="T19" fmla="*/ 389 h 513"/>
                <a:gd name="T20" fmla="*/ 240 w 388"/>
                <a:gd name="T21" fmla="*/ 389 h 513"/>
                <a:gd name="T22" fmla="*/ 238 w 388"/>
                <a:gd name="T23" fmla="*/ 435 h 513"/>
                <a:gd name="T24" fmla="*/ 247 w 388"/>
                <a:gd name="T25" fmla="*/ 463 h 513"/>
                <a:gd name="T26" fmla="*/ 193 w 388"/>
                <a:gd name="T27" fmla="*/ 513 h 513"/>
                <a:gd name="T28" fmla="*/ 141 w 388"/>
                <a:gd name="T29" fmla="*/ 463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8" h="513">
                  <a:moveTo>
                    <a:pt x="141" y="463"/>
                  </a:moveTo>
                  <a:cubicBezTo>
                    <a:pt x="141" y="452"/>
                    <a:pt x="145" y="443"/>
                    <a:pt x="148" y="435"/>
                  </a:cubicBezTo>
                  <a:cubicBezTo>
                    <a:pt x="156" y="415"/>
                    <a:pt x="171" y="393"/>
                    <a:pt x="148" y="389"/>
                  </a:cubicBezTo>
                  <a:cubicBezTo>
                    <a:pt x="0" y="389"/>
                    <a:pt x="0" y="389"/>
                    <a:pt x="0" y="38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88" y="0"/>
                    <a:pt x="388" y="0"/>
                    <a:pt x="388" y="0"/>
                  </a:cubicBezTo>
                  <a:cubicBezTo>
                    <a:pt x="388" y="70"/>
                    <a:pt x="388" y="70"/>
                    <a:pt x="388" y="70"/>
                  </a:cubicBezTo>
                  <a:cubicBezTo>
                    <a:pt x="319" y="70"/>
                    <a:pt x="263" y="126"/>
                    <a:pt x="263" y="195"/>
                  </a:cubicBezTo>
                  <a:cubicBezTo>
                    <a:pt x="263" y="263"/>
                    <a:pt x="319" y="319"/>
                    <a:pt x="388" y="319"/>
                  </a:cubicBezTo>
                  <a:cubicBezTo>
                    <a:pt x="388" y="389"/>
                    <a:pt x="388" y="389"/>
                    <a:pt x="388" y="389"/>
                  </a:cubicBezTo>
                  <a:cubicBezTo>
                    <a:pt x="240" y="389"/>
                    <a:pt x="240" y="389"/>
                    <a:pt x="240" y="389"/>
                  </a:cubicBezTo>
                  <a:cubicBezTo>
                    <a:pt x="216" y="393"/>
                    <a:pt x="231" y="415"/>
                    <a:pt x="238" y="435"/>
                  </a:cubicBezTo>
                  <a:cubicBezTo>
                    <a:pt x="242" y="443"/>
                    <a:pt x="247" y="452"/>
                    <a:pt x="247" y="463"/>
                  </a:cubicBezTo>
                  <a:cubicBezTo>
                    <a:pt x="247" y="491"/>
                    <a:pt x="223" y="513"/>
                    <a:pt x="193" y="513"/>
                  </a:cubicBezTo>
                  <a:cubicBezTo>
                    <a:pt x="164" y="513"/>
                    <a:pt x="141" y="491"/>
                    <a:pt x="141" y="4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de-DE" sz="1799" kern="0">
                <a:solidFill>
                  <a:srgbClr val="000000"/>
                </a:solidFill>
              </a:endParaRPr>
            </a:p>
          </p:txBody>
        </p:sp>
        <p:sp>
          <p:nvSpPr>
            <p:cNvPr id="861" name="Freeform 14">
              <a:extLst>
                <a:ext uri="{FF2B5EF4-FFF2-40B4-BE49-F238E27FC236}">
                  <a16:creationId xmlns:a16="http://schemas.microsoft.com/office/drawing/2014/main" id="{7CE037AE-986F-8FC4-6FC3-64CABA4B2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4425" y="1870075"/>
              <a:ext cx="628650" cy="476250"/>
            </a:xfrm>
            <a:custGeom>
              <a:avLst/>
              <a:gdLst>
                <a:gd name="T0" fmla="*/ 49 w 513"/>
                <a:gd name="T1" fmla="*/ 141 h 388"/>
                <a:gd name="T2" fmla="*/ 78 w 513"/>
                <a:gd name="T3" fmla="*/ 148 h 388"/>
                <a:gd name="T4" fmla="*/ 123 w 513"/>
                <a:gd name="T5" fmla="*/ 148 h 388"/>
                <a:gd name="T6" fmla="*/ 123 w 513"/>
                <a:gd name="T7" fmla="*/ 0 h 388"/>
                <a:gd name="T8" fmla="*/ 513 w 513"/>
                <a:gd name="T9" fmla="*/ 0 h 388"/>
                <a:gd name="T10" fmla="*/ 513 w 513"/>
                <a:gd name="T11" fmla="*/ 388 h 388"/>
                <a:gd name="T12" fmla="*/ 443 w 513"/>
                <a:gd name="T13" fmla="*/ 388 h 388"/>
                <a:gd name="T14" fmla="*/ 318 w 513"/>
                <a:gd name="T15" fmla="*/ 263 h 388"/>
                <a:gd name="T16" fmla="*/ 193 w 513"/>
                <a:gd name="T17" fmla="*/ 388 h 388"/>
                <a:gd name="T18" fmla="*/ 123 w 513"/>
                <a:gd name="T19" fmla="*/ 388 h 388"/>
                <a:gd name="T20" fmla="*/ 123 w 513"/>
                <a:gd name="T21" fmla="*/ 240 h 388"/>
                <a:gd name="T22" fmla="*/ 78 w 513"/>
                <a:gd name="T23" fmla="*/ 238 h 388"/>
                <a:gd name="T24" fmla="*/ 49 w 513"/>
                <a:gd name="T25" fmla="*/ 247 h 388"/>
                <a:gd name="T26" fmla="*/ 0 w 513"/>
                <a:gd name="T27" fmla="*/ 193 h 388"/>
                <a:gd name="T28" fmla="*/ 49 w 513"/>
                <a:gd name="T29" fmla="*/ 141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13" h="388">
                  <a:moveTo>
                    <a:pt x="49" y="141"/>
                  </a:moveTo>
                  <a:cubicBezTo>
                    <a:pt x="60" y="141"/>
                    <a:pt x="70" y="145"/>
                    <a:pt x="78" y="148"/>
                  </a:cubicBezTo>
                  <a:cubicBezTo>
                    <a:pt x="97" y="156"/>
                    <a:pt x="119" y="171"/>
                    <a:pt x="123" y="148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513" y="0"/>
                    <a:pt x="513" y="0"/>
                    <a:pt x="513" y="0"/>
                  </a:cubicBezTo>
                  <a:cubicBezTo>
                    <a:pt x="513" y="388"/>
                    <a:pt x="513" y="388"/>
                    <a:pt x="513" y="388"/>
                  </a:cubicBezTo>
                  <a:cubicBezTo>
                    <a:pt x="443" y="388"/>
                    <a:pt x="443" y="388"/>
                    <a:pt x="443" y="388"/>
                  </a:cubicBezTo>
                  <a:cubicBezTo>
                    <a:pt x="443" y="319"/>
                    <a:pt x="386" y="263"/>
                    <a:pt x="318" y="263"/>
                  </a:cubicBezTo>
                  <a:cubicBezTo>
                    <a:pt x="249" y="263"/>
                    <a:pt x="193" y="319"/>
                    <a:pt x="193" y="388"/>
                  </a:cubicBezTo>
                  <a:cubicBezTo>
                    <a:pt x="123" y="388"/>
                    <a:pt x="123" y="388"/>
                    <a:pt x="123" y="388"/>
                  </a:cubicBezTo>
                  <a:cubicBezTo>
                    <a:pt x="123" y="240"/>
                    <a:pt x="123" y="240"/>
                    <a:pt x="123" y="240"/>
                  </a:cubicBezTo>
                  <a:cubicBezTo>
                    <a:pt x="119" y="216"/>
                    <a:pt x="97" y="232"/>
                    <a:pt x="78" y="238"/>
                  </a:cubicBezTo>
                  <a:cubicBezTo>
                    <a:pt x="70" y="242"/>
                    <a:pt x="60" y="247"/>
                    <a:pt x="49" y="247"/>
                  </a:cubicBezTo>
                  <a:cubicBezTo>
                    <a:pt x="22" y="247"/>
                    <a:pt x="0" y="223"/>
                    <a:pt x="0" y="193"/>
                  </a:cubicBezTo>
                  <a:cubicBezTo>
                    <a:pt x="0" y="164"/>
                    <a:pt x="22" y="141"/>
                    <a:pt x="49" y="1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de-DE" sz="1799" kern="0">
                <a:solidFill>
                  <a:srgbClr val="000000"/>
                </a:solidFill>
              </a:endParaRPr>
            </a:p>
          </p:txBody>
        </p:sp>
      </p:grpSp>
      <p:grpSp>
        <p:nvGrpSpPr>
          <p:cNvPr id="862" name="Group 58">
            <a:extLst>
              <a:ext uri="{FF2B5EF4-FFF2-40B4-BE49-F238E27FC236}">
                <a16:creationId xmlns:a16="http://schemas.microsoft.com/office/drawing/2014/main" id="{5DC2408A-3573-0AFB-EBFB-F9294106A87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67650" y="3197358"/>
            <a:ext cx="538271" cy="538566"/>
            <a:chOff x="2933" y="1248"/>
            <a:chExt cx="1821" cy="1822"/>
          </a:xfrm>
          <a:solidFill>
            <a:srgbClr val="FFFFFF"/>
          </a:solidFill>
        </p:grpSpPr>
        <p:sp>
          <p:nvSpPr>
            <p:cNvPr id="863" name="Rectangle 59">
              <a:extLst>
                <a:ext uri="{FF2B5EF4-FFF2-40B4-BE49-F238E27FC236}">
                  <a16:creationId xmlns:a16="http://schemas.microsoft.com/office/drawing/2014/main" id="{EA721F6C-CF20-EC80-EC08-EDD0EDF93A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8" y="1943"/>
              <a:ext cx="430" cy="43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99" kern="0">
                <a:solidFill>
                  <a:srgbClr val="000000"/>
                </a:solidFill>
              </a:endParaRPr>
            </a:p>
          </p:txBody>
        </p:sp>
        <p:sp>
          <p:nvSpPr>
            <p:cNvPr id="864" name="Freeform 60">
              <a:extLst>
                <a:ext uri="{FF2B5EF4-FFF2-40B4-BE49-F238E27FC236}">
                  <a16:creationId xmlns:a16="http://schemas.microsoft.com/office/drawing/2014/main" id="{9E44C9D8-3401-B50A-2545-2C79172CD73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7" y="2479"/>
              <a:ext cx="593" cy="591"/>
            </a:xfrm>
            <a:custGeom>
              <a:avLst/>
              <a:gdLst>
                <a:gd name="T0" fmla="*/ 234 w 593"/>
                <a:gd name="T1" fmla="*/ 224 h 591"/>
                <a:gd name="T2" fmla="*/ 244 w 593"/>
                <a:gd name="T3" fmla="*/ 591 h 591"/>
                <a:gd name="T4" fmla="*/ 348 w 593"/>
                <a:gd name="T5" fmla="*/ 591 h 591"/>
                <a:gd name="T6" fmla="*/ 357 w 593"/>
                <a:gd name="T7" fmla="*/ 224 h 591"/>
                <a:gd name="T8" fmla="*/ 522 w 593"/>
                <a:gd name="T9" fmla="*/ 369 h 591"/>
                <a:gd name="T10" fmla="*/ 593 w 593"/>
                <a:gd name="T11" fmla="*/ 298 h 591"/>
                <a:gd name="T12" fmla="*/ 296 w 593"/>
                <a:gd name="T13" fmla="*/ 0 h 591"/>
                <a:gd name="T14" fmla="*/ 0 w 593"/>
                <a:gd name="T15" fmla="*/ 298 h 591"/>
                <a:gd name="T16" fmla="*/ 71 w 593"/>
                <a:gd name="T17" fmla="*/ 369 h 591"/>
                <a:gd name="T18" fmla="*/ 234 w 593"/>
                <a:gd name="T19" fmla="*/ 224 h 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3" h="591">
                  <a:moveTo>
                    <a:pt x="234" y="224"/>
                  </a:moveTo>
                  <a:lnTo>
                    <a:pt x="244" y="591"/>
                  </a:lnTo>
                  <a:lnTo>
                    <a:pt x="348" y="591"/>
                  </a:lnTo>
                  <a:lnTo>
                    <a:pt x="357" y="224"/>
                  </a:lnTo>
                  <a:lnTo>
                    <a:pt x="522" y="369"/>
                  </a:lnTo>
                  <a:lnTo>
                    <a:pt x="593" y="298"/>
                  </a:lnTo>
                  <a:lnTo>
                    <a:pt x="296" y="0"/>
                  </a:lnTo>
                  <a:lnTo>
                    <a:pt x="0" y="298"/>
                  </a:lnTo>
                  <a:lnTo>
                    <a:pt x="71" y="369"/>
                  </a:lnTo>
                  <a:lnTo>
                    <a:pt x="234" y="2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99" kern="0">
                <a:solidFill>
                  <a:srgbClr val="000000"/>
                </a:solidFill>
              </a:endParaRPr>
            </a:p>
          </p:txBody>
        </p:sp>
        <p:sp>
          <p:nvSpPr>
            <p:cNvPr id="865" name="Freeform 61">
              <a:extLst>
                <a:ext uri="{FF2B5EF4-FFF2-40B4-BE49-F238E27FC236}">
                  <a16:creationId xmlns:a16="http://schemas.microsoft.com/office/drawing/2014/main" id="{50BDC5CE-2877-9E5B-1422-18EDFAC8CDB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7" y="1248"/>
              <a:ext cx="593" cy="589"/>
            </a:xfrm>
            <a:custGeom>
              <a:avLst/>
              <a:gdLst>
                <a:gd name="T0" fmla="*/ 357 w 593"/>
                <a:gd name="T1" fmla="*/ 364 h 589"/>
                <a:gd name="T2" fmla="*/ 348 w 593"/>
                <a:gd name="T3" fmla="*/ 0 h 589"/>
                <a:gd name="T4" fmla="*/ 244 w 593"/>
                <a:gd name="T5" fmla="*/ 0 h 589"/>
                <a:gd name="T6" fmla="*/ 234 w 593"/>
                <a:gd name="T7" fmla="*/ 364 h 589"/>
                <a:gd name="T8" fmla="*/ 71 w 593"/>
                <a:gd name="T9" fmla="*/ 223 h 589"/>
                <a:gd name="T10" fmla="*/ 0 w 593"/>
                <a:gd name="T11" fmla="*/ 293 h 589"/>
                <a:gd name="T12" fmla="*/ 296 w 593"/>
                <a:gd name="T13" fmla="*/ 589 h 589"/>
                <a:gd name="T14" fmla="*/ 593 w 593"/>
                <a:gd name="T15" fmla="*/ 293 h 589"/>
                <a:gd name="T16" fmla="*/ 522 w 593"/>
                <a:gd name="T17" fmla="*/ 223 h 589"/>
                <a:gd name="T18" fmla="*/ 357 w 593"/>
                <a:gd name="T19" fmla="*/ 364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3" h="589">
                  <a:moveTo>
                    <a:pt x="357" y="364"/>
                  </a:moveTo>
                  <a:lnTo>
                    <a:pt x="348" y="0"/>
                  </a:lnTo>
                  <a:lnTo>
                    <a:pt x="244" y="0"/>
                  </a:lnTo>
                  <a:lnTo>
                    <a:pt x="234" y="364"/>
                  </a:lnTo>
                  <a:lnTo>
                    <a:pt x="71" y="223"/>
                  </a:lnTo>
                  <a:lnTo>
                    <a:pt x="0" y="293"/>
                  </a:lnTo>
                  <a:lnTo>
                    <a:pt x="296" y="589"/>
                  </a:lnTo>
                  <a:lnTo>
                    <a:pt x="593" y="293"/>
                  </a:lnTo>
                  <a:lnTo>
                    <a:pt x="522" y="223"/>
                  </a:lnTo>
                  <a:lnTo>
                    <a:pt x="357" y="3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99" kern="0">
                <a:solidFill>
                  <a:srgbClr val="000000"/>
                </a:solidFill>
              </a:endParaRPr>
            </a:p>
          </p:txBody>
        </p:sp>
        <p:sp>
          <p:nvSpPr>
            <p:cNvPr id="866" name="Freeform 62">
              <a:extLst>
                <a:ext uri="{FF2B5EF4-FFF2-40B4-BE49-F238E27FC236}">
                  <a16:creationId xmlns:a16="http://schemas.microsoft.com/office/drawing/2014/main" id="{6894CEA2-4FF1-8C04-BBE1-2C40D759EE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4" y="1863"/>
              <a:ext cx="590" cy="592"/>
            </a:xfrm>
            <a:custGeom>
              <a:avLst/>
              <a:gdLst>
                <a:gd name="T0" fmla="*/ 297 w 590"/>
                <a:gd name="T1" fmla="*/ 592 h 592"/>
                <a:gd name="T2" fmla="*/ 368 w 590"/>
                <a:gd name="T3" fmla="*/ 522 h 592"/>
                <a:gd name="T4" fmla="*/ 224 w 590"/>
                <a:gd name="T5" fmla="*/ 356 h 592"/>
                <a:gd name="T6" fmla="*/ 590 w 590"/>
                <a:gd name="T7" fmla="*/ 347 h 592"/>
                <a:gd name="T8" fmla="*/ 590 w 590"/>
                <a:gd name="T9" fmla="*/ 243 h 592"/>
                <a:gd name="T10" fmla="*/ 224 w 590"/>
                <a:gd name="T11" fmla="*/ 233 h 592"/>
                <a:gd name="T12" fmla="*/ 368 w 590"/>
                <a:gd name="T13" fmla="*/ 70 h 592"/>
                <a:gd name="T14" fmla="*/ 297 w 590"/>
                <a:gd name="T15" fmla="*/ 0 h 592"/>
                <a:gd name="T16" fmla="*/ 0 w 590"/>
                <a:gd name="T17" fmla="*/ 295 h 592"/>
                <a:gd name="T18" fmla="*/ 297 w 590"/>
                <a:gd name="T19" fmla="*/ 592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0" h="592">
                  <a:moveTo>
                    <a:pt x="297" y="592"/>
                  </a:moveTo>
                  <a:lnTo>
                    <a:pt x="368" y="522"/>
                  </a:lnTo>
                  <a:lnTo>
                    <a:pt x="224" y="356"/>
                  </a:lnTo>
                  <a:lnTo>
                    <a:pt x="590" y="347"/>
                  </a:lnTo>
                  <a:lnTo>
                    <a:pt x="590" y="243"/>
                  </a:lnTo>
                  <a:lnTo>
                    <a:pt x="224" y="233"/>
                  </a:lnTo>
                  <a:lnTo>
                    <a:pt x="368" y="70"/>
                  </a:lnTo>
                  <a:lnTo>
                    <a:pt x="297" y="0"/>
                  </a:lnTo>
                  <a:lnTo>
                    <a:pt x="0" y="295"/>
                  </a:lnTo>
                  <a:lnTo>
                    <a:pt x="297" y="59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99" kern="0">
                <a:solidFill>
                  <a:srgbClr val="000000"/>
                </a:solidFill>
              </a:endParaRPr>
            </a:p>
          </p:txBody>
        </p:sp>
        <p:sp>
          <p:nvSpPr>
            <p:cNvPr id="867" name="Freeform 63">
              <a:extLst>
                <a:ext uri="{FF2B5EF4-FFF2-40B4-BE49-F238E27FC236}">
                  <a16:creationId xmlns:a16="http://schemas.microsoft.com/office/drawing/2014/main" id="{14CF8585-FBFA-9D01-60BA-B7BA00ADE44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3" y="1863"/>
              <a:ext cx="588" cy="592"/>
            </a:xfrm>
            <a:custGeom>
              <a:avLst/>
              <a:gdLst>
                <a:gd name="T0" fmla="*/ 222 w 588"/>
                <a:gd name="T1" fmla="*/ 522 h 592"/>
                <a:gd name="T2" fmla="*/ 293 w 588"/>
                <a:gd name="T3" fmla="*/ 592 h 592"/>
                <a:gd name="T4" fmla="*/ 588 w 588"/>
                <a:gd name="T5" fmla="*/ 295 h 592"/>
                <a:gd name="T6" fmla="*/ 293 w 588"/>
                <a:gd name="T7" fmla="*/ 0 h 592"/>
                <a:gd name="T8" fmla="*/ 222 w 588"/>
                <a:gd name="T9" fmla="*/ 70 h 592"/>
                <a:gd name="T10" fmla="*/ 364 w 588"/>
                <a:gd name="T11" fmla="*/ 233 h 592"/>
                <a:gd name="T12" fmla="*/ 0 w 588"/>
                <a:gd name="T13" fmla="*/ 243 h 592"/>
                <a:gd name="T14" fmla="*/ 0 w 588"/>
                <a:gd name="T15" fmla="*/ 347 h 592"/>
                <a:gd name="T16" fmla="*/ 364 w 588"/>
                <a:gd name="T17" fmla="*/ 356 h 592"/>
                <a:gd name="T18" fmla="*/ 222 w 588"/>
                <a:gd name="T19" fmla="*/ 522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88" h="592">
                  <a:moveTo>
                    <a:pt x="222" y="522"/>
                  </a:moveTo>
                  <a:lnTo>
                    <a:pt x="293" y="592"/>
                  </a:lnTo>
                  <a:lnTo>
                    <a:pt x="588" y="295"/>
                  </a:lnTo>
                  <a:lnTo>
                    <a:pt x="293" y="0"/>
                  </a:lnTo>
                  <a:lnTo>
                    <a:pt x="222" y="70"/>
                  </a:lnTo>
                  <a:lnTo>
                    <a:pt x="364" y="233"/>
                  </a:lnTo>
                  <a:lnTo>
                    <a:pt x="0" y="243"/>
                  </a:lnTo>
                  <a:lnTo>
                    <a:pt x="0" y="347"/>
                  </a:lnTo>
                  <a:lnTo>
                    <a:pt x="364" y="356"/>
                  </a:lnTo>
                  <a:lnTo>
                    <a:pt x="222" y="52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99" kern="0">
                <a:solidFill>
                  <a:srgbClr val="000000"/>
                </a:solidFill>
              </a:endParaRPr>
            </a:p>
          </p:txBody>
        </p:sp>
      </p:grpSp>
      <p:sp>
        <p:nvSpPr>
          <p:cNvPr id="868" name="Freeform 40">
            <a:extLst>
              <a:ext uri="{FF2B5EF4-FFF2-40B4-BE49-F238E27FC236}">
                <a16:creationId xmlns:a16="http://schemas.microsoft.com/office/drawing/2014/main" id="{DB8956D6-7185-602A-79CC-C4CBF21E1793}"/>
              </a:ext>
            </a:extLst>
          </p:cNvPr>
          <p:cNvSpPr>
            <a:spLocks/>
          </p:cNvSpPr>
          <p:nvPr/>
        </p:nvSpPr>
        <p:spPr bwMode="auto">
          <a:xfrm rot="10800000">
            <a:off x="6140321" y="4520434"/>
            <a:ext cx="360564" cy="222524"/>
          </a:xfrm>
          <a:custGeom>
            <a:avLst/>
            <a:gdLst>
              <a:gd name="T0" fmla="*/ 839 w 1066"/>
              <a:gd name="T1" fmla="*/ 250 h 658"/>
              <a:gd name="T2" fmla="*/ 1021 w 1066"/>
              <a:gd name="T3" fmla="*/ 431 h 658"/>
              <a:gd name="T4" fmla="*/ 1021 w 1066"/>
              <a:gd name="T5" fmla="*/ 658 h 658"/>
              <a:gd name="T6" fmla="*/ 1066 w 1066"/>
              <a:gd name="T7" fmla="*/ 658 h 658"/>
              <a:gd name="T8" fmla="*/ 1066 w 1066"/>
              <a:gd name="T9" fmla="*/ 431 h 658"/>
              <a:gd name="T10" fmla="*/ 839 w 1066"/>
              <a:gd name="T11" fmla="*/ 204 h 658"/>
              <a:gd name="T12" fmla="*/ 567 w 1066"/>
              <a:gd name="T13" fmla="*/ 204 h 658"/>
              <a:gd name="T14" fmla="*/ 567 w 1066"/>
              <a:gd name="T15" fmla="*/ 136 h 658"/>
              <a:gd name="T16" fmla="*/ 522 w 1066"/>
              <a:gd name="T17" fmla="*/ 136 h 658"/>
              <a:gd name="T18" fmla="*/ 522 w 1066"/>
              <a:gd name="T19" fmla="*/ 68 h 658"/>
              <a:gd name="T20" fmla="*/ 363 w 1066"/>
              <a:gd name="T21" fmla="*/ 68 h 658"/>
              <a:gd name="T22" fmla="*/ 363 w 1066"/>
              <a:gd name="T23" fmla="*/ 0 h 658"/>
              <a:gd name="T24" fmla="*/ 182 w 1066"/>
              <a:gd name="T25" fmla="*/ 0 h 658"/>
              <a:gd name="T26" fmla="*/ 182 w 1066"/>
              <a:gd name="T27" fmla="*/ 91 h 658"/>
              <a:gd name="T28" fmla="*/ 34 w 1066"/>
              <a:gd name="T29" fmla="*/ 91 h 658"/>
              <a:gd name="T30" fmla="*/ 0 w 1066"/>
              <a:gd name="T31" fmla="*/ 125 h 658"/>
              <a:gd name="T32" fmla="*/ 0 w 1066"/>
              <a:gd name="T33" fmla="*/ 125 h 658"/>
              <a:gd name="T34" fmla="*/ 34 w 1066"/>
              <a:gd name="T35" fmla="*/ 159 h 658"/>
              <a:gd name="T36" fmla="*/ 182 w 1066"/>
              <a:gd name="T37" fmla="*/ 159 h 658"/>
              <a:gd name="T38" fmla="*/ 182 w 1066"/>
              <a:gd name="T39" fmla="*/ 295 h 658"/>
              <a:gd name="T40" fmla="*/ 34 w 1066"/>
              <a:gd name="T41" fmla="*/ 295 h 658"/>
              <a:gd name="T42" fmla="*/ 0 w 1066"/>
              <a:gd name="T43" fmla="*/ 329 h 658"/>
              <a:gd name="T44" fmla="*/ 0 w 1066"/>
              <a:gd name="T45" fmla="*/ 329 h 658"/>
              <a:gd name="T46" fmla="*/ 34 w 1066"/>
              <a:gd name="T47" fmla="*/ 363 h 658"/>
              <a:gd name="T48" fmla="*/ 182 w 1066"/>
              <a:gd name="T49" fmla="*/ 363 h 658"/>
              <a:gd name="T50" fmla="*/ 182 w 1066"/>
              <a:gd name="T51" fmla="*/ 454 h 658"/>
              <a:gd name="T52" fmla="*/ 363 w 1066"/>
              <a:gd name="T53" fmla="*/ 454 h 658"/>
              <a:gd name="T54" fmla="*/ 363 w 1066"/>
              <a:gd name="T55" fmla="*/ 386 h 658"/>
              <a:gd name="T56" fmla="*/ 522 w 1066"/>
              <a:gd name="T57" fmla="*/ 386 h 658"/>
              <a:gd name="T58" fmla="*/ 522 w 1066"/>
              <a:gd name="T59" fmla="*/ 318 h 658"/>
              <a:gd name="T60" fmla="*/ 567 w 1066"/>
              <a:gd name="T61" fmla="*/ 318 h 658"/>
              <a:gd name="T62" fmla="*/ 567 w 1066"/>
              <a:gd name="T63" fmla="*/ 250 h 658"/>
              <a:gd name="T64" fmla="*/ 839 w 1066"/>
              <a:gd name="T65" fmla="*/ 250 h 6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066" h="658">
                <a:moveTo>
                  <a:pt x="839" y="250"/>
                </a:moveTo>
                <a:cubicBezTo>
                  <a:pt x="939" y="250"/>
                  <a:pt x="1021" y="331"/>
                  <a:pt x="1021" y="431"/>
                </a:cubicBezTo>
                <a:cubicBezTo>
                  <a:pt x="1021" y="658"/>
                  <a:pt x="1021" y="658"/>
                  <a:pt x="1021" y="658"/>
                </a:cubicBezTo>
                <a:cubicBezTo>
                  <a:pt x="1066" y="658"/>
                  <a:pt x="1066" y="658"/>
                  <a:pt x="1066" y="658"/>
                </a:cubicBezTo>
                <a:cubicBezTo>
                  <a:pt x="1066" y="431"/>
                  <a:pt x="1066" y="431"/>
                  <a:pt x="1066" y="431"/>
                </a:cubicBezTo>
                <a:cubicBezTo>
                  <a:pt x="1066" y="306"/>
                  <a:pt x="964" y="204"/>
                  <a:pt x="839" y="204"/>
                </a:cubicBezTo>
                <a:cubicBezTo>
                  <a:pt x="567" y="204"/>
                  <a:pt x="567" y="204"/>
                  <a:pt x="567" y="204"/>
                </a:cubicBezTo>
                <a:cubicBezTo>
                  <a:pt x="567" y="136"/>
                  <a:pt x="567" y="136"/>
                  <a:pt x="567" y="136"/>
                </a:cubicBezTo>
                <a:cubicBezTo>
                  <a:pt x="522" y="136"/>
                  <a:pt x="522" y="136"/>
                  <a:pt x="522" y="136"/>
                </a:cubicBezTo>
                <a:cubicBezTo>
                  <a:pt x="522" y="68"/>
                  <a:pt x="522" y="68"/>
                  <a:pt x="522" y="68"/>
                </a:cubicBezTo>
                <a:cubicBezTo>
                  <a:pt x="363" y="68"/>
                  <a:pt x="363" y="68"/>
                  <a:pt x="363" y="68"/>
                </a:cubicBezTo>
                <a:cubicBezTo>
                  <a:pt x="363" y="0"/>
                  <a:pt x="363" y="0"/>
                  <a:pt x="363" y="0"/>
                </a:cubicBezTo>
                <a:cubicBezTo>
                  <a:pt x="182" y="0"/>
                  <a:pt x="182" y="0"/>
                  <a:pt x="182" y="0"/>
                </a:cubicBezTo>
                <a:cubicBezTo>
                  <a:pt x="182" y="91"/>
                  <a:pt x="182" y="91"/>
                  <a:pt x="182" y="91"/>
                </a:cubicBezTo>
                <a:cubicBezTo>
                  <a:pt x="34" y="91"/>
                  <a:pt x="34" y="91"/>
                  <a:pt x="34" y="91"/>
                </a:cubicBezTo>
                <a:cubicBezTo>
                  <a:pt x="15" y="91"/>
                  <a:pt x="0" y="106"/>
                  <a:pt x="0" y="125"/>
                </a:cubicBezTo>
                <a:cubicBezTo>
                  <a:pt x="0" y="125"/>
                  <a:pt x="0" y="125"/>
                  <a:pt x="0" y="125"/>
                </a:cubicBezTo>
                <a:cubicBezTo>
                  <a:pt x="0" y="144"/>
                  <a:pt x="15" y="159"/>
                  <a:pt x="34" y="159"/>
                </a:cubicBezTo>
                <a:cubicBezTo>
                  <a:pt x="182" y="159"/>
                  <a:pt x="182" y="159"/>
                  <a:pt x="182" y="159"/>
                </a:cubicBezTo>
                <a:cubicBezTo>
                  <a:pt x="182" y="295"/>
                  <a:pt x="182" y="295"/>
                  <a:pt x="182" y="295"/>
                </a:cubicBezTo>
                <a:cubicBezTo>
                  <a:pt x="34" y="295"/>
                  <a:pt x="34" y="295"/>
                  <a:pt x="34" y="295"/>
                </a:cubicBezTo>
                <a:cubicBezTo>
                  <a:pt x="15" y="295"/>
                  <a:pt x="0" y="310"/>
                  <a:pt x="0" y="329"/>
                </a:cubicBezTo>
                <a:cubicBezTo>
                  <a:pt x="0" y="329"/>
                  <a:pt x="0" y="329"/>
                  <a:pt x="0" y="329"/>
                </a:cubicBezTo>
                <a:cubicBezTo>
                  <a:pt x="0" y="348"/>
                  <a:pt x="15" y="363"/>
                  <a:pt x="34" y="363"/>
                </a:cubicBezTo>
                <a:cubicBezTo>
                  <a:pt x="182" y="363"/>
                  <a:pt x="182" y="363"/>
                  <a:pt x="182" y="363"/>
                </a:cubicBezTo>
                <a:cubicBezTo>
                  <a:pt x="182" y="454"/>
                  <a:pt x="182" y="454"/>
                  <a:pt x="182" y="454"/>
                </a:cubicBezTo>
                <a:cubicBezTo>
                  <a:pt x="363" y="454"/>
                  <a:pt x="363" y="454"/>
                  <a:pt x="363" y="454"/>
                </a:cubicBezTo>
                <a:cubicBezTo>
                  <a:pt x="363" y="386"/>
                  <a:pt x="363" y="386"/>
                  <a:pt x="363" y="386"/>
                </a:cubicBezTo>
                <a:cubicBezTo>
                  <a:pt x="522" y="386"/>
                  <a:pt x="522" y="386"/>
                  <a:pt x="522" y="386"/>
                </a:cubicBezTo>
                <a:cubicBezTo>
                  <a:pt x="522" y="318"/>
                  <a:pt x="522" y="318"/>
                  <a:pt x="522" y="318"/>
                </a:cubicBezTo>
                <a:cubicBezTo>
                  <a:pt x="567" y="318"/>
                  <a:pt x="567" y="318"/>
                  <a:pt x="567" y="318"/>
                </a:cubicBezTo>
                <a:cubicBezTo>
                  <a:pt x="567" y="250"/>
                  <a:pt x="567" y="250"/>
                  <a:pt x="567" y="250"/>
                </a:cubicBezTo>
                <a:lnTo>
                  <a:pt x="839" y="25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110000"/>
              </a:lnSpc>
              <a:spcBef>
                <a:spcPct val="0"/>
              </a:spcBef>
              <a:defRPr/>
            </a:pPr>
            <a:endParaRPr lang="en-US" sz="1399" kern="140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873" name="TextBox 83">
            <a:extLst>
              <a:ext uri="{FF2B5EF4-FFF2-40B4-BE49-F238E27FC236}">
                <a16:creationId xmlns:a16="http://schemas.microsoft.com/office/drawing/2014/main" id="{12FCECAA-3873-063D-B77E-4603B119BC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2612" y="2916661"/>
            <a:ext cx="5804736" cy="298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de-DE"/>
            </a:defPPr>
            <a:lvl1pPr algn="ctr" eaLnBrk="1" hangingPunct="1">
              <a:buClr>
                <a:srgbClr val="949EAA"/>
              </a:buClr>
              <a:defRPr sz="1100" b="1">
                <a:solidFill>
                  <a:srgbClr val="00646E"/>
                </a:solidFill>
                <a:latin typeface="Arial" charset="0"/>
                <a:ea typeface="宋体" pitchFamily="2" charset="-122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defTabSz="91348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altLang="en-US" sz="1298" kern="0" dirty="0">
              <a:solidFill>
                <a:srgbClr val="FFFFFF"/>
              </a:solidFill>
            </a:endParaRPr>
          </a:p>
        </p:txBody>
      </p:sp>
      <p:sp>
        <p:nvSpPr>
          <p:cNvPr id="875" name="TextBox 83">
            <a:extLst>
              <a:ext uri="{FF2B5EF4-FFF2-40B4-BE49-F238E27FC236}">
                <a16:creationId xmlns:a16="http://schemas.microsoft.com/office/drawing/2014/main" id="{9409D49D-F497-C08C-3414-9EE33F2F0C1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4696" y="4330073"/>
            <a:ext cx="4698487" cy="298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de-DE"/>
            </a:defPPr>
            <a:lvl1pPr algn="ctr" eaLnBrk="1" hangingPunct="1">
              <a:buClr>
                <a:srgbClr val="949EAA"/>
              </a:buClr>
              <a:defRPr sz="1100" b="1">
                <a:solidFill>
                  <a:srgbClr val="00646E"/>
                </a:solidFill>
                <a:latin typeface="Arial" charset="0"/>
                <a:ea typeface="宋体" pitchFamily="2" charset="-122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defTabSz="91348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en-US" sz="1298" kern="0" dirty="0">
                <a:solidFill>
                  <a:srgbClr val="FFFFFF"/>
                </a:solidFill>
                <a:latin typeface="Arial" pitchFamily="34" charset="0"/>
                <a:ea typeface="ＭＳ Ｐゴシック" charset="-128"/>
              </a:rPr>
              <a:t>               Connectivity</a:t>
            </a:r>
            <a:endParaRPr lang="en-US" altLang="en-US" sz="1298" kern="0" dirty="0">
              <a:solidFill>
                <a:srgbClr val="FFFFFF"/>
              </a:solidFill>
            </a:endParaRPr>
          </a:p>
        </p:txBody>
      </p:sp>
      <p:grpSp>
        <p:nvGrpSpPr>
          <p:cNvPr id="887" name="Group 886">
            <a:extLst>
              <a:ext uri="{FF2B5EF4-FFF2-40B4-BE49-F238E27FC236}">
                <a16:creationId xmlns:a16="http://schemas.microsoft.com/office/drawing/2014/main" id="{F3A3E80E-496A-09BC-4A7F-6217BD514074}"/>
              </a:ext>
            </a:extLst>
          </p:cNvPr>
          <p:cNvGrpSpPr/>
          <p:nvPr/>
        </p:nvGrpSpPr>
        <p:grpSpPr>
          <a:xfrm>
            <a:off x="120893" y="4802886"/>
            <a:ext cx="5765357" cy="989441"/>
            <a:chOff x="635443" y="5513701"/>
            <a:chExt cx="10827247" cy="1422040"/>
          </a:xfrm>
        </p:grpSpPr>
        <p:sp>
          <p:nvSpPr>
            <p:cNvPr id="32" name="Down Arrow 4">
              <a:extLst>
                <a:ext uri="{FF2B5EF4-FFF2-40B4-BE49-F238E27FC236}">
                  <a16:creationId xmlns:a16="http://schemas.microsoft.com/office/drawing/2014/main" id="{9F57E5A9-68F4-55E3-76F1-7CC669C74733}"/>
                </a:ext>
              </a:extLst>
            </p:cNvPr>
            <p:cNvSpPr/>
            <p:nvPr/>
          </p:nvSpPr>
          <p:spPr bwMode="auto">
            <a:xfrm flipV="1">
              <a:off x="651497" y="5932811"/>
              <a:ext cx="10811193" cy="903693"/>
            </a:xfrm>
            <a:prstGeom prst="downArrow">
              <a:avLst>
                <a:gd name="adj1" fmla="val 50000"/>
                <a:gd name="adj2" fmla="val 100000"/>
              </a:avLst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00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grpSp>
          <p:nvGrpSpPr>
            <p:cNvPr id="33" name="Gruppieren 2">
              <a:extLst>
                <a:ext uri="{FF2B5EF4-FFF2-40B4-BE49-F238E27FC236}">
                  <a16:creationId xmlns:a16="http://schemas.microsoft.com/office/drawing/2014/main" id="{608E5190-93DA-BC43-D1CD-583EA7CFA4D9}"/>
                </a:ext>
              </a:extLst>
            </p:cNvPr>
            <p:cNvGrpSpPr/>
            <p:nvPr/>
          </p:nvGrpSpPr>
          <p:grpSpPr>
            <a:xfrm>
              <a:off x="900233" y="5528698"/>
              <a:ext cx="4335028" cy="1394352"/>
              <a:chOff x="667960" y="3350946"/>
              <a:chExt cx="11591926" cy="3728517"/>
            </a:xfrm>
          </p:grpSpPr>
          <p:sp>
            <p:nvSpPr>
              <p:cNvPr id="34" name="Line 8">
                <a:extLst>
                  <a:ext uri="{FF2B5EF4-FFF2-40B4-BE49-F238E27FC236}">
                    <a16:creationId xmlns:a16="http://schemas.microsoft.com/office/drawing/2014/main" id="{F19E3257-C911-4CDB-9671-D8F8C43140A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645410" y="5893530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5" name="Line 9">
                <a:extLst>
                  <a:ext uri="{FF2B5EF4-FFF2-40B4-BE49-F238E27FC236}">
                    <a16:creationId xmlns:a16="http://schemas.microsoft.com/office/drawing/2014/main" id="{590CC065-4DCA-D7B7-2FA7-A60B081FBB3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645410" y="5893530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6" name="Freeform 23">
                <a:extLst>
                  <a:ext uri="{FF2B5EF4-FFF2-40B4-BE49-F238E27FC236}">
                    <a16:creationId xmlns:a16="http://schemas.microsoft.com/office/drawing/2014/main" id="{6E0FEC19-A353-54ED-2737-C4E24E4C23A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96082" y="6244022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8 h 32"/>
                  <a:gd name="T14" fmla="*/ 16 w 21"/>
                  <a:gd name="T15" fmla="*/ 16 h 32"/>
                  <a:gd name="T16" fmla="*/ 11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1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1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7" name="Freeform 24">
                <a:extLst>
                  <a:ext uri="{FF2B5EF4-FFF2-40B4-BE49-F238E27FC236}">
                    <a16:creationId xmlns:a16="http://schemas.microsoft.com/office/drawing/2014/main" id="{2A092B41-81ED-01A3-2B00-11B0310202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96082" y="6435886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5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8" name="Freeform 25">
                <a:extLst>
                  <a:ext uri="{FF2B5EF4-FFF2-40B4-BE49-F238E27FC236}">
                    <a16:creationId xmlns:a16="http://schemas.microsoft.com/office/drawing/2014/main" id="{B1BE8BFB-81B7-56C9-C0CD-78F7BCDB99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9103" y="6818104"/>
                <a:ext cx="64962" cy="11028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2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2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9" name="Freeform 43">
                <a:extLst>
                  <a:ext uri="{FF2B5EF4-FFF2-40B4-BE49-F238E27FC236}">
                    <a16:creationId xmlns:a16="http://schemas.microsoft.com/office/drawing/2014/main" id="{715969C7-A199-0A00-902D-89E6DA87186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7960" y="6443440"/>
                <a:ext cx="63451" cy="9366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5" y="0"/>
                      <a:pt x="18" y="5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0" name="Freeform 44">
                <a:extLst>
                  <a:ext uri="{FF2B5EF4-FFF2-40B4-BE49-F238E27FC236}">
                    <a16:creationId xmlns:a16="http://schemas.microsoft.com/office/drawing/2014/main" id="{6A47D649-FA7E-D5D3-71BF-387E989B30F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7960" y="6597536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1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1" name="Freeform 45">
                <a:extLst>
                  <a:ext uri="{FF2B5EF4-FFF2-40B4-BE49-F238E27FC236}">
                    <a16:creationId xmlns:a16="http://schemas.microsoft.com/office/drawing/2014/main" id="{8E7098C6-8C5C-9D3B-18F9-10F2C3C707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0981" y="6904216"/>
                <a:ext cx="49855" cy="89134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49 h 59"/>
                  <a:gd name="T20" fmla="*/ 17 w 33"/>
                  <a:gd name="T21" fmla="*/ 49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2" name="Freeform 63">
                <a:extLst>
                  <a:ext uri="{FF2B5EF4-FFF2-40B4-BE49-F238E27FC236}">
                    <a16:creationId xmlns:a16="http://schemas.microsoft.com/office/drawing/2014/main" id="{3D3453D1-BFB4-3EEA-45F1-1C94CCA9F93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98397" y="6443440"/>
                <a:ext cx="60430" cy="9366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4" y="0"/>
                      <a:pt x="17" y="5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3" name="Freeform 64">
                <a:extLst>
                  <a:ext uri="{FF2B5EF4-FFF2-40B4-BE49-F238E27FC236}">
                    <a16:creationId xmlns:a16="http://schemas.microsoft.com/office/drawing/2014/main" id="{2D61F99E-3E30-D38E-AFE5-19EEC7BED6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98397" y="6597536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1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4" name="Freeform 65">
                <a:extLst>
                  <a:ext uri="{FF2B5EF4-FFF2-40B4-BE49-F238E27FC236}">
                    <a16:creationId xmlns:a16="http://schemas.microsoft.com/office/drawing/2014/main" id="{173DE645-51BE-EA6A-F0B9-B2D0D38140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2929" y="6904216"/>
                <a:ext cx="49855" cy="89134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49 h 59"/>
                  <a:gd name="T20" fmla="*/ 16 w 33"/>
                  <a:gd name="T21" fmla="*/ 49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5" name="Freeform 83">
                <a:extLst>
                  <a:ext uri="{FF2B5EF4-FFF2-40B4-BE49-F238E27FC236}">
                    <a16:creationId xmlns:a16="http://schemas.microsoft.com/office/drawing/2014/main" id="{857EA925-37FB-3BCC-42E6-E042AC914F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2097" y="6450993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3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6" name="Freeform 84">
                <a:extLst>
                  <a:ext uri="{FF2B5EF4-FFF2-40B4-BE49-F238E27FC236}">
                    <a16:creationId xmlns:a16="http://schemas.microsoft.com/office/drawing/2014/main" id="{6EDA2433-5C3E-AB1C-8428-46F320E9F5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39076" y="6718395"/>
                <a:ext cx="110285" cy="164671"/>
              </a:xfrm>
              <a:custGeom>
                <a:avLst/>
                <a:gdLst>
                  <a:gd name="T0" fmla="*/ 31 w 31"/>
                  <a:gd name="T1" fmla="*/ 23 h 46"/>
                  <a:gd name="T2" fmla="*/ 15 w 31"/>
                  <a:gd name="T3" fmla="*/ 46 h 46"/>
                  <a:gd name="T4" fmla="*/ 0 w 31"/>
                  <a:gd name="T5" fmla="*/ 23 h 46"/>
                  <a:gd name="T6" fmla="*/ 15 w 31"/>
                  <a:gd name="T7" fmla="*/ 0 h 46"/>
                  <a:gd name="T8" fmla="*/ 31 w 31"/>
                  <a:gd name="T9" fmla="*/ 23 h 46"/>
                  <a:gd name="T10" fmla="*/ 8 w 31"/>
                  <a:gd name="T11" fmla="*/ 23 h 46"/>
                  <a:gd name="T12" fmla="*/ 15 w 31"/>
                  <a:gd name="T13" fmla="*/ 39 h 46"/>
                  <a:gd name="T14" fmla="*/ 23 w 31"/>
                  <a:gd name="T15" fmla="*/ 23 h 46"/>
                  <a:gd name="T16" fmla="*/ 15 w 31"/>
                  <a:gd name="T17" fmla="*/ 7 h 46"/>
                  <a:gd name="T18" fmla="*/ 8 w 31"/>
                  <a:gd name="T19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6">
                    <a:moveTo>
                      <a:pt x="31" y="23"/>
                    </a:moveTo>
                    <a:cubicBezTo>
                      <a:pt x="31" y="38"/>
                      <a:pt x="26" y="46"/>
                      <a:pt x="15" y="46"/>
                    </a:cubicBezTo>
                    <a:cubicBezTo>
                      <a:pt x="5" y="46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7"/>
                      <a:pt x="15" y="7"/>
                    </a:cubicBezTo>
                    <a:cubicBezTo>
                      <a:pt x="10" y="7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7" name="Freeform 95">
                <a:extLst>
                  <a:ext uri="{FF2B5EF4-FFF2-40B4-BE49-F238E27FC236}">
                    <a16:creationId xmlns:a16="http://schemas.microsoft.com/office/drawing/2014/main" id="{F9B589DF-5BA0-960E-0A9D-A88ABDDCBB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4031" y="5565699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8" name="Freeform 96">
                <a:extLst>
                  <a:ext uri="{FF2B5EF4-FFF2-40B4-BE49-F238E27FC236}">
                    <a16:creationId xmlns:a16="http://schemas.microsoft.com/office/drawing/2014/main" id="{8334D596-C3C9-2C5A-BC80-C26B1DE6D9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09499" y="5712241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9" name="Freeform 97">
                <a:extLst>
                  <a:ext uri="{FF2B5EF4-FFF2-40B4-BE49-F238E27FC236}">
                    <a16:creationId xmlns:a16="http://schemas.microsoft.com/office/drawing/2014/main" id="{75FF8E31-FF38-4926-ABA1-4C2AE1DC62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4031" y="5858783"/>
                <a:ext cx="52876" cy="84602"/>
              </a:xfrm>
              <a:custGeom>
                <a:avLst/>
                <a:gdLst>
                  <a:gd name="T0" fmla="*/ 16 w 35"/>
                  <a:gd name="T1" fmla="*/ 14 h 56"/>
                  <a:gd name="T2" fmla="*/ 7 w 35"/>
                  <a:gd name="T3" fmla="*/ 21 h 56"/>
                  <a:gd name="T4" fmla="*/ 0 w 35"/>
                  <a:gd name="T5" fmla="*/ 11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4"/>
                    </a:moveTo>
                    <a:lnTo>
                      <a:pt x="7" y="21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0" name="Freeform 98">
                <a:extLst>
                  <a:ext uri="{FF2B5EF4-FFF2-40B4-BE49-F238E27FC236}">
                    <a16:creationId xmlns:a16="http://schemas.microsoft.com/office/drawing/2014/main" id="{A0E81E95-23F0-DC41-A8F3-AB2EF566C7A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09499" y="6005325"/>
                <a:ext cx="67984" cy="84602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1" name="Freeform 99">
                <a:extLst>
                  <a:ext uri="{FF2B5EF4-FFF2-40B4-BE49-F238E27FC236}">
                    <a16:creationId xmlns:a16="http://schemas.microsoft.com/office/drawing/2014/main" id="{B9741277-8794-BC21-2552-0BE5B6CEE0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4031" y="6150356"/>
                <a:ext cx="52876" cy="86113"/>
              </a:xfrm>
              <a:custGeom>
                <a:avLst/>
                <a:gdLst>
                  <a:gd name="T0" fmla="*/ 16 w 35"/>
                  <a:gd name="T1" fmla="*/ 15 h 57"/>
                  <a:gd name="T2" fmla="*/ 7 w 35"/>
                  <a:gd name="T3" fmla="*/ 22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8 h 57"/>
                  <a:gd name="T12" fmla="*/ 35 w 35"/>
                  <a:gd name="T13" fmla="*/ 48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8 h 57"/>
                  <a:gd name="T20" fmla="*/ 16 w 35"/>
                  <a:gd name="T21" fmla="*/ 48 h 57"/>
                  <a:gd name="T22" fmla="*/ 16 w 35"/>
                  <a:gd name="T23" fmla="*/ 1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5"/>
                    </a:moveTo>
                    <a:lnTo>
                      <a:pt x="7" y="22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5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2" name="Freeform 100">
                <a:extLst>
                  <a:ext uri="{FF2B5EF4-FFF2-40B4-BE49-F238E27FC236}">
                    <a16:creationId xmlns:a16="http://schemas.microsoft.com/office/drawing/2014/main" id="{27B7C755-8F42-375E-E9BE-4EBB9C2A14D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09499" y="6296898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3" name="Freeform 101">
                <a:extLst>
                  <a:ext uri="{FF2B5EF4-FFF2-40B4-BE49-F238E27FC236}">
                    <a16:creationId xmlns:a16="http://schemas.microsoft.com/office/drawing/2014/main" id="{A6EA004B-3E46-D855-2D8C-7CA3EE7D0E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4031" y="6443440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4" name="Freeform 102">
                <a:extLst>
                  <a:ext uri="{FF2B5EF4-FFF2-40B4-BE49-F238E27FC236}">
                    <a16:creationId xmlns:a16="http://schemas.microsoft.com/office/drawing/2014/main" id="{7ECAC514-D3FE-BBCD-8916-0FB659893A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4031" y="6589982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5" name="Freeform 103">
                <a:extLst>
                  <a:ext uri="{FF2B5EF4-FFF2-40B4-BE49-F238E27FC236}">
                    <a16:creationId xmlns:a16="http://schemas.microsoft.com/office/drawing/2014/main" id="{21B4C9E1-733C-3FF4-4227-30D723429F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4031" y="6739546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5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5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6" name="Freeform 104">
                <a:extLst>
                  <a:ext uri="{FF2B5EF4-FFF2-40B4-BE49-F238E27FC236}">
                    <a16:creationId xmlns:a16="http://schemas.microsoft.com/office/drawing/2014/main" id="{5F332464-E019-2400-F24C-0BEE3B4921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09499" y="6883066"/>
                <a:ext cx="67984" cy="89134"/>
              </a:xfrm>
              <a:custGeom>
                <a:avLst/>
                <a:gdLst>
                  <a:gd name="T0" fmla="*/ 17 w 19"/>
                  <a:gd name="T1" fmla="*/ 4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4 h 25"/>
                  <a:gd name="T16" fmla="*/ 6 w 19"/>
                  <a:gd name="T17" fmla="*/ 12 h 25"/>
                  <a:gd name="T18" fmla="*/ 10 w 19"/>
                  <a:gd name="T19" fmla="*/ 20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3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7" name="Freeform 135">
                <a:extLst>
                  <a:ext uri="{FF2B5EF4-FFF2-40B4-BE49-F238E27FC236}">
                    <a16:creationId xmlns:a16="http://schemas.microsoft.com/office/drawing/2014/main" id="{5532552D-75A9-95BD-0605-2BCC4CE1BE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4121" y="5932809"/>
                <a:ext cx="60430" cy="111795"/>
              </a:xfrm>
              <a:custGeom>
                <a:avLst/>
                <a:gdLst>
                  <a:gd name="T0" fmla="*/ 19 w 40"/>
                  <a:gd name="T1" fmla="*/ 14 h 74"/>
                  <a:gd name="T2" fmla="*/ 4 w 40"/>
                  <a:gd name="T3" fmla="*/ 24 h 74"/>
                  <a:gd name="T4" fmla="*/ 0 w 40"/>
                  <a:gd name="T5" fmla="*/ 14 h 74"/>
                  <a:gd name="T6" fmla="*/ 21 w 40"/>
                  <a:gd name="T7" fmla="*/ 0 h 74"/>
                  <a:gd name="T8" fmla="*/ 30 w 40"/>
                  <a:gd name="T9" fmla="*/ 0 h 74"/>
                  <a:gd name="T10" fmla="*/ 30 w 40"/>
                  <a:gd name="T11" fmla="*/ 64 h 74"/>
                  <a:gd name="T12" fmla="*/ 40 w 40"/>
                  <a:gd name="T13" fmla="*/ 64 h 74"/>
                  <a:gd name="T14" fmla="*/ 40 w 40"/>
                  <a:gd name="T15" fmla="*/ 74 h 74"/>
                  <a:gd name="T16" fmla="*/ 9 w 40"/>
                  <a:gd name="T17" fmla="*/ 74 h 74"/>
                  <a:gd name="T18" fmla="*/ 9 w 40"/>
                  <a:gd name="T19" fmla="*/ 64 h 74"/>
                  <a:gd name="T20" fmla="*/ 19 w 40"/>
                  <a:gd name="T21" fmla="*/ 64 h 74"/>
                  <a:gd name="T22" fmla="*/ 19 w 40"/>
                  <a:gd name="T23" fmla="*/ 1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4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4"/>
                    </a:lnTo>
                    <a:lnTo>
                      <a:pt x="9" y="74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8" name="Freeform 136">
                <a:extLst>
                  <a:ext uri="{FF2B5EF4-FFF2-40B4-BE49-F238E27FC236}">
                    <a16:creationId xmlns:a16="http://schemas.microsoft.com/office/drawing/2014/main" id="{425CC1A9-D43E-E137-3417-15BA112919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459589" y="6121652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8 h 32"/>
                  <a:gd name="T14" fmla="*/ 16 w 21"/>
                  <a:gd name="T15" fmla="*/ 16 h 32"/>
                  <a:gd name="T16" fmla="*/ 10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0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0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9" name="Freeform 137">
                <a:extLst>
                  <a:ext uri="{FF2B5EF4-FFF2-40B4-BE49-F238E27FC236}">
                    <a16:creationId xmlns:a16="http://schemas.microsoft.com/office/drawing/2014/main" id="{FAEB5612-BAC6-23EF-2926-2225B8C5D2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459589" y="6503870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6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0" name="Freeform 138">
                <a:extLst>
                  <a:ext uri="{FF2B5EF4-FFF2-40B4-BE49-F238E27FC236}">
                    <a16:creationId xmlns:a16="http://schemas.microsoft.com/office/drawing/2014/main" id="{55200088-BEC9-20B2-C23A-2058310E85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4121" y="6697245"/>
                <a:ext cx="60430" cy="107263"/>
              </a:xfrm>
              <a:custGeom>
                <a:avLst/>
                <a:gdLst>
                  <a:gd name="T0" fmla="*/ 19 w 40"/>
                  <a:gd name="T1" fmla="*/ 12 h 71"/>
                  <a:gd name="T2" fmla="*/ 4 w 40"/>
                  <a:gd name="T3" fmla="*/ 21 h 71"/>
                  <a:gd name="T4" fmla="*/ 0 w 40"/>
                  <a:gd name="T5" fmla="*/ 12 h 71"/>
                  <a:gd name="T6" fmla="*/ 21 w 40"/>
                  <a:gd name="T7" fmla="*/ 0 h 71"/>
                  <a:gd name="T8" fmla="*/ 30 w 40"/>
                  <a:gd name="T9" fmla="*/ 0 h 71"/>
                  <a:gd name="T10" fmla="*/ 30 w 40"/>
                  <a:gd name="T11" fmla="*/ 64 h 71"/>
                  <a:gd name="T12" fmla="*/ 40 w 40"/>
                  <a:gd name="T13" fmla="*/ 64 h 71"/>
                  <a:gd name="T14" fmla="*/ 40 w 40"/>
                  <a:gd name="T15" fmla="*/ 71 h 71"/>
                  <a:gd name="T16" fmla="*/ 9 w 40"/>
                  <a:gd name="T17" fmla="*/ 71 h 71"/>
                  <a:gd name="T18" fmla="*/ 9 w 40"/>
                  <a:gd name="T19" fmla="*/ 64 h 71"/>
                  <a:gd name="T20" fmla="*/ 19 w 40"/>
                  <a:gd name="T21" fmla="*/ 64 h 71"/>
                  <a:gd name="T22" fmla="*/ 19 w 40"/>
                  <a:gd name="T23" fmla="*/ 1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1">
                    <a:moveTo>
                      <a:pt x="19" y="12"/>
                    </a:moveTo>
                    <a:lnTo>
                      <a:pt x="4" y="21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1"/>
                    </a:lnTo>
                    <a:lnTo>
                      <a:pt x="9" y="71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1" name="Freeform 139">
                <a:extLst>
                  <a:ext uri="{FF2B5EF4-FFF2-40B4-BE49-F238E27FC236}">
                    <a16:creationId xmlns:a16="http://schemas.microsoft.com/office/drawing/2014/main" id="{236E65E5-D26E-DA05-2513-1A2C0F5D93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4121" y="6886087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2" name="Freeform 149">
                <a:extLst>
                  <a:ext uri="{FF2B5EF4-FFF2-40B4-BE49-F238E27FC236}">
                    <a16:creationId xmlns:a16="http://schemas.microsoft.com/office/drawing/2014/main" id="{BD2FDCE0-92E4-0391-3785-6EF02F7565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0421" y="5576274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3" name="Freeform 150">
                <a:extLst>
                  <a:ext uri="{FF2B5EF4-FFF2-40B4-BE49-F238E27FC236}">
                    <a16:creationId xmlns:a16="http://schemas.microsoft.com/office/drawing/2014/main" id="{9E24977C-BE57-6EF3-6305-000087CFEB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12867" y="5858783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4" name="Freeform 151">
                <a:extLst>
                  <a:ext uri="{FF2B5EF4-FFF2-40B4-BE49-F238E27FC236}">
                    <a16:creationId xmlns:a16="http://schemas.microsoft.com/office/drawing/2014/main" id="{9A18F851-7666-746C-D813-FBD746682A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0421" y="6147335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5" name="Freeform 152">
                <a:extLst>
                  <a:ext uri="{FF2B5EF4-FFF2-40B4-BE49-F238E27FC236}">
                    <a16:creationId xmlns:a16="http://schemas.microsoft.com/office/drawing/2014/main" id="{E827A52B-8E58-A4CF-DDA2-F5CC9EE5A1F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12867" y="6429843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6" name="Freeform 153">
                <a:extLst>
                  <a:ext uri="{FF2B5EF4-FFF2-40B4-BE49-F238E27FC236}">
                    <a16:creationId xmlns:a16="http://schemas.microsoft.com/office/drawing/2014/main" id="{DBA5F74B-263C-F133-98C4-B385726915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0421" y="6718395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7" name="Line 8">
                <a:extLst>
                  <a:ext uri="{FF2B5EF4-FFF2-40B4-BE49-F238E27FC236}">
                    <a16:creationId xmlns:a16="http://schemas.microsoft.com/office/drawing/2014/main" id="{F2FB4E0B-C3FF-7B31-0B1F-19D624F4AFD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81365" y="5104923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8" name="Line 9">
                <a:extLst>
                  <a:ext uri="{FF2B5EF4-FFF2-40B4-BE49-F238E27FC236}">
                    <a16:creationId xmlns:a16="http://schemas.microsoft.com/office/drawing/2014/main" id="{838C01D8-E8ED-98BA-B44A-F74F3D1788C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81365" y="5104923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9" name="Freeform 10">
                <a:extLst>
                  <a:ext uri="{FF2B5EF4-FFF2-40B4-BE49-F238E27FC236}">
                    <a16:creationId xmlns:a16="http://schemas.microsoft.com/office/drawing/2014/main" id="{6E64542C-FFB0-77C4-B773-23AD250B89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8475" y="6176038"/>
                <a:ext cx="99709" cy="157117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8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7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7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8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7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7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0" name="Freeform 11">
                <a:extLst>
                  <a:ext uri="{FF2B5EF4-FFF2-40B4-BE49-F238E27FC236}">
                    <a16:creationId xmlns:a16="http://schemas.microsoft.com/office/drawing/2014/main" id="{072DE4E0-1FAD-1C11-E940-28C6B883BD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34879" y="6443440"/>
                <a:ext cx="120859" cy="164671"/>
              </a:xfrm>
              <a:custGeom>
                <a:avLst/>
                <a:gdLst>
                  <a:gd name="T0" fmla="*/ 32 w 34"/>
                  <a:gd name="T1" fmla="*/ 8 h 46"/>
                  <a:gd name="T2" fmla="*/ 34 w 34"/>
                  <a:gd name="T3" fmla="*/ 23 h 46"/>
                  <a:gd name="T4" fmla="*/ 31 w 34"/>
                  <a:gd name="T5" fmla="*/ 39 h 46"/>
                  <a:gd name="T6" fmla="*/ 17 w 34"/>
                  <a:gd name="T7" fmla="*/ 46 h 46"/>
                  <a:gd name="T8" fmla="*/ 3 w 34"/>
                  <a:gd name="T9" fmla="*/ 37 h 46"/>
                  <a:gd name="T10" fmla="*/ 0 w 34"/>
                  <a:gd name="T11" fmla="*/ 23 h 46"/>
                  <a:gd name="T12" fmla="*/ 17 w 34"/>
                  <a:gd name="T13" fmla="*/ 0 h 46"/>
                  <a:gd name="T14" fmla="*/ 32 w 34"/>
                  <a:gd name="T15" fmla="*/ 8 h 46"/>
                  <a:gd name="T16" fmla="*/ 10 w 34"/>
                  <a:gd name="T17" fmla="*/ 23 h 46"/>
                  <a:gd name="T18" fmla="*/ 17 w 34"/>
                  <a:gd name="T19" fmla="*/ 38 h 46"/>
                  <a:gd name="T20" fmla="*/ 25 w 34"/>
                  <a:gd name="T21" fmla="*/ 23 h 46"/>
                  <a:gd name="T22" fmla="*/ 17 w 34"/>
                  <a:gd name="T23" fmla="*/ 8 h 46"/>
                  <a:gd name="T24" fmla="*/ 10 w 34"/>
                  <a:gd name="T25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46">
                    <a:moveTo>
                      <a:pt x="32" y="8"/>
                    </a:moveTo>
                    <a:cubicBezTo>
                      <a:pt x="34" y="12"/>
                      <a:pt x="34" y="16"/>
                      <a:pt x="34" y="23"/>
                    </a:cubicBezTo>
                    <a:cubicBezTo>
                      <a:pt x="34" y="31"/>
                      <a:pt x="33" y="36"/>
                      <a:pt x="31" y="39"/>
                    </a:cubicBezTo>
                    <a:cubicBezTo>
                      <a:pt x="28" y="43"/>
                      <a:pt x="23" y="46"/>
                      <a:pt x="17" y="46"/>
                    </a:cubicBezTo>
                    <a:cubicBezTo>
                      <a:pt x="11" y="46"/>
                      <a:pt x="6" y="43"/>
                      <a:pt x="3" y="37"/>
                    </a:cubicBezTo>
                    <a:cubicBezTo>
                      <a:pt x="1" y="34"/>
                      <a:pt x="0" y="29"/>
                      <a:pt x="0" y="23"/>
                    </a:cubicBezTo>
                    <a:cubicBezTo>
                      <a:pt x="0" y="8"/>
                      <a:pt x="6" y="0"/>
                      <a:pt x="17" y="0"/>
                    </a:cubicBezTo>
                    <a:cubicBezTo>
                      <a:pt x="24" y="0"/>
                      <a:pt x="29" y="3"/>
                      <a:pt x="32" y="8"/>
                    </a:cubicBezTo>
                    <a:close/>
                    <a:moveTo>
                      <a:pt x="10" y="23"/>
                    </a:moveTo>
                    <a:cubicBezTo>
                      <a:pt x="10" y="33"/>
                      <a:pt x="12" y="38"/>
                      <a:pt x="17" y="38"/>
                    </a:cubicBezTo>
                    <a:cubicBezTo>
                      <a:pt x="22" y="38"/>
                      <a:pt x="25" y="33"/>
                      <a:pt x="25" y="23"/>
                    </a:cubicBezTo>
                    <a:cubicBezTo>
                      <a:pt x="25" y="13"/>
                      <a:pt x="22" y="8"/>
                      <a:pt x="17" y="8"/>
                    </a:cubicBezTo>
                    <a:cubicBezTo>
                      <a:pt x="12" y="8"/>
                      <a:pt x="10" y="13"/>
                      <a:pt x="10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1" name="Freeform 12">
                <a:extLst>
                  <a:ext uri="{FF2B5EF4-FFF2-40B4-BE49-F238E27FC236}">
                    <a16:creationId xmlns:a16="http://schemas.microsoft.com/office/drawing/2014/main" id="{04CC7246-7A3A-F78A-C73B-692F64E783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8475" y="6718395"/>
                <a:ext cx="99709" cy="157117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6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7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7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6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7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7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2" name="Freeform 23">
                <a:extLst>
                  <a:ext uri="{FF2B5EF4-FFF2-40B4-BE49-F238E27FC236}">
                    <a16:creationId xmlns:a16="http://schemas.microsoft.com/office/drawing/2014/main" id="{36289B73-0796-86C4-9FF2-A23FF1F791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55156" y="5455415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8 h 32"/>
                  <a:gd name="T14" fmla="*/ 16 w 21"/>
                  <a:gd name="T15" fmla="*/ 16 h 32"/>
                  <a:gd name="T16" fmla="*/ 11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1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1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3" name="Freeform 24">
                <a:extLst>
                  <a:ext uri="{FF2B5EF4-FFF2-40B4-BE49-F238E27FC236}">
                    <a16:creationId xmlns:a16="http://schemas.microsoft.com/office/drawing/2014/main" id="{D2662946-9E3C-83F3-BAC4-F3CB650EC30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55156" y="5647279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5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4" name="Freeform 25">
                <a:extLst>
                  <a:ext uri="{FF2B5EF4-FFF2-40B4-BE49-F238E27FC236}">
                    <a16:creationId xmlns:a16="http://schemas.microsoft.com/office/drawing/2014/main" id="{02053AD0-BE22-D6F4-F125-E8F2BF267C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2709" y="6029497"/>
                <a:ext cx="64962" cy="11028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2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2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5" name="Freeform 26">
                <a:extLst>
                  <a:ext uri="{FF2B5EF4-FFF2-40B4-BE49-F238E27FC236}">
                    <a16:creationId xmlns:a16="http://schemas.microsoft.com/office/drawing/2014/main" id="{210F5E12-18B3-9AB8-2809-F2EDCA40B2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55156" y="6218339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6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6" name="Freeform 27">
                <a:extLst>
                  <a:ext uri="{FF2B5EF4-FFF2-40B4-BE49-F238E27FC236}">
                    <a16:creationId xmlns:a16="http://schemas.microsoft.com/office/drawing/2014/main" id="{A6E9BA8A-EE29-BB64-C972-51CB5FE10E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55156" y="6408693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7 h 32"/>
                  <a:gd name="T14" fmla="*/ 16 w 21"/>
                  <a:gd name="T15" fmla="*/ 16 h 32"/>
                  <a:gd name="T16" fmla="*/ 11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1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7" name="Freeform 28">
                <a:extLst>
                  <a:ext uri="{FF2B5EF4-FFF2-40B4-BE49-F238E27FC236}">
                    <a16:creationId xmlns:a16="http://schemas.microsoft.com/office/drawing/2014/main" id="{5BF90641-5CD5-B891-FB07-2BDAAD603C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2709" y="6789400"/>
                <a:ext cx="64962" cy="111795"/>
              </a:xfrm>
              <a:custGeom>
                <a:avLst/>
                <a:gdLst>
                  <a:gd name="T0" fmla="*/ 19 w 43"/>
                  <a:gd name="T1" fmla="*/ 14 h 74"/>
                  <a:gd name="T2" fmla="*/ 5 w 43"/>
                  <a:gd name="T3" fmla="*/ 24 h 74"/>
                  <a:gd name="T4" fmla="*/ 0 w 43"/>
                  <a:gd name="T5" fmla="*/ 14 h 74"/>
                  <a:gd name="T6" fmla="*/ 22 w 43"/>
                  <a:gd name="T7" fmla="*/ 0 h 74"/>
                  <a:gd name="T8" fmla="*/ 34 w 43"/>
                  <a:gd name="T9" fmla="*/ 0 h 74"/>
                  <a:gd name="T10" fmla="*/ 34 w 43"/>
                  <a:gd name="T11" fmla="*/ 64 h 74"/>
                  <a:gd name="T12" fmla="*/ 43 w 43"/>
                  <a:gd name="T13" fmla="*/ 64 h 74"/>
                  <a:gd name="T14" fmla="*/ 43 w 43"/>
                  <a:gd name="T15" fmla="*/ 74 h 74"/>
                  <a:gd name="T16" fmla="*/ 10 w 43"/>
                  <a:gd name="T17" fmla="*/ 74 h 74"/>
                  <a:gd name="T18" fmla="*/ 10 w 43"/>
                  <a:gd name="T19" fmla="*/ 64 h 74"/>
                  <a:gd name="T20" fmla="*/ 19 w 43"/>
                  <a:gd name="T21" fmla="*/ 64 h 74"/>
                  <a:gd name="T22" fmla="*/ 19 w 43"/>
                  <a:gd name="T23" fmla="*/ 1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4">
                    <a:moveTo>
                      <a:pt x="19" y="14"/>
                    </a:moveTo>
                    <a:lnTo>
                      <a:pt x="5" y="24"/>
                    </a:lnTo>
                    <a:lnTo>
                      <a:pt x="0" y="14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4"/>
                    </a:lnTo>
                    <a:lnTo>
                      <a:pt x="10" y="74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8" name="Freeform 43">
                <a:extLst>
                  <a:ext uri="{FF2B5EF4-FFF2-40B4-BE49-F238E27FC236}">
                    <a16:creationId xmlns:a16="http://schemas.microsoft.com/office/drawing/2014/main" id="{EC081635-6E46-654F-5EEC-331CB0837D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5364" y="5654833"/>
                <a:ext cx="63451" cy="9366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5" y="0"/>
                      <a:pt x="18" y="5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9" name="Freeform 44">
                <a:extLst>
                  <a:ext uri="{FF2B5EF4-FFF2-40B4-BE49-F238E27FC236}">
                    <a16:creationId xmlns:a16="http://schemas.microsoft.com/office/drawing/2014/main" id="{47623F9F-54A4-9FA4-5F74-7C7CDB69A83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5364" y="5808928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1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80" name="Freeform 45">
                <a:extLst>
                  <a:ext uri="{FF2B5EF4-FFF2-40B4-BE49-F238E27FC236}">
                    <a16:creationId xmlns:a16="http://schemas.microsoft.com/office/drawing/2014/main" id="{FABA7E6D-C29F-79C1-35E7-C369B7A605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5938" y="6115609"/>
                <a:ext cx="49855" cy="89134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49 h 59"/>
                  <a:gd name="T20" fmla="*/ 17 w 33"/>
                  <a:gd name="T21" fmla="*/ 49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81" name="Freeform 46">
                <a:extLst>
                  <a:ext uri="{FF2B5EF4-FFF2-40B4-BE49-F238E27FC236}">
                    <a16:creationId xmlns:a16="http://schemas.microsoft.com/office/drawing/2014/main" id="{1AB2BCD2-B038-B4FA-663A-C601A2B0DDB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5364" y="6265173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82" name="Freeform 47">
                <a:extLst>
                  <a:ext uri="{FF2B5EF4-FFF2-40B4-BE49-F238E27FC236}">
                    <a16:creationId xmlns:a16="http://schemas.microsoft.com/office/drawing/2014/main" id="{CC16D284-213A-BEF7-9617-6E2E736CE6D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5364" y="6419268"/>
                <a:ext cx="63451" cy="89134"/>
              </a:xfrm>
              <a:custGeom>
                <a:avLst/>
                <a:gdLst>
                  <a:gd name="T0" fmla="*/ 18 w 18"/>
                  <a:gd name="T1" fmla="*/ 13 h 25"/>
                  <a:gd name="T2" fmla="*/ 9 w 18"/>
                  <a:gd name="T3" fmla="*/ 25 h 25"/>
                  <a:gd name="T4" fmla="*/ 0 w 18"/>
                  <a:gd name="T5" fmla="*/ 12 h 25"/>
                  <a:gd name="T6" fmla="*/ 9 w 18"/>
                  <a:gd name="T7" fmla="*/ 0 h 25"/>
                  <a:gd name="T8" fmla="*/ 18 w 18"/>
                  <a:gd name="T9" fmla="*/ 13 h 25"/>
                  <a:gd name="T10" fmla="*/ 5 w 18"/>
                  <a:gd name="T11" fmla="*/ 12 h 25"/>
                  <a:gd name="T12" fmla="*/ 9 w 18"/>
                  <a:gd name="T13" fmla="*/ 22 h 25"/>
                  <a:gd name="T14" fmla="*/ 13 w 18"/>
                  <a:gd name="T15" fmla="*/ 13 h 25"/>
                  <a:gd name="T16" fmla="*/ 9 w 18"/>
                  <a:gd name="T17" fmla="*/ 3 h 25"/>
                  <a:gd name="T18" fmla="*/ 5 w 18"/>
                  <a:gd name="T1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5">
                    <a:moveTo>
                      <a:pt x="18" y="13"/>
                    </a:moveTo>
                    <a:cubicBezTo>
                      <a:pt x="18" y="21"/>
                      <a:pt x="15" y="25"/>
                      <a:pt x="9" y="25"/>
                    </a:cubicBezTo>
                    <a:cubicBezTo>
                      <a:pt x="3" y="25"/>
                      <a:pt x="0" y="21"/>
                      <a:pt x="0" y="12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2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6"/>
                      <a:pt x="12" y="3"/>
                      <a:pt x="9" y="3"/>
                    </a:cubicBezTo>
                    <a:cubicBezTo>
                      <a:pt x="6" y="3"/>
                      <a:pt x="5" y="6"/>
                      <a:pt x="5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83" name="Freeform 48">
                <a:extLst>
                  <a:ext uri="{FF2B5EF4-FFF2-40B4-BE49-F238E27FC236}">
                    <a16:creationId xmlns:a16="http://schemas.microsoft.com/office/drawing/2014/main" id="{3F28A3B0-53FA-2793-380A-A88C57EF5F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5938" y="6725948"/>
                <a:ext cx="49855" cy="84602"/>
              </a:xfrm>
              <a:custGeom>
                <a:avLst/>
                <a:gdLst>
                  <a:gd name="T0" fmla="*/ 17 w 33"/>
                  <a:gd name="T1" fmla="*/ 9 h 56"/>
                  <a:gd name="T2" fmla="*/ 5 w 33"/>
                  <a:gd name="T3" fmla="*/ 16 h 56"/>
                  <a:gd name="T4" fmla="*/ 0 w 33"/>
                  <a:gd name="T5" fmla="*/ 9 h 56"/>
                  <a:gd name="T6" fmla="*/ 19 w 33"/>
                  <a:gd name="T7" fmla="*/ 0 h 56"/>
                  <a:gd name="T8" fmla="*/ 26 w 33"/>
                  <a:gd name="T9" fmla="*/ 0 h 56"/>
                  <a:gd name="T10" fmla="*/ 26 w 33"/>
                  <a:gd name="T11" fmla="*/ 49 h 56"/>
                  <a:gd name="T12" fmla="*/ 33 w 33"/>
                  <a:gd name="T13" fmla="*/ 49 h 56"/>
                  <a:gd name="T14" fmla="*/ 33 w 33"/>
                  <a:gd name="T15" fmla="*/ 56 h 56"/>
                  <a:gd name="T16" fmla="*/ 10 w 33"/>
                  <a:gd name="T17" fmla="*/ 56 h 56"/>
                  <a:gd name="T18" fmla="*/ 10 w 33"/>
                  <a:gd name="T19" fmla="*/ 49 h 56"/>
                  <a:gd name="T20" fmla="*/ 17 w 33"/>
                  <a:gd name="T21" fmla="*/ 49 h 56"/>
                  <a:gd name="T22" fmla="*/ 17 w 33"/>
                  <a:gd name="T23" fmla="*/ 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6">
                    <a:moveTo>
                      <a:pt x="17" y="9"/>
                    </a:moveTo>
                    <a:lnTo>
                      <a:pt x="5" y="16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6"/>
                    </a:lnTo>
                    <a:lnTo>
                      <a:pt x="10" y="56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9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84" name="Freeform 49">
                <a:extLst>
                  <a:ext uri="{FF2B5EF4-FFF2-40B4-BE49-F238E27FC236}">
                    <a16:creationId xmlns:a16="http://schemas.microsoft.com/office/drawing/2014/main" id="{B12382BC-AED7-11CF-96BB-4050EB87475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5364" y="6875512"/>
                <a:ext cx="63451" cy="89134"/>
              </a:xfrm>
              <a:custGeom>
                <a:avLst/>
                <a:gdLst>
                  <a:gd name="T0" fmla="*/ 18 w 18"/>
                  <a:gd name="T1" fmla="*/ 13 h 25"/>
                  <a:gd name="T2" fmla="*/ 9 w 18"/>
                  <a:gd name="T3" fmla="*/ 25 h 25"/>
                  <a:gd name="T4" fmla="*/ 0 w 18"/>
                  <a:gd name="T5" fmla="*/ 13 h 25"/>
                  <a:gd name="T6" fmla="*/ 9 w 18"/>
                  <a:gd name="T7" fmla="*/ 0 h 25"/>
                  <a:gd name="T8" fmla="*/ 18 w 18"/>
                  <a:gd name="T9" fmla="*/ 13 h 25"/>
                  <a:gd name="T10" fmla="*/ 5 w 18"/>
                  <a:gd name="T11" fmla="*/ 13 h 25"/>
                  <a:gd name="T12" fmla="*/ 9 w 18"/>
                  <a:gd name="T13" fmla="*/ 22 h 25"/>
                  <a:gd name="T14" fmla="*/ 13 w 18"/>
                  <a:gd name="T15" fmla="*/ 13 h 25"/>
                  <a:gd name="T16" fmla="*/ 9 w 18"/>
                  <a:gd name="T17" fmla="*/ 3 h 25"/>
                  <a:gd name="T18" fmla="*/ 5 w 18"/>
                  <a:gd name="T19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5">
                    <a:moveTo>
                      <a:pt x="18" y="13"/>
                    </a:moveTo>
                    <a:cubicBezTo>
                      <a:pt x="18" y="21"/>
                      <a:pt x="15" y="25"/>
                      <a:pt x="9" y="25"/>
                    </a:cubicBezTo>
                    <a:cubicBezTo>
                      <a:pt x="3" y="25"/>
                      <a:pt x="0" y="21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6"/>
                      <a:pt x="12" y="3"/>
                      <a:pt x="9" y="3"/>
                    </a:cubicBezTo>
                    <a:cubicBezTo>
                      <a:pt x="6" y="3"/>
                      <a:pt x="5" y="6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85" name="Freeform 63">
                <a:extLst>
                  <a:ext uri="{FF2B5EF4-FFF2-40B4-BE49-F238E27FC236}">
                    <a16:creationId xmlns:a16="http://schemas.microsoft.com/office/drawing/2014/main" id="{2F53F538-855E-3BE4-EFEC-424D1FE395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67948" y="5654833"/>
                <a:ext cx="60430" cy="9366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4" y="0"/>
                      <a:pt x="17" y="5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86" name="Freeform 64">
                <a:extLst>
                  <a:ext uri="{FF2B5EF4-FFF2-40B4-BE49-F238E27FC236}">
                    <a16:creationId xmlns:a16="http://schemas.microsoft.com/office/drawing/2014/main" id="{0F19F87C-B6B0-A117-5C1C-EACC8467F46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67948" y="5808928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1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87" name="Freeform 65">
                <a:extLst>
                  <a:ext uri="{FF2B5EF4-FFF2-40B4-BE49-F238E27FC236}">
                    <a16:creationId xmlns:a16="http://schemas.microsoft.com/office/drawing/2014/main" id="{5FA74CF3-17F6-6C55-513D-3CDB4832DD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3991" y="6115609"/>
                <a:ext cx="49855" cy="89134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49 h 59"/>
                  <a:gd name="T20" fmla="*/ 16 w 33"/>
                  <a:gd name="T21" fmla="*/ 49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88" name="Freeform 66">
                <a:extLst>
                  <a:ext uri="{FF2B5EF4-FFF2-40B4-BE49-F238E27FC236}">
                    <a16:creationId xmlns:a16="http://schemas.microsoft.com/office/drawing/2014/main" id="{D42691A6-DEB6-6117-C23A-BAE772C2C1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67948" y="6265173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89" name="Freeform 67">
                <a:extLst>
                  <a:ext uri="{FF2B5EF4-FFF2-40B4-BE49-F238E27FC236}">
                    <a16:creationId xmlns:a16="http://schemas.microsoft.com/office/drawing/2014/main" id="{96A2B3EA-5DD0-4349-F543-141BB37A658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67948" y="6419268"/>
                <a:ext cx="60430" cy="89134"/>
              </a:xfrm>
              <a:custGeom>
                <a:avLst/>
                <a:gdLst>
                  <a:gd name="T0" fmla="*/ 17 w 17"/>
                  <a:gd name="T1" fmla="*/ 13 h 25"/>
                  <a:gd name="T2" fmla="*/ 9 w 17"/>
                  <a:gd name="T3" fmla="*/ 25 h 25"/>
                  <a:gd name="T4" fmla="*/ 0 w 17"/>
                  <a:gd name="T5" fmla="*/ 12 h 25"/>
                  <a:gd name="T6" fmla="*/ 9 w 17"/>
                  <a:gd name="T7" fmla="*/ 0 h 25"/>
                  <a:gd name="T8" fmla="*/ 17 w 17"/>
                  <a:gd name="T9" fmla="*/ 13 h 25"/>
                  <a:gd name="T10" fmla="*/ 4 w 17"/>
                  <a:gd name="T11" fmla="*/ 12 h 25"/>
                  <a:gd name="T12" fmla="*/ 9 w 17"/>
                  <a:gd name="T13" fmla="*/ 22 h 25"/>
                  <a:gd name="T14" fmla="*/ 13 w 17"/>
                  <a:gd name="T15" fmla="*/ 13 h 25"/>
                  <a:gd name="T16" fmla="*/ 9 w 17"/>
                  <a:gd name="T17" fmla="*/ 3 h 25"/>
                  <a:gd name="T18" fmla="*/ 4 w 17"/>
                  <a:gd name="T1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5">
                    <a:moveTo>
                      <a:pt x="17" y="13"/>
                    </a:moveTo>
                    <a:cubicBezTo>
                      <a:pt x="17" y="21"/>
                      <a:pt x="14" y="25"/>
                      <a:pt x="9" y="25"/>
                    </a:cubicBezTo>
                    <a:cubicBezTo>
                      <a:pt x="3" y="25"/>
                      <a:pt x="0" y="21"/>
                      <a:pt x="0" y="12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2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6"/>
                      <a:pt x="11" y="3"/>
                      <a:pt x="9" y="3"/>
                    </a:cubicBezTo>
                    <a:cubicBezTo>
                      <a:pt x="6" y="3"/>
                      <a:pt x="4" y="6"/>
                      <a:pt x="4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90" name="Freeform 68">
                <a:extLst>
                  <a:ext uri="{FF2B5EF4-FFF2-40B4-BE49-F238E27FC236}">
                    <a16:creationId xmlns:a16="http://schemas.microsoft.com/office/drawing/2014/main" id="{18A9E859-D9A2-6048-8CA6-F341341976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3991" y="6725948"/>
                <a:ext cx="49855" cy="84602"/>
              </a:xfrm>
              <a:custGeom>
                <a:avLst/>
                <a:gdLst>
                  <a:gd name="T0" fmla="*/ 16 w 33"/>
                  <a:gd name="T1" fmla="*/ 9 h 56"/>
                  <a:gd name="T2" fmla="*/ 4 w 33"/>
                  <a:gd name="T3" fmla="*/ 16 h 56"/>
                  <a:gd name="T4" fmla="*/ 0 w 33"/>
                  <a:gd name="T5" fmla="*/ 9 h 56"/>
                  <a:gd name="T6" fmla="*/ 16 w 33"/>
                  <a:gd name="T7" fmla="*/ 0 h 56"/>
                  <a:gd name="T8" fmla="*/ 26 w 33"/>
                  <a:gd name="T9" fmla="*/ 0 h 56"/>
                  <a:gd name="T10" fmla="*/ 26 w 33"/>
                  <a:gd name="T11" fmla="*/ 49 h 56"/>
                  <a:gd name="T12" fmla="*/ 33 w 33"/>
                  <a:gd name="T13" fmla="*/ 49 h 56"/>
                  <a:gd name="T14" fmla="*/ 33 w 33"/>
                  <a:gd name="T15" fmla="*/ 56 h 56"/>
                  <a:gd name="T16" fmla="*/ 7 w 33"/>
                  <a:gd name="T17" fmla="*/ 56 h 56"/>
                  <a:gd name="T18" fmla="*/ 7 w 33"/>
                  <a:gd name="T19" fmla="*/ 49 h 56"/>
                  <a:gd name="T20" fmla="*/ 16 w 33"/>
                  <a:gd name="T21" fmla="*/ 49 h 56"/>
                  <a:gd name="T22" fmla="*/ 16 w 33"/>
                  <a:gd name="T23" fmla="*/ 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6">
                    <a:moveTo>
                      <a:pt x="16" y="9"/>
                    </a:moveTo>
                    <a:lnTo>
                      <a:pt x="4" y="16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6"/>
                    </a:lnTo>
                    <a:lnTo>
                      <a:pt x="7" y="56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9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91" name="Freeform 69">
                <a:extLst>
                  <a:ext uri="{FF2B5EF4-FFF2-40B4-BE49-F238E27FC236}">
                    <a16:creationId xmlns:a16="http://schemas.microsoft.com/office/drawing/2014/main" id="{757D7924-47C8-A2F6-9398-1A9FD0EAA9D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67948" y="6875512"/>
                <a:ext cx="60430" cy="89134"/>
              </a:xfrm>
              <a:custGeom>
                <a:avLst/>
                <a:gdLst>
                  <a:gd name="T0" fmla="*/ 17 w 17"/>
                  <a:gd name="T1" fmla="*/ 13 h 25"/>
                  <a:gd name="T2" fmla="*/ 9 w 17"/>
                  <a:gd name="T3" fmla="*/ 25 h 25"/>
                  <a:gd name="T4" fmla="*/ 0 w 17"/>
                  <a:gd name="T5" fmla="*/ 13 h 25"/>
                  <a:gd name="T6" fmla="*/ 9 w 17"/>
                  <a:gd name="T7" fmla="*/ 0 h 25"/>
                  <a:gd name="T8" fmla="*/ 17 w 17"/>
                  <a:gd name="T9" fmla="*/ 13 h 25"/>
                  <a:gd name="T10" fmla="*/ 4 w 17"/>
                  <a:gd name="T11" fmla="*/ 13 h 25"/>
                  <a:gd name="T12" fmla="*/ 9 w 17"/>
                  <a:gd name="T13" fmla="*/ 22 h 25"/>
                  <a:gd name="T14" fmla="*/ 13 w 17"/>
                  <a:gd name="T15" fmla="*/ 13 h 25"/>
                  <a:gd name="T16" fmla="*/ 9 w 17"/>
                  <a:gd name="T17" fmla="*/ 3 h 25"/>
                  <a:gd name="T18" fmla="*/ 4 w 17"/>
                  <a:gd name="T19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5">
                    <a:moveTo>
                      <a:pt x="17" y="13"/>
                    </a:moveTo>
                    <a:cubicBezTo>
                      <a:pt x="17" y="21"/>
                      <a:pt x="14" y="25"/>
                      <a:pt x="9" y="25"/>
                    </a:cubicBezTo>
                    <a:cubicBezTo>
                      <a:pt x="3" y="25"/>
                      <a:pt x="0" y="21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6"/>
                      <a:pt x="11" y="3"/>
                      <a:pt x="9" y="3"/>
                    </a:cubicBezTo>
                    <a:cubicBezTo>
                      <a:pt x="6" y="3"/>
                      <a:pt x="4" y="6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92" name="Freeform 83">
                <a:extLst>
                  <a:ext uri="{FF2B5EF4-FFF2-40B4-BE49-F238E27FC236}">
                    <a16:creationId xmlns:a16="http://schemas.microsoft.com/office/drawing/2014/main" id="{F3117129-953B-8C29-4B95-552CDDA91A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2522" y="5662386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3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93" name="Freeform 84">
                <a:extLst>
                  <a:ext uri="{FF2B5EF4-FFF2-40B4-BE49-F238E27FC236}">
                    <a16:creationId xmlns:a16="http://schemas.microsoft.com/office/drawing/2014/main" id="{6511F619-10FA-09B5-7B1E-464065038F3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77415" y="5929788"/>
                <a:ext cx="110285" cy="164671"/>
              </a:xfrm>
              <a:custGeom>
                <a:avLst/>
                <a:gdLst>
                  <a:gd name="T0" fmla="*/ 31 w 31"/>
                  <a:gd name="T1" fmla="*/ 23 h 46"/>
                  <a:gd name="T2" fmla="*/ 15 w 31"/>
                  <a:gd name="T3" fmla="*/ 46 h 46"/>
                  <a:gd name="T4" fmla="*/ 0 w 31"/>
                  <a:gd name="T5" fmla="*/ 23 h 46"/>
                  <a:gd name="T6" fmla="*/ 15 w 31"/>
                  <a:gd name="T7" fmla="*/ 0 h 46"/>
                  <a:gd name="T8" fmla="*/ 31 w 31"/>
                  <a:gd name="T9" fmla="*/ 23 h 46"/>
                  <a:gd name="T10" fmla="*/ 8 w 31"/>
                  <a:gd name="T11" fmla="*/ 23 h 46"/>
                  <a:gd name="T12" fmla="*/ 15 w 31"/>
                  <a:gd name="T13" fmla="*/ 39 h 46"/>
                  <a:gd name="T14" fmla="*/ 23 w 31"/>
                  <a:gd name="T15" fmla="*/ 23 h 46"/>
                  <a:gd name="T16" fmla="*/ 15 w 31"/>
                  <a:gd name="T17" fmla="*/ 7 h 46"/>
                  <a:gd name="T18" fmla="*/ 8 w 31"/>
                  <a:gd name="T19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6">
                    <a:moveTo>
                      <a:pt x="31" y="23"/>
                    </a:moveTo>
                    <a:cubicBezTo>
                      <a:pt x="31" y="38"/>
                      <a:pt x="26" y="46"/>
                      <a:pt x="15" y="46"/>
                    </a:cubicBezTo>
                    <a:cubicBezTo>
                      <a:pt x="5" y="46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7"/>
                      <a:pt x="15" y="7"/>
                    </a:cubicBezTo>
                    <a:cubicBezTo>
                      <a:pt x="10" y="7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94" name="Freeform 85">
                <a:extLst>
                  <a:ext uri="{FF2B5EF4-FFF2-40B4-BE49-F238E27FC236}">
                    <a16:creationId xmlns:a16="http://schemas.microsoft.com/office/drawing/2014/main" id="{A5976FBA-3153-6532-159C-76BF0ADDED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77415" y="6201721"/>
                <a:ext cx="110285" cy="160139"/>
              </a:xfrm>
              <a:custGeom>
                <a:avLst/>
                <a:gdLst>
                  <a:gd name="T0" fmla="*/ 31 w 31"/>
                  <a:gd name="T1" fmla="*/ 23 h 45"/>
                  <a:gd name="T2" fmla="*/ 15 w 31"/>
                  <a:gd name="T3" fmla="*/ 45 h 45"/>
                  <a:gd name="T4" fmla="*/ 0 w 31"/>
                  <a:gd name="T5" fmla="*/ 23 h 45"/>
                  <a:gd name="T6" fmla="*/ 15 w 31"/>
                  <a:gd name="T7" fmla="*/ 0 h 45"/>
                  <a:gd name="T8" fmla="*/ 31 w 31"/>
                  <a:gd name="T9" fmla="*/ 23 h 45"/>
                  <a:gd name="T10" fmla="*/ 8 w 31"/>
                  <a:gd name="T11" fmla="*/ 23 h 45"/>
                  <a:gd name="T12" fmla="*/ 15 w 31"/>
                  <a:gd name="T13" fmla="*/ 39 h 45"/>
                  <a:gd name="T14" fmla="*/ 23 w 31"/>
                  <a:gd name="T15" fmla="*/ 23 h 45"/>
                  <a:gd name="T16" fmla="*/ 15 w 31"/>
                  <a:gd name="T17" fmla="*/ 6 h 45"/>
                  <a:gd name="T18" fmla="*/ 8 w 31"/>
                  <a:gd name="T19" fmla="*/ 2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31" y="23"/>
                    </a:moveTo>
                    <a:cubicBezTo>
                      <a:pt x="31" y="38"/>
                      <a:pt x="26" y="45"/>
                      <a:pt x="15" y="45"/>
                    </a:cubicBezTo>
                    <a:cubicBezTo>
                      <a:pt x="5" y="45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6"/>
                      <a:pt x="15" y="6"/>
                    </a:cubicBezTo>
                    <a:cubicBezTo>
                      <a:pt x="10" y="6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95" name="Freeform 86">
                <a:extLst>
                  <a:ext uri="{FF2B5EF4-FFF2-40B4-BE49-F238E27FC236}">
                    <a16:creationId xmlns:a16="http://schemas.microsoft.com/office/drawing/2014/main" id="{AEB19CCA-4E6A-6D73-004B-962BB522F0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2522" y="6475165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4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4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96" name="Freeform 87">
                <a:extLst>
                  <a:ext uri="{FF2B5EF4-FFF2-40B4-BE49-F238E27FC236}">
                    <a16:creationId xmlns:a16="http://schemas.microsoft.com/office/drawing/2014/main" id="{1C7A1715-12B6-41CB-BED1-470DBF5C98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2522" y="6747099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1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1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97" name="Freeform 95">
                <a:extLst>
                  <a:ext uri="{FF2B5EF4-FFF2-40B4-BE49-F238E27FC236}">
                    <a16:creationId xmlns:a16="http://schemas.microsoft.com/office/drawing/2014/main" id="{083DCD51-3247-FA59-BC09-3F6E59B3A0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4777091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98" name="Freeform 96">
                <a:extLst>
                  <a:ext uri="{FF2B5EF4-FFF2-40B4-BE49-F238E27FC236}">
                    <a16:creationId xmlns:a16="http://schemas.microsoft.com/office/drawing/2014/main" id="{13D41B7D-C83D-C7C3-0649-D4DACE8C8D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9292" y="4923634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99" name="Freeform 97">
                <a:extLst>
                  <a:ext uri="{FF2B5EF4-FFF2-40B4-BE49-F238E27FC236}">
                    <a16:creationId xmlns:a16="http://schemas.microsoft.com/office/drawing/2014/main" id="{827A4A87-8BF9-439C-0F05-8539CB3ED9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5070175"/>
                <a:ext cx="52876" cy="84602"/>
              </a:xfrm>
              <a:custGeom>
                <a:avLst/>
                <a:gdLst>
                  <a:gd name="T0" fmla="*/ 16 w 35"/>
                  <a:gd name="T1" fmla="*/ 14 h 56"/>
                  <a:gd name="T2" fmla="*/ 7 w 35"/>
                  <a:gd name="T3" fmla="*/ 21 h 56"/>
                  <a:gd name="T4" fmla="*/ 0 w 35"/>
                  <a:gd name="T5" fmla="*/ 11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4"/>
                    </a:moveTo>
                    <a:lnTo>
                      <a:pt x="7" y="21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00" name="Freeform 98">
                <a:extLst>
                  <a:ext uri="{FF2B5EF4-FFF2-40B4-BE49-F238E27FC236}">
                    <a16:creationId xmlns:a16="http://schemas.microsoft.com/office/drawing/2014/main" id="{B16FA524-93B9-6081-B22F-34F247EA70F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9292" y="5216718"/>
                <a:ext cx="67984" cy="84602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01" name="Freeform 99">
                <a:extLst>
                  <a:ext uri="{FF2B5EF4-FFF2-40B4-BE49-F238E27FC236}">
                    <a16:creationId xmlns:a16="http://schemas.microsoft.com/office/drawing/2014/main" id="{B023F938-CC6E-5D4B-784D-A0896B82C6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5361749"/>
                <a:ext cx="52876" cy="86113"/>
              </a:xfrm>
              <a:custGeom>
                <a:avLst/>
                <a:gdLst>
                  <a:gd name="T0" fmla="*/ 16 w 35"/>
                  <a:gd name="T1" fmla="*/ 15 h 57"/>
                  <a:gd name="T2" fmla="*/ 7 w 35"/>
                  <a:gd name="T3" fmla="*/ 22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8 h 57"/>
                  <a:gd name="T12" fmla="*/ 35 w 35"/>
                  <a:gd name="T13" fmla="*/ 48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8 h 57"/>
                  <a:gd name="T20" fmla="*/ 16 w 35"/>
                  <a:gd name="T21" fmla="*/ 48 h 57"/>
                  <a:gd name="T22" fmla="*/ 16 w 35"/>
                  <a:gd name="T23" fmla="*/ 1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5"/>
                    </a:moveTo>
                    <a:lnTo>
                      <a:pt x="7" y="22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5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02" name="Freeform 100">
                <a:extLst>
                  <a:ext uri="{FF2B5EF4-FFF2-40B4-BE49-F238E27FC236}">
                    <a16:creationId xmlns:a16="http://schemas.microsoft.com/office/drawing/2014/main" id="{2480917D-2A10-3257-AB61-9F62C93C7DD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9292" y="5508290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03" name="Freeform 101">
                <a:extLst>
                  <a:ext uri="{FF2B5EF4-FFF2-40B4-BE49-F238E27FC236}">
                    <a16:creationId xmlns:a16="http://schemas.microsoft.com/office/drawing/2014/main" id="{EA047B9F-4EE9-3CE5-E3D7-F4F3A736A1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5654833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04" name="Freeform 102">
                <a:extLst>
                  <a:ext uri="{FF2B5EF4-FFF2-40B4-BE49-F238E27FC236}">
                    <a16:creationId xmlns:a16="http://schemas.microsoft.com/office/drawing/2014/main" id="{41CF915A-9152-1248-3A67-BE61A82DD9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5801374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05" name="Freeform 103">
                <a:extLst>
                  <a:ext uri="{FF2B5EF4-FFF2-40B4-BE49-F238E27FC236}">
                    <a16:creationId xmlns:a16="http://schemas.microsoft.com/office/drawing/2014/main" id="{FAA6E708-E003-CD2C-6101-3D876574AA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5950938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5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5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06" name="Freeform 104">
                <a:extLst>
                  <a:ext uri="{FF2B5EF4-FFF2-40B4-BE49-F238E27FC236}">
                    <a16:creationId xmlns:a16="http://schemas.microsoft.com/office/drawing/2014/main" id="{1E6318B8-D20A-3943-114A-3537873F9FD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9292" y="6094458"/>
                <a:ext cx="67984" cy="89134"/>
              </a:xfrm>
              <a:custGeom>
                <a:avLst/>
                <a:gdLst>
                  <a:gd name="T0" fmla="*/ 17 w 19"/>
                  <a:gd name="T1" fmla="*/ 4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4 h 25"/>
                  <a:gd name="T16" fmla="*/ 6 w 19"/>
                  <a:gd name="T17" fmla="*/ 12 h 25"/>
                  <a:gd name="T18" fmla="*/ 10 w 19"/>
                  <a:gd name="T19" fmla="*/ 20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3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07" name="Freeform 105">
                <a:extLst>
                  <a:ext uri="{FF2B5EF4-FFF2-40B4-BE49-F238E27FC236}">
                    <a16:creationId xmlns:a16="http://schemas.microsoft.com/office/drawing/2014/main" id="{E4D5D0FD-EBA2-7329-9AD1-C92F9A8CF9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6244022"/>
                <a:ext cx="52876" cy="81580"/>
              </a:xfrm>
              <a:custGeom>
                <a:avLst/>
                <a:gdLst>
                  <a:gd name="T0" fmla="*/ 16 w 35"/>
                  <a:gd name="T1" fmla="*/ 12 h 54"/>
                  <a:gd name="T2" fmla="*/ 7 w 35"/>
                  <a:gd name="T3" fmla="*/ 19 h 54"/>
                  <a:gd name="T4" fmla="*/ 0 w 35"/>
                  <a:gd name="T5" fmla="*/ 9 h 54"/>
                  <a:gd name="T6" fmla="*/ 19 w 35"/>
                  <a:gd name="T7" fmla="*/ 0 h 54"/>
                  <a:gd name="T8" fmla="*/ 28 w 35"/>
                  <a:gd name="T9" fmla="*/ 0 h 54"/>
                  <a:gd name="T10" fmla="*/ 28 w 35"/>
                  <a:gd name="T11" fmla="*/ 45 h 54"/>
                  <a:gd name="T12" fmla="*/ 35 w 35"/>
                  <a:gd name="T13" fmla="*/ 45 h 54"/>
                  <a:gd name="T14" fmla="*/ 35 w 35"/>
                  <a:gd name="T15" fmla="*/ 54 h 54"/>
                  <a:gd name="T16" fmla="*/ 9 w 35"/>
                  <a:gd name="T17" fmla="*/ 54 h 54"/>
                  <a:gd name="T18" fmla="*/ 9 w 35"/>
                  <a:gd name="T19" fmla="*/ 45 h 54"/>
                  <a:gd name="T20" fmla="*/ 16 w 35"/>
                  <a:gd name="T21" fmla="*/ 45 h 54"/>
                  <a:gd name="T22" fmla="*/ 16 w 35"/>
                  <a:gd name="T23" fmla="*/ 1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4">
                    <a:moveTo>
                      <a:pt x="16" y="12"/>
                    </a:moveTo>
                    <a:lnTo>
                      <a:pt x="7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4"/>
                    </a:lnTo>
                    <a:lnTo>
                      <a:pt x="9" y="54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08" name="Freeform 106">
                <a:extLst>
                  <a:ext uri="{FF2B5EF4-FFF2-40B4-BE49-F238E27FC236}">
                    <a16:creationId xmlns:a16="http://schemas.microsoft.com/office/drawing/2014/main" id="{C76A2C14-AD17-E084-9F7E-8B77574388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9292" y="6386032"/>
                <a:ext cx="67984" cy="89134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2 h 25"/>
                  <a:gd name="T18" fmla="*/ 10 w 19"/>
                  <a:gd name="T19" fmla="*/ 21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09" name="Freeform 107">
                <a:extLst>
                  <a:ext uri="{FF2B5EF4-FFF2-40B4-BE49-F238E27FC236}">
                    <a16:creationId xmlns:a16="http://schemas.microsoft.com/office/drawing/2014/main" id="{3A637E4F-0E13-9F26-074A-4249E9D6C66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9292" y="6532573"/>
                <a:ext cx="67984" cy="89134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2 h 25"/>
                  <a:gd name="T18" fmla="*/ 10 w 19"/>
                  <a:gd name="T19" fmla="*/ 21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10" name="Freeform 108">
                <a:extLst>
                  <a:ext uri="{FF2B5EF4-FFF2-40B4-BE49-F238E27FC236}">
                    <a16:creationId xmlns:a16="http://schemas.microsoft.com/office/drawing/2014/main" id="{524F1D16-E743-223B-56F6-3EE3E54A90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6682137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8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8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8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8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11" name="Freeform 109">
                <a:extLst>
                  <a:ext uri="{FF2B5EF4-FFF2-40B4-BE49-F238E27FC236}">
                    <a16:creationId xmlns:a16="http://schemas.microsoft.com/office/drawing/2014/main" id="{373287E6-FA28-20FA-65B0-FA07090398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6828679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8 h 55"/>
                  <a:gd name="T12" fmla="*/ 35 w 35"/>
                  <a:gd name="T13" fmla="*/ 48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8 h 55"/>
                  <a:gd name="T20" fmla="*/ 16 w 35"/>
                  <a:gd name="T21" fmla="*/ 48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12" name="Freeform 135">
                <a:extLst>
                  <a:ext uri="{FF2B5EF4-FFF2-40B4-BE49-F238E27FC236}">
                    <a16:creationId xmlns:a16="http://schemas.microsoft.com/office/drawing/2014/main" id="{6B975780-135C-4545-307E-DBE9F5AB7B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2225" y="5144202"/>
                <a:ext cx="60430" cy="111795"/>
              </a:xfrm>
              <a:custGeom>
                <a:avLst/>
                <a:gdLst>
                  <a:gd name="T0" fmla="*/ 19 w 40"/>
                  <a:gd name="T1" fmla="*/ 14 h 74"/>
                  <a:gd name="T2" fmla="*/ 4 w 40"/>
                  <a:gd name="T3" fmla="*/ 24 h 74"/>
                  <a:gd name="T4" fmla="*/ 0 w 40"/>
                  <a:gd name="T5" fmla="*/ 14 h 74"/>
                  <a:gd name="T6" fmla="*/ 21 w 40"/>
                  <a:gd name="T7" fmla="*/ 0 h 74"/>
                  <a:gd name="T8" fmla="*/ 30 w 40"/>
                  <a:gd name="T9" fmla="*/ 0 h 74"/>
                  <a:gd name="T10" fmla="*/ 30 w 40"/>
                  <a:gd name="T11" fmla="*/ 64 h 74"/>
                  <a:gd name="T12" fmla="*/ 40 w 40"/>
                  <a:gd name="T13" fmla="*/ 64 h 74"/>
                  <a:gd name="T14" fmla="*/ 40 w 40"/>
                  <a:gd name="T15" fmla="*/ 74 h 74"/>
                  <a:gd name="T16" fmla="*/ 9 w 40"/>
                  <a:gd name="T17" fmla="*/ 74 h 74"/>
                  <a:gd name="T18" fmla="*/ 9 w 40"/>
                  <a:gd name="T19" fmla="*/ 64 h 74"/>
                  <a:gd name="T20" fmla="*/ 19 w 40"/>
                  <a:gd name="T21" fmla="*/ 64 h 74"/>
                  <a:gd name="T22" fmla="*/ 19 w 40"/>
                  <a:gd name="T23" fmla="*/ 1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4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4"/>
                    </a:lnTo>
                    <a:lnTo>
                      <a:pt x="9" y="74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13" name="Freeform 136">
                <a:extLst>
                  <a:ext uri="{FF2B5EF4-FFF2-40B4-BE49-F238E27FC236}">
                    <a16:creationId xmlns:a16="http://schemas.microsoft.com/office/drawing/2014/main" id="{1C70C3E0-6131-97A5-5B09-EBC8DBE7F9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91649" y="5333044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8 h 32"/>
                  <a:gd name="T14" fmla="*/ 16 w 21"/>
                  <a:gd name="T15" fmla="*/ 16 h 32"/>
                  <a:gd name="T16" fmla="*/ 10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0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0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14" name="Freeform 137">
                <a:extLst>
                  <a:ext uri="{FF2B5EF4-FFF2-40B4-BE49-F238E27FC236}">
                    <a16:creationId xmlns:a16="http://schemas.microsoft.com/office/drawing/2014/main" id="{ACA8853C-5908-DCC0-0E02-C19E485C257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91649" y="5715262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6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15" name="Freeform 138">
                <a:extLst>
                  <a:ext uri="{FF2B5EF4-FFF2-40B4-BE49-F238E27FC236}">
                    <a16:creationId xmlns:a16="http://schemas.microsoft.com/office/drawing/2014/main" id="{AA4FF802-9AE7-55CC-3528-3987B3B382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2225" y="5908637"/>
                <a:ext cx="60430" cy="107263"/>
              </a:xfrm>
              <a:custGeom>
                <a:avLst/>
                <a:gdLst>
                  <a:gd name="T0" fmla="*/ 19 w 40"/>
                  <a:gd name="T1" fmla="*/ 12 h 71"/>
                  <a:gd name="T2" fmla="*/ 4 w 40"/>
                  <a:gd name="T3" fmla="*/ 21 h 71"/>
                  <a:gd name="T4" fmla="*/ 0 w 40"/>
                  <a:gd name="T5" fmla="*/ 12 h 71"/>
                  <a:gd name="T6" fmla="*/ 21 w 40"/>
                  <a:gd name="T7" fmla="*/ 0 h 71"/>
                  <a:gd name="T8" fmla="*/ 30 w 40"/>
                  <a:gd name="T9" fmla="*/ 0 h 71"/>
                  <a:gd name="T10" fmla="*/ 30 w 40"/>
                  <a:gd name="T11" fmla="*/ 64 h 71"/>
                  <a:gd name="T12" fmla="*/ 40 w 40"/>
                  <a:gd name="T13" fmla="*/ 64 h 71"/>
                  <a:gd name="T14" fmla="*/ 40 w 40"/>
                  <a:gd name="T15" fmla="*/ 71 h 71"/>
                  <a:gd name="T16" fmla="*/ 9 w 40"/>
                  <a:gd name="T17" fmla="*/ 71 h 71"/>
                  <a:gd name="T18" fmla="*/ 9 w 40"/>
                  <a:gd name="T19" fmla="*/ 64 h 71"/>
                  <a:gd name="T20" fmla="*/ 19 w 40"/>
                  <a:gd name="T21" fmla="*/ 64 h 71"/>
                  <a:gd name="T22" fmla="*/ 19 w 40"/>
                  <a:gd name="T23" fmla="*/ 1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1">
                    <a:moveTo>
                      <a:pt x="19" y="12"/>
                    </a:moveTo>
                    <a:lnTo>
                      <a:pt x="4" y="21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1"/>
                    </a:lnTo>
                    <a:lnTo>
                      <a:pt x="9" y="71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16" name="Freeform 139">
                <a:extLst>
                  <a:ext uri="{FF2B5EF4-FFF2-40B4-BE49-F238E27FC236}">
                    <a16:creationId xmlns:a16="http://schemas.microsoft.com/office/drawing/2014/main" id="{8DCE2C04-8147-F814-DF29-F01A2D2DCE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2225" y="6097480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17" name="Freeform 140">
                <a:extLst>
                  <a:ext uri="{FF2B5EF4-FFF2-40B4-BE49-F238E27FC236}">
                    <a16:creationId xmlns:a16="http://schemas.microsoft.com/office/drawing/2014/main" id="{9A172087-84EE-E739-8590-01F9B72A4D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2225" y="6286323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18" name="Freeform 141">
                <a:extLst>
                  <a:ext uri="{FF2B5EF4-FFF2-40B4-BE49-F238E27FC236}">
                    <a16:creationId xmlns:a16="http://schemas.microsoft.com/office/drawing/2014/main" id="{8AFEB998-9D7B-E885-7090-D27786111B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2225" y="6479698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1 h 73"/>
                  <a:gd name="T4" fmla="*/ 0 w 40"/>
                  <a:gd name="T5" fmla="*/ 12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1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19" name="Freeform 142">
                <a:extLst>
                  <a:ext uri="{FF2B5EF4-FFF2-40B4-BE49-F238E27FC236}">
                    <a16:creationId xmlns:a16="http://schemas.microsoft.com/office/drawing/2014/main" id="{6643105E-C4F4-A690-B891-8E64D88875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91649" y="6668540"/>
                <a:ext cx="75537" cy="110285"/>
              </a:xfrm>
              <a:custGeom>
                <a:avLst/>
                <a:gdLst>
                  <a:gd name="T0" fmla="*/ 21 w 21"/>
                  <a:gd name="T1" fmla="*/ 15 h 31"/>
                  <a:gd name="T2" fmla="*/ 10 w 21"/>
                  <a:gd name="T3" fmla="*/ 31 h 31"/>
                  <a:gd name="T4" fmla="*/ 0 w 21"/>
                  <a:gd name="T5" fmla="*/ 15 h 31"/>
                  <a:gd name="T6" fmla="*/ 10 w 21"/>
                  <a:gd name="T7" fmla="*/ 0 h 31"/>
                  <a:gd name="T8" fmla="*/ 21 w 21"/>
                  <a:gd name="T9" fmla="*/ 15 h 31"/>
                  <a:gd name="T10" fmla="*/ 5 w 21"/>
                  <a:gd name="T11" fmla="*/ 15 h 31"/>
                  <a:gd name="T12" fmla="*/ 10 w 21"/>
                  <a:gd name="T13" fmla="*/ 27 h 31"/>
                  <a:gd name="T14" fmla="*/ 16 w 21"/>
                  <a:gd name="T15" fmla="*/ 15 h 31"/>
                  <a:gd name="T16" fmla="*/ 10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5"/>
                    </a:moveTo>
                    <a:cubicBezTo>
                      <a:pt x="21" y="26"/>
                      <a:pt x="18" y="31"/>
                      <a:pt x="10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5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0" y="27"/>
                    </a:cubicBezTo>
                    <a:cubicBezTo>
                      <a:pt x="14" y="27"/>
                      <a:pt x="16" y="23"/>
                      <a:pt x="16" y="15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20" name="Freeform 143">
                <a:extLst>
                  <a:ext uri="{FF2B5EF4-FFF2-40B4-BE49-F238E27FC236}">
                    <a16:creationId xmlns:a16="http://schemas.microsoft.com/office/drawing/2014/main" id="{002AB27B-DC7C-C3F8-5553-C4B0F9D889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91649" y="6857383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21" name="Freeform 149">
                <a:extLst>
                  <a:ext uri="{FF2B5EF4-FFF2-40B4-BE49-F238E27FC236}">
                    <a16:creationId xmlns:a16="http://schemas.microsoft.com/office/drawing/2014/main" id="{BFFCD103-4126-28A4-3882-2622E9E0B4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4198" y="4787667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22" name="Freeform 150">
                <a:extLst>
                  <a:ext uri="{FF2B5EF4-FFF2-40B4-BE49-F238E27FC236}">
                    <a16:creationId xmlns:a16="http://schemas.microsoft.com/office/drawing/2014/main" id="{FB1BBA03-413E-C0D0-2709-01EDB712B76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99092" y="5070175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23" name="Freeform 151">
                <a:extLst>
                  <a:ext uri="{FF2B5EF4-FFF2-40B4-BE49-F238E27FC236}">
                    <a16:creationId xmlns:a16="http://schemas.microsoft.com/office/drawing/2014/main" id="{863115FF-B616-AF7A-BCD3-8A62481404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4198" y="5358727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24" name="Freeform 152">
                <a:extLst>
                  <a:ext uri="{FF2B5EF4-FFF2-40B4-BE49-F238E27FC236}">
                    <a16:creationId xmlns:a16="http://schemas.microsoft.com/office/drawing/2014/main" id="{B98FE844-9CDE-A0DF-DA25-0FA151FA4C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99092" y="5641236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25" name="Freeform 153">
                <a:extLst>
                  <a:ext uri="{FF2B5EF4-FFF2-40B4-BE49-F238E27FC236}">
                    <a16:creationId xmlns:a16="http://schemas.microsoft.com/office/drawing/2014/main" id="{3BDC1571-7AF8-5545-CBF7-FB208E8A78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4198" y="5929788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26" name="Freeform 154">
                <a:extLst>
                  <a:ext uri="{FF2B5EF4-FFF2-40B4-BE49-F238E27FC236}">
                    <a16:creationId xmlns:a16="http://schemas.microsoft.com/office/drawing/2014/main" id="{E27537D0-5C64-25A9-8690-F785FC3B49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4198" y="6215318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27" name="Freeform 155">
                <a:extLst>
                  <a:ext uri="{FF2B5EF4-FFF2-40B4-BE49-F238E27FC236}">
                    <a16:creationId xmlns:a16="http://schemas.microsoft.com/office/drawing/2014/main" id="{44053400-378A-514B-8AAD-AFDC0B0502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4198" y="6500848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7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7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7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7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28" name="Freeform 156">
                <a:extLst>
                  <a:ext uri="{FF2B5EF4-FFF2-40B4-BE49-F238E27FC236}">
                    <a16:creationId xmlns:a16="http://schemas.microsoft.com/office/drawing/2014/main" id="{4B2BF404-BC0F-03F8-A68F-C7225DC183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4198" y="6786378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5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7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7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5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7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7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29" name="Line 8">
                <a:extLst>
                  <a:ext uri="{FF2B5EF4-FFF2-40B4-BE49-F238E27FC236}">
                    <a16:creationId xmlns:a16="http://schemas.microsoft.com/office/drawing/2014/main" id="{BFD6445D-2FAC-037E-6993-504B3A0CBEB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049918" y="3678777"/>
                <a:ext cx="0" cy="0"/>
              </a:xfrm>
              <a:prstGeom prst="lin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30" name="Line 9">
                <a:extLst>
                  <a:ext uri="{FF2B5EF4-FFF2-40B4-BE49-F238E27FC236}">
                    <a16:creationId xmlns:a16="http://schemas.microsoft.com/office/drawing/2014/main" id="{D974EF7B-A126-497E-B7A5-E0D9F086ED8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049918" y="3678777"/>
                <a:ext cx="0" cy="0"/>
              </a:xfrm>
              <a:prstGeom prst="lin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31" name="Freeform 10">
                <a:extLst>
                  <a:ext uri="{FF2B5EF4-FFF2-40B4-BE49-F238E27FC236}">
                    <a16:creationId xmlns:a16="http://schemas.microsoft.com/office/drawing/2014/main" id="{521F8D4E-0E79-FC46-0146-ADAAB536D0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83099" y="4749893"/>
                <a:ext cx="99709" cy="157117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8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7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7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8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7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7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32" name="Freeform 11">
                <a:extLst>
                  <a:ext uri="{FF2B5EF4-FFF2-40B4-BE49-F238E27FC236}">
                    <a16:creationId xmlns:a16="http://schemas.microsoft.com/office/drawing/2014/main" id="{2268AFA5-5D4E-A091-A28F-AEAB3EF56B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75545" y="5017295"/>
                <a:ext cx="120859" cy="164671"/>
              </a:xfrm>
              <a:custGeom>
                <a:avLst/>
                <a:gdLst>
                  <a:gd name="T0" fmla="*/ 32 w 34"/>
                  <a:gd name="T1" fmla="*/ 8 h 46"/>
                  <a:gd name="T2" fmla="*/ 34 w 34"/>
                  <a:gd name="T3" fmla="*/ 23 h 46"/>
                  <a:gd name="T4" fmla="*/ 31 w 34"/>
                  <a:gd name="T5" fmla="*/ 39 h 46"/>
                  <a:gd name="T6" fmla="*/ 17 w 34"/>
                  <a:gd name="T7" fmla="*/ 46 h 46"/>
                  <a:gd name="T8" fmla="*/ 3 w 34"/>
                  <a:gd name="T9" fmla="*/ 37 h 46"/>
                  <a:gd name="T10" fmla="*/ 0 w 34"/>
                  <a:gd name="T11" fmla="*/ 23 h 46"/>
                  <a:gd name="T12" fmla="*/ 17 w 34"/>
                  <a:gd name="T13" fmla="*/ 0 h 46"/>
                  <a:gd name="T14" fmla="*/ 32 w 34"/>
                  <a:gd name="T15" fmla="*/ 8 h 46"/>
                  <a:gd name="T16" fmla="*/ 10 w 34"/>
                  <a:gd name="T17" fmla="*/ 23 h 46"/>
                  <a:gd name="T18" fmla="*/ 17 w 34"/>
                  <a:gd name="T19" fmla="*/ 38 h 46"/>
                  <a:gd name="T20" fmla="*/ 25 w 34"/>
                  <a:gd name="T21" fmla="*/ 23 h 46"/>
                  <a:gd name="T22" fmla="*/ 17 w 34"/>
                  <a:gd name="T23" fmla="*/ 8 h 46"/>
                  <a:gd name="T24" fmla="*/ 10 w 34"/>
                  <a:gd name="T25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46">
                    <a:moveTo>
                      <a:pt x="32" y="8"/>
                    </a:moveTo>
                    <a:cubicBezTo>
                      <a:pt x="34" y="12"/>
                      <a:pt x="34" y="16"/>
                      <a:pt x="34" y="23"/>
                    </a:cubicBezTo>
                    <a:cubicBezTo>
                      <a:pt x="34" y="31"/>
                      <a:pt x="33" y="36"/>
                      <a:pt x="31" y="39"/>
                    </a:cubicBezTo>
                    <a:cubicBezTo>
                      <a:pt x="28" y="43"/>
                      <a:pt x="23" y="46"/>
                      <a:pt x="17" y="46"/>
                    </a:cubicBezTo>
                    <a:cubicBezTo>
                      <a:pt x="11" y="46"/>
                      <a:pt x="6" y="43"/>
                      <a:pt x="3" y="37"/>
                    </a:cubicBezTo>
                    <a:cubicBezTo>
                      <a:pt x="1" y="34"/>
                      <a:pt x="0" y="29"/>
                      <a:pt x="0" y="23"/>
                    </a:cubicBezTo>
                    <a:cubicBezTo>
                      <a:pt x="0" y="8"/>
                      <a:pt x="6" y="0"/>
                      <a:pt x="17" y="0"/>
                    </a:cubicBezTo>
                    <a:cubicBezTo>
                      <a:pt x="24" y="0"/>
                      <a:pt x="29" y="3"/>
                      <a:pt x="32" y="8"/>
                    </a:cubicBezTo>
                    <a:close/>
                    <a:moveTo>
                      <a:pt x="10" y="23"/>
                    </a:moveTo>
                    <a:cubicBezTo>
                      <a:pt x="10" y="33"/>
                      <a:pt x="12" y="38"/>
                      <a:pt x="17" y="38"/>
                    </a:cubicBezTo>
                    <a:cubicBezTo>
                      <a:pt x="22" y="38"/>
                      <a:pt x="25" y="33"/>
                      <a:pt x="25" y="23"/>
                    </a:cubicBezTo>
                    <a:cubicBezTo>
                      <a:pt x="25" y="13"/>
                      <a:pt x="22" y="8"/>
                      <a:pt x="17" y="8"/>
                    </a:cubicBezTo>
                    <a:cubicBezTo>
                      <a:pt x="12" y="8"/>
                      <a:pt x="10" y="13"/>
                      <a:pt x="10" y="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33" name="Freeform 12">
                <a:extLst>
                  <a:ext uri="{FF2B5EF4-FFF2-40B4-BE49-F238E27FC236}">
                    <a16:creationId xmlns:a16="http://schemas.microsoft.com/office/drawing/2014/main" id="{99F8F257-82B2-F010-455F-04EF64CCD1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83099" y="5292250"/>
                <a:ext cx="99709" cy="157117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6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7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7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6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7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7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34" name="Freeform 13">
                <a:extLst>
                  <a:ext uri="{FF2B5EF4-FFF2-40B4-BE49-F238E27FC236}">
                    <a16:creationId xmlns:a16="http://schemas.microsoft.com/office/drawing/2014/main" id="{7565187A-EF36-4F31-CB98-E06731DA16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83099" y="5564184"/>
                <a:ext cx="99709" cy="157117"/>
              </a:xfrm>
              <a:custGeom>
                <a:avLst/>
                <a:gdLst>
                  <a:gd name="T0" fmla="*/ 30 w 66"/>
                  <a:gd name="T1" fmla="*/ 23 h 104"/>
                  <a:gd name="T2" fmla="*/ 9 w 66"/>
                  <a:gd name="T3" fmla="*/ 35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5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5 h 104"/>
                  <a:gd name="T22" fmla="*/ 30 w 66"/>
                  <a:gd name="T23" fmla="*/ 2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3"/>
                    </a:moveTo>
                    <a:lnTo>
                      <a:pt x="9" y="35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5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5"/>
                    </a:lnTo>
                    <a:lnTo>
                      <a:pt x="30" y="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35" name="Freeform 14">
                <a:extLst>
                  <a:ext uri="{FF2B5EF4-FFF2-40B4-BE49-F238E27FC236}">
                    <a16:creationId xmlns:a16="http://schemas.microsoft.com/office/drawing/2014/main" id="{0DCA5FCD-AD7D-710A-715D-6ADD04E688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83099" y="5834606"/>
                <a:ext cx="99709" cy="157117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6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5 h 104"/>
                  <a:gd name="T12" fmla="*/ 66 w 66"/>
                  <a:gd name="T13" fmla="*/ 88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8 h 104"/>
                  <a:gd name="T20" fmla="*/ 30 w 66"/>
                  <a:gd name="T21" fmla="*/ 85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6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5"/>
                    </a:lnTo>
                    <a:lnTo>
                      <a:pt x="66" y="88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8"/>
                    </a:lnTo>
                    <a:lnTo>
                      <a:pt x="30" y="85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36" name="Freeform 15">
                <a:extLst>
                  <a:ext uri="{FF2B5EF4-FFF2-40B4-BE49-F238E27FC236}">
                    <a16:creationId xmlns:a16="http://schemas.microsoft.com/office/drawing/2014/main" id="{5022F784-0125-9C24-94AE-17DC989D50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83099" y="6106539"/>
                <a:ext cx="99709" cy="152585"/>
              </a:xfrm>
              <a:custGeom>
                <a:avLst/>
                <a:gdLst>
                  <a:gd name="T0" fmla="*/ 30 w 66"/>
                  <a:gd name="T1" fmla="*/ 23 h 101"/>
                  <a:gd name="T2" fmla="*/ 9 w 66"/>
                  <a:gd name="T3" fmla="*/ 35 h 101"/>
                  <a:gd name="T4" fmla="*/ 0 w 66"/>
                  <a:gd name="T5" fmla="*/ 19 h 101"/>
                  <a:gd name="T6" fmla="*/ 33 w 66"/>
                  <a:gd name="T7" fmla="*/ 0 h 101"/>
                  <a:gd name="T8" fmla="*/ 52 w 66"/>
                  <a:gd name="T9" fmla="*/ 0 h 101"/>
                  <a:gd name="T10" fmla="*/ 52 w 66"/>
                  <a:gd name="T11" fmla="*/ 85 h 101"/>
                  <a:gd name="T12" fmla="*/ 66 w 66"/>
                  <a:gd name="T13" fmla="*/ 85 h 101"/>
                  <a:gd name="T14" fmla="*/ 66 w 66"/>
                  <a:gd name="T15" fmla="*/ 101 h 101"/>
                  <a:gd name="T16" fmla="*/ 16 w 66"/>
                  <a:gd name="T17" fmla="*/ 101 h 101"/>
                  <a:gd name="T18" fmla="*/ 16 w 66"/>
                  <a:gd name="T19" fmla="*/ 85 h 101"/>
                  <a:gd name="T20" fmla="*/ 30 w 66"/>
                  <a:gd name="T21" fmla="*/ 85 h 101"/>
                  <a:gd name="T22" fmla="*/ 30 w 66"/>
                  <a:gd name="T23" fmla="*/ 23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1">
                    <a:moveTo>
                      <a:pt x="30" y="23"/>
                    </a:moveTo>
                    <a:lnTo>
                      <a:pt x="9" y="35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5"/>
                    </a:lnTo>
                    <a:lnTo>
                      <a:pt x="66" y="85"/>
                    </a:lnTo>
                    <a:lnTo>
                      <a:pt x="66" y="101"/>
                    </a:lnTo>
                    <a:lnTo>
                      <a:pt x="16" y="101"/>
                    </a:lnTo>
                    <a:lnTo>
                      <a:pt x="16" y="85"/>
                    </a:lnTo>
                    <a:lnTo>
                      <a:pt x="30" y="85"/>
                    </a:lnTo>
                    <a:lnTo>
                      <a:pt x="30" y="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37" name="Freeform 16">
                <a:extLst>
                  <a:ext uri="{FF2B5EF4-FFF2-40B4-BE49-F238E27FC236}">
                    <a16:creationId xmlns:a16="http://schemas.microsoft.com/office/drawing/2014/main" id="{8E122D3D-896D-A11A-F464-216590E635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75545" y="6644364"/>
                <a:ext cx="120859" cy="161650"/>
              </a:xfrm>
              <a:custGeom>
                <a:avLst/>
                <a:gdLst>
                  <a:gd name="T0" fmla="*/ 32 w 34"/>
                  <a:gd name="T1" fmla="*/ 8 h 45"/>
                  <a:gd name="T2" fmla="*/ 34 w 34"/>
                  <a:gd name="T3" fmla="*/ 22 h 45"/>
                  <a:gd name="T4" fmla="*/ 31 w 34"/>
                  <a:gd name="T5" fmla="*/ 39 h 45"/>
                  <a:gd name="T6" fmla="*/ 17 w 34"/>
                  <a:gd name="T7" fmla="*/ 45 h 45"/>
                  <a:gd name="T8" fmla="*/ 3 w 34"/>
                  <a:gd name="T9" fmla="*/ 37 h 45"/>
                  <a:gd name="T10" fmla="*/ 0 w 34"/>
                  <a:gd name="T11" fmla="*/ 22 h 45"/>
                  <a:gd name="T12" fmla="*/ 17 w 34"/>
                  <a:gd name="T13" fmla="*/ 0 h 45"/>
                  <a:gd name="T14" fmla="*/ 32 w 34"/>
                  <a:gd name="T15" fmla="*/ 8 h 45"/>
                  <a:gd name="T16" fmla="*/ 10 w 34"/>
                  <a:gd name="T17" fmla="*/ 22 h 45"/>
                  <a:gd name="T18" fmla="*/ 17 w 34"/>
                  <a:gd name="T19" fmla="*/ 37 h 45"/>
                  <a:gd name="T20" fmla="*/ 25 w 34"/>
                  <a:gd name="T21" fmla="*/ 22 h 45"/>
                  <a:gd name="T22" fmla="*/ 17 w 34"/>
                  <a:gd name="T23" fmla="*/ 7 h 45"/>
                  <a:gd name="T24" fmla="*/ 10 w 34"/>
                  <a:gd name="T25" fmla="*/ 2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45">
                    <a:moveTo>
                      <a:pt x="32" y="8"/>
                    </a:moveTo>
                    <a:cubicBezTo>
                      <a:pt x="34" y="11"/>
                      <a:pt x="34" y="16"/>
                      <a:pt x="34" y="22"/>
                    </a:cubicBezTo>
                    <a:cubicBezTo>
                      <a:pt x="34" y="30"/>
                      <a:pt x="33" y="35"/>
                      <a:pt x="31" y="39"/>
                    </a:cubicBezTo>
                    <a:cubicBezTo>
                      <a:pt x="28" y="43"/>
                      <a:pt x="23" y="45"/>
                      <a:pt x="17" y="45"/>
                    </a:cubicBezTo>
                    <a:cubicBezTo>
                      <a:pt x="11" y="45"/>
                      <a:pt x="6" y="42"/>
                      <a:pt x="3" y="37"/>
                    </a:cubicBezTo>
                    <a:cubicBezTo>
                      <a:pt x="1" y="33"/>
                      <a:pt x="0" y="29"/>
                      <a:pt x="0" y="22"/>
                    </a:cubicBezTo>
                    <a:cubicBezTo>
                      <a:pt x="0" y="7"/>
                      <a:pt x="6" y="0"/>
                      <a:pt x="17" y="0"/>
                    </a:cubicBezTo>
                    <a:cubicBezTo>
                      <a:pt x="24" y="0"/>
                      <a:pt x="29" y="2"/>
                      <a:pt x="32" y="8"/>
                    </a:cubicBezTo>
                    <a:close/>
                    <a:moveTo>
                      <a:pt x="10" y="22"/>
                    </a:moveTo>
                    <a:cubicBezTo>
                      <a:pt x="10" y="33"/>
                      <a:pt x="12" y="37"/>
                      <a:pt x="17" y="37"/>
                    </a:cubicBezTo>
                    <a:cubicBezTo>
                      <a:pt x="22" y="37"/>
                      <a:pt x="25" y="33"/>
                      <a:pt x="25" y="22"/>
                    </a:cubicBezTo>
                    <a:cubicBezTo>
                      <a:pt x="25" y="12"/>
                      <a:pt x="22" y="7"/>
                      <a:pt x="17" y="7"/>
                    </a:cubicBezTo>
                    <a:cubicBezTo>
                      <a:pt x="12" y="7"/>
                      <a:pt x="10" y="12"/>
                      <a:pt x="10" y="2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38" name="Freeform 17">
                <a:extLst>
                  <a:ext uri="{FF2B5EF4-FFF2-40B4-BE49-F238E27FC236}">
                    <a16:creationId xmlns:a16="http://schemas.microsoft.com/office/drawing/2014/main" id="{A4269EE6-6BD4-5605-A47E-5285F67DA3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75545" y="6916297"/>
                <a:ext cx="120859" cy="160139"/>
              </a:xfrm>
              <a:custGeom>
                <a:avLst/>
                <a:gdLst>
                  <a:gd name="T0" fmla="*/ 32 w 34"/>
                  <a:gd name="T1" fmla="*/ 8 h 45"/>
                  <a:gd name="T2" fmla="*/ 34 w 34"/>
                  <a:gd name="T3" fmla="*/ 22 h 45"/>
                  <a:gd name="T4" fmla="*/ 31 w 34"/>
                  <a:gd name="T5" fmla="*/ 39 h 45"/>
                  <a:gd name="T6" fmla="*/ 17 w 34"/>
                  <a:gd name="T7" fmla="*/ 45 h 45"/>
                  <a:gd name="T8" fmla="*/ 3 w 34"/>
                  <a:gd name="T9" fmla="*/ 37 h 45"/>
                  <a:gd name="T10" fmla="*/ 0 w 34"/>
                  <a:gd name="T11" fmla="*/ 22 h 45"/>
                  <a:gd name="T12" fmla="*/ 17 w 34"/>
                  <a:gd name="T13" fmla="*/ 0 h 45"/>
                  <a:gd name="T14" fmla="*/ 32 w 34"/>
                  <a:gd name="T15" fmla="*/ 8 h 45"/>
                  <a:gd name="T16" fmla="*/ 10 w 34"/>
                  <a:gd name="T17" fmla="*/ 22 h 45"/>
                  <a:gd name="T18" fmla="*/ 17 w 34"/>
                  <a:gd name="T19" fmla="*/ 37 h 45"/>
                  <a:gd name="T20" fmla="*/ 25 w 34"/>
                  <a:gd name="T21" fmla="*/ 22 h 45"/>
                  <a:gd name="T22" fmla="*/ 17 w 34"/>
                  <a:gd name="T23" fmla="*/ 7 h 45"/>
                  <a:gd name="T24" fmla="*/ 10 w 34"/>
                  <a:gd name="T25" fmla="*/ 2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45">
                    <a:moveTo>
                      <a:pt x="32" y="8"/>
                    </a:moveTo>
                    <a:cubicBezTo>
                      <a:pt x="34" y="11"/>
                      <a:pt x="34" y="16"/>
                      <a:pt x="34" y="22"/>
                    </a:cubicBezTo>
                    <a:cubicBezTo>
                      <a:pt x="34" y="30"/>
                      <a:pt x="33" y="35"/>
                      <a:pt x="31" y="39"/>
                    </a:cubicBezTo>
                    <a:cubicBezTo>
                      <a:pt x="28" y="43"/>
                      <a:pt x="23" y="45"/>
                      <a:pt x="17" y="45"/>
                    </a:cubicBezTo>
                    <a:cubicBezTo>
                      <a:pt x="11" y="45"/>
                      <a:pt x="6" y="42"/>
                      <a:pt x="3" y="37"/>
                    </a:cubicBezTo>
                    <a:cubicBezTo>
                      <a:pt x="1" y="33"/>
                      <a:pt x="0" y="29"/>
                      <a:pt x="0" y="22"/>
                    </a:cubicBezTo>
                    <a:cubicBezTo>
                      <a:pt x="0" y="7"/>
                      <a:pt x="6" y="0"/>
                      <a:pt x="17" y="0"/>
                    </a:cubicBezTo>
                    <a:cubicBezTo>
                      <a:pt x="24" y="0"/>
                      <a:pt x="29" y="2"/>
                      <a:pt x="32" y="8"/>
                    </a:cubicBezTo>
                    <a:close/>
                    <a:moveTo>
                      <a:pt x="10" y="22"/>
                    </a:moveTo>
                    <a:cubicBezTo>
                      <a:pt x="10" y="33"/>
                      <a:pt x="12" y="37"/>
                      <a:pt x="17" y="37"/>
                    </a:cubicBezTo>
                    <a:cubicBezTo>
                      <a:pt x="22" y="37"/>
                      <a:pt x="25" y="33"/>
                      <a:pt x="25" y="22"/>
                    </a:cubicBezTo>
                    <a:cubicBezTo>
                      <a:pt x="25" y="12"/>
                      <a:pt x="22" y="7"/>
                      <a:pt x="17" y="7"/>
                    </a:cubicBezTo>
                    <a:cubicBezTo>
                      <a:pt x="12" y="7"/>
                      <a:pt x="10" y="12"/>
                      <a:pt x="10" y="2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39" name="Freeform 23">
                <a:extLst>
                  <a:ext uri="{FF2B5EF4-FFF2-40B4-BE49-F238E27FC236}">
                    <a16:creationId xmlns:a16="http://schemas.microsoft.com/office/drawing/2014/main" id="{D5DEEB41-31CB-8642-C0F3-76F76A1319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00590" y="4029270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8 h 32"/>
                  <a:gd name="T14" fmla="*/ 16 w 21"/>
                  <a:gd name="T15" fmla="*/ 16 h 32"/>
                  <a:gd name="T16" fmla="*/ 11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1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1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40" name="Freeform 24">
                <a:extLst>
                  <a:ext uri="{FF2B5EF4-FFF2-40B4-BE49-F238E27FC236}">
                    <a16:creationId xmlns:a16="http://schemas.microsoft.com/office/drawing/2014/main" id="{9F321CEE-F6FD-2823-770A-B69A12D02F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00590" y="4221133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5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41" name="Freeform 25">
                <a:extLst>
                  <a:ext uri="{FF2B5EF4-FFF2-40B4-BE49-F238E27FC236}">
                    <a16:creationId xmlns:a16="http://schemas.microsoft.com/office/drawing/2014/main" id="{D9BD9560-8E8D-4786-C1D6-66DA51E9F9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3612" y="4603352"/>
                <a:ext cx="64962" cy="11028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2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2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42" name="Freeform 26">
                <a:extLst>
                  <a:ext uri="{FF2B5EF4-FFF2-40B4-BE49-F238E27FC236}">
                    <a16:creationId xmlns:a16="http://schemas.microsoft.com/office/drawing/2014/main" id="{83FAE35E-BF90-3132-1E18-009BA53B00D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00590" y="4792194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6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43" name="Freeform 27">
                <a:extLst>
                  <a:ext uri="{FF2B5EF4-FFF2-40B4-BE49-F238E27FC236}">
                    <a16:creationId xmlns:a16="http://schemas.microsoft.com/office/drawing/2014/main" id="{A2D572B2-2F6B-341E-0073-480F016973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00590" y="4982547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7 h 32"/>
                  <a:gd name="T14" fmla="*/ 16 w 21"/>
                  <a:gd name="T15" fmla="*/ 16 h 32"/>
                  <a:gd name="T16" fmla="*/ 11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1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44" name="Freeform 28">
                <a:extLst>
                  <a:ext uri="{FF2B5EF4-FFF2-40B4-BE49-F238E27FC236}">
                    <a16:creationId xmlns:a16="http://schemas.microsoft.com/office/drawing/2014/main" id="{335D4BA6-8C9B-0F16-CDEC-216288A3D7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3612" y="5363254"/>
                <a:ext cx="64962" cy="111795"/>
              </a:xfrm>
              <a:custGeom>
                <a:avLst/>
                <a:gdLst>
                  <a:gd name="T0" fmla="*/ 19 w 43"/>
                  <a:gd name="T1" fmla="*/ 14 h 74"/>
                  <a:gd name="T2" fmla="*/ 5 w 43"/>
                  <a:gd name="T3" fmla="*/ 24 h 74"/>
                  <a:gd name="T4" fmla="*/ 0 w 43"/>
                  <a:gd name="T5" fmla="*/ 14 h 74"/>
                  <a:gd name="T6" fmla="*/ 22 w 43"/>
                  <a:gd name="T7" fmla="*/ 0 h 74"/>
                  <a:gd name="T8" fmla="*/ 34 w 43"/>
                  <a:gd name="T9" fmla="*/ 0 h 74"/>
                  <a:gd name="T10" fmla="*/ 34 w 43"/>
                  <a:gd name="T11" fmla="*/ 64 h 74"/>
                  <a:gd name="T12" fmla="*/ 43 w 43"/>
                  <a:gd name="T13" fmla="*/ 64 h 74"/>
                  <a:gd name="T14" fmla="*/ 43 w 43"/>
                  <a:gd name="T15" fmla="*/ 74 h 74"/>
                  <a:gd name="T16" fmla="*/ 10 w 43"/>
                  <a:gd name="T17" fmla="*/ 74 h 74"/>
                  <a:gd name="T18" fmla="*/ 10 w 43"/>
                  <a:gd name="T19" fmla="*/ 64 h 74"/>
                  <a:gd name="T20" fmla="*/ 19 w 43"/>
                  <a:gd name="T21" fmla="*/ 64 h 74"/>
                  <a:gd name="T22" fmla="*/ 19 w 43"/>
                  <a:gd name="T23" fmla="*/ 1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4">
                    <a:moveTo>
                      <a:pt x="19" y="14"/>
                    </a:moveTo>
                    <a:lnTo>
                      <a:pt x="5" y="24"/>
                    </a:lnTo>
                    <a:lnTo>
                      <a:pt x="0" y="14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4"/>
                    </a:lnTo>
                    <a:lnTo>
                      <a:pt x="10" y="74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45" name="Freeform 29">
                <a:extLst>
                  <a:ext uri="{FF2B5EF4-FFF2-40B4-BE49-F238E27FC236}">
                    <a16:creationId xmlns:a16="http://schemas.microsoft.com/office/drawing/2014/main" id="{68ABAFE0-9DD6-83EB-40E1-5490EECDA9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00590" y="5553608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8 h 32"/>
                  <a:gd name="T14" fmla="*/ 16 w 21"/>
                  <a:gd name="T15" fmla="*/ 16 h 32"/>
                  <a:gd name="T16" fmla="*/ 11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1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1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46" name="Freeform 30">
                <a:extLst>
                  <a:ext uri="{FF2B5EF4-FFF2-40B4-BE49-F238E27FC236}">
                    <a16:creationId xmlns:a16="http://schemas.microsoft.com/office/drawing/2014/main" id="{B67A859A-3D98-475F-3A44-2C674AA28A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3612" y="5745473"/>
                <a:ext cx="64962" cy="11028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4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4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47" name="Freeform 31">
                <a:extLst>
                  <a:ext uri="{FF2B5EF4-FFF2-40B4-BE49-F238E27FC236}">
                    <a16:creationId xmlns:a16="http://schemas.microsoft.com/office/drawing/2014/main" id="{EF900B6F-A132-63A9-C813-B0CC3588CB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00590" y="5934315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7 h 32"/>
                  <a:gd name="T14" fmla="*/ 16 w 21"/>
                  <a:gd name="T15" fmla="*/ 16 h 32"/>
                  <a:gd name="T16" fmla="*/ 11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1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48" name="Freeform 32">
                <a:extLst>
                  <a:ext uri="{FF2B5EF4-FFF2-40B4-BE49-F238E27FC236}">
                    <a16:creationId xmlns:a16="http://schemas.microsoft.com/office/drawing/2014/main" id="{D19726AE-1743-BA59-FC9B-2BC15202B8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3612" y="6127690"/>
                <a:ext cx="64962" cy="107263"/>
              </a:xfrm>
              <a:custGeom>
                <a:avLst/>
                <a:gdLst>
                  <a:gd name="T0" fmla="*/ 19 w 43"/>
                  <a:gd name="T1" fmla="*/ 12 h 71"/>
                  <a:gd name="T2" fmla="*/ 5 w 43"/>
                  <a:gd name="T3" fmla="*/ 21 h 71"/>
                  <a:gd name="T4" fmla="*/ 0 w 43"/>
                  <a:gd name="T5" fmla="*/ 12 h 71"/>
                  <a:gd name="T6" fmla="*/ 22 w 43"/>
                  <a:gd name="T7" fmla="*/ 0 h 71"/>
                  <a:gd name="T8" fmla="*/ 34 w 43"/>
                  <a:gd name="T9" fmla="*/ 0 h 71"/>
                  <a:gd name="T10" fmla="*/ 34 w 43"/>
                  <a:gd name="T11" fmla="*/ 64 h 71"/>
                  <a:gd name="T12" fmla="*/ 43 w 43"/>
                  <a:gd name="T13" fmla="*/ 64 h 71"/>
                  <a:gd name="T14" fmla="*/ 43 w 43"/>
                  <a:gd name="T15" fmla="*/ 71 h 71"/>
                  <a:gd name="T16" fmla="*/ 10 w 43"/>
                  <a:gd name="T17" fmla="*/ 71 h 71"/>
                  <a:gd name="T18" fmla="*/ 10 w 43"/>
                  <a:gd name="T19" fmla="*/ 64 h 71"/>
                  <a:gd name="T20" fmla="*/ 19 w 43"/>
                  <a:gd name="T21" fmla="*/ 64 h 71"/>
                  <a:gd name="T22" fmla="*/ 19 w 43"/>
                  <a:gd name="T23" fmla="*/ 1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1">
                    <a:moveTo>
                      <a:pt x="19" y="12"/>
                    </a:moveTo>
                    <a:lnTo>
                      <a:pt x="5" y="21"/>
                    </a:lnTo>
                    <a:lnTo>
                      <a:pt x="0" y="12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1"/>
                    </a:lnTo>
                    <a:lnTo>
                      <a:pt x="10" y="71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49" name="Freeform 33">
                <a:extLst>
                  <a:ext uri="{FF2B5EF4-FFF2-40B4-BE49-F238E27FC236}">
                    <a16:creationId xmlns:a16="http://schemas.microsoft.com/office/drawing/2014/main" id="{8ABFE2EC-1826-0AB6-80BA-4336D7792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3612" y="6316533"/>
                <a:ext cx="64962" cy="11028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4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4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50" name="Freeform 34">
                <a:extLst>
                  <a:ext uri="{FF2B5EF4-FFF2-40B4-BE49-F238E27FC236}">
                    <a16:creationId xmlns:a16="http://schemas.microsoft.com/office/drawing/2014/main" id="{0AAD26DE-197C-3D90-3EEB-990DA55A7B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3612" y="6505375"/>
                <a:ext cx="64962" cy="11028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4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4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51" name="Freeform 43">
                <a:extLst>
                  <a:ext uri="{FF2B5EF4-FFF2-40B4-BE49-F238E27FC236}">
                    <a16:creationId xmlns:a16="http://schemas.microsoft.com/office/drawing/2014/main" id="{2BFD3E3F-68F6-5E17-E561-420AE614199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2468" y="4228688"/>
                <a:ext cx="63451" cy="9366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5" y="0"/>
                      <a:pt x="18" y="5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52" name="Freeform 44">
                <a:extLst>
                  <a:ext uri="{FF2B5EF4-FFF2-40B4-BE49-F238E27FC236}">
                    <a16:creationId xmlns:a16="http://schemas.microsoft.com/office/drawing/2014/main" id="{2BE55025-B50C-6459-CFF3-DF41F6A7156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2468" y="4382783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1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53" name="Freeform 45">
                <a:extLst>
                  <a:ext uri="{FF2B5EF4-FFF2-40B4-BE49-F238E27FC236}">
                    <a16:creationId xmlns:a16="http://schemas.microsoft.com/office/drawing/2014/main" id="{C84AAE47-C894-4956-64A2-470471F274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5490" y="4689463"/>
                <a:ext cx="49855" cy="89134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49 h 59"/>
                  <a:gd name="T20" fmla="*/ 17 w 33"/>
                  <a:gd name="T21" fmla="*/ 49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54" name="Freeform 46">
                <a:extLst>
                  <a:ext uri="{FF2B5EF4-FFF2-40B4-BE49-F238E27FC236}">
                    <a16:creationId xmlns:a16="http://schemas.microsoft.com/office/drawing/2014/main" id="{C76F47CA-5E4B-21D1-FC15-C36550BBD9D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2468" y="4839027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55" name="Freeform 47">
                <a:extLst>
                  <a:ext uri="{FF2B5EF4-FFF2-40B4-BE49-F238E27FC236}">
                    <a16:creationId xmlns:a16="http://schemas.microsoft.com/office/drawing/2014/main" id="{121DD3AB-B704-FC41-0059-1E315C3AD4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2468" y="4993123"/>
                <a:ext cx="63451" cy="89134"/>
              </a:xfrm>
              <a:custGeom>
                <a:avLst/>
                <a:gdLst>
                  <a:gd name="T0" fmla="*/ 18 w 18"/>
                  <a:gd name="T1" fmla="*/ 13 h 25"/>
                  <a:gd name="T2" fmla="*/ 9 w 18"/>
                  <a:gd name="T3" fmla="*/ 25 h 25"/>
                  <a:gd name="T4" fmla="*/ 0 w 18"/>
                  <a:gd name="T5" fmla="*/ 12 h 25"/>
                  <a:gd name="T6" fmla="*/ 9 w 18"/>
                  <a:gd name="T7" fmla="*/ 0 h 25"/>
                  <a:gd name="T8" fmla="*/ 18 w 18"/>
                  <a:gd name="T9" fmla="*/ 13 h 25"/>
                  <a:gd name="T10" fmla="*/ 5 w 18"/>
                  <a:gd name="T11" fmla="*/ 12 h 25"/>
                  <a:gd name="T12" fmla="*/ 9 w 18"/>
                  <a:gd name="T13" fmla="*/ 22 h 25"/>
                  <a:gd name="T14" fmla="*/ 13 w 18"/>
                  <a:gd name="T15" fmla="*/ 13 h 25"/>
                  <a:gd name="T16" fmla="*/ 9 w 18"/>
                  <a:gd name="T17" fmla="*/ 3 h 25"/>
                  <a:gd name="T18" fmla="*/ 5 w 18"/>
                  <a:gd name="T1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5">
                    <a:moveTo>
                      <a:pt x="18" y="13"/>
                    </a:moveTo>
                    <a:cubicBezTo>
                      <a:pt x="18" y="21"/>
                      <a:pt x="15" y="25"/>
                      <a:pt x="9" y="25"/>
                    </a:cubicBezTo>
                    <a:cubicBezTo>
                      <a:pt x="3" y="25"/>
                      <a:pt x="0" y="21"/>
                      <a:pt x="0" y="12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2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6"/>
                      <a:pt x="12" y="3"/>
                      <a:pt x="9" y="3"/>
                    </a:cubicBezTo>
                    <a:cubicBezTo>
                      <a:pt x="6" y="3"/>
                      <a:pt x="5" y="6"/>
                      <a:pt x="5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56" name="Freeform 48">
                <a:extLst>
                  <a:ext uri="{FF2B5EF4-FFF2-40B4-BE49-F238E27FC236}">
                    <a16:creationId xmlns:a16="http://schemas.microsoft.com/office/drawing/2014/main" id="{BBC6E278-FAD2-A6DC-23A4-53B894B146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5490" y="5299803"/>
                <a:ext cx="49855" cy="84602"/>
              </a:xfrm>
              <a:custGeom>
                <a:avLst/>
                <a:gdLst>
                  <a:gd name="T0" fmla="*/ 17 w 33"/>
                  <a:gd name="T1" fmla="*/ 9 h 56"/>
                  <a:gd name="T2" fmla="*/ 5 w 33"/>
                  <a:gd name="T3" fmla="*/ 16 h 56"/>
                  <a:gd name="T4" fmla="*/ 0 w 33"/>
                  <a:gd name="T5" fmla="*/ 9 h 56"/>
                  <a:gd name="T6" fmla="*/ 19 w 33"/>
                  <a:gd name="T7" fmla="*/ 0 h 56"/>
                  <a:gd name="T8" fmla="*/ 26 w 33"/>
                  <a:gd name="T9" fmla="*/ 0 h 56"/>
                  <a:gd name="T10" fmla="*/ 26 w 33"/>
                  <a:gd name="T11" fmla="*/ 49 h 56"/>
                  <a:gd name="T12" fmla="*/ 33 w 33"/>
                  <a:gd name="T13" fmla="*/ 49 h 56"/>
                  <a:gd name="T14" fmla="*/ 33 w 33"/>
                  <a:gd name="T15" fmla="*/ 56 h 56"/>
                  <a:gd name="T16" fmla="*/ 10 w 33"/>
                  <a:gd name="T17" fmla="*/ 56 h 56"/>
                  <a:gd name="T18" fmla="*/ 10 w 33"/>
                  <a:gd name="T19" fmla="*/ 49 h 56"/>
                  <a:gd name="T20" fmla="*/ 17 w 33"/>
                  <a:gd name="T21" fmla="*/ 49 h 56"/>
                  <a:gd name="T22" fmla="*/ 17 w 33"/>
                  <a:gd name="T23" fmla="*/ 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6">
                    <a:moveTo>
                      <a:pt x="17" y="9"/>
                    </a:moveTo>
                    <a:lnTo>
                      <a:pt x="5" y="16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6"/>
                    </a:lnTo>
                    <a:lnTo>
                      <a:pt x="10" y="56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57" name="Freeform 49">
                <a:extLst>
                  <a:ext uri="{FF2B5EF4-FFF2-40B4-BE49-F238E27FC236}">
                    <a16:creationId xmlns:a16="http://schemas.microsoft.com/office/drawing/2014/main" id="{0A283A17-7DBD-14C5-1D6A-22A52745CE5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2468" y="5449367"/>
                <a:ext cx="63451" cy="89134"/>
              </a:xfrm>
              <a:custGeom>
                <a:avLst/>
                <a:gdLst>
                  <a:gd name="T0" fmla="*/ 18 w 18"/>
                  <a:gd name="T1" fmla="*/ 13 h 25"/>
                  <a:gd name="T2" fmla="*/ 9 w 18"/>
                  <a:gd name="T3" fmla="*/ 25 h 25"/>
                  <a:gd name="T4" fmla="*/ 0 w 18"/>
                  <a:gd name="T5" fmla="*/ 13 h 25"/>
                  <a:gd name="T6" fmla="*/ 9 w 18"/>
                  <a:gd name="T7" fmla="*/ 0 h 25"/>
                  <a:gd name="T8" fmla="*/ 18 w 18"/>
                  <a:gd name="T9" fmla="*/ 13 h 25"/>
                  <a:gd name="T10" fmla="*/ 5 w 18"/>
                  <a:gd name="T11" fmla="*/ 13 h 25"/>
                  <a:gd name="T12" fmla="*/ 9 w 18"/>
                  <a:gd name="T13" fmla="*/ 22 h 25"/>
                  <a:gd name="T14" fmla="*/ 13 w 18"/>
                  <a:gd name="T15" fmla="*/ 13 h 25"/>
                  <a:gd name="T16" fmla="*/ 9 w 18"/>
                  <a:gd name="T17" fmla="*/ 3 h 25"/>
                  <a:gd name="T18" fmla="*/ 5 w 18"/>
                  <a:gd name="T19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5">
                    <a:moveTo>
                      <a:pt x="18" y="13"/>
                    </a:moveTo>
                    <a:cubicBezTo>
                      <a:pt x="18" y="21"/>
                      <a:pt x="15" y="25"/>
                      <a:pt x="9" y="25"/>
                    </a:cubicBezTo>
                    <a:cubicBezTo>
                      <a:pt x="3" y="25"/>
                      <a:pt x="0" y="21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6"/>
                      <a:pt x="12" y="3"/>
                      <a:pt x="9" y="3"/>
                    </a:cubicBezTo>
                    <a:cubicBezTo>
                      <a:pt x="6" y="3"/>
                      <a:pt x="5" y="6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58" name="Freeform 50">
                <a:extLst>
                  <a:ext uri="{FF2B5EF4-FFF2-40B4-BE49-F238E27FC236}">
                    <a16:creationId xmlns:a16="http://schemas.microsoft.com/office/drawing/2014/main" id="{D530192C-3269-35FA-D2F3-B8613C9B4D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5490" y="5603463"/>
                <a:ext cx="49855" cy="89134"/>
              </a:xfrm>
              <a:custGeom>
                <a:avLst/>
                <a:gdLst>
                  <a:gd name="T0" fmla="*/ 17 w 33"/>
                  <a:gd name="T1" fmla="*/ 11 h 59"/>
                  <a:gd name="T2" fmla="*/ 5 w 33"/>
                  <a:gd name="T3" fmla="*/ 18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52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52 h 59"/>
                  <a:gd name="T20" fmla="*/ 17 w 33"/>
                  <a:gd name="T21" fmla="*/ 49 h 59"/>
                  <a:gd name="T22" fmla="*/ 17 w 33"/>
                  <a:gd name="T23" fmla="*/ 11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1"/>
                    </a:moveTo>
                    <a:lnTo>
                      <a:pt x="5" y="18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52"/>
                    </a:lnTo>
                    <a:lnTo>
                      <a:pt x="17" y="49"/>
                    </a:lnTo>
                    <a:lnTo>
                      <a:pt x="17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59" name="Freeform 51">
                <a:extLst>
                  <a:ext uri="{FF2B5EF4-FFF2-40B4-BE49-F238E27FC236}">
                    <a16:creationId xmlns:a16="http://schemas.microsoft.com/office/drawing/2014/main" id="{13F27343-2709-6FB5-E45A-6F7741B5D41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2468" y="5753026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60" name="Freeform 52">
                <a:extLst>
                  <a:ext uri="{FF2B5EF4-FFF2-40B4-BE49-F238E27FC236}">
                    <a16:creationId xmlns:a16="http://schemas.microsoft.com/office/drawing/2014/main" id="{E8EC6478-7E22-3956-A204-FBF35E649F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5490" y="5905611"/>
                <a:ext cx="49855" cy="89134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12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52 h 59"/>
                  <a:gd name="T12" fmla="*/ 33 w 33"/>
                  <a:gd name="T13" fmla="*/ 52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52 h 59"/>
                  <a:gd name="T20" fmla="*/ 17 w 33"/>
                  <a:gd name="T21" fmla="*/ 52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52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52"/>
                    </a:lnTo>
                    <a:lnTo>
                      <a:pt x="17" y="52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61" name="Freeform 53">
                <a:extLst>
                  <a:ext uri="{FF2B5EF4-FFF2-40B4-BE49-F238E27FC236}">
                    <a16:creationId xmlns:a16="http://schemas.microsoft.com/office/drawing/2014/main" id="{D0F0C38B-FC6F-87B7-1C2D-BF549B3741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5490" y="6059707"/>
                <a:ext cx="49855" cy="89134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52 h 59"/>
                  <a:gd name="T12" fmla="*/ 33 w 33"/>
                  <a:gd name="T13" fmla="*/ 52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52 h 59"/>
                  <a:gd name="T20" fmla="*/ 17 w 33"/>
                  <a:gd name="T21" fmla="*/ 52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52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52"/>
                    </a:lnTo>
                    <a:lnTo>
                      <a:pt x="17" y="52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62" name="Freeform 54">
                <a:extLst>
                  <a:ext uri="{FF2B5EF4-FFF2-40B4-BE49-F238E27FC236}">
                    <a16:creationId xmlns:a16="http://schemas.microsoft.com/office/drawing/2014/main" id="{35CC7C5E-6CF8-B467-6AA2-20C57DCB3A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5490" y="6213803"/>
                <a:ext cx="49855" cy="84602"/>
              </a:xfrm>
              <a:custGeom>
                <a:avLst/>
                <a:gdLst>
                  <a:gd name="T0" fmla="*/ 17 w 33"/>
                  <a:gd name="T1" fmla="*/ 9 h 56"/>
                  <a:gd name="T2" fmla="*/ 5 w 33"/>
                  <a:gd name="T3" fmla="*/ 16 h 56"/>
                  <a:gd name="T4" fmla="*/ 0 w 33"/>
                  <a:gd name="T5" fmla="*/ 9 h 56"/>
                  <a:gd name="T6" fmla="*/ 19 w 33"/>
                  <a:gd name="T7" fmla="*/ 0 h 56"/>
                  <a:gd name="T8" fmla="*/ 26 w 33"/>
                  <a:gd name="T9" fmla="*/ 0 h 56"/>
                  <a:gd name="T10" fmla="*/ 26 w 33"/>
                  <a:gd name="T11" fmla="*/ 49 h 56"/>
                  <a:gd name="T12" fmla="*/ 33 w 33"/>
                  <a:gd name="T13" fmla="*/ 49 h 56"/>
                  <a:gd name="T14" fmla="*/ 33 w 33"/>
                  <a:gd name="T15" fmla="*/ 56 h 56"/>
                  <a:gd name="T16" fmla="*/ 10 w 33"/>
                  <a:gd name="T17" fmla="*/ 56 h 56"/>
                  <a:gd name="T18" fmla="*/ 10 w 33"/>
                  <a:gd name="T19" fmla="*/ 49 h 56"/>
                  <a:gd name="T20" fmla="*/ 17 w 33"/>
                  <a:gd name="T21" fmla="*/ 49 h 56"/>
                  <a:gd name="T22" fmla="*/ 17 w 33"/>
                  <a:gd name="T23" fmla="*/ 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6">
                    <a:moveTo>
                      <a:pt x="17" y="9"/>
                    </a:moveTo>
                    <a:lnTo>
                      <a:pt x="5" y="16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6"/>
                    </a:lnTo>
                    <a:lnTo>
                      <a:pt x="10" y="56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63" name="Freeform 55">
                <a:extLst>
                  <a:ext uri="{FF2B5EF4-FFF2-40B4-BE49-F238E27FC236}">
                    <a16:creationId xmlns:a16="http://schemas.microsoft.com/office/drawing/2014/main" id="{636B741B-74C6-86D8-E5C2-C1D914A5B9E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2468" y="6667025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64" name="Freeform 56">
                <a:extLst>
                  <a:ext uri="{FF2B5EF4-FFF2-40B4-BE49-F238E27FC236}">
                    <a16:creationId xmlns:a16="http://schemas.microsoft.com/office/drawing/2014/main" id="{C5FF3A06-7D60-68C5-04F4-A3A165DDAA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2468" y="6819610"/>
                <a:ext cx="63451" cy="89134"/>
              </a:xfrm>
              <a:custGeom>
                <a:avLst/>
                <a:gdLst>
                  <a:gd name="T0" fmla="*/ 18 w 18"/>
                  <a:gd name="T1" fmla="*/ 13 h 25"/>
                  <a:gd name="T2" fmla="*/ 9 w 18"/>
                  <a:gd name="T3" fmla="*/ 25 h 25"/>
                  <a:gd name="T4" fmla="*/ 0 w 18"/>
                  <a:gd name="T5" fmla="*/ 13 h 25"/>
                  <a:gd name="T6" fmla="*/ 9 w 18"/>
                  <a:gd name="T7" fmla="*/ 0 h 25"/>
                  <a:gd name="T8" fmla="*/ 18 w 18"/>
                  <a:gd name="T9" fmla="*/ 13 h 25"/>
                  <a:gd name="T10" fmla="*/ 5 w 18"/>
                  <a:gd name="T11" fmla="*/ 13 h 25"/>
                  <a:gd name="T12" fmla="*/ 9 w 18"/>
                  <a:gd name="T13" fmla="*/ 22 h 25"/>
                  <a:gd name="T14" fmla="*/ 13 w 18"/>
                  <a:gd name="T15" fmla="*/ 13 h 25"/>
                  <a:gd name="T16" fmla="*/ 9 w 18"/>
                  <a:gd name="T17" fmla="*/ 4 h 25"/>
                  <a:gd name="T18" fmla="*/ 5 w 18"/>
                  <a:gd name="T19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5">
                    <a:moveTo>
                      <a:pt x="18" y="13"/>
                    </a:moveTo>
                    <a:cubicBezTo>
                      <a:pt x="18" y="21"/>
                      <a:pt x="15" y="25"/>
                      <a:pt x="9" y="25"/>
                    </a:cubicBezTo>
                    <a:cubicBezTo>
                      <a:pt x="3" y="25"/>
                      <a:pt x="0" y="21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65" name="Freeform 63">
                <a:extLst>
                  <a:ext uri="{FF2B5EF4-FFF2-40B4-BE49-F238E27FC236}">
                    <a16:creationId xmlns:a16="http://schemas.microsoft.com/office/drawing/2014/main" id="{BFE9496D-3887-EA18-2CD2-AAB4D2C6BAC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02906" y="4228688"/>
                <a:ext cx="60430" cy="9366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4" y="0"/>
                      <a:pt x="17" y="5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66" name="Freeform 64">
                <a:extLst>
                  <a:ext uri="{FF2B5EF4-FFF2-40B4-BE49-F238E27FC236}">
                    <a16:creationId xmlns:a16="http://schemas.microsoft.com/office/drawing/2014/main" id="{45FF300C-8541-EB39-75DF-C9F71DC2FD7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02906" y="4382783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1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67" name="Freeform 65">
                <a:extLst>
                  <a:ext uri="{FF2B5EF4-FFF2-40B4-BE49-F238E27FC236}">
                    <a16:creationId xmlns:a16="http://schemas.microsoft.com/office/drawing/2014/main" id="{EDFD30DF-B044-14BC-0A53-A87291D480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07438" y="4689463"/>
                <a:ext cx="49855" cy="89134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49 h 59"/>
                  <a:gd name="T20" fmla="*/ 16 w 33"/>
                  <a:gd name="T21" fmla="*/ 49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68" name="Freeform 66">
                <a:extLst>
                  <a:ext uri="{FF2B5EF4-FFF2-40B4-BE49-F238E27FC236}">
                    <a16:creationId xmlns:a16="http://schemas.microsoft.com/office/drawing/2014/main" id="{5EFA2310-2877-894E-F128-B52E9B6E108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02906" y="4839027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69" name="Freeform 67">
                <a:extLst>
                  <a:ext uri="{FF2B5EF4-FFF2-40B4-BE49-F238E27FC236}">
                    <a16:creationId xmlns:a16="http://schemas.microsoft.com/office/drawing/2014/main" id="{AAFCEC1C-6765-90EC-DA70-18568E654D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02906" y="4993123"/>
                <a:ext cx="60430" cy="89134"/>
              </a:xfrm>
              <a:custGeom>
                <a:avLst/>
                <a:gdLst>
                  <a:gd name="T0" fmla="*/ 17 w 17"/>
                  <a:gd name="T1" fmla="*/ 13 h 25"/>
                  <a:gd name="T2" fmla="*/ 9 w 17"/>
                  <a:gd name="T3" fmla="*/ 25 h 25"/>
                  <a:gd name="T4" fmla="*/ 0 w 17"/>
                  <a:gd name="T5" fmla="*/ 12 h 25"/>
                  <a:gd name="T6" fmla="*/ 9 w 17"/>
                  <a:gd name="T7" fmla="*/ 0 h 25"/>
                  <a:gd name="T8" fmla="*/ 17 w 17"/>
                  <a:gd name="T9" fmla="*/ 13 h 25"/>
                  <a:gd name="T10" fmla="*/ 4 w 17"/>
                  <a:gd name="T11" fmla="*/ 12 h 25"/>
                  <a:gd name="T12" fmla="*/ 9 w 17"/>
                  <a:gd name="T13" fmla="*/ 22 h 25"/>
                  <a:gd name="T14" fmla="*/ 13 w 17"/>
                  <a:gd name="T15" fmla="*/ 13 h 25"/>
                  <a:gd name="T16" fmla="*/ 9 w 17"/>
                  <a:gd name="T17" fmla="*/ 3 h 25"/>
                  <a:gd name="T18" fmla="*/ 4 w 17"/>
                  <a:gd name="T1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5">
                    <a:moveTo>
                      <a:pt x="17" y="13"/>
                    </a:moveTo>
                    <a:cubicBezTo>
                      <a:pt x="17" y="21"/>
                      <a:pt x="14" y="25"/>
                      <a:pt x="9" y="25"/>
                    </a:cubicBezTo>
                    <a:cubicBezTo>
                      <a:pt x="3" y="25"/>
                      <a:pt x="0" y="21"/>
                      <a:pt x="0" y="12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2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6"/>
                      <a:pt x="11" y="3"/>
                      <a:pt x="9" y="3"/>
                    </a:cubicBezTo>
                    <a:cubicBezTo>
                      <a:pt x="6" y="3"/>
                      <a:pt x="4" y="6"/>
                      <a:pt x="4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70" name="Freeform 68">
                <a:extLst>
                  <a:ext uri="{FF2B5EF4-FFF2-40B4-BE49-F238E27FC236}">
                    <a16:creationId xmlns:a16="http://schemas.microsoft.com/office/drawing/2014/main" id="{64653261-64D2-D5E2-6FFA-ED0F4CB8F4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07438" y="5299803"/>
                <a:ext cx="49855" cy="84602"/>
              </a:xfrm>
              <a:custGeom>
                <a:avLst/>
                <a:gdLst>
                  <a:gd name="T0" fmla="*/ 16 w 33"/>
                  <a:gd name="T1" fmla="*/ 9 h 56"/>
                  <a:gd name="T2" fmla="*/ 4 w 33"/>
                  <a:gd name="T3" fmla="*/ 16 h 56"/>
                  <a:gd name="T4" fmla="*/ 0 w 33"/>
                  <a:gd name="T5" fmla="*/ 9 h 56"/>
                  <a:gd name="T6" fmla="*/ 16 w 33"/>
                  <a:gd name="T7" fmla="*/ 0 h 56"/>
                  <a:gd name="T8" fmla="*/ 26 w 33"/>
                  <a:gd name="T9" fmla="*/ 0 h 56"/>
                  <a:gd name="T10" fmla="*/ 26 w 33"/>
                  <a:gd name="T11" fmla="*/ 49 h 56"/>
                  <a:gd name="T12" fmla="*/ 33 w 33"/>
                  <a:gd name="T13" fmla="*/ 49 h 56"/>
                  <a:gd name="T14" fmla="*/ 33 w 33"/>
                  <a:gd name="T15" fmla="*/ 56 h 56"/>
                  <a:gd name="T16" fmla="*/ 7 w 33"/>
                  <a:gd name="T17" fmla="*/ 56 h 56"/>
                  <a:gd name="T18" fmla="*/ 7 w 33"/>
                  <a:gd name="T19" fmla="*/ 49 h 56"/>
                  <a:gd name="T20" fmla="*/ 16 w 33"/>
                  <a:gd name="T21" fmla="*/ 49 h 56"/>
                  <a:gd name="T22" fmla="*/ 16 w 33"/>
                  <a:gd name="T23" fmla="*/ 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6">
                    <a:moveTo>
                      <a:pt x="16" y="9"/>
                    </a:moveTo>
                    <a:lnTo>
                      <a:pt x="4" y="16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6"/>
                    </a:lnTo>
                    <a:lnTo>
                      <a:pt x="7" y="56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71" name="Freeform 69">
                <a:extLst>
                  <a:ext uri="{FF2B5EF4-FFF2-40B4-BE49-F238E27FC236}">
                    <a16:creationId xmlns:a16="http://schemas.microsoft.com/office/drawing/2014/main" id="{F7ABD845-DE79-68AC-D24B-123E8D4E7A0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02906" y="5449367"/>
                <a:ext cx="60430" cy="89134"/>
              </a:xfrm>
              <a:custGeom>
                <a:avLst/>
                <a:gdLst>
                  <a:gd name="T0" fmla="*/ 17 w 17"/>
                  <a:gd name="T1" fmla="*/ 13 h 25"/>
                  <a:gd name="T2" fmla="*/ 9 w 17"/>
                  <a:gd name="T3" fmla="*/ 25 h 25"/>
                  <a:gd name="T4" fmla="*/ 0 w 17"/>
                  <a:gd name="T5" fmla="*/ 13 h 25"/>
                  <a:gd name="T6" fmla="*/ 9 w 17"/>
                  <a:gd name="T7" fmla="*/ 0 h 25"/>
                  <a:gd name="T8" fmla="*/ 17 w 17"/>
                  <a:gd name="T9" fmla="*/ 13 h 25"/>
                  <a:gd name="T10" fmla="*/ 4 w 17"/>
                  <a:gd name="T11" fmla="*/ 13 h 25"/>
                  <a:gd name="T12" fmla="*/ 9 w 17"/>
                  <a:gd name="T13" fmla="*/ 22 h 25"/>
                  <a:gd name="T14" fmla="*/ 13 w 17"/>
                  <a:gd name="T15" fmla="*/ 13 h 25"/>
                  <a:gd name="T16" fmla="*/ 9 w 17"/>
                  <a:gd name="T17" fmla="*/ 3 h 25"/>
                  <a:gd name="T18" fmla="*/ 4 w 17"/>
                  <a:gd name="T19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5">
                    <a:moveTo>
                      <a:pt x="17" y="13"/>
                    </a:moveTo>
                    <a:cubicBezTo>
                      <a:pt x="17" y="21"/>
                      <a:pt x="14" y="25"/>
                      <a:pt x="9" y="25"/>
                    </a:cubicBezTo>
                    <a:cubicBezTo>
                      <a:pt x="3" y="25"/>
                      <a:pt x="0" y="21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6"/>
                      <a:pt x="11" y="3"/>
                      <a:pt x="9" y="3"/>
                    </a:cubicBezTo>
                    <a:cubicBezTo>
                      <a:pt x="6" y="3"/>
                      <a:pt x="4" y="6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72" name="Freeform 70">
                <a:extLst>
                  <a:ext uri="{FF2B5EF4-FFF2-40B4-BE49-F238E27FC236}">
                    <a16:creationId xmlns:a16="http://schemas.microsoft.com/office/drawing/2014/main" id="{2706C5AD-69EE-7713-5096-DC3E79917B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07438" y="5603463"/>
                <a:ext cx="49855" cy="89134"/>
              </a:xfrm>
              <a:custGeom>
                <a:avLst/>
                <a:gdLst>
                  <a:gd name="T0" fmla="*/ 16 w 33"/>
                  <a:gd name="T1" fmla="*/ 11 h 59"/>
                  <a:gd name="T2" fmla="*/ 4 w 33"/>
                  <a:gd name="T3" fmla="*/ 18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52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52 h 59"/>
                  <a:gd name="T20" fmla="*/ 16 w 33"/>
                  <a:gd name="T21" fmla="*/ 49 h 59"/>
                  <a:gd name="T22" fmla="*/ 16 w 33"/>
                  <a:gd name="T23" fmla="*/ 11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1"/>
                    </a:moveTo>
                    <a:lnTo>
                      <a:pt x="4" y="18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52"/>
                    </a:lnTo>
                    <a:lnTo>
                      <a:pt x="16" y="49"/>
                    </a:lnTo>
                    <a:lnTo>
                      <a:pt x="16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73" name="Freeform 71">
                <a:extLst>
                  <a:ext uri="{FF2B5EF4-FFF2-40B4-BE49-F238E27FC236}">
                    <a16:creationId xmlns:a16="http://schemas.microsoft.com/office/drawing/2014/main" id="{38DD74DA-ADC0-AAEF-49FA-DB7EA9490CE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02906" y="5753026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74" name="Freeform 72">
                <a:extLst>
                  <a:ext uri="{FF2B5EF4-FFF2-40B4-BE49-F238E27FC236}">
                    <a16:creationId xmlns:a16="http://schemas.microsoft.com/office/drawing/2014/main" id="{F6D8D39C-8A18-0A17-0935-51A9948C74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07438" y="5905611"/>
                <a:ext cx="49855" cy="89134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12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52 h 59"/>
                  <a:gd name="T12" fmla="*/ 33 w 33"/>
                  <a:gd name="T13" fmla="*/ 52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52 h 59"/>
                  <a:gd name="T20" fmla="*/ 16 w 33"/>
                  <a:gd name="T21" fmla="*/ 52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12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52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52"/>
                    </a:lnTo>
                    <a:lnTo>
                      <a:pt x="16" y="52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75" name="Freeform 73">
                <a:extLst>
                  <a:ext uri="{FF2B5EF4-FFF2-40B4-BE49-F238E27FC236}">
                    <a16:creationId xmlns:a16="http://schemas.microsoft.com/office/drawing/2014/main" id="{27F0EF6D-0E44-A411-6CF0-94E19214D7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07438" y="6059707"/>
                <a:ext cx="49855" cy="89134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52 h 59"/>
                  <a:gd name="T12" fmla="*/ 33 w 33"/>
                  <a:gd name="T13" fmla="*/ 52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52 h 59"/>
                  <a:gd name="T20" fmla="*/ 16 w 33"/>
                  <a:gd name="T21" fmla="*/ 52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52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52"/>
                    </a:lnTo>
                    <a:lnTo>
                      <a:pt x="16" y="52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76" name="Freeform 74">
                <a:extLst>
                  <a:ext uri="{FF2B5EF4-FFF2-40B4-BE49-F238E27FC236}">
                    <a16:creationId xmlns:a16="http://schemas.microsoft.com/office/drawing/2014/main" id="{D4B8A17F-A9FD-AE95-DD9A-FCB7260076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07438" y="6213803"/>
                <a:ext cx="49855" cy="84602"/>
              </a:xfrm>
              <a:custGeom>
                <a:avLst/>
                <a:gdLst>
                  <a:gd name="T0" fmla="*/ 16 w 33"/>
                  <a:gd name="T1" fmla="*/ 9 h 56"/>
                  <a:gd name="T2" fmla="*/ 4 w 33"/>
                  <a:gd name="T3" fmla="*/ 16 h 56"/>
                  <a:gd name="T4" fmla="*/ 0 w 33"/>
                  <a:gd name="T5" fmla="*/ 9 h 56"/>
                  <a:gd name="T6" fmla="*/ 16 w 33"/>
                  <a:gd name="T7" fmla="*/ 0 h 56"/>
                  <a:gd name="T8" fmla="*/ 26 w 33"/>
                  <a:gd name="T9" fmla="*/ 0 h 56"/>
                  <a:gd name="T10" fmla="*/ 26 w 33"/>
                  <a:gd name="T11" fmla="*/ 49 h 56"/>
                  <a:gd name="T12" fmla="*/ 33 w 33"/>
                  <a:gd name="T13" fmla="*/ 49 h 56"/>
                  <a:gd name="T14" fmla="*/ 33 w 33"/>
                  <a:gd name="T15" fmla="*/ 56 h 56"/>
                  <a:gd name="T16" fmla="*/ 7 w 33"/>
                  <a:gd name="T17" fmla="*/ 56 h 56"/>
                  <a:gd name="T18" fmla="*/ 7 w 33"/>
                  <a:gd name="T19" fmla="*/ 49 h 56"/>
                  <a:gd name="T20" fmla="*/ 16 w 33"/>
                  <a:gd name="T21" fmla="*/ 49 h 56"/>
                  <a:gd name="T22" fmla="*/ 16 w 33"/>
                  <a:gd name="T23" fmla="*/ 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6">
                    <a:moveTo>
                      <a:pt x="16" y="9"/>
                    </a:moveTo>
                    <a:lnTo>
                      <a:pt x="4" y="16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6"/>
                    </a:lnTo>
                    <a:lnTo>
                      <a:pt x="7" y="56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77" name="Freeform 75">
                <a:extLst>
                  <a:ext uri="{FF2B5EF4-FFF2-40B4-BE49-F238E27FC236}">
                    <a16:creationId xmlns:a16="http://schemas.microsoft.com/office/drawing/2014/main" id="{C52C2FAF-D548-D510-E694-B8902B74166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02906" y="6667025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78" name="Freeform 76">
                <a:extLst>
                  <a:ext uri="{FF2B5EF4-FFF2-40B4-BE49-F238E27FC236}">
                    <a16:creationId xmlns:a16="http://schemas.microsoft.com/office/drawing/2014/main" id="{CE8192BE-C390-11FC-7298-8795920F4C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02906" y="6819610"/>
                <a:ext cx="60430" cy="89134"/>
              </a:xfrm>
              <a:custGeom>
                <a:avLst/>
                <a:gdLst>
                  <a:gd name="T0" fmla="*/ 17 w 17"/>
                  <a:gd name="T1" fmla="*/ 13 h 25"/>
                  <a:gd name="T2" fmla="*/ 9 w 17"/>
                  <a:gd name="T3" fmla="*/ 25 h 25"/>
                  <a:gd name="T4" fmla="*/ 0 w 17"/>
                  <a:gd name="T5" fmla="*/ 13 h 25"/>
                  <a:gd name="T6" fmla="*/ 9 w 17"/>
                  <a:gd name="T7" fmla="*/ 0 h 25"/>
                  <a:gd name="T8" fmla="*/ 17 w 17"/>
                  <a:gd name="T9" fmla="*/ 13 h 25"/>
                  <a:gd name="T10" fmla="*/ 4 w 17"/>
                  <a:gd name="T11" fmla="*/ 13 h 25"/>
                  <a:gd name="T12" fmla="*/ 9 w 17"/>
                  <a:gd name="T13" fmla="*/ 22 h 25"/>
                  <a:gd name="T14" fmla="*/ 13 w 17"/>
                  <a:gd name="T15" fmla="*/ 13 h 25"/>
                  <a:gd name="T16" fmla="*/ 9 w 17"/>
                  <a:gd name="T17" fmla="*/ 4 h 25"/>
                  <a:gd name="T18" fmla="*/ 4 w 17"/>
                  <a:gd name="T19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5">
                    <a:moveTo>
                      <a:pt x="17" y="13"/>
                    </a:moveTo>
                    <a:cubicBezTo>
                      <a:pt x="17" y="21"/>
                      <a:pt x="14" y="25"/>
                      <a:pt x="9" y="25"/>
                    </a:cubicBezTo>
                    <a:cubicBezTo>
                      <a:pt x="3" y="25"/>
                      <a:pt x="0" y="21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79" name="Freeform 83">
                <a:extLst>
                  <a:ext uri="{FF2B5EF4-FFF2-40B4-BE49-F238E27FC236}">
                    <a16:creationId xmlns:a16="http://schemas.microsoft.com/office/drawing/2014/main" id="{5480367E-66FC-9A0C-35EA-5CEB3AD52E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46606" y="4236241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3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80" name="Freeform 84">
                <a:extLst>
                  <a:ext uri="{FF2B5EF4-FFF2-40B4-BE49-F238E27FC236}">
                    <a16:creationId xmlns:a16="http://schemas.microsoft.com/office/drawing/2014/main" id="{40E97FF8-8073-7B55-D82A-F4859B871C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43584" y="4503643"/>
                <a:ext cx="110285" cy="164671"/>
              </a:xfrm>
              <a:custGeom>
                <a:avLst/>
                <a:gdLst>
                  <a:gd name="T0" fmla="*/ 31 w 31"/>
                  <a:gd name="T1" fmla="*/ 23 h 46"/>
                  <a:gd name="T2" fmla="*/ 15 w 31"/>
                  <a:gd name="T3" fmla="*/ 46 h 46"/>
                  <a:gd name="T4" fmla="*/ 0 w 31"/>
                  <a:gd name="T5" fmla="*/ 23 h 46"/>
                  <a:gd name="T6" fmla="*/ 15 w 31"/>
                  <a:gd name="T7" fmla="*/ 0 h 46"/>
                  <a:gd name="T8" fmla="*/ 31 w 31"/>
                  <a:gd name="T9" fmla="*/ 23 h 46"/>
                  <a:gd name="T10" fmla="*/ 8 w 31"/>
                  <a:gd name="T11" fmla="*/ 23 h 46"/>
                  <a:gd name="T12" fmla="*/ 15 w 31"/>
                  <a:gd name="T13" fmla="*/ 39 h 46"/>
                  <a:gd name="T14" fmla="*/ 23 w 31"/>
                  <a:gd name="T15" fmla="*/ 23 h 46"/>
                  <a:gd name="T16" fmla="*/ 15 w 31"/>
                  <a:gd name="T17" fmla="*/ 7 h 46"/>
                  <a:gd name="T18" fmla="*/ 8 w 31"/>
                  <a:gd name="T19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6">
                    <a:moveTo>
                      <a:pt x="31" y="23"/>
                    </a:moveTo>
                    <a:cubicBezTo>
                      <a:pt x="31" y="38"/>
                      <a:pt x="26" y="46"/>
                      <a:pt x="15" y="46"/>
                    </a:cubicBezTo>
                    <a:cubicBezTo>
                      <a:pt x="5" y="46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7"/>
                      <a:pt x="15" y="7"/>
                    </a:cubicBezTo>
                    <a:cubicBezTo>
                      <a:pt x="10" y="7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81" name="Freeform 85">
                <a:extLst>
                  <a:ext uri="{FF2B5EF4-FFF2-40B4-BE49-F238E27FC236}">
                    <a16:creationId xmlns:a16="http://schemas.microsoft.com/office/drawing/2014/main" id="{9772CF30-71F9-67FA-0097-240AEB9218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43584" y="4775576"/>
                <a:ext cx="110285" cy="160139"/>
              </a:xfrm>
              <a:custGeom>
                <a:avLst/>
                <a:gdLst>
                  <a:gd name="T0" fmla="*/ 31 w 31"/>
                  <a:gd name="T1" fmla="*/ 23 h 45"/>
                  <a:gd name="T2" fmla="*/ 15 w 31"/>
                  <a:gd name="T3" fmla="*/ 45 h 45"/>
                  <a:gd name="T4" fmla="*/ 0 w 31"/>
                  <a:gd name="T5" fmla="*/ 23 h 45"/>
                  <a:gd name="T6" fmla="*/ 15 w 31"/>
                  <a:gd name="T7" fmla="*/ 0 h 45"/>
                  <a:gd name="T8" fmla="*/ 31 w 31"/>
                  <a:gd name="T9" fmla="*/ 23 h 45"/>
                  <a:gd name="T10" fmla="*/ 8 w 31"/>
                  <a:gd name="T11" fmla="*/ 23 h 45"/>
                  <a:gd name="T12" fmla="*/ 15 w 31"/>
                  <a:gd name="T13" fmla="*/ 39 h 45"/>
                  <a:gd name="T14" fmla="*/ 23 w 31"/>
                  <a:gd name="T15" fmla="*/ 23 h 45"/>
                  <a:gd name="T16" fmla="*/ 15 w 31"/>
                  <a:gd name="T17" fmla="*/ 6 h 45"/>
                  <a:gd name="T18" fmla="*/ 8 w 31"/>
                  <a:gd name="T19" fmla="*/ 2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31" y="23"/>
                    </a:moveTo>
                    <a:cubicBezTo>
                      <a:pt x="31" y="38"/>
                      <a:pt x="26" y="45"/>
                      <a:pt x="15" y="45"/>
                    </a:cubicBezTo>
                    <a:cubicBezTo>
                      <a:pt x="5" y="45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6"/>
                      <a:pt x="15" y="6"/>
                    </a:cubicBezTo>
                    <a:cubicBezTo>
                      <a:pt x="10" y="6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82" name="Freeform 86">
                <a:extLst>
                  <a:ext uri="{FF2B5EF4-FFF2-40B4-BE49-F238E27FC236}">
                    <a16:creationId xmlns:a16="http://schemas.microsoft.com/office/drawing/2014/main" id="{F0342D74-0189-4681-9277-68D84334C8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46606" y="5049020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4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4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83" name="Freeform 87">
                <a:extLst>
                  <a:ext uri="{FF2B5EF4-FFF2-40B4-BE49-F238E27FC236}">
                    <a16:creationId xmlns:a16="http://schemas.microsoft.com/office/drawing/2014/main" id="{1CEE8B06-A4E6-531D-0826-3D356C97ED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46606" y="5320954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1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1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84" name="Freeform 88">
                <a:extLst>
                  <a:ext uri="{FF2B5EF4-FFF2-40B4-BE49-F238E27FC236}">
                    <a16:creationId xmlns:a16="http://schemas.microsoft.com/office/drawing/2014/main" id="{F570945A-8632-6942-ABFE-8136399783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46606" y="5592887"/>
                <a:ext cx="92156" cy="155607"/>
              </a:xfrm>
              <a:custGeom>
                <a:avLst/>
                <a:gdLst>
                  <a:gd name="T0" fmla="*/ 31 w 61"/>
                  <a:gd name="T1" fmla="*/ 18 h 103"/>
                  <a:gd name="T2" fmla="*/ 10 w 61"/>
                  <a:gd name="T3" fmla="*/ 30 h 103"/>
                  <a:gd name="T4" fmla="*/ 0 w 61"/>
                  <a:gd name="T5" fmla="*/ 18 h 103"/>
                  <a:gd name="T6" fmla="*/ 31 w 61"/>
                  <a:gd name="T7" fmla="*/ 0 h 103"/>
                  <a:gd name="T8" fmla="*/ 47 w 61"/>
                  <a:gd name="T9" fmla="*/ 0 h 103"/>
                  <a:gd name="T10" fmla="*/ 47 w 61"/>
                  <a:gd name="T11" fmla="*/ 89 h 103"/>
                  <a:gd name="T12" fmla="*/ 61 w 61"/>
                  <a:gd name="T13" fmla="*/ 89 h 103"/>
                  <a:gd name="T14" fmla="*/ 61 w 61"/>
                  <a:gd name="T15" fmla="*/ 103 h 103"/>
                  <a:gd name="T16" fmla="*/ 17 w 61"/>
                  <a:gd name="T17" fmla="*/ 103 h 103"/>
                  <a:gd name="T18" fmla="*/ 17 w 61"/>
                  <a:gd name="T19" fmla="*/ 89 h 103"/>
                  <a:gd name="T20" fmla="*/ 31 w 61"/>
                  <a:gd name="T21" fmla="*/ 89 h 103"/>
                  <a:gd name="T22" fmla="*/ 31 w 61"/>
                  <a:gd name="T23" fmla="*/ 18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3">
                    <a:moveTo>
                      <a:pt x="31" y="18"/>
                    </a:moveTo>
                    <a:lnTo>
                      <a:pt x="10" y="30"/>
                    </a:lnTo>
                    <a:lnTo>
                      <a:pt x="0" y="18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89"/>
                    </a:lnTo>
                    <a:lnTo>
                      <a:pt x="61" y="89"/>
                    </a:lnTo>
                    <a:lnTo>
                      <a:pt x="61" y="103"/>
                    </a:lnTo>
                    <a:lnTo>
                      <a:pt x="17" y="103"/>
                    </a:lnTo>
                    <a:lnTo>
                      <a:pt x="17" y="89"/>
                    </a:lnTo>
                    <a:lnTo>
                      <a:pt x="31" y="89"/>
                    </a:lnTo>
                    <a:lnTo>
                      <a:pt x="31" y="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85" name="Freeform 89">
                <a:extLst>
                  <a:ext uri="{FF2B5EF4-FFF2-40B4-BE49-F238E27FC236}">
                    <a16:creationId xmlns:a16="http://schemas.microsoft.com/office/drawing/2014/main" id="{EF183F18-371A-97D5-93BD-7BE313E1D2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43584" y="5860289"/>
                <a:ext cx="110285" cy="160139"/>
              </a:xfrm>
              <a:custGeom>
                <a:avLst/>
                <a:gdLst>
                  <a:gd name="T0" fmla="*/ 31 w 31"/>
                  <a:gd name="T1" fmla="*/ 23 h 45"/>
                  <a:gd name="T2" fmla="*/ 15 w 31"/>
                  <a:gd name="T3" fmla="*/ 45 h 45"/>
                  <a:gd name="T4" fmla="*/ 0 w 31"/>
                  <a:gd name="T5" fmla="*/ 22 h 45"/>
                  <a:gd name="T6" fmla="*/ 15 w 31"/>
                  <a:gd name="T7" fmla="*/ 0 h 45"/>
                  <a:gd name="T8" fmla="*/ 31 w 31"/>
                  <a:gd name="T9" fmla="*/ 23 h 45"/>
                  <a:gd name="T10" fmla="*/ 8 w 31"/>
                  <a:gd name="T11" fmla="*/ 22 h 45"/>
                  <a:gd name="T12" fmla="*/ 15 w 31"/>
                  <a:gd name="T13" fmla="*/ 39 h 45"/>
                  <a:gd name="T14" fmla="*/ 23 w 31"/>
                  <a:gd name="T15" fmla="*/ 23 h 45"/>
                  <a:gd name="T16" fmla="*/ 15 w 31"/>
                  <a:gd name="T17" fmla="*/ 6 h 45"/>
                  <a:gd name="T18" fmla="*/ 8 w 31"/>
                  <a:gd name="T19" fmla="*/ 2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31" y="23"/>
                    </a:moveTo>
                    <a:cubicBezTo>
                      <a:pt x="31" y="38"/>
                      <a:pt x="26" y="45"/>
                      <a:pt x="15" y="45"/>
                    </a:cubicBezTo>
                    <a:cubicBezTo>
                      <a:pt x="5" y="45"/>
                      <a:pt x="0" y="38"/>
                      <a:pt x="0" y="22"/>
                    </a:cubicBezTo>
                    <a:cubicBezTo>
                      <a:pt x="0" y="7"/>
                      <a:pt x="5" y="0"/>
                      <a:pt x="15" y="0"/>
                    </a:cubicBezTo>
                    <a:cubicBezTo>
                      <a:pt x="26" y="0"/>
                      <a:pt x="31" y="7"/>
                      <a:pt x="31" y="23"/>
                    </a:cubicBezTo>
                    <a:close/>
                    <a:moveTo>
                      <a:pt x="8" y="22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1"/>
                      <a:pt x="20" y="6"/>
                      <a:pt x="15" y="6"/>
                    </a:cubicBezTo>
                    <a:cubicBezTo>
                      <a:pt x="10" y="6"/>
                      <a:pt x="8" y="11"/>
                      <a:pt x="8" y="2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86" name="Freeform 90">
                <a:extLst>
                  <a:ext uri="{FF2B5EF4-FFF2-40B4-BE49-F238E27FC236}">
                    <a16:creationId xmlns:a16="http://schemas.microsoft.com/office/drawing/2014/main" id="{B9950F62-097D-79D2-496C-05FDA2B0B2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43584" y="6673068"/>
                <a:ext cx="110285" cy="161650"/>
              </a:xfrm>
              <a:custGeom>
                <a:avLst/>
                <a:gdLst>
                  <a:gd name="T0" fmla="*/ 31 w 31"/>
                  <a:gd name="T1" fmla="*/ 22 h 45"/>
                  <a:gd name="T2" fmla="*/ 15 w 31"/>
                  <a:gd name="T3" fmla="*/ 45 h 45"/>
                  <a:gd name="T4" fmla="*/ 0 w 31"/>
                  <a:gd name="T5" fmla="*/ 22 h 45"/>
                  <a:gd name="T6" fmla="*/ 15 w 31"/>
                  <a:gd name="T7" fmla="*/ 0 h 45"/>
                  <a:gd name="T8" fmla="*/ 31 w 31"/>
                  <a:gd name="T9" fmla="*/ 22 h 45"/>
                  <a:gd name="T10" fmla="*/ 8 w 31"/>
                  <a:gd name="T11" fmla="*/ 22 h 45"/>
                  <a:gd name="T12" fmla="*/ 15 w 31"/>
                  <a:gd name="T13" fmla="*/ 39 h 45"/>
                  <a:gd name="T14" fmla="*/ 23 w 31"/>
                  <a:gd name="T15" fmla="*/ 22 h 45"/>
                  <a:gd name="T16" fmla="*/ 15 w 31"/>
                  <a:gd name="T17" fmla="*/ 6 h 45"/>
                  <a:gd name="T18" fmla="*/ 8 w 31"/>
                  <a:gd name="T19" fmla="*/ 2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31" y="22"/>
                    </a:moveTo>
                    <a:cubicBezTo>
                      <a:pt x="31" y="38"/>
                      <a:pt x="26" y="45"/>
                      <a:pt x="15" y="45"/>
                    </a:cubicBezTo>
                    <a:cubicBezTo>
                      <a:pt x="5" y="45"/>
                      <a:pt x="0" y="38"/>
                      <a:pt x="0" y="22"/>
                    </a:cubicBezTo>
                    <a:cubicBezTo>
                      <a:pt x="0" y="7"/>
                      <a:pt x="5" y="0"/>
                      <a:pt x="15" y="0"/>
                    </a:cubicBezTo>
                    <a:cubicBezTo>
                      <a:pt x="26" y="0"/>
                      <a:pt x="31" y="7"/>
                      <a:pt x="31" y="22"/>
                    </a:cubicBezTo>
                    <a:close/>
                    <a:moveTo>
                      <a:pt x="8" y="22"/>
                    </a:moveTo>
                    <a:cubicBezTo>
                      <a:pt x="8" y="33"/>
                      <a:pt x="10" y="39"/>
                      <a:pt x="15" y="39"/>
                    </a:cubicBezTo>
                    <a:cubicBezTo>
                      <a:pt x="20" y="39"/>
                      <a:pt x="23" y="33"/>
                      <a:pt x="23" y="22"/>
                    </a:cubicBezTo>
                    <a:cubicBezTo>
                      <a:pt x="23" y="11"/>
                      <a:pt x="20" y="6"/>
                      <a:pt x="15" y="6"/>
                    </a:cubicBezTo>
                    <a:cubicBezTo>
                      <a:pt x="10" y="6"/>
                      <a:pt x="8" y="11"/>
                      <a:pt x="8" y="2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87" name="Freeform 95">
                <a:extLst>
                  <a:ext uri="{FF2B5EF4-FFF2-40B4-BE49-F238E27FC236}">
                    <a16:creationId xmlns:a16="http://schemas.microsoft.com/office/drawing/2014/main" id="{3307519D-C913-3BD8-14E6-939250EC73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3350946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88" name="Freeform 96">
                <a:extLst>
                  <a:ext uri="{FF2B5EF4-FFF2-40B4-BE49-F238E27FC236}">
                    <a16:creationId xmlns:a16="http://schemas.microsoft.com/office/drawing/2014/main" id="{2CEC6089-ED81-0283-ADD7-21F2B24C9EE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3497488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89" name="Freeform 97">
                <a:extLst>
                  <a:ext uri="{FF2B5EF4-FFF2-40B4-BE49-F238E27FC236}">
                    <a16:creationId xmlns:a16="http://schemas.microsoft.com/office/drawing/2014/main" id="{A88B904B-D540-B8C4-57A7-40DBC12D35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3644030"/>
                <a:ext cx="52876" cy="84602"/>
              </a:xfrm>
              <a:custGeom>
                <a:avLst/>
                <a:gdLst>
                  <a:gd name="T0" fmla="*/ 16 w 35"/>
                  <a:gd name="T1" fmla="*/ 14 h 56"/>
                  <a:gd name="T2" fmla="*/ 7 w 35"/>
                  <a:gd name="T3" fmla="*/ 21 h 56"/>
                  <a:gd name="T4" fmla="*/ 0 w 35"/>
                  <a:gd name="T5" fmla="*/ 11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4"/>
                    </a:moveTo>
                    <a:lnTo>
                      <a:pt x="7" y="21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90" name="Freeform 98">
                <a:extLst>
                  <a:ext uri="{FF2B5EF4-FFF2-40B4-BE49-F238E27FC236}">
                    <a16:creationId xmlns:a16="http://schemas.microsoft.com/office/drawing/2014/main" id="{7E39B6C2-5B91-E99E-92F0-D318CC56A42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3790572"/>
                <a:ext cx="67984" cy="84602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91" name="Freeform 99">
                <a:extLst>
                  <a:ext uri="{FF2B5EF4-FFF2-40B4-BE49-F238E27FC236}">
                    <a16:creationId xmlns:a16="http://schemas.microsoft.com/office/drawing/2014/main" id="{87BE8EFC-FE52-20C8-53EA-0443109CED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3935604"/>
                <a:ext cx="52876" cy="86113"/>
              </a:xfrm>
              <a:custGeom>
                <a:avLst/>
                <a:gdLst>
                  <a:gd name="T0" fmla="*/ 16 w 35"/>
                  <a:gd name="T1" fmla="*/ 15 h 57"/>
                  <a:gd name="T2" fmla="*/ 7 w 35"/>
                  <a:gd name="T3" fmla="*/ 22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8 h 57"/>
                  <a:gd name="T12" fmla="*/ 35 w 35"/>
                  <a:gd name="T13" fmla="*/ 48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8 h 57"/>
                  <a:gd name="T20" fmla="*/ 16 w 35"/>
                  <a:gd name="T21" fmla="*/ 48 h 57"/>
                  <a:gd name="T22" fmla="*/ 16 w 35"/>
                  <a:gd name="T23" fmla="*/ 1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5"/>
                    </a:moveTo>
                    <a:lnTo>
                      <a:pt x="7" y="22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92" name="Freeform 100">
                <a:extLst>
                  <a:ext uri="{FF2B5EF4-FFF2-40B4-BE49-F238E27FC236}">
                    <a16:creationId xmlns:a16="http://schemas.microsoft.com/office/drawing/2014/main" id="{CFF89D04-20FF-3E81-9A3A-AFCB58758AB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4082145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93" name="Freeform 101">
                <a:extLst>
                  <a:ext uri="{FF2B5EF4-FFF2-40B4-BE49-F238E27FC236}">
                    <a16:creationId xmlns:a16="http://schemas.microsoft.com/office/drawing/2014/main" id="{8C6DCFDB-F47D-37B5-F8BD-DA592D924C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4228688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94" name="Freeform 102">
                <a:extLst>
                  <a:ext uri="{FF2B5EF4-FFF2-40B4-BE49-F238E27FC236}">
                    <a16:creationId xmlns:a16="http://schemas.microsoft.com/office/drawing/2014/main" id="{F33E4FFA-F5E5-8BCD-2F37-453C6F6013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4375229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95" name="Freeform 103">
                <a:extLst>
                  <a:ext uri="{FF2B5EF4-FFF2-40B4-BE49-F238E27FC236}">
                    <a16:creationId xmlns:a16="http://schemas.microsoft.com/office/drawing/2014/main" id="{156CBA57-CD33-5AEE-5737-4917D308C4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4524793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5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5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96" name="Freeform 104">
                <a:extLst>
                  <a:ext uri="{FF2B5EF4-FFF2-40B4-BE49-F238E27FC236}">
                    <a16:creationId xmlns:a16="http://schemas.microsoft.com/office/drawing/2014/main" id="{E442751C-5ABD-2E1B-7367-35038494A86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4668313"/>
                <a:ext cx="67984" cy="89134"/>
              </a:xfrm>
              <a:custGeom>
                <a:avLst/>
                <a:gdLst>
                  <a:gd name="T0" fmla="*/ 17 w 19"/>
                  <a:gd name="T1" fmla="*/ 4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4 h 25"/>
                  <a:gd name="T16" fmla="*/ 6 w 19"/>
                  <a:gd name="T17" fmla="*/ 12 h 25"/>
                  <a:gd name="T18" fmla="*/ 10 w 19"/>
                  <a:gd name="T19" fmla="*/ 20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3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97" name="Freeform 105">
                <a:extLst>
                  <a:ext uri="{FF2B5EF4-FFF2-40B4-BE49-F238E27FC236}">
                    <a16:creationId xmlns:a16="http://schemas.microsoft.com/office/drawing/2014/main" id="{219C99C9-9F67-2478-B85D-29E8E1CA08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4817877"/>
                <a:ext cx="52876" cy="81580"/>
              </a:xfrm>
              <a:custGeom>
                <a:avLst/>
                <a:gdLst>
                  <a:gd name="T0" fmla="*/ 16 w 35"/>
                  <a:gd name="T1" fmla="*/ 12 h 54"/>
                  <a:gd name="T2" fmla="*/ 7 w 35"/>
                  <a:gd name="T3" fmla="*/ 19 h 54"/>
                  <a:gd name="T4" fmla="*/ 0 w 35"/>
                  <a:gd name="T5" fmla="*/ 9 h 54"/>
                  <a:gd name="T6" fmla="*/ 19 w 35"/>
                  <a:gd name="T7" fmla="*/ 0 h 54"/>
                  <a:gd name="T8" fmla="*/ 28 w 35"/>
                  <a:gd name="T9" fmla="*/ 0 h 54"/>
                  <a:gd name="T10" fmla="*/ 28 w 35"/>
                  <a:gd name="T11" fmla="*/ 45 h 54"/>
                  <a:gd name="T12" fmla="*/ 35 w 35"/>
                  <a:gd name="T13" fmla="*/ 45 h 54"/>
                  <a:gd name="T14" fmla="*/ 35 w 35"/>
                  <a:gd name="T15" fmla="*/ 54 h 54"/>
                  <a:gd name="T16" fmla="*/ 9 w 35"/>
                  <a:gd name="T17" fmla="*/ 54 h 54"/>
                  <a:gd name="T18" fmla="*/ 9 w 35"/>
                  <a:gd name="T19" fmla="*/ 45 h 54"/>
                  <a:gd name="T20" fmla="*/ 16 w 35"/>
                  <a:gd name="T21" fmla="*/ 45 h 54"/>
                  <a:gd name="T22" fmla="*/ 16 w 35"/>
                  <a:gd name="T23" fmla="*/ 1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4">
                    <a:moveTo>
                      <a:pt x="16" y="12"/>
                    </a:moveTo>
                    <a:lnTo>
                      <a:pt x="7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4"/>
                    </a:lnTo>
                    <a:lnTo>
                      <a:pt x="9" y="54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98" name="Freeform 106">
                <a:extLst>
                  <a:ext uri="{FF2B5EF4-FFF2-40B4-BE49-F238E27FC236}">
                    <a16:creationId xmlns:a16="http://schemas.microsoft.com/office/drawing/2014/main" id="{6D1F0F81-9CE1-0096-FE10-8295D94813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4959887"/>
                <a:ext cx="67984" cy="89134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2 h 25"/>
                  <a:gd name="T18" fmla="*/ 10 w 19"/>
                  <a:gd name="T19" fmla="*/ 21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99" name="Freeform 107">
                <a:extLst>
                  <a:ext uri="{FF2B5EF4-FFF2-40B4-BE49-F238E27FC236}">
                    <a16:creationId xmlns:a16="http://schemas.microsoft.com/office/drawing/2014/main" id="{AC8358BB-3D45-3CE4-E267-D5262FF3EA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5106428"/>
                <a:ext cx="67984" cy="89134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2 h 25"/>
                  <a:gd name="T18" fmla="*/ 10 w 19"/>
                  <a:gd name="T19" fmla="*/ 21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00" name="Freeform 108">
                <a:extLst>
                  <a:ext uri="{FF2B5EF4-FFF2-40B4-BE49-F238E27FC236}">
                    <a16:creationId xmlns:a16="http://schemas.microsoft.com/office/drawing/2014/main" id="{D40C875A-98E5-FC6A-6BE3-94E00A492E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5255992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8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8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8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8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01" name="Freeform 109">
                <a:extLst>
                  <a:ext uri="{FF2B5EF4-FFF2-40B4-BE49-F238E27FC236}">
                    <a16:creationId xmlns:a16="http://schemas.microsoft.com/office/drawing/2014/main" id="{99515E6F-7ACC-441A-B885-8F461EDB85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5402534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8 h 55"/>
                  <a:gd name="T12" fmla="*/ 35 w 35"/>
                  <a:gd name="T13" fmla="*/ 48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8 h 55"/>
                  <a:gd name="T20" fmla="*/ 16 w 35"/>
                  <a:gd name="T21" fmla="*/ 48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02" name="Freeform 110">
                <a:extLst>
                  <a:ext uri="{FF2B5EF4-FFF2-40B4-BE49-F238E27FC236}">
                    <a16:creationId xmlns:a16="http://schemas.microsoft.com/office/drawing/2014/main" id="{2CC2B7EE-96D4-6FC4-7982-20A3A287BAF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5546055"/>
                <a:ext cx="67984" cy="89134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3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1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3 h 25"/>
                  <a:gd name="T18" fmla="*/ 10 w 19"/>
                  <a:gd name="T19" fmla="*/ 21 h 25"/>
                  <a:gd name="T20" fmla="*/ 14 w 19"/>
                  <a:gd name="T21" fmla="*/ 13 h 25"/>
                  <a:gd name="T22" fmla="*/ 10 w 19"/>
                  <a:gd name="T23" fmla="*/ 5 h 25"/>
                  <a:gd name="T24" fmla="*/ 6 w 19"/>
                  <a:gd name="T25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7"/>
                      <a:pt x="19" y="9"/>
                      <a:pt x="19" y="13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1"/>
                    </a:cubicBezTo>
                    <a:cubicBezTo>
                      <a:pt x="1" y="19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3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3"/>
                    </a:cubicBezTo>
                    <a:cubicBezTo>
                      <a:pt x="14" y="7"/>
                      <a:pt x="12" y="5"/>
                      <a:pt x="10" y="5"/>
                    </a:cubicBezTo>
                    <a:cubicBezTo>
                      <a:pt x="7" y="5"/>
                      <a:pt x="6" y="7"/>
                      <a:pt x="6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03" name="Freeform 111">
                <a:extLst>
                  <a:ext uri="{FF2B5EF4-FFF2-40B4-BE49-F238E27FC236}">
                    <a16:creationId xmlns:a16="http://schemas.microsoft.com/office/drawing/2014/main" id="{1117BF5A-D0FF-299F-0C91-8DF67A1F87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5695618"/>
                <a:ext cx="52876" cy="81580"/>
              </a:xfrm>
              <a:custGeom>
                <a:avLst/>
                <a:gdLst>
                  <a:gd name="T0" fmla="*/ 16 w 35"/>
                  <a:gd name="T1" fmla="*/ 12 h 54"/>
                  <a:gd name="T2" fmla="*/ 7 w 35"/>
                  <a:gd name="T3" fmla="*/ 19 h 54"/>
                  <a:gd name="T4" fmla="*/ 0 w 35"/>
                  <a:gd name="T5" fmla="*/ 9 h 54"/>
                  <a:gd name="T6" fmla="*/ 19 w 35"/>
                  <a:gd name="T7" fmla="*/ 0 h 54"/>
                  <a:gd name="T8" fmla="*/ 28 w 35"/>
                  <a:gd name="T9" fmla="*/ 0 h 54"/>
                  <a:gd name="T10" fmla="*/ 28 w 35"/>
                  <a:gd name="T11" fmla="*/ 47 h 54"/>
                  <a:gd name="T12" fmla="*/ 35 w 35"/>
                  <a:gd name="T13" fmla="*/ 47 h 54"/>
                  <a:gd name="T14" fmla="*/ 35 w 35"/>
                  <a:gd name="T15" fmla="*/ 54 h 54"/>
                  <a:gd name="T16" fmla="*/ 9 w 35"/>
                  <a:gd name="T17" fmla="*/ 54 h 54"/>
                  <a:gd name="T18" fmla="*/ 9 w 35"/>
                  <a:gd name="T19" fmla="*/ 47 h 54"/>
                  <a:gd name="T20" fmla="*/ 16 w 35"/>
                  <a:gd name="T21" fmla="*/ 47 h 54"/>
                  <a:gd name="T22" fmla="*/ 16 w 35"/>
                  <a:gd name="T23" fmla="*/ 1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4">
                    <a:moveTo>
                      <a:pt x="16" y="12"/>
                    </a:moveTo>
                    <a:lnTo>
                      <a:pt x="7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4"/>
                    </a:lnTo>
                    <a:lnTo>
                      <a:pt x="9" y="54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04" name="Freeform 112">
                <a:extLst>
                  <a:ext uri="{FF2B5EF4-FFF2-40B4-BE49-F238E27FC236}">
                    <a16:creationId xmlns:a16="http://schemas.microsoft.com/office/drawing/2014/main" id="{91DC2063-AD03-3375-F962-6D978643E3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5839139"/>
                <a:ext cx="67984" cy="89134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3 h 25"/>
                  <a:gd name="T4" fmla="*/ 17 w 19"/>
                  <a:gd name="T5" fmla="*/ 22 h 25"/>
                  <a:gd name="T6" fmla="*/ 10 w 19"/>
                  <a:gd name="T7" fmla="*/ 25 h 25"/>
                  <a:gd name="T8" fmla="*/ 2 w 19"/>
                  <a:gd name="T9" fmla="*/ 21 h 25"/>
                  <a:gd name="T10" fmla="*/ 0 w 19"/>
                  <a:gd name="T11" fmla="*/ 13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3 h 25"/>
                  <a:gd name="T18" fmla="*/ 10 w 19"/>
                  <a:gd name="T19" fmla="*/ 21 h 25"/>
                  <a:gd name="T20" fmla="*/ 14 w 19"/>
                  <a:gd name="T21" fmla="*/ 13 h 25"/>
                  <a:gd name="T22" fmla="*/ 10 w 19"/>
                  <a:gd name="T23" fmla="*/ 5 h 25"/>
                  <a:gd name="T24" fmla="*/ 6 w 19"/>
                  <a:gd name="T25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7"/>
                      <a:pt x="19" y="9"/>
                      <a:pt x="19" y="13"/>
                    </a:cubicBezTo>
                    <a:cubicBezTo>
                      <a:pt x="19" y="17"/>
                      <a:pt x="18" y="20"/>
                      <a:pt x="17" y="22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1"/>
                    </a:cubicBezTo>
                    <a:cubicBezTo>
                      <a:pt x="1" y="19"/>
                      <a:pt x="0" y="16"/>
                      <a:pt x="0" y="13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3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3"/>
                    </a:cubicBezTo>
                    <a:cubicBezTo>
                      <a:pt x="14" y="7"/>
                      <a:pt x="12" y="5"/>
                      <a:pt x="10" y="5"/>
                    </a:cubicBezTo>
                    <a:cubicBezTo>
                      <a:pt x="7" y="5"/>
                      <a:pt x="6" y="7"/>
                      <a:pt x="6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05" name="Freeform 113">
                <a:extLst>
                  <a:ext uri="{FF2B5EF4-FFF2-40B4-BE49-F238E27FC236}">
                    <a16:creationId xmlns:a16="http://schemas.microsoft.com/office/drawing/2014/main" id="{B652ACB8-D901-C0F7-EEB5-4C91461E62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5988702"/>
                <a:ext cx="52876" cy="84602"/>
              </a:xfrm>
              <a:custGeom>
                <a:avLst/>
                <a:gdLst>
                  <a:gd name="T0" fmla="*/ 16 w 35"/>
                  <a:gd name="T1" fmla="*/ 12 h 56"/>
                  <a:gd name="T2" fmla="*/ 7 w 35"/>
                  <a:gd name="T3" fmla="*/ 19 h 56"/>
                  <a:gd name="T4" fmla="*/ 0 w 35"/>
                  <a:gd name="T5" fmla="*/ 9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2"/>
                    </a:moveTo>
                    <a:lnTo>
                      <a:pt x="7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06" name="Freeform 114">
                <a:extLst>
                  <a:ext uri="{FF2B5EF4-FFF2-40B4-BE49-F238E27FC236}">
                    <a16:creationId xmlns:a16="http://schemas.microsoft.com/office/drawing/2014/main" id="{32164B54-C8F9-61F1-18CB-F0D126FEBD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6135244"/>
                <a:ext cx="52876" cy="84602"/>
              </a:xfrm>
              <a:custGeom>
                <a:avLst/>
                <a:gdLst>
                  <a:gd name="T0" fmla="*/ 16 w 35"/>
                  <a:gd name="T1" fmla="*/ 11 h 56"/>
                  <a:gd name="T2" fmla="*/ 7 w 35"/>
                  <a:gd name="T3" fmla="*/ 18 h 56"/>
                  <a:gd name="T4" fmla="*/ 0 w 35"/>
                  <a:gd name="T5" fmla="*/ 9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1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1"/>
                    </a:moveTo>
                    <a:lnTo>
                      <a:pt x="7" y="18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07" name="Freeform 115">
                <a:extLst>
                  <a:ext uri="{FF2B5EF4-FFF2-40B4-BE49-F238E27FC236}">
                    <a16:creationId xmlns:a16="http://schemas.microsoft.com/office/drawing/2014/main" id="{DE3524FE-A742-9B51-43E6-7B4CD6E805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6280275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8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5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7"/>
                      <a:pt x="7" y="20"/>
                      <a:pt x="10" y="20"/>
                    </a:cubicBezTo>
                    <a:cubicBezTo>
                      <a:pt x="12" y="20"/>
                      <a:pt x="14" y="17"/>
                      <a:pt x="14" y="12"/>
                    </a:cubicBezTo>
                    <a:cubicBezTo>
                      <a:pt x="14" y="6"/>
                      <a:pt x="12" y="4"/>
                      <a:pt x="10" y="4"/>
                    </a:cubicBezTo>
                    <a:cubicBezTo>
                      <a:pt x="7" y="4"/>
                      <a:pt x="6" y="6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08" name="Freeform 116">
                <a:extLst>
                  <a:ext uri="{FF2B5EF4-FFF2-40B4-BE49-F238E27FC236}">
                    <a16:creationId xmlns:a16="http://schemas.microsoft.com/office/drawing/2014/main" id="{6BAECBF0-B24B-CF64-EEA0-31419A27D5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6426817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8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5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7"/>
                      <a:pt x="7" y="20"/>
                      <a:pt x="10" y="20"/>
                    </a:cubicBezTo>
                    <a:cubicBezTo>
                      <a:pt x="12" y="20"/>
                      <a:pt x="14" y="17"/>
                      <a:pt x="14" y="12"/>
                    </a:cubicBezTo>
                    <a:cubicBezTo>
                      <a:pt x="14" y="6"/>
                      <a:pt x="12" y="4"/>
                      <a:pt x="10" y="4"/>
                    </a:cubicBezTo>
                    <a:cubicBezTo>
                      <a:pt x="7" y="4"/>
                      <a:pt x="6" y="6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09" name="Freeform 117">
                <a:extLst>
                  <a:ext uri="{FF2B5EF4-FFF2-40B4-BE49-F238E27FC236}">
                    <a16:creationId xmlns:a16="http://schemas.microsoft.com/office/drawing/2014/main" id="{F07032FA-7317-3C52-DC78-BD54DD1F2A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6573359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8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5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7"/>
                      <a:pt x="7" y="20"/>
                      <a:pt x="10" y="20"/>
                    </a:cubicBezTo>
                    <a:cubicBezTo>
                      <a:pt x="12" y="20"/>
                      <a:pt x="14" y="17"/>
                      <a:pt x="14" y="12"/>
                    </a:cubicBezTo>
                    <a:cubicBezTo>
                      <a:pt x="14" y="6"/>
                      <a:pt x="12" y="4"/>
                      <a:pt x="10" y="4"/>
                    </a:cubicBezTo>
                    <a:cubicBezTo>
                      <a:pt x="7" y="4"/>
                      <a:pt x="6" y="6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10" name="Freeform 118">
                <a:extLst>
                  <a:ext uri="{FF2B5EF4-FFF2-40B4-BE49-F238E27FC236}">
                    <a16:creationId xmlns:a16="http://schemas.microsoft.com/office/drawing/2014/main" id="{20B1A4C1-3738-F21F-F6FC-D1BCE704B9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6719901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11" name="Freeform 119">
                <a:extLst>
                  <a:ext uri="{FF2B5EF4-FFF2-40B4-BE49-F238E27FC236}">
                    <a16:creationId xmlns:a16="http://schemas.microsoft.com/office/drawing/2014/main" id="{3F366A97-EFE3-0DCA-B089-E9722F4389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6866443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8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5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6"/>
                      <a:pt x="12" y="4"/>
                      <a:pt x="10" y="4"/>
                    </a:cubicBezTo>
                    <a:cubicBezTo>
                      <a:pt x="7" y="4"/>
                      <a:pt x="6" y="6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12" name="Freeform 135">
                <a:extLst>
                  <a:ext uri="{FF2B5EF4-FFF2-40B4-BE49-F238E27FC236}">
                    <a16:creationId xmlns:a16="http://schemas.microsoft.com/office/drawing/2014/main" id="{CAB35B4B-4368-F030-FA18-1F3A3318B2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68629" y="3718057"/>
                <a:ext cx="60430" cy="111795"/>
              </a:xfrm>
              <a:custGeom>
                <a:avLst/>
                <a:gdLst>
                  <a:gd name="T0" fmla="*/ 19 w 40"/>
                  <a:gd name="T1" fmla="*/ 14 h 74"/>
                  <a:gd name="T2" fmla="*/ 4 w 40"/>
                  <a:gd name="T3" fmla="*/ 24 h 74"/>
                  <a:gd name="T4" fmla="*/ 0 w 40"/>
                  <a:gd name="T5" fmla="*/ 14 h 74"/>
                  <a:gd name="T6" fmla="*/ 21 w 40"/>
                  <a:gd name="T7" fmla="*/ 0 h 74"/>
                  <a:gd name="T8" fmla="*/ 30 w 40"/>
                  <a:gd name="T9" fmla="*/ 0 h 74"/>
                  <a:gd name="T10" fmla="*/ 30 w 40"/>
                  <a:gd name="T11" fmla="*/ 64 h 74"/>
                  <a:gd name="T12" fmla="*/ 40 w 40"/>
                  <a:gd name="T13" fmla="*/ 64 h 74"/>
                  <a:gd name="T14" fmla="*/ 40 w 40"/>
                  <a:gd name="T15" fmla="*/ 74 h 74"/>
                  <a:gd name="T16" fmla="*/ 9 w 40"/>
                  <a:gd name="T17" fmla="*/ 74 h 74"/>
                  <a:gd name="T18" fmla="*/ 9 w 40"/>
                  <a:gd name="T19" fmla="*/ 64 h 74"/>
                  <a:gd name="T20" fmla="*/ 19 w 40"/>
                  <a:gd name="T21" fmla="*/ 64 h 74"/>
                  <a:gd name="T22" fmla="*/ 19 w 40"/>
                  <a:gd name="T23" fmla="*/ 1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4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4"/>
                    </a:lnTo>
                    <a:lnTo>
                      <a:pt x="9" y="74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13" name="Freeform 136">
                <a:extLst>
                  <a:ext uri="{FF2B5EF4-FFF2-40B4-BE49-F238E27FC236}">
                    <a16:creationId xmlns:a16="http://schemas.microsoft.com/office/drawing/2014/main" id="{8C332711-6BB4-9DA0-09F1-2CDC74BF32D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64097" y="3906899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8 h 32"/>
                  <a:gd name="T14" fmla="*/ 16 w 21"/>
                  <a:gd name="T15" fmla="*/ 16 h 32"/>
                  <a:gd name="T16" fmla="*/ 10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0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0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14" name="Freeform 137">
                <a:extLst>
                  <a:ext uri="{FF2B5EF4-FFF2-40B4-BE49-F238E27FC236}">
                    <a16:creationId xmlns:a16="http://schemas.microsoft.com/office/drawing/2014/main" id="{A1E4A7A8-40BD-C574-475E-3008C5098F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64097" y="4289117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6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15" name="Freeform 138">
                <a:extLst>
                  <a:ext uri="{FF2B5EF4-FFF2-40B4-BE49-F238E27FC236}">
                    <a16:creationId xmlns:a16="http://schemas.microsoft.com/office/drawing/2014/main" id="{1368A0B4-24B3-B897-1082-3A86F64CE5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68629" y="4482492"/>
                <a:ext cx="60430" cy="107263"/>
              </a:xfrm>
              <a:custGeom>
                <a:avLst/>
                <a:gdLst>
                  <a:gd name="T0" fmla="*/ 19 w 40"/>
                  <a:gd name="T1" fmla="*/ 12 h 71"/>
                  <a:gd name="T2" fmla="*/ 4 w 40"/>
                  <a:gd name="T3" fmla="*/ 21 h 71"/>
                  <a:gd name="T4" fmla="*/ 0 w 40"/>
                  <a:gd name="T5" fmla="*/ 12 h 71"/>
                  <a:gd name="T6" fmla="*/ 21 w 40"/>
                  <a:gd name="T7" fmla="*/ 0 h 71"/>
                  <a:gd name="T8" fmla="*/ 30 w 40"/>
                  <a:gd name="T9" fmla="*/ 0 h 71"/>
                  <a:gd name="T10" fmla="*/ 30 w 40"/>
                  <a:gd name="T11" fmla="*/ 64 h 71"/>
                  <a:gd name="T12" fmla="*/ 40 w 40"/>
                  <a:gd name="T13" fmla="*/ 64 h 71"/>
                  <a:gd name="T14" fmla="*/ 40 w 40"/>
                  <a:gd name="T15" fmla="*/ 71 h 71"/>
                  <a:gd name="T16" fmla="*/ 9 w 40"/>
                  <a:gd name="T17" fmla="*/ 71 h 71"/>
                  <a:gd name="T18" fmla="*/ 9 w 40"/>
                  <a:gd name="T19" fmla="*/ 64 h 71"/>
                  <a:gd name="T20" fmla="*/ 19 w 40"/>
                  <a:gd name="T21" fmla="*/ 64 h 71"/>
                  <a:gd name="T22" fmla="*/ 19 w 40"/>
                  <a:gd name="T23" fmla="*/ 1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1">
                    <a:moveTo>
                      <a:pt x="19" y="12"/>
                    </a:moveTo>
                    <a:lnTo>
                      <a:pt x="4" y="21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1"/>
                    </a:lnTo>
                    <a:lnTo>
                      <a:pt x="9" y="71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16" name="Freeform 139">
                <a:extLst>
                  <a:ext uri="{FF2B5EF4-FFF2-40B4-BE49-F238E27FC236}">
                    <a16:creationId xmlns:a16="http://schemas.microsoft.com/office/drawing/2014/main" id="{9873DC88-9080-9F70-E5F2-1CC48D7D1A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68629" y="4671335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17" name="Freeform 140">
                <a:extLst>
                  <a:ext uri="{FF2B5EF4-FFF2-40B4-BE49-F238E27FC236}">
                    <a16:creationId xmlns:a16="http://schemas.microsoft.com/office/drawing/2014/main" id="{14C9504F-B1E9-8EE4-573C-6F7D1E3117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68629" y="4860178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18" name="Freeform 141">
                <a:extLst>
                  <a:ext uri="{FF2B5EF4-FFF2-40B4-BE49-F238E27FC236}">
                    <a16:creationId xmlns:a16="http://schemas.microsoft.com/office/drawing/2014/main" id="{88232144-050F-F1AD-4740-76D8C72B43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68629" y="5053553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1 h 73"/>
                  <a:gd name="T4" fmla="*/ 0 w 40"/>
                  <a:gd name="T5" fmla="*/ 12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1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19" name="Freeform 142">
                <a:extLst>
                  <a:ext uri="{FF2B5EF4-FFF2-40B4-BE49-F238E27FC236}">
                    <a16:creationId xmlns:a16="http://schemas.microsoft.com/office/drawing/2014/main" id="{CAE24B57-0401-7220-D980-B4983C6B960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64097" y="5242395"/>
                <a:ext cx="75537" cy="110285"/>
              </a:xfrm>
              <a:custGeom>
                <a:avLst/>
                <a:gdLst>
                  <a:gd name="T0" fmla="*/ 21 w 21"/>
                  <a:gd name="T1" fmla="*/ 15 h 31"/>
                  <a:gd name="T2" fmla="*/ 10 w 21"/>
                  <a:gd name="T3" fmla="*/ 31 h 31"/>
                  <a:gd name="T4" fmla="*/ 0 w 21"/>
                  <a:gd name="T5" fmla="*/ 15 h 31"/>
                  <a:gd name="T6" fmla="*/ 10 w 21"/>
                  <a:gd name="T7" fmla="*/ 0 h 31"/>
                  <a:gd name="T8" fmla="*/ 21 w 21"/>
                  <a:gd name="T9" fmla="*/ 15 h 31"/>
                  <a:gd name="T10" fmla="*/ 5 w 21"/>
                  <a:gd name="T11" fmla="*/ 15 h 31"/>
                  <a:gd name="T12" fmla="*/ 10 w 21"/>
                  <a:gd name="T13" fmla="*/ 27 h 31"/>
                  <a:gd name="T14" fmla="*/ 16 w 21"/>
                  <a:gd name="T15" fmla="*/ 15 h 31"/>
                  <a:gd name="T16" fmla="*/ 10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5"/>
                    </a:moveTo>
                    <a:cubicBezTo>
                      <a:pt x="21" y="26"/>
                      <a:pt x="18" y="31"/>
                      <a:pt x="10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5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0" y="27"/>
                    </a:cubicBezTo>
                    <a:cubicBezTo>
                      <a:pt x="14" y="27"/>
                      <a:pt x="16" y="23"/>
                      <a:pt x="16" y="15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20" name="Freeform 143">
                <a:extLst>
                  <a:ext uri="{FF2B5EF4-FFF2-40B4-BE49-F238E27FC236}">
                    <a16:creationId xmlns:a16="http://schemas.microsoft.com/office/drawing/2014/main" id="{B9C84BC9-4425-4F4F-E6F5-28FD72C54D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64097" y="5431238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21" name="Freeform 144">
                <a:extLst>
                  <a:ext uri="{FF2B5EF4-FFF2-40B4-BE49-F238E27FC236}">
                    <a16:creationId xmlns:a16="http://schemas.microsoft.com/office/drawing/2014/main" id="{DD003561-3631-9893-6D74-C83E238E26C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64097" y="6191141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8 h 32"/>
                  <a:gd name="T14" fmla="*/ 16 w 21"/>
                  <a:gd name="T15" fmla="*/ 16 h 32"/>
                  <a:gd name="T16" fmla="*/ 10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0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0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22" name="Freeform 145">
                <a:extLst>
                  <a:ext uri="{FF2B5EF4-FFF2-40B4-BE49-F238E27FC236}">
                    <a16:creationId xmlns:a16="http://schemas.microsoft.com/office/drawing/2014/main" id="{52BDFB15-DB0C-5146-360D-E876A5AFAC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64097" y="6384516"/>
                <a:ext cx="75537" cy="110285"/>
              </a:xfrm>
              <a:custGeom>
                <a:avLst/>
                <a:gdLst>
                  <a:gd name="T0" fmla="*/ 21 w 21"/>
                  <a:gd name="T1" fmla="*/ 16 h 31"/>
                  <a:gd name="T2" fmla="*/ 10 w 21"/>
                  <a:gd name="T3" fmla="*/ 31 h 31"/>
                  <a:gd name="T4" fmla="*/ 0 w 21"/>
                  <a:gd name="T5" fmla="*/ 15 h 31"/>
                  <a:gd name="T6" fmla="*/ 10 w 21"/>
                  <a:gd name="T7" fmla="*/ 0 h 31"/>
                  <a:gd name="T8" fmla="*/ 21 w 21"/>
                  <a:gd name="T9" fmla="*/ 16 h 31"/>
                  <a:gd name="T10" fmla="*/ 5 w 21"/>
                  <a:gd name="T11" fmla="*/ 15 h 31"/>
                  <a:gd name="T12" fmla="*/ 10 w 21"/>
                  <a:gd name="T13" fmla="*/ 27 h 31"/>
                  <a:gd name="T14" fmla="*/ 16 w 21"/>
                  <a:gd name="T15" fmla="*/ 16 h 31"/>
                  <a:gd name="T16" fmla="*/ 10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0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0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23" name="Freeform 146">
                <a:extLst>
                  <a:ext uri="{FF2B5EF4-FFF2-40B4-BE49-F238E27FC236}">
                    <a16:creationId xmlns:a16="http://schemas.microsoft.com/office/drawing/2014/main" id="{7F8636ED-0130-2581-88E9-848C36CA0D5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64097" y="6573359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24" name="Freeform 147">
                <a:extLst>
                  <a:ext uri="{FF2B5EF4-FFF2-40B4-BE49-F238E27FC236}">
                    <a16:creationId xmlns:a16="http://schemas.microsoft.com/office/drawing/2014/main" id="{DBF66B88-6413-B9EF-B7D6-2AAF9955DE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68629" y="6766734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3 h 73"/>
                  <a:gd name="T4" fmla="*/ 0 w 40"/>
                  <a:gd name="T5" fmla="*/ 12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3 h 73"/>
                  <a:gd name="T12" fmla="*/ 40 w 40"/>
                  <a:gd name="T13" fmla="*/ 63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3 h 73"/>
                  <a:gd name="T20" fmla="*/ 19 w 40"/>
                  <a:gd name="T21" fmla="*/ 63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3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3"/>
                    </a:lnTo>
                    <a:lnTo>
                      <a:pt x="40" y="63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3"/>
                    </a:lnTo>
                    <a:lnTo>
                      <a:pt x="19" y="63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25" name="Freeform 149">
                <a:extLst>
                  <a:ext uri="{FF2B5EF4-FFF2-40B4-BE49-F238E27FC236}">
                    <a16:creationId xmlns:a16="http://schemas.microsoft.com/office/drawing/2014/main" id="{3318F77F-6E78-EE4B-7AD6-FD741B3834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24929" y="3361522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26" name="Freeform 150">
                <a:extLst>
                  <a:ext uri="{FF2B5EF4-FFF2-40B4-BE49-F238E27FC236}">
                    <a16:creationId xmlns:a16="http://schemas.microsoft.com/office/drawing/2014/main" id="{326000FF-1AAA-F060-3ACE-A2B6D63CCCB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17375" y="3644030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27" name="Freeform 151">
                <a:extLst>
                  <a:ext uri="{FF2B5EF4-FFF2-40B4-BE49-F238E27FC236}">
                    <a16:creationId xmlns:a16="http://schemas.microsoft.com/office/drawing/2014/main" id="{071A105A-1B95-EDF2-524C-F9280D39A0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24929" y="3932582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28" name="Freeform 152">
                <a:extLst>
                  <a:ext uri="{FF2B5EF4-FFF2-40B4-BE49-F238E27FC236}">
                    <a16:creationId xmlns:a16="http://schemas.microsoft.com/office/drawing/2014/main" id="{5BC778D6-D814-A72E-1CEB-97D41CCE195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17375" y="4215090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29" name="Freeform 153">
                <a:extLst>
                  <a:ext uri="{FF2B5EF4-FFF2-40B4-BE49-F238E27FC236}">
                    <a16:creationId xmlns:a16="http://schemas.microsoft.com/office/drawing/2014/main" id="{E4C5D321-446D-E81F-96F8-7BDF87F353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24929" y="4503643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30" name="Freeform 154">
                <a:extLst>
                  <a:ext uri="{FF2B5EF4-FFF2-40B4-BE49-F238E27FC236}">
                    <a16:creationId xmlns:a16="http://schemas.microsoft.com/office/drawing/2014/main" id="{609ECD6E-EB6F-052B-C354-FC50584117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24929" y="4789172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31" name="Freeform 155">
                <a:extLst>
                  <a:ext uri="{FF2B5EF4-FFF2-40B4-BE49-F238E27FC236}">
                    <a16:creationId xmlns:a16="http://schemas.microsoft.com/office/drawing/2014/main" id="{1CCB72F2-6895-1F3A-583D-52F5DC7F4F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24929" y="5074703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7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7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7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7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32" name="Freeform 156">
                <a:extLst>
                  <a:ext uri="{FF2B5EF4-FFF2-40B4-BE49-F238E27FC236}">
                    <a16:creationId xmlns:a16="http://schemas.microsoft.com/office/drawing/2014/main" id="{6A98CDC4-CBC5-5D8D-D40D-060EF8DC9D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24929" y="5360233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5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7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7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5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7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7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33" name="Freeform 157">
                <a:extLst>
                  <a:ext uri="{FF2B5EF4-FFF2-40B4-BE49-F238E27FC236}">
                    <a16:creationId xmlns:a16="http://schemas.microsoft.com/office/drawing/2014/main" id="{A41907B5-4637-F243-A4AA-5F6A7A42E82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17375" y="5642742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34" name="Freeform 158">
                <a:extLst>
                  <a:ext uri="{FF2B5EF4-FFF2-40B4-BE49-F238E27FC236}">
                    <a16:creationId xmlns:a16="http://schemas.microsoft.com/office/drawing/2014/main" id="{D356F57F-2CFE-A56A-3B13-7FFDE92D8F4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17375" y="5928272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2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2"/>
                      <a:pt x="16" y="42"/>
                    </a:cubicBezTo>
                    <a:cubicBezTo>
                      <a:pt x="22" y="42"/>
                      <a:pt x="24" y="36"/>
                      <a:pt x="24" y="24"/>
                    </a:cubicBezTo>
                    <a:cubicBezTo>
                      <a:pt x="24" y="13"/>
                      <a:pt x="22" y="7"/>
                      <a:pt x="16" y="7"/>
                    </a:cubicBezTo>
                    <a:cubicBezTo>
                      <a:pt x="11" y="7"/>
                      <a:pt x="8" y="13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35" name="Freeform 159">
                <a:extLst>
                  <a:ext uri="{FF2B5EF4-FFF2-40B4-BE49-F238E27FC236}">
                    <a16:creationId xmlns:a16="http://schemas.microsoft.com/office/drawing/2014/main" id="{4D4B0126-31AE-61AF-F400-C79125A865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17375" y="6213803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2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2"/>
                      <a:pt x="16" y="42"/>
                    </a:cubicBezTo>
                    <a:cubicBezTo>
                      <a:pt x="22" y="42"/>
                      <a:pt x="24" y="36"/>
                      <a:pt x="24" y="24"/>
                    </a:cubicBezTo>
                    <a:cubicBezTo>
                      <a:pt x="24" y="13"/>
                      <a:pt x="22" y="7"/>
                      <a:pt x="16" y="7"/>
                    </a:cubicBezTo>
                    <a:cubicBezTo>
                      <a:pt x="11" y="7"/>
                      <a:pt x="8" y="13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36" name="Freeform 160">
                <a:extLst>
                  <a:ext uri="{FF2B5EF4-FFF2-40B4-BE49-F238E27FC236}">
                    <a16:creationId xmlns:a16="http://schemas.microsoft.com/office/drawing/2014/main" id="{1D941D4D-E388-04D1-0E08-13E165964D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17375" y="6499332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2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1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2"/>
                      <a:pt x="16" y="42"/>
                    </a:cubicBezTo>
                    <a:cubicBezTo>
                      <a:pt x="22" y="42"/>
                      <a:pt x="24" y="36"/>
                      <a:pt x="24" y="24"/>
                    </a:cubicBezTo>
                    <a:cubicBezTo>
                      <a:pt x="24" y="13"/>
                      <a:pt x="22" y="7"/>
                      <a:pt x="16" y="7"/>
                    </a:cubicBezTo>
                    <a:cubicBezTo>
                      <a:pt x="11" y="7"/>
                      <a:pt x="8" y="13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37" name="Freeform 161">
                <a:extLst>
                  <a:ext uri="{FF2B5EF4-FFF2-40B4-BE49-F238E27FC236}">
                    <a16:creationId xmlns:a16="http://schemas.microsoft.com/office/drawing/2014/main" id="{40B6A420-91B4-BAE2-618E-517773093D6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17375" y="6787885"/>
                <a:ext cx="114816" cy="167693"/>
              </a:xfrm>
              <a:custGeom>
                <a:avLst/>
                <a:gdLst>
                  <a:gd name="T0" fmla="*/ 32 w 32"/>
                  <a:gd name="T1" fmla="*/ 23 h 47"/>
                  <a:gd name="T2" fmla="*/ 16 w 32"/>
                  <a:gd name="T3" fmla="*/ 47 h 47"/>
                  <a:gd name="T4" fmla="*/ 0 w 32"/>
                  <a:gd name="T5" fmla="*/ 23 h 47"/>
                  <a:gd name="T6" fmla="*/ 16 w 32"/>
                  <a:gd name="T7" fmla="*/ 0 h 47"/>
                  <a:gd name="T8" fmla="*/ 32 w 32"/>
                  <a:gd name="T9" fmla="*/ 23 h 47"/>
                  <a:gd name="T10" fmla="*/ 8 w 32"/>
                  <a:gd name="T11" fmla="*/ 23 h 47"/>
                  <a:gd name="T12" fmla="*/ 16 w 32"/>
                  <a:gd name="T13" fmla="*/ 41 h 47"/>
                  <a:gd name="T14" fmla="*/ 24 w 32"/>
                  <a:gd name="T15" fmla="*/ 23 h 47"/>
                  <a:gd name="T16" fmla="*/ 16 w 32"/>
                  <a:gd name="T17" fmla="*/ 6 h 47"/>
                  <a:gd name="T18" fmla="*/ 8 w 32"/>
                  <a:gd name="T19" fmla="*/ 2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7">
                    <a:moveTo>
                      <a:pt x="32" y="23"/>
                    </a:moveTo>
                    <a:cubicBezTo>
                      <a:pt x="32" y="39"/>
                      <a:pt x="27" y="47"/>
                      <a:pt x="16" y="47"/>
                    </a:cubicBezTo>
                    <a:cubicBezTo>
                      <a:pt x="5" y="47"/>
                      <a:pt x="0" y="40"/>
                      <a:pt x="0" y="23"/>
                    </a:cubicBezTo>
                    <a:cubicBezTo>
                      <a:pt x="0" y="7"/>
                      <a:pt x="5" y="0"/>
                      <a:pt x="16" y="0"/>
                    </a:cubicBezTo>
                    <a:cubicBezTo>
                      <a:pt x="27" y="0"/>
                      <a:pt x="32" y="7"/>
                      <a:pt x="32" y="23"/>
                    </a:cubicBezTo>
                    <a:close/>
                    <a:moveTo>
                      <a:pt x="8" y="23"/>
                    </a:moveTo>
                    <a:cubicBezTo>
                      <a:pt x="8" y="35"/>
                      <a:pt x="11" y="41"/>
                      <a:pt x="16" y="41"/>
                    </a:cubicBezTo>
                    <a:cubicBezTo>
                      <a:pt x="22" y="41"/>
                      <a:pt x="24" y="35"/>
                      <a:pt x="24" y="23"/>
                    </a:cubicBezTo>
                    <a:cubicBezTo>
                      <a:pt x="24" y="12"/>
                      <a:pt x="22" y="6"/>
                      <a:pt x="16" y="6"/>
                    </a:cubicBezTo>
                    <a:cubicBezTo>
                      <a:pt x="11" y="6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38" name="Line 8">
                <a:extLst>
                  <a:ext uri="{FF2B5EF4-FFF2-40B4-BE49-F238E27FC236}">
                    <a16:creationId xmlns:a16="http://schemas.microsoft.com/office/drawing/2014/main" id="{70D76D16-7236-5523-D6B6-EDBF4532A56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282436" y="5576274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39" name="Line 9">
                <a:extLst>
                  <a:ext uri="{FF2B5EF4-FFF2-40B4-BE49-F238E27FC236}">
                    <a16:creationId xmlns:a16="http://schemas.microsoft.com/office/drawing/2014/main" id="{7B0C9F74-07DA-7735-6EDA-C0C4D388B2B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282436" y="5576274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40" name="Freeform 10">
                <a:extLst>
                  <a:ext uri="{FF2B5EF4-FFF2-40B4-BE49-F238E27FC236}">
                    <a16:creationId xmlns:a16="http://schemas.microsoft.com/office/drawing/2014/main" id="{6B402AD8-BC3B-96E6-FC5A-5ED628A63C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49546" y="6647390"/>
                <a:ext cx="99709" cy="157117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8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7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7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8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7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7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41" name="Freeform 11">
                <a:extLst>
                  <a:ext uri="{FF2B5EF4-FFF2-40B4-BE49-F238E27FC236}">
                    <a16:creationId xmlns:a16="http://schemas.microsoft.com/office/drawing/2014/main" id="{C244C23F-2618-6742-84CE-40985EB3ECA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635950" y="6914792"/>
                <a:ext cx="120859" cy="164671"/>
              </a:xfrm>
              <a:custGeom>
                <a:avLst/>
                <a:gdLst>
                  <a:gd name="T0" fmla="*/ 32 w 34"/>
                  <a:gd name="T1" fmla="*/ 8 h 46"/>
                  <a:gd name="T2" fmla="*/ 34 w 34"/>
                  <a:gd name="T3" fmla="*/ 23 h 46"/>
                  <a:gd name="T4" fmla="*/ 31 w 34"/>
                  <a:gd name="T5" fmla="*/ 39 h 46"/>
                  <a:gd name="T6" fmla="*/ 17 w 34"/>
                  <a:gd name="T7" fmla="*/ 46 h 46"/>
                  <a:gd name="T8" fmla="*/ 3 w 34"/>
                  <a:gd name="T9" fmla="*/ 37 h 46"/>
                  <a:gd name="T10" fmla="*/ 0 w 34"/>
                  <a:gd name="T11" fmla="*/ 23 h 46"/>
                  <a:gd name="T12" fmla="*/ 17 w 34"/>
                  <a:gd name="T13" fmla="*/ 0 h 46"/>
                  <a:gd name="T14" fmla="*/ 32 w 34"/>
                  <a:gd name="T15" fmla="*/ 8 h 46"/>
                  <a:gd name="T16" fmla="*/ 10 w 34"/>
                  <a:gd name="T17" fmla="*/ 23 h 46"/>
                  <a:gd name="T18" fmla="*/ 17 w 34"/>
                  <a:gd name="T19" fmla="*/ 38 h 46"/>
                  <a:gd name="T20" fmla="*/ 25 w 34"/>
                  <a:gd name="T21" fmla="*/ 23 h 46"/>
                  <a:gd name="T22" fmla="*/ 17 w 34"/>
                  <a:gd name="T23" fmla="*/ 8 h 46"/>
                  <a:gd name="T24" fmla="*/ 10 w 34"/>
                  <a:gd name="T25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46">
                    <a:moveTo>
                      <a:pt x="32" y="8"/>
                    </a:moveTo>
                    <a:cubicBezTo>
                      <a:pt x="34" y="12"/>
                      <a:pt x="34" y="16"/>
                      <a:pt x="34" y="23"/>
                    </a:cubicBezTo>
                    <a:cubicBezTo>
                      <a:pt x="34" y="31"/>
                      <a:pt x="33" y="36"/>
                      <a:pt x="31" y="39"/>
                    </a:cubicBezTo>
                    <a:cubicBezTo>
                      <a:pt x="28" y="43"/>
                      <a:pt x="23" y="46"/>
                      <a:pt x="17" y="46"/>
                    </a:cubicBezTo>
                    <a:cubicBezTo>
                      <a:pt x="11" y="46"/>
                      <a:pt x="6" y="43"/>
                      <a:pt x="3" y="37"/>
                    </a:cubicBezTo>
                    <a:cubicBezTo>
                      <a:pt x="1" y="34"/>
                      <a:pt x="0" y="29"/>
                      <a:pt x="0" y="23"/>
                    </a:cubicBezTo>
                    <a:cubicBezTo>
                      <a:pt x="0" y="8"/>
                      <a:pt x="6" y="0"/>
                      <a:pt x="17" y="0"/>
                    </a:cubicBezTo>
                    <a:cubicBezTo>
                      <a:pt x="24" y="0"/>
                      <a:pt x="29" y="3"/>
                      <a:pt x="32" y="8"/>
                    </a:cubicBezTo>
                    <a:close/>
                    <a:moveTo>
                      <a:pt x="10" y="23"/>
                    </a:moveTo>
                    <a:cubicBezTo>
                      <a:pt x="10" y="33"/>
                      <a:pt x="12" y="38"/>
                      <a:pt x="17" y="38"/>
                    </a:cubicBezTo>
                    <a:cubicBezTo>
                      <a:pt x="22" y="38"/>
                      <a:pt x="25" y="33"/>
                      <a:pt x="25" y="23"/>
                    </a:cubicBezTo>
                    <a:cubicBezTo>
                      <a:pt x="25" y="13"/>
                      <a:pt x="22" y="8"/>
                      <a:pt x="17" y="8"/>
                    </a:cubicBezTo>
                    <a:cubicBezTo>
                      <a:pt x="12" y="8"/>
                      <a:pt x="10" y="13"/>
                      <a:pt x="10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42" name="Freeform 23">
                <a:extLst>
                  <a:ext uri="{FF2B5EF4-FFF2-40B4-BE49-F238E27FC236}">
                    <a16:creationId xmlns:a16="http://schemas.microsoft.com/office/drawing/2014/main" id="{0700D480-B0CC-9C84-021B-57D22055EE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956227" y="5926766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8 h 32"/>
                  <a:gd name="T14" fmla="*/ 16 w 21"/>
                  <a:gd name="T15" fmla="*/ 16 h 32"/>
                  <a:gd name="T16" fmla="*/ 11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1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1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43" name="Freeform 24">
                <a:extLst>
                  <a:ext uri="{FF2B5EF4-FFF2-40B4-BE49-F238E27FC236}">
                    <a16:creationId xmlns:a16="http://schemas.microsoft.com/office/drawing/2014/main" id="{C07E2743-4921-9A4A-584F-DA4DE5170A0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956227" y="6118630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5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44" name="Freeform 25">
                <a:extLst>
                  <a:ext uri="{FF2B5EF4-FFF2-40B4-BE49-F238E27FC236}">
                    <a16:creationId xmlns:a16="http://schemas.microsoft.com/office/drawing/2014/main" id="{ECE0F9B6-F4C9-CC8D-CCA1-D408155095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63781" y="6500848"/>
                <a:ext cx="64962" cy="11028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2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2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45" name="Freeform 26">
                <a:extLst>
                  <a:ext uri="{FF2B5EF4-FFF2-40B4-BE49-F238E27FC236}">
                    <a16:creationId xmlns:a16="http://schemas.microsoft.com/office/drawing/2014/main" id="{6607D4BB-EBE5-30FD-DDEC-E21116B274A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956227" y="6689691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6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46" name="Freeform 27">
                <a:extLst>
                  <a:ext uri="{FF2B5EF4-FFF2-40B4-BE49-F238E27FC236}">
                    <a16:creationId xmlns:a16="http://schemas.microsoft.com/office/drawing/2014/main" id="{8EA1C925-76EB-5D15-BA48-09403B19336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956227" y="6880044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7 h 32"/>
                  <a:gd name="T14" fmla="*/ 16 w 21"/>
                  <a:gd name="T15" fmla="*/ 16 h 32"/>
                  <a:gd name="T16" fmla="*/ 11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1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47" name="Freeform 43">
                <a:extLst>
                  <a:ext uri="{FF2B5EF4-FFF2-40B4-BE49-F238E27FC236}">
                    <a16:creationId xmlns:a16="http://schemas.microsoft.com/office/drawing/2014/main" id="{66D04A03-F7FB-E1FF-A707-8A8CDCC5C9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196435" y="6126184"/>
                <a:ext cx="63451" cy="9366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5" y="0"/>
                      <a:pt x="18" y="5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48" name="Freeform 44">
                <a:extLst>
                  <a:ext uri="{FF2B5EF4-FFF2-40B4-BE49-F238E27FC236}">
                    <a16:creationId xmlns:a16="http://schemas.microsoft.com/office/drawing/2014/main" id="{1A68D531-4783-9292-3BAD-FE1CA8E355B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196435" y="6280280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1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49" name="Freeform 45">
                <a:extLst>
                  <a:ext uri="{FF2B5EF4-FFF2-40B4-BE49-F238E27FC236}">
                    <a16:creationId xmlns:a16="http://schemas.microsoft.com/office/drawing/2014/main" id="{77480F75-5F20-7DCB-ACC4-B8C8ABD76E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07010" y="6586960"/>
                <a:ext cx="49855" cy="89134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49 h 59"/>
                  <a:gd name="T20" fmla="*/ 17 w 33"/>
                  <a:gd name="T21" fmla="*/ 49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50" name="Freeform 46">
                <a:extLst>
                  <a:ext uri="{FF2B5EF4-FFF2-40B4-BE49-F238E27FC236}">
                    <a16:creationId xmlns:a16="http://schemas.microsoft.com/office/drawing/2014/main" id="{8049562F-B3CB-5FEF-87BA-7B2E07BAFE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196435" y="6736524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51" name="Freeform 47">
                <a:extLst>
                  <a:ext uri="{FF2B5EF4-FFF2-40B4-BE49-F238E27FC236}">
                    <a16:creationId xmlns:a16="http://schemas.microsoft.com/office/drawing/2014/main" id="{576132E2-F472-47F3-2F50-8E9DEA55E8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196435" y="6890620"/>
                <a:ext cx="63451" cy="89134"/>
              </a:xfrm>
              <a:custGeom>
                <a:avLst/>
                <a:gdLst>
                  <a:gd name="T0" fmla="*/ 18 w 18"/>
                  <a:gd name="T1" fmla="*/ 13 h 25"/>
                  <a:gd name="T2" fmla="*/ 9 w 18"/>
                  <a:gd name="T3" fmla="*/ 25 h 25"/>
                  <a:gd name="T4" fmla="*/ 0 w 18"/>
                  <a:gd name="T5" fmla="*/ 12 h 25"/>
                  <a:gd name="T6" fmla="*/ 9 w 18"/>
                  <a:gd name="T7" fmla="*/ 0 h 25"/>
                  <a:gd name="T8" fmla="*/ 18 w 18"/>
                  <a:gd name="T9" fmla="*/ 13 h 25"/>
                  <a:gd name="T10" fmla="*/ 5 w 18"/>
                  <a:gd name="T11" fmla="*/ 12 h 25"/>
                  <a:gd name="T12" fmla="*/ 9 w 18"/>
                  <a:gd name="T13" fmla="*/ 22 h 25"/>
                  <a:gd name="T14" fmla="*/ 13 w 18"/>
                  <a:gd name="T15" fmla="*/ 13 h 25"/>
                  <a:gd name="T16" fmla="*/ 9 w 18"/>
                  <a:gd name="T17" fmla="*/ 3 h 25"/>
                  <a:gd name="T18" fmla="*/ 5 w 18"/>
                  <a:gd name="T1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5">
                    <a:moveTo>
                      <a:pt x="18" y="13"/>
                    </a:moveTo>
                    <a:cubicBezTo>
                      <a:pt x="18" y="21"/>
                      <a:pt x="15" y="25"/>
                      <a:pt x="9" y="25"/>
                    </a:cubicBezTo>
                    <a:cubicBezTo>
                      <a:pt x="3" y="25"/>
                      <a:pt x="0" y="21"/>
                      <a:pt x="0" y="12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2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6"/>
                      <a:pt x="12" y="3"/>
                      <a:pt x="9" y="3"/>
                    </a:cubicBezTo>
                    <a:cubicBezTo>
                      <a:pt x="6" y="3"/>
                      <a:pt x="5" y="6"/>
                      <a:pt x="5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52" name="Freeform 63">
                <a:extLst>
                  <a:ext uri="{FF2B5EF4-FFF2-40B4-BE49-F238E27FC236}">
                    <a16:creationId xmlns:a16="http://schemas.microsoft.com/office/drawing/2014/main" id="{402F7EDF-ECF6-D2C2-4A35-EA750B23F8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69019" y="6126184"/>
                <a:ext cx="60430" cy="9366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4" y="0"/>
                      <a:pt x="17" y="5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53" name="Freeform 64">
                <a:extLst>
                  <a:ext uri="{FF2B5EF4-FFF2-40B4-BE49-F238E27FC236}">
                    <a16:creationId xmlns:a16="http://schemas.microsoft.com/office/drawing/2014/main" id="{ACB62EB8-8204-C53F-4C25-2746EC05DE5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69019" y="6280280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1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54" name="Freeform 65">
                <a:extLst>
                  <a:ext uri="{FF2B5EF4-FFF2-40B4-BE49-F238E27FC236}">
                    <a16:creationId xmlns:a16="http://schemas.microsoft.com/office/drawing/2014/main" id="{7AD976BF-6522-A08A-1D50-3E95E5E9A9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75062" y="6586960"/>
                <a:ext cx="49855" cy="89134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49 h 59"/>
                  <a:gd name="T20" fmla="*/ 16 w 33"/>
                  <a:gd name="T21" fmla="*/ 49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55" name="Freeform 66">
                <a:extLst>
                  <a:ext uri="{FF2B5EF4-FFF2-40B4-BE49-F238E27FC236}">
                    <a16:creationId xmlns:a16="http://schemas.microsoft.com/office/drawing/2014/main" id="{CDF8106C-DFDC-9A08-82C8-B3A852EAC13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69019" y="6736524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56" name="Freeform 67">
                <a:extLst>
                  <a:ext uri="{FF2B5EF4-FFF2-40B4-BE49-F238E27FC236}">
                    <a16:creationId xmlns:a16="http://schemas.microsoft.com/office/drawing/2014/main" id="{20AB4E10-D6DB-5C49-846C-0FC60490E53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69019" y="6890620"/>
                <a:ext cx="60430" cy="89134"/>
              </a:xfrm>
              <a:custGeom>
                <a:avLst/>
                <a:gdLst>
                  <a:gd name="T0" fmla="*/ 17 w 17"/>
                  <a:gd name="T1" fmla="*/ 13 h 25"/>
                  <a:gd name="T2" fmla="*/ 9 w 17"/>
                  <a:gd name="T3" fmla="*/ 25 h 25"/>
                  <a:gd name="T4" fmla="*/ 0 w 17"/>
                  <a:gd name="T5" fmla="*/ 12 h 25"/>
                  <a:gd name="T6" fmla="*/ 9 w 17"/>
                  <a:gd name="T7" fmla="*/ 0 h 25"/>
                  <a:gd name="T8" fmla="*/ 17 w 17"/>
                  <a:gd name="T9" fmla="*/ 13 h 25"/>
                  <a:gd name="T10" fmla="*/ 4 w 17"/>
                  <a:gd name="T11" fmla="*/ 12 h 25"/>
                  <a:gd name="T12" fmla="*/ 9 w 17"/>
                  <a:gd name="T13" fmla="*/ 22 h 25"/>
                  <a:gd name="T14" fmla="*/ 13 w 17"/>
                  <a:gd name="T15" fmla="*/ 13 h 25"/>
                  <a:gd name="T16" fmla="*/ 9 w 17"/>
                  <a:gd name="T17" fmla="*/ 3 h 25"/>
                  <a:gd name="T18" fmla="*/ 4 w 17"/>
                  <a:gd name="T1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5">
                    <a:moveTo>
                      <a:pt x="17" y="13"/>
                    </a:moveTo>
                    <a:cubicBezTo>
                      <a:pt x="17" y="21"/>
                      <a:pt x="14" y="25"/>
                      <a:pt x="9" y="25"/>
                    </a:cubicBezTo>
                    <a:cubicBezTo>
                      <a:pt x="3" y="25"/>
                      <a:pt x="0" y="21"/>
                      <a:pt x="0" y="12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2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6"/>
                      <a:pt x="11" y="3"/>
                      <a:pt x="9" y="3"/>
                    </a:cubicBezTo>
                    <a:cubicBezTo>
                      <a:pt x="6" y="3"/>
                      <a:pt x="4" y="6"/>
                      <a:pt x="4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57" name="Freeform 83">
                <a:extLst>
                  <a:ext uri="{FF2B5EF4-FFF2-40B4-BE49-F238E27FC236}">
                    <a16:creationId xmlns:a16="http://schemas.microsoft.com/office/drawing/2014/main" id="{EC72777F-5F04-D938-EDA0-C32DFD31B9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93593" y="6133738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3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58" name="Freeform 84">
                <a:extLst>
                  <a:ext uri="{FF2B5EF4-FFF2-40B4-BE49-F238E27FC236}">
                    <a16:creationId xmlns:a16="http://schemas.microsoft.com/office/drawing/2014/main" id="{488FF0BE-6AFD-808F-4B1E-8A7E03F8C41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78486" y="6401139"/>
                <a:ext cx="110285" cy="164671"/>
              </a:xfrm>
              <a:custGeom>
                <a:avLst/>
                <a:gdLst>
                  <a:gd name="T0" fmla="*/ 31 w 31"/>
                  <a:gd name="T1" fmla="*/ 23 h 46"/>
                  <a:gd name="T2" fmla="*/ 15 w 31"/>
                  <a:gd name="T3" fmla="*/ 46 h 46"/>
                  <a:gd name="T4" fmla="*/ 0 w 31"/>
                  <a:gd name="T5" fmla="*/ 23 h 46"/>
                  <a:gd name="T6" fmla="*/ 15 w 31"/>
                  <a:gd name="T7" fmla="*/ 0 h 46"/>
                  <a:gd name="T8" fmla="*/ 31 w 31"/>
                  <a:gd name="T9" fmla="*/ 23 h 46"/>
                  <a:gd name="T10" fmla="*/ 8 w 31"/>
                  <a:gd name="T11" fmla="*/ 23 h 46"/>
                  <a:gd name="T12" fmla="*/ 15 w 31"/>
                  <a:gd name="T13" fmla="*/ 39 h 46"/>
                  <a:gd name="T14" fmla="*/ 23 w 31"/>
                  <a:gd name="T15" fmla="*/ 23 h 46"/>
                  <a:gd name="T16" fmla="*/ 15 w 31"/>
                  <a:gd name="T17" fmla="*/ 7 h 46"/>
                  <a:gd name="T18" fmla="*/ 8 w 31"/>
                  <a:gd name="T19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6">
                    <a:moveTo>
                      <a:pt x="31" y="23"/>
                    </a:moveTo>
                    <a:cubicBezTo>
                      <a:pt x="31" y="38"/>
                      <a:pt x="26" y="46"/>
                      <a:pt x="15" y="46"/>
                    </a:cubicBezTo>
                    <a:cubicBezTo>
                      <a:pt x="5" y="46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7"/>
                      <a:pt x="15" y="7"/>
                    </a:cubicBezTo>
                    <a:cubicBezTo>
                      <a:pt x="10" y="7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59" name="Freeform 85">
                <a:extLst>
                  <a:ext uri="{FF2B5EF4-FFF2-40B4-BE49-F238E27FC236}">
                    <a16:creationId xmlns:a16="http://schemas.microsoft.com/office/drawing/2014/main" id="{BDA8B1F7-1312-3F78-C844-42149CF821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78486" y="6673073"/>
                <a:ext cx="110285" cy="160139"/>
              </a:xfrm>
              <a:custGeom>
                <a:avLst/>
                <a:gdLst>
                  <a:gd name="T0" fmla="*/ 31 w 31"/>
                  <a:gd name="T1" fmla="*/ 23 h 45"/>
                  <a:gd name="T2" fmla="*/ 15 w 31"/>
                  <a:gd name="T3" fmla="*/ 45 h 45"/>
                  <a:gd name="T4" fmla="*/ 0 w 31"/>
                  <a:gd name="T5" fmla="*/ 23 h 45"/>
                  <a:gd name="T6" fmla="*/ 15 w 31"/>
                  <a:gd name="T7" fmla="*/ 0 h 45"/>
                  <a:gd name="T8" fmla="*/ 31 w 31"/>
                  <a:gd name="T9" fmla="*/ 23 h 45"/>
                  <a:gd name="T10" fmla="*/ 8 w 31"/>
                  <a:gd name="T11" fmla="*/ 23 h 45"/>
                  <a:gd name="T12" fmla="*/ 15 w 31"/>
                  <a:gd name="T13" fmla="*/ 39 h 45"/>
                  <a:gd name="T14" fmla="*/ 23 w 31"/>
                  <a:gd name="T15" fmla="*/ 23 h 45"/>
                  <a:gd name="T16" fmla="*/ 15 w 31"/>
                  <a:gd name="T17" fmla="*/ 6 h 45"/>
                  <a:gd name="T18" fmla="*/ 8 w 31"/>
                  <a:gd name="T19" fmla="*/ 2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31" y="23"/>
                    </a:moveTo>
                    <a:cubicBezTo>
                      <a:pt x="31" y="38"/>
                      <a:pt x="26" y="45"/>
                      <a:pt x="15" y="45"/>
                    </a:cubicBezTo>
                    <a:cubicBezTo>
                      <a:pt x="5" y="45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6"/>
                      <a:pt x="15" y="6"/>
                    </a:cubicBezTo>
                    <a:cubicBezTo>
                      <a:pt x="10" y="6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60" name="Freeform 95">
                <a:extLst>
                  <a:ext uri="{FF2B5EF4-FFF2-40B4-BE49-F238E27FC236}">
                    <a16:creationId xmlns:a16="http://schemas.microsoft.com/office/drawing/2014/main" id="{C6685443-3F4A-D6F0-F2F4-59DA8F42B0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0939" y="5248443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61" name="Freeform 96">
                <a:extLst>
                  <a:ext uri="{FF2B5EF4-FFF2-40B4-BE49-F238E27FC236}">
                    <a16:creationId xmlns:a16="http://schemas.microsoft.com/office/drawing/2014/main" id="{C75A5AE3-E08A-F756-18DA-B479B9753C1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850363" y="5394985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62" name="Freeform 97">
                <a:extLst>
                  <a:ext uri="{FF2B5EF4-FFF2-40B4-BE49-F238E27FC236}">
                    <a16:creationId xmlns:a16="http://schemas.microsoft.com/office/drawing/2014/main" id="{4C27A611-1F16-9187-6E6F-514A119201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0939" y="5541527"/>
                <a:ext cx="52876" cy="84602"/>
              </a:xfrm>
              <a:custGeom>
                <a:avLst/>
                <a:gdLst>
                  <a:gd name="T0" fmla="*/ 16 w 35"/>
                  <a:gd name="T1" fmla="*/ 14 h 56"/>
                  <a:gd name="T2" fmla="*/ 7 w 35"/>
                  <a:gd name="T3" fmla="*/ 21 h 56"/>
                  <a:gd name="T4" fmla="*/ 0 w 35"/>
                  <a:gd name="T5" fmla="*/ 11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4"/>
                    </a:moveTo>
                    <a:lnTo>
                      <a:pt x="7" y="21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63" name="Freeform 98">
                <a:extLst>
                  <a:ext uri="{FF2B5EF4-FFF2-40B4-BE49-F238E27FC236}">
                    <a16:creationId xmlns:a16="http://schemas.microsoft.com/office/drawing/2014/main" id="{FD81B8A0-C181-B45D-20D9-E061CED3D7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850363" y="5688069"/>
                <a:ext cx="67984" cy="84602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64" name="Freeform 99">
                <a:extLst>
                  <a:ext uri="{FF2B5EF4-FFF2-40B4-BE49-F238E27FC236}">
                    <a16:creationId xmlns:a16="http://schemas.microsoft.com/office/drawing/2014/main" id="{FBD4DBD1-BE7B-8690-CA29-4782020980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0939" y="5833100"/>
                <a:ext cx="52876" cy="86113"/>
              </a:xfrm>
              <a:custGeom>
                <a:avLst/>
                <a:gdLst>
                  <a:gd name="T0" fmla="*/ 16 w 35"/>
                  <a:gd name="T1" fmla="*/ 15 h 57"/>
                  <a:gd name="T2" fmla="*/ 7 w 35"/>
                  <a:gd name="T3" fmla="*/ 22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8 h 57"/>
                  <a:gd name="T12" fmla="*/ 35 w 35"/>
                  <a:gd name="T13" fmla="*/ 48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8 h 57"/>
                  <a:gd name="T20" fmla="*/ 16 w 35"/>
                  <a:gd name="T21" fmla="*/ 48 h 57"/>
                  <a:gd name="T22" fmla="*/ 16 w 35"/>
                  <a:gd name="T23" fmla="*/ 1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5"/>
                    </a:moveTo>
                    <a:lnTo>
                      <a:pt x="7" y="22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5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65" name="Freeform 100">
                <a:extLst>
                  <a:ext uri="{FF2B5EF4-FFF2-40B4-BE49-F238E27FC236}">
                    <a16:creationId xmlns:a16="http://schemas.microsoft.com/office/drawing/2014/main" id="{B3916C13-125A-FA57-25E8-7DD7433D134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850363" y="5979642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66" name="Freeform 101">
                <a:extLst>
                  <a:ext uri="{FF2B5EF4-FFF2-40B4-BE49-F238E27FC236}">
                    <a16:creationId xmlns:a16="http://schemas.microsoft.com/office/drawing/2014/main" id="{3D11D95D-7A99-9CDF-F0A6-8761EDB41F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0939" y="6126184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67" name="Freeform 102">
                <a:extLst>
                  <a:ext uri="{FF2B5EF4-FFF2-40B4-BE49-F238E27FC236}">
                    <a16:creationId xmlns:a16="http://schemas.microsoft.com/office/drawing/2014/main" id="{FF84ACCA-3BB0-D0D6-A6DA-2EB063A909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0939" y="6272726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68" name="Freeform 103">
                <a:extLst>
                  <a:ext uri="{FF2B5EF4-FFF2-40B4-BE49-F238E27FC236}">
                    <a16:creationId xmlns:a16="http://schemas.microsoft.com/office/drawing/2014/main" id="{7A2D2769-653F-4844-C317-4BCAAA9B10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0939" y="6422290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5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5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69" name="Freeform 104">
                <a:extLst>
                  <a:ext uri="{FF2B5EF4-FFF2-40B4-BE49-F238E27FC236}">
                    <a16:creationId xmlns:a16="http://schemas.microsoft.com/office/drawing/2014/main" id="{DE6669BD-AAD2-CC99-9349-20FF8415F3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850363" y="6565810"/>
                <a:ext cx="67984" cy="89134"/>
              </a:xfrm>
              <a:custGeom>
                <a:avLst/>
                <a:gdLst>
                  <a:gd name="T0" fmla="*/ 17 w 19"/>
                  <a:gd name="T1" fmla="*/ 4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4 h 25"/>
                  <a:gd name="T16" fmla="*/ 6 w 19"/>
                  <a:gd name="T17" fmla="*/ 12 h 25"/>
                  <a:gd name="T18" fmla="*/ 10 w 19"/>
                  <a:gd name="T19" fmla="*/ 20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3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70" name="Freeform 105">
                <a:extLst>
                  <a:ext uri="{FF2B5EF4-FFF2-40B4-BE49-F238E27FC236}">
                    <a16:creationId xmlns:a16="http://schemas.microsoft.com/office/drawing/2014/main" id="{A85BA5B7-415A-C5CE-5BB8-F1BF8B63EB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0939" y="6715374"/>
                <a:ext cx="52876" cy="81580"/>
              </a:xfrm>
              <a:custGeom>
                <a:avLst/>
                <a:gdLst>
                  <a:gd name="T0" fmla="*/ 16 w 35"/>
                  <a:gd name="T1" fmla="*/ 12 h 54"/>
                  <a:gd name="T2" fmla="*/ 7 w 35"/>
                  <a:gd name="T3" fmla="*/ 19 h 54"/>
                  <a:gd name="T4" fmla="*/ 0 w 35"/>
                  <a:gd name="T5" fmla="*/ 9 h 54"/>
                  <a:gd name="T6" fmla="*/ 19 w 35"/>
                  <a:gd name="T7" fmla="*/ 0 h 54"/>
                  <a:gd name="T8" fmla="*/ 28 w 35"/>
                  <a:gd name="T9" fmla="*/ 0 h 54"/>
                  <a:gd name="T10" fmla="*/ 28 w 35"/>
                  <a:gd name="T11" fmla="*/ 45 h 54"/>
                  <a:gd name="T12" fmla="*/ 35 w 35"/>
                  <a:gd name="T13" fmla="*/ 45 h 54"/>
                  <a:gd name="T14" fmla="*/ 35 w 35"/>
                  <a:gd name="T15" fmla="*/ 54 h 54"/>
                  <a:gd name="T16" fmla="*/ 9 w 35"/>
                  <a:gd name="T17" fmla="*/ 54 h 54"/>
                  <a:gd name="T18" fmla="*/ 9 w 35"/>
                  <a:gd name="T19" fmla="*/ 45 h 54"/>
                  <a:gd name="T20" fmla="*/ 16 w 35"/>
                  <a:gd name="T21" fmla="*/ 45 h 54"/>
                  <a:gd name="T22" fmla="*/ 16 w 35"/>
                  <a:gd name="T23" fmla="*/ 1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4">
                    <a:moveTo>
                      <a:pt x="16" y="12"/>
                    </a:moveTo>
                    <a:lnTo>
                      <a:pt x="7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4"/>
                    </a:lnTo>
                    <a:lnTo>
                      <a:pt x="9" y="54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71" name="Freeform 106">
                <a:extLst>
                  <a:ext uri="{FF2B5EF4-FFF2-40B4-BE49-F238E27FC236}">
                    <a16:creationId xmlns:a16="http://schemas.microsoft.com/office/drawing/2014/main" id="{9C75AB93-2A6A-2EF6-CEC7-9602D6D3BCF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850363" y="6857383"/>
                <a:ext cx="67984" cy="89134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2 h 25"/>
                  <a:gd name="T18" fmla="*/ 10 w 19"/>
                  <a:gd name="T19" fmla="*/ 21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72" name="Freeform 135">
                <a:extLst>
                  <a:ext uri="{FF2B5EF4-FFF2-40B4-BE49-F238E27FC236}">
                    <a16:creationId xmlns:a16="http://schemas.microsoft.com/office/drawing/2014/main" id="{2AAF32D2-FF0C-B723-CEAA-AFB82C12F1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03296" y="5615554"/>
                <a:ext cx="60430" cy="111795"/>
              </a:xfrm>
              <a:custGeom>
                <a:avLst/>
                <a:gdLst>
                  <a:gd name="T0" fmla="*/ 19 w 40"/>
                  <a:gd name="T1" fmla="*/ 14 h 74"/>
                  <a:gd name="T2" fmla="*/ 4 w 40"/>
                  <a:gd name="T3" fmla="*/ 24 h 74"/>
                  <a:gd name="T4" fmla="*/ 0 w 40"/>
                  <a:gd name="T5" fmla="*/ 14 h 74"/>
                  <a:gd name="T6" fmla="*/ 21 w 40"/>
                  <a:gd name="T7" fmla="*/ 0 h 74"/>
                  <a:gd name="T8" fmla="*/ 30 w 40"/>
                  <a:gd name="T9" fmla="*/ 0 h 74"/>
                  <a:gd name="T10" fmla="*/ 30 w 40"/>
                  <a:gd name="T11" fmla="*/ 64 h 74"/>
                  <a:gd name="T12" fmla="*/ 40 w 40"/>
                  <a:gd name="T13" fmla="*/ 64 h 74"/>
                  <a:gd name="T14" fmla="*/ 40 w 40"/>
                  <a:gd name="T15" fmla="*/ 74 h 74"/>
                  <a:gd name="T16" fmla="*/ 9 w 40"/>
                  <a:gd name="T17" fmla="*/ 74 h 74"/>
                  <a:gd name="T18" fmla="*/ 9 w 40"/>
                  <a:gd name="T19" fmla="*/ 64 h 74"/>
                  <a:gd name="T20" fmla="*/ 19 w 40"/>
                  <a:gd name="T21" fmla="*/ 64 h 74"/>
                  <a:gd name="T22" fmla="*/ 19 w 40"/>
                  <a:gd name="T23" fmla="*/ 1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4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4"/>
                    </a:lnTo>
                    <a:lnTo>
                      <a:pt x="9" y="74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73" name="Freeform 136">
                <a:extLst>
                  <a:ext uri="{FF2B5EF4-FFF2-40B4-BE49-F238E27FC236}">
                    <a16:creationId xmlns:a16="http://schemas.microsoft.com/office/drawing/2014/main" id="{1435D4A7-D29D-252A-9636-FE652DD8676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392720" y="5804396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8 h 32"/>
                  <a:gd name="T14" fmla="*/ 16 w 21"/>
                  <a:gd name="T15" fmla="*/ 16 h 32"/>
                  <a:gd name="T16" fmla="*/ 10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0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0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74" name="Freeform 137">
                <a:extLst>
                  <a:ext uri="{FF2B5EF4-FFF2-40B4-BE49-F238E27FC236}">
                    <a16:creationId xmlns:a16="http://schemas.microsoft.com/office/drawing/2014/main" id="{7FF590E0-6809-1FB5-363F-1138F0D944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392720" y="6186614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6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75" name="Freeform 138">
                <a:extLst>
                  <a:ext uri="{FF2B5EF4-FFF2-40B4-BE49-F238E27FC236}">
                    <a16:creationId xmlns:a16="http://schemas.microsoft.com/office/drawing/2014/main" id="{4FF1B1C7-29B1-B80F-8CE5-5FCF8BC027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03296" y="6379989"/>
                <a:ext cx="60430" cy="107263"/>
              </a:xfrm>
              <a:custGeom>
                <a:avLst/>
                <a:gdLst>
                  <a:gd name="T0" fmla="*/ 19 w 40"/>
                  <a:gd name="T1" fmla="*/ 12 h 71"/>
                  <a:gd name="T2" fmla="*/ 4 w 40"/>
                  <a:gd name="T3" fmla="*/ 21 h 71"/>
                  <a:gd name="T4" fmla="*/ 0 w 40"/>
                  <a:gd name="T5" fmla="*/ 12 h 71"/>
                  <a:gd name="T6" fmla="*/ 21 w 40"/>
                  <a:gd name="T7" fmla="*/ 0 h 71"/>
                  <a:gd name="T8" fmla="*/ 30 w 40"/>
                  <a:gd name="T9" fmla="*/ 0 h 71"/>
                  <a:gd name="T10" fmla="*/ 30 w 40"/>
                  <a:gd name="T11" fmla="*/ 64 h 71"/>
                  <a:gd name="T12" fmla="*/ 40 w 40"/>
                  <a:gd name="T13" fmla="*/ 64 h 71"/>
                  <a:gd name="T14" fmla="*/ 40 w 40"/>
                  <a:gd name="T15" fmla="*/ 71 h 71"/>
                  <a:gd name="T16" fmla="*/ 9 w 40"/>
                  <a:gd name="T17" fmla="*/ 71 h 71"/>
                  <a:gd name="T18" fmla="*/ 9 w 40"/>
                  <a:gd name="T19" fmla="*/ 64 h 71"/>
                  <a:gd name="T20" fmla="*/ 19 w 40"/>
                  <a:gd name="T21" fmla="*/ 64 h 71"/>
                  <a:gd name="T22" fmla="*/ 19 w 40"/>
                  <a:gd name="T23" fmla="*/ 1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1">
                    <a:moveTo>
                      <a:pt x="19" y="12"/>
                    </a:moveTo>
                    <a:lnTo>
                      <a:pt x="4" y="21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1"/>
                    </a:lnTo>
                    <a:lnTo>
                      <a:pt x="9" y="71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76" name="Freeform 139">
                <a:extLst>
                  <a:ext uri="{FF2B5EF4-FFF2-40B4-BE49-F238E27FC236}">
                    <a16:creationId xmlns:a16="http://schemas.microsoft.com/office/drawing/2014/main" id="{289AFA1B-96CF-4CDF-A0D3-0585E2F32A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03296" y="6568831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77" name="Freeform 140">
                <a:extLst>
                  <a:ext uri="{FF2B5EF4-FFF2-40B4-BE49-F238E27FC236}">
                    <a16:creationId xmlns:a16="http://schemas.microsoft.com/office/drawing/2014/main" id="{DFFA93C7-BA1D-1C10-A5FB-56417DBB72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03296" y="6757674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78" name="Freeform 149">
                <a:extLst>
                  <a:ext uri="{FF2B5EF4-FFF2-40B4-BE49-F238E27FC236}">
                    <a16:creationId xmlns:a16="http://schemas.microsoft.com/office/drawing/2014/main" id="{EAFF2E4E-A9ED-E35C-F33C-2BD63D5EF7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15269" y="5259018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79" name="Freeform 150">
                <a:extLst>
                  <a:ext uri="{FF2B5EF4-FFF2-40B4-BE49-F238E27FC236}">
                    <a16:creationId xmlns:a16="http://schemas.microsoft.com/office/drawing/2014/main" id="{4C65F3B2-D4E2-E762-628F-775E4BE39F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400163" y="5541527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80" name="Freeform 151">
                <a:extLst>
                  <a:ext uri="{FF2B5EF4-FFF2-40B4-BE49-F238E27FC236}">
                    <a16:creationId xmlns:a16="http://schemas.microsoft.com/office/drawing/2014/main" id="{DA2B01BC-4813-EB40-23DB-7E5A3B0B9C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15269" y="5830079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81" name="Freeform 152">
                <a:extLst>
                  <a:ext uri="{FF2B5EF4-FFF2-40B4-BE49-F238E27FC236}">
                    <a16:creationId xmlns:a16="http://schemas.microsoft.com/office/drawing/2014/main" id="{A6A4C99F-E574-6920-36D5-F8A5F075A4A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400163" y="6112587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82" name="Freeform 153">
                <a:extLst>
                  <a:ext uri="{FF2B5EF4-FFF2-40B4-BE49-F238E27FC236}">
                    <a16:creationId xmlns:a16="http://schemas.microsoft.com/office/drawing/2014/main" id="{B1EBA6FE-0B40-7B5B-31F1-12D9143087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15269" y="6401139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83" name="Freeform 154">
                <a:extLst>
                  <a:ext uri="{FF2B5EF4-FFF2-40B4-BE49-F238E27FC236}">
                    <a16:creationId xmlns:a16="http://schemas.microsoft.com/office/drawing/2014/main" id="{F1159163-7E4F-DDBB-D824-63E0318831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15269" y="6686669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84" name="Line 8">
                <a:extLst>
                  <a:ext uri="{FF2B5EF4-FFF2-40B4-BE49-F238E27FC236}">
                    <a16:creationId xmlns:a16="http://schemas.microsoft.com/office/drawing/2014/main" id="{51EB4EED-9510-8719-8288-EE4447D98B6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03374" y="5783246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85" name="Line 9">
                <a:extLst>
                  <a:ext uri="{FF2B5EF4-FFF2-40B4-BE49-F238E27FC236}">
                    <a16:creationId xmlns:a16="http://schemas.microsoft.com/office/drawing/2014/main" id="{D8F4BE52-D19C-1494-5C6B-68B249276F3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03374" y="5783246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86" name="Freeform 10">
                <a:extLst>
                  <a:ext uri="{FF2B5EF4-FFF2-40B4-BE49-F238E27FC236}">
                    <a16:creationId xmlns:a16="http://schemas.microsoft.com/office/drawing/2014/main" id="{CD9BF6FF-E23E-E7E6-C7CF-3735D7DC56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6556" y="6854362"/>
                <a:ext cx="99709" cy="157117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8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7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7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8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7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7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87" name="Freeform 23">
                <a:extLst>
                  <a:ext uri="{FF2B5EF4-FFF2-40B4-BE49-F238E27FC236}">
                    <a16:creationId xmlns:a16="http://schemas.microsoft.com/office/drawing/2014/main" id="{631B11FD-6E6E-A04C-731C-AE847F92ED3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54046" y="6133738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8 h 32"/>
                  <a:gd name="T14" fmla="*/ 16 w 21"/>
                  <a:gd name="T15" fmla="*/ 16 h 32"/>
                  <a:gd name="T16" fmla="*/ 11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1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1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88" name="Freeform 24">
                <a:extLst>
                  <a:ext uri="{FF2B5EF4-FFF2-40B4-BE49-F238E27FC236}">
                    <a16:creationId xmlns:a16="http://schemas.microsoft.com/office/drawing/2014/main" id="{E2F54BD4-DC62-F0BC-E91D-C2966F83B0B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54046" y="6325602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5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89" name="Freeform 25">
                <a:extLst>
                  <a:ext uri="{FF2B5EF4-FFF2-40B4-BE49-F238E27FC236}">
                    <a16:creationId xmlns:a16="http://schemas.microsoft.com/office/drawing/2014/main" id="{E974255E-7BB1-77D2-87C5-AEBD405361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57068" y="6707820"/>
                <a:ext cx="64962" cy="11028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2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2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90" name="Freeform 26">
                <a:extLst>
                  <a:ext uri="{FF2B5EF4-FFF2-40B4-BE49-F238E27FC236}">
                    <a16:creationId xmlns:a16="http://schemas.microsoft.com/office/drawing/2014/main" id="{3868022C-0EF4-29FF-AAA4-70805839D83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54046" y="6896663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6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91" name="Freeform 43">
                <a:extLst>
                  <a:ext uri="{FF2B5EF4-FFF2-40B4-BE49-F238E27FC236}">
                    <a16:creationId xmlns:a16="http://schemas.microsoft.com/office/drawing/2014/main" id="{390E8CE0-9FB8-FF30-1D83-759258C9B1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25925" y="6333156"/>
                <a:ext cx="63451" cy="9366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5" y="0"/>
                      <a:pt x="18" y="5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92" name="Freeform 44">
                <a:extLst>
                  <a:ext uri="{FF2B5EF4-FFF2-40B4-BE49-F238E27FC236}">
                    <a16:creationId xmlns:a16="http://schemas.microsoft.com/office/drawing/2014/main" id="{E134E5F9-A5FD-7270-983F-323CCF61C9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25925" y="6487252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1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93" name="Freeform 45">
                <a:extLst>
                  <a:ext uri="{FF2B5EF4-FFF2-40B4-BE49-F238E27FC236}">
                    <a16:creationId xmlns:a16="http://schemas.microsoft.com/office/drawing/2014/main" id="{35957B87-3F5C-9716-EE1E-418A507472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28946" y="6793932"/>
                <a:ext cx="49855" cy="89134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49 h 59"/>
                  <a:gd name="T20" fmla="*/ 17 w 33"/>
                  <a:gd name="T21" fmla="*/ 49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94" name="Freeform 63">
                <a:extLst>
                  <a:ext uri="{FF2B5EF4-FFF2-40B4-BE49-F238E27FC236}">
                    <a16:creationId xmlns:a16="http://schemas.microsoft.com/office/drawing/2014/main" id="{8E4E7106-2B4D-15F2-4E8A-6519972FDF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756362" y="6333156"/>
                <a:ext cx="60430" cy="9366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4" y="0"/>
                      <a:pt x="17" y="5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95" name="Freeform 64">
                <a:extLst>
                  <a:ext uri="{FF2B5EF4-FFF2-40B4-BE49-F238E27FC236}">
                    <a16:creationId xmlns:a16="http://schemas.microsoft.com/office/drawing/2014/main" id="{2D3FA326-7CFC-FE30-3820-02B903F5A0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756362" y="6487252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1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96" name="Freeform 65">
                <a:extLst>
                  <a:ext uri="{FF2B5EF4-FFF2-40B4-BE49-F238E27FC236}">
                    <a16:creationId xmlns:a16="http://schemas.microsoft.com/office/drawing/2014/main" id="{323FE13E-B38F-E92F-8D87-2357DC4770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60894" y="6793932"/>
                <a:ext cx="49855" cy="89134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49 h 59"/>
                  <a:gd name="T20" fmla="*/ 16 w 33"/>
                  <a:gd name="T21" fmla="*/ 49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97" name="Freeform 83">
                <a:extLst>
                  <a:ext uri="{FF2B5EF4-FFF2-40B4-BE49-F238E27FC236}">
                    <a16:creationId xmlns:a16="http://schemas.microsoft.com/office/drawing/2014/main" id="{7EBB7827-539C-35C5-D12E-3984099C80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00062" y="6340710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3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98" name="Freeform 84">
                <a:extLst>
                  <a:ext uri="{FF2B5EF4-FFF2-40B4-BE49-F238E27FC236}">
                    <a16:creationId xmlns:a16="http://schemas.microsoft.com/office/drawing/2014/main" id="{44395C43-AB41-5EF2-6F6E-A13FF4588B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97040" y="6608111"/>
                <a:ext cx="110285" cy="164671"/>
              </a:xfrm>
              <a:custGeom>
                <a:avLst/>
                <a:gdLst>
                  <a:gd name="T0" fmla="*/ 31 w 31"/>
                  <a:gd name="T1" fmla="*/ 23 h 46"/>
                  <a:gd name="T2" fmla="*/ 15 w 31"/>
                  <a:gd name="T3" fmla="*/ 46 h 46"/>
                  <a:gd name="T4" fmla="*/ 0 w 31"/>
                  <a:gd name="T5" fmla="*/ 23 h 46"/>
                  <a:gd name="T6" fmla="*/ 15 w 31"/>
                  <a:gd name="T7" fmla="*/ 0 h 46"/>
                  <a:gd name="T8" fmla="*/ 31 w 31"/>
                  <a:gd name="T9" fmla="*/ 23 h 46"/>
                  <a:gd name="T10" fmla="*/ 8 w 31"/>
                  <a:gd name="T11" fmla="*/ 23 h 46"/>
                  <a:gd name="T12" fmla="*/ 15 w 31"/>
                  <a:gd name="T13" fmla="*/ 39 h 46"/>
                  <a:gd name="T14" fmla="*/ 23 w 31"/>
                  <a:gd name="T15" fmla="*/ 23 h 46"/>
                  <a:gd name="T16" fmla="*/ 15 w 31"/>
                  <a:gd name="T17" fmla="*/ 7 h 46"/>
                  <a:gd name="T18" fmla="*/ 8 w 31"/>
                  <a:gd name="T19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6">
                    <a:moveTo>
                      <a:pt x="31" y="23"/>
                    </a:moveTo>
                    <a:cubicBezTo>
                      <a:pt x="31" y="38"/>
                      <a:pt x="26" y="46"/>
                      <a:pt x="15" y="46"/>
                    </a:cubicBezTo>
                    <a:cubicBezTo>
                      <a:pt x="5" y="46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7"/>
                      <a:pt x="15" y="7"/>
                    </a:cubicBezTo>
                    <a:cubicBezTo>
                      <a:pt x="10" y="7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99" name="Freeform 85">
                <a:extLst>
                  <a:ext uri="{FF2B5EF4-FFF2-40B4-BE49-F238E27FC236}">
                    <a16:creationId xmlns:a16="http://schemas.microsoft.com/office/drawing/2014/main" id="{38394FA5-3A24-D933-29F7-F152C0A0721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97040" y="6880045"/>
                <a:ext cx="110285" cy="160139"/>
              </a:xfrm>
              <a:custGeom>
                <a:avLst/>
                <a:gdLst>
                  <a:gd name="T0" fmla="*/ 31 w 31"/>
                  <a:gd name="T1" fmla="*/ 23 h 45"/>
                  <a:gd name="T2" fmla="*/ 15 w 31"/>
                  <a:gd name="T3" fmla="*/ 45 h 45"/>
                  <a:gd name="T4" fmla="*/ 0 w 31"/>
                  <a:gd name="T5" fmla="*/ 23 h 45"/>
                  <a:gd name="T6" fmla="*/ 15 w 31"/>
                  <a:gd name="T7" fmla="*/ 0 h 45"/>
                  <a:gd name="T8" fmla="*/ 31 w 31"/>
                  <a:gd name="T9" fmla="*/ 23 h 45"/>
                  <a:gd name="T10" fmla="*/ 8 w 31"/>
                  <a:gd name="T11" fmla="*/ 23 h 45"/>
                  <a:gd name="T12" fmla="*/ 15 w 31"/>
                  <a:gd name="T13" fmla="*/ 39 h 45"/>
                  <a:gd name="T14" fmla="*/ 23 w 31"/>
                  <a:gd name="T15" fmla="*/ 23 h 45"/>
                  <a:gd name="T16" fmla="*/ 15 w 31"/>
                  <a:gd name="T17" fmla="*/ 6 h 45"/>
                  <a:gd name="T18" fmla="*/ 8 w 31"/>
                  <a:gd name="T19" fmla="*/ 2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31" y="23"/>
                    </a:moveTo>
                    <a:cubicBezTo>
                      <a:pt x="31" y="38"/>
                      <a:pt x="26" y="45"/>
                      <a:pt x="15" y="45"/>
                    </a:cubicBezTo>
                    <a:cubicBezTo>
                      <a:pt x="5" y="45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6"/>
                      <a:pt x="15" y="6"/>
                    </a:cubicBezTo>
                    <a:cubicBezTo>
                      <a:pt x="10" y="6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00" name="Freeform 95">
                <a:extLst>
                  <a:ext uri="{FF2B5EF4-FFF2-40B4-BE49-F238E27FC236}">
                    <a16:creationId xmlns:a16="http://schemas.microsoft.com/office/drawing/2014/main" id="{CF8F1A50-C0FC-FE84-253C-2033099985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1996" y="5455415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01" name="Freeform 96">
                <a:extLst>
                  <a:ext uri="{FF2B5EF4-FFF2-40B4-BE49-F238E27FC236}">
                    <a16:creationId xmlns:a16="http://schemas.microsoft.com/office/drawing/2014/main" id="{ADCDEC7D-4FE7-E6A4-5E24-88C70C7F88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67464" y="5601957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02" name="Freeform 97">
                <a:extLst>
                  <a:ext uri="{FF2B5EF4-FFF2-40B4-BE49-F238E27FC236}">
                    <a16:creationId xmlns:a16="http://schemas.microsoft.com/office/drawing/2014/main" id="{AB4172EE-AAA0-2A82-DA8E-E72C10A0E4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1996" y="5748499"/>
                <a:ext cx="52876" cy="84602"/>
              </a:xfrm>
              <a:custGeom>
                <a:avLst/>
                <a:gdLst>
                  <a:gd name="T0" fmla="*/ 16 w 35"/>
                  <a:gd name="T1" fmla="*/ 14 h 56"/>
                  <a:gd name="T2" fmla="*/ 7 w 35"/>
                  <a:gd name="T3" fmla="*/ 21 h 56"/>
                  <a:gd name="T4" fmla="*/ 0 w 35"/>
                  <a:gd name="T5" fmla="*/ 11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4"/>
                    </a:moveTo>
                    <a:lnTo>
                      <a:pt x="7" y="21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03" name="Freeform 98">
                <a:extLst>
                  <a:ext uri="{FF2B5EF4-FFF2-40B4-BE49-F238E27FC236}">
                    <a16:creationId xmlns:a16="http://schemas.microsoft.com/office/drawing/2014/main" id="{31EDAC66-6C4F-D811-E8EB-D75FCC03DD7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67464" y="5895041"/>
                <a:ext cx="67984" cy="84602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04" name="Freeform 99">
                <a:extLst>
                  <a:ext uri="{FF2B5EF4-FFF2-40B4-BE49-F238E27FC236}">
                    <a16:creationId xmlns:a16="http://schemas.microsoft.com/office/drawing/2014/main" id="{A126252E-D31F-EF9A-B65D-332FE55255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1996" y="6040072"/>
                <a:ext cx="52876" cy="86113"/>
              </a:xfrm>
              <a:custGeom>
                <a:avLst/>
                <a:gdLst>
                  <a:gd name="T0" fmla="*/ 16 w 35"/>
                  <a:gd name="T1" fmla="*/ 15 h 57"/>
                  <a:gd name="T2" fmla="*/ 7 w 35"/>
                  <a:gd name="T3" fmla="*/ 22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8 h 57"/>
                  <a:gd name="T12" fmla="*/ 35 w 35"/>
                  <a:gd name="T13" fmla="*/ 48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8 h 57"/>
                  <a:gd name="T20" fmla="*/ 16 w 35"/>
                  <a:gd name="T21" fmla="*/ 48 h 57"/>
                  <a:gd name="T22" fmla="*/ 16 w 35"/>
                  <a:gd name="T23" fmla="*/ 1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5"/>
                    </a:moveTo>
                    <a:lnTo>
                      <a:pt x="7" y="22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5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05" name="Freeform 100">
                <a:extLst>
                  <a:ext uri="{FF2B5EF4-FFF2-40B4-BE49-F238E27FC236}">
                    <a16:creationId xmlns:a16="http://schemas.microsoft.com/office/drawing/2014/main" id="{19F1F906-E47E-7BA0-174D-D914DFEE142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67464" y="6186614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06" name="Freeform 101">
                <a:extLst>
                  <a:ext uri="{FF2B5EF4-FFF2-40B4-BE49-F238E27FC236}">
                    <a16:creationId xmlns:a16="http://schemas.microsoft.com/office/drawing/2014/main" id="{8E06B7F5-71E0-A715-2FFD-E3B8D76126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1996" y="6333156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07" name="Freeform 102">
                <a:extLst>
                  <a:ext uri="{FF2B5EF4-FFF2-40B4-BE49-F238E27FC236}">
                    <a16:creationId xmlns:a16="http://schemas.microsoft.com/office/drawing/2014/main" id="{54FCEB8C-9D8E-90AD-49BB-66AB645830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1996" y="6479698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08" name="Freeform 103">
                <a:extLst>
                  <a:ext uri="{FF2B5EF4-FFF2-40B4-BE49-F238E27FC236}">
                    <a16:creationId xmlns:a16="http://schemas.microsoft.com/office/drawing/2014/main" id="{69174661-9C39-21D8-DD58-11AEC69B12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1996" y="6629262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5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5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09" name="Freeform 104">
                <a:extLst>
                  <a:ext uri="{FF2B5EF4-FFF2-40B4-BE49-F238E27FC236}">
                    <a16:creationId xmlns:a16="http://schemas.microsoft.com/office/drawing/2014/main" id="{22251F3A-B927-ED34-A230-F33D2DF7F01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67464" y="6772782"/>
                <a:ext cx="67984" cy="89134"/>
              </a:xfrm>
              <a:custGeom>
                <a:avLst/>
                <a:gdLst>
                  <a:gd name="T0" fmla="*/ 17 w 19"/>
                  <a:gd name="T1" fmla="*/ 4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4 h 25"/>
                  <a:gd name="T16" fmla="*/ 6 w 19"/>
                  <a:gd name="T17" fmla="*/ 12 h 25"/>
                  <a:gd name="T18" fmla="*/ 10 w 19"/>
                  <a:gd name="T19" fmla="*/ 20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3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10" name="Freeform 105">
                <a:extLst>
                  <a:ext uri="{FF2B5EF4-FFF2-40B4-BE49-F238E27FC236}">
                    <a16:creationId xmlns:a16="http://schemas.microsoft.com/office/drawing/2014/main" id="{A360385B-0E91-8F15-F896-F54BC692F3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1996" y="6922346"/>
                <a:ext cx="52876" cy="81580"/>
              </a:xfrm>
              <a:custGeom>
                <a:avLst/>
                <a:gdLst>
                  <a:gd name="T0" fmla="*/ 16 w 35"/>
                  <a:gd name="T1" fmla="*/ 12 h 54"/>
                  <a:gd name="T2" fmla="*/ 7 w 35"/>
                  <a:gd name="T3" fmla="*/ 19 h 54"/>
                  <a:gd name="T4" fmla="*/ 0 w 35"/>
                  <a:gd name="T5" fmla="*/ 9 h 54"/>
                  <a:gd name="T6" fmla="*/ 19 w 35"/>
                  <a:gd name="T7" fmla="*/ 0 h 54"/>
                  <a:gd name="T8" fmla="*/ 28 w 35"/>
                  <a:gd name="T9" fmla="*/ 0 h 54"/>
                  <a:gd name="T10" fmla="*/ 28 w 35"/>
                  <a:gd name="T11" fmla="*/ 45 h 54"/>
                  <a:gd name="T12" fmla="*/ 35 w 35"/>
                  <a:gd name="T13" fmla="*/ 45 h 54"/>
                  <a:gd name="T14" fmla="*/ 35 w 35"/>
                  <a:gd name="T15" fmla="*/ 54 h 54"/>
                  <a:gd name="T16" fmla="*/ 9 w 35"/>
                  <a:gd name="T17" fmla="*/ 54 h 54"/>
                  <a:gd name="T18" fmla="*/ 9 w 35"/>
                  <a:gd name="T19" fmla="*/ 45 h 54"/>
                  <a:gd name="T20" fmla="*/ 16 w 35"/>
                  <a:gd name="T21" fmla="*/ 45 h 54"/>
                  <a:gd name="T22" fmla="*/ 16 w 35"/>
                  <a:gd name="T23" fmla="*/ 1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4">
                    <a:moveTo>
                      <a:pt x="16" y="12"/>
                    </a:moveTo>
                    <a:lnTo>
                      <a:pt x="7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4"/>
                    </a:lnTo>
                    <a:lnTo>
                      <a:pt x="9" y="54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11" name="Freeform 135">
                <a:extLst>
                  <a:ext uri="{FF2B5EF4-FFF2-40B4-BE49-F238E27FC236}">
                    <a16:creationId xmlns:a16="http://schemas.microsoft.com/office/drawing/2014/main" id="{D024649B-31B4-9881-F43A-F5682E5637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22085" y="5822526"/>
                <a:ext cx="60430" cy="111795"/>
              </a:xfrm>
              <a:custGeom>
                <a:avLst/>
                <a:gdLst>
                  <a:gd name="T0" fmla="*/ 19 w 40"/>
                  <a:gd name="T1" fmla="*/ 14 h 74"/>
                  <a:gd name="T2" fmla="*/ 4 w 40"/>
                  <a:gd name="T3" fmla="*/ 24 h 74"/>
                  <a:gd name="T4" fmla="*/ 0 w 40"/>
                  <a:gd name="T5" fmla="*/ 14 h 74"/>
                  <a:gd name="T6" fmla="*/ 21 w 40"/>
                  <a:gd name="T7" fmla="*/ 0 h 74"/>
                  <a:gd name="T8" fmla="*/ 30 w 40"/>
                  <a:gd name="T9" fmla="*/ 0 h 74"/>
                  <a:gd name="T10" fmla="*/ 30 w 40"/>
                  <a:gd name="T11" fmla="*/ 64 h 74"/>
                  <a:gd name="T12" fmla="*/ 40 w 40"/>
                  <a:gd name="T13" fmla="*/ 64 h 74"/>
                  <a:gd name="T14" fmla="*/ 40 w 40"/>
                  <a:gd name="T15" fmla="*/ 74 h 74"/>
                  <a:gd name="T16" fmla="*/ 9 w 40"/>
                  <a:gd name="T17" fmla="*/ 74 h 74"/>
                  <a:gd name="T18" fmla="*/ 9 w 40"/>
                  <a:gd name="T19" fmla="*/ 64 h 74"/>
                  <a:gd name="T20" fmla="*/ 19 w 40"/>
                  <a:gd name="T21" fmla="*/ 64 h 74"/>
                  <a:gd name="T22" fmla="*/ 19 w 40"/>
                  <a:gd name="T23" fmla="*/ 1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4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4"/>
                    </a:lnTo>
                    <a:lnTo>
                      <a:pt x="9" y="74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12" name="Freeform 136">
                <a:extLst>
                  <a:ext uri="{FF2B5EF4-FFF2-40B4-BE49-F238E27FC236}">
                    <a16:creationId xmlns:a16="http://schemas.microsoft.com/office/drawing/2014/main" id="{F8960687-558C-8677-65BF-94A5DCC4FAF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17554" y="6011368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8 h 32"/>
                  <a:gd name="T14" fmla="*/ 16 w 21"/>
                  <a:gd name="T15" fmla="*/ 16 h 32"/>
                  <a:gd name="T16" fmla="*/ 10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0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0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13" name="Freeform 137">
                <a:extLst>
                  <a:ext uri="{FF2B5EF4-FFF2-40B4-BE49-F238E27FC236}">
                    <a16:creationId xmlns:a16="http://schemas.microsoft.com/office/drawing/2014/main" id="{DB780200-D49E-9AEF-339E-12490069827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17554" y="6393586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6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14" name="Freeform 138">
                <a:extLst>
                  <a:ext uri="{FF2B5EF4-FFF2-40B4-BE49-F238E27FC236}">
                    <a16:creationId xmlns:a16="http://schemas.microsoft.com/office/drawing/2014/main" id="{A42C7C9A-A32A-5D26-32E7-8234B6427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22085" y="6586961"/>
                <a:ext cx="60430" cy="107263"/>
              </a:xfrm>
              <a:custGeom>
                <a:avLst/>
                <a:gdLst>
                  <a:gd name="T0" fmla="*/ 19 w 40"/>
                  <a:gd name="T1" fmla="*/ 12 h 71"/>
                  <a:gd name="T2" fmla="*/ 4 w 40"/>
                  <a:gd name="T3" fmla="*/ 21 h 71"/>
                  <a:gd name="T4" fmla="*/ 0 w 40"/>
                  <a:gd name="T5" fmla="*/ 12 h 71"/>
                  <a:gd name="T6" fmla="*/ 21 w 40"/>
                  <a:gd name="T7" fmla="*/ 0 h 71"/>
                  <a:gd name="T8" fmla="*/ 30 w 40"/>
                  <a:gd name="T9" fmla="*/ 0 h 71"/>
                  <a:gd name="T10" fmla="*/ 30 w 40"/>
                  <a:gd name="T11" fmla="*/ 64 h 71"/>
                  <a:gd name="T12" fmla="*/ 40 w 40"/>
                  <a:gd name="T13" fmla="*/ 64 h 71"/>
                  <a:gd name="T14" fmla="*/ 40 w 40"/>
                  <a:gd name="T15" fmla="*/ 71 h 71"/>
                  <a:gd name="T16" fmla="*/ 9 w 40"/>
                  <a:gd name="T17" fmla="*/ 71 h 71"/>
                  <a:gd name="T18" fmla="*/ 9 w 40"/>
                  <a:gd name="T19" fmla="*/ 64 h 71"/>
                  <a:gd name="T20" fmla="*/ 19 w 40"/>
                  <a:gd name="T21" fmla="*/ 64 h 71"/>
                  <a:gd name="T22" fmla="*/ 19 w 40"/>
                  <a:gd name="T23" fmla="*/ 1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1">
                    <a:moveTo>
                      <a:pt x="19" y="12"/>
                    </a:moveTo>
                    <a:lnTo>
                      <a:pt x="4" y="21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1"/>
                    </a:lnTo>
                    <a:lnTo>
                      <a:pt x="9" y="71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15" name="Freeform 139">
                <a:extLst>
                  <a:ext uri="{FF2B5EF4-FFF2-40B4-BE49-F238E27FC236}">
                    <a16:creationId xmlns:a16="http://schemas.microsoft.com/office/drawing/2014/main" id="{863E54C2-0AB6-ED87-0E4A-FDDC2A2E09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22085" y="6775803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16" name="Freeform 149">
                <a:extLst>
                  <a:ext uri="{FF2B5EF4-FFF2-40B4-BE49-F238E27FC236}">
                    <a16:creationId xmlns:a16="http://schemas.microsoft.com/office/drawing/2014/main" id="{747F16CB-D693-956F-9192-EA6C5BAD22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78386" y="5465991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17" name="Freeform 150">
                <a:extLst>
                  <a:ext uri="{FF2B5EF4-FFF2-40B4-BE49-F238E27FC236}">
                    <a16:creationId xmlns:a16="http://schemas.microsoft.com/office/drawing/2014/main" id="{9487E938-E559-B2BD-AC33-676604696B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470831" y="5748499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18" name="Freeform 151">
                <a:extLst>
                  <a:ext uri="{FF2B5EF4-FFF2-40B4-BE49-F238E27FC236}">
                    <a16:creationId xmlns:a16="http://schemas.microsoft.com/office/drawing/2014/main" id="{5D48ADD5-3CF1-1917-8481-FA541161C4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78386" y="6037051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19" name="Freeform 152">
                <a:extLst>
                  <a:ext uri="{FF2B5EF4-FFF2-40B4-BE49-F238E27FC236}">
                    <a16:creationId xmlns:a16="http://schemas.microsoft.com/office/drawing/2014/main" id="{49C4027B-4164-3B4D-4C3B-FBFF8180F2B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470831" y="6319559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20" name="Freeform 153">
                <a:extLst>
                  <a:ext uri="{FF2B5EF4-FFF2-40B4-BE49-F238E27FC236}">
                    <a16:creationId xmlns:a16="http://schemas.microsoft.com/office/drawing/2014/main" id="{DABC37B6-6297-2FC2-5FFA-4405B3FB7B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78386" y="6608111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21" name="Freeform 154">
                <a:extLst>
                  <a:ext uri="{FF2B5EF4-FFF2-40B4-BE49-F238E27FC236}">
                    <a16:creationId xmlns:a16="http://schemas.microsoft.com/office/drawing/2014/main" id="{97B8EB6D-A30F-B23D-2F0A-1F620E629C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78386" y="6893641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</p:grpSp>
        <p:grpSp>
          <p:nvGrpSpPr>
            <p:cNvPr id="322" name="Group 321">
              <a:extLst>
                <a:ext uri="{FF2B5EF4-FFF2-40B4-BE49-F238E27FC236}">
                  <a16:creationId xmlns:a16="http://schemas.microsoft.com/office/drawing/2014/main" id="{AC7C84D1-2A50-66DB-ACAB-69EA87803034}"/>
                </a:ext>
              </a:extLst>
            </p:cNvPr>
            <p:cNvGrpSpPr/>
            <p:nvPr/>
          </p:nvGrpSpPr>
          <p:grpSpPr>
            <a:xfrm>
              <a:off x="5294449" y="5513701"/>
              <a:ext cx="1941807" cy="1394352"/>
              <a:chOff x="5046015" y="3147135"/>
              <a:chExt cx="1942818" cy="1395078"/>
            </a:xfrm>
          </p:grpSpPr>
          <p:sp>
            <p:nvSpPr>
              <p:cNvPr id="323" name="Line 8">
                <a:extLst>
                  <a:ext uri="{FF2B5EF4-FFF2-40B4-BE49-F238E27FC236}">
                    <a16:creationId xmlns:a16="http://schemas.microsoft.com/office/drawing/2014/main" id="{2A6987F5-47B2-F04B-1A34-EF13CA81C94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87777" y="3269798"/>
                <a:ext cx="0" cy="0"/>
              </a:xfrm>
              <a:prstGeom prst="lin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24" name="Line 9">
                <a:extLst>
                  <a:ext uri="{FF2B5EF4-FFF2-40B4-BE49-F238E27FC236}">
                    <a16:creationId xmlns:a16="http://schemas.microsoft.com/office/drawing/2014/main" id="{D6AF30CF-5A18-F6AE-1F9D-BDFCCFB9E55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87777" y="3269798"/>
                <a:ext cx="0" cy="0"/>
              </a:xfrm>
              <a:prstGeom prst="lin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25" name="Freeform 10">
                <a:extLst>
                  <a:ext uri="{FF2B5EF4-FFF2-40B4-BE49-F238E27FC236}">
                    <a16:creationId xmlns:a16="http://schemas.microsoft.com/office/drawing/2014/main" id="{BF405951-EFC6-BA6B-EDD7-F5E4757F62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3110" y="3670571"/>
                <a:ext cx="37308" cy="58788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8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7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7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8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7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7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26" name="Freeform 11">
                <a:extLst>
                  <a:ext uri="{FF2B5EF4-FFF2-40B4-BE49-F238E27FC236}">
                    <a16:creationId xmlns:a16="http://schemas.microsoft.com/office/drawing/2014/main" id="{7ADC4374-4527-6DC7-8F70-1FFEFAA5BEF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10284" y="3770623"/>
                <a:ext cx="45221" cy="61614"/>
              </a:xfrm>
              <a:custGeom>
                <a:avLst/>
                <a:gdLst>
                  <a:gd name="T0" fmla="*/ 32 w 34"/>
                  <a:gd name="T1" fmla="*/ 8 h 46"/>
                  <a:gd name="T2" fmla="*/ 34 w 34"/>
                  <a:gd name="T3" fmla="*/ 23 h 46"/>
                  <a:gd name="T4" fmla="*/ 31 w 34"/>
                  <a:gd name="T5" fmla="*/ 39 h 46"/>
                  <a:gd name="T6" fmla="*/ 17 w 34"/>
                  <a:gd name="T7" fmla="*/ 46 h 46"/>
                  <a:gd name="T8" fmla="*/ 3 w 34"/>
                  <a:gd name="T9" fmla="*/ 37 h 46"/>
                  <a:gd name="T10" fmla="*/ 0 w 34"/>
                  <a:gd name="T11" fmla="*/ 23 h 46"/>
                  <a:gd name="T12" fmla="*/ 17 w 34"/>
                  <a:gd name="T13" fmla="*/ 0 h 46"/>
                  <a:gd name="T14" fmla="*/ 32 w 34"/>
                  <a:gd name="T15" fmla="*/ 8 h 46"/>
                  <a:gd name="T16" fmla="*/ 10 w 34"/>
                  <a:gd name="T17" fmla="*/ 23 h 46"/>
                  <a:gd name="T18" fmla="*/ 17 w 34"/>
                  <a:gd name="T19" fmla="*/ 38 h 46"/>
                  <a:gd name="T20" fmla="*/ 25 w 34"/>
                  <a:gd name="T21" fmla="*/ 23 h 46"/>
                  <a:gd name="T22" fmla="*/ 17 w 34"/>
                  <a:gd name="T23" fmla="*/ 8 h 46"/>
                  <a:gd name="T24" fmla="*/ 10 w 34"/>
                  <a:gd name="T25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46">
                    <a:moveTo>
                      <a:pt x="32" y="8"/>
                    </a:moveTo>
                    <a:cubicBezTo>
                      <a:pt x="34" y="12"/>
                      <a:pt x="34" y="16"/>
                      <a:pt x="34" y="23"/>
                    </a:cubicBezTo>
                    <a:cubicBezTo>
                      <a:pt x="34" y="31"/>
                      <a:pt x="33" y="36"/>
                      <a:pt x="31" y="39"/>
                    </a:cubicBezTo>
                    <a:cubicBezTo>
                      <a:pt x="28" y="43"/>
                      <a:pt x="23" y="46"/>
                      <a:pt x="17" y="46"/>
                    </a:cubicBezTo>
                    <a:cubicBezTo>
                      <a:pt x="11" y="46"/>
                      <a:pt x="6" y="43"/>
                      <a:pt x="3" y="37"/>
                    </a:cubicBezTo>
                    <a:cubicBezTo>
                      <a:pt x="1" y="34"/>
                      <a:pt x="0" y="29"/>
                      <a:pt x="0" y="23"/>
                    </a:cubicBezTo>
                    <a:cubicBezTo>
                      <a:pt x="0" y="8"/>
                      <a:pt x="6" y="0"/>
                      <a:pt x="17" y="0"/>
                    </a:cubicBezTo>
                    <a:cubicBezTo>
                      <a:pt x="24" y="0"/>
                      <a:pt x="29" y="3"/>
                      <a:pt x="32" y="8"/>
                    </a:cubicBezTo>
                    <a:close/>
                    <a:moveTo>
                      <a:pt x="10" y="23"/>
                    </a:moveTo>
                    <a:cubicBezTo>
                      <a:pt x="10" y="33"/>
                      <a:pt x="12" y="38"/>
                      <a:pt x="17" y="38"/>
                    </a:cubicBezTo>
                    <a:cubicBezTo>
                      <a:pt x="22" y="38"/>
                      <a:pt x="25" y="33"/>
                      <a:pt x="25" y="23"/>
                    </a:cubicBezTo>
                    <a:cubicBezTo>
                      <a:pt x="25" y="13"/>
                      <a:pt x="22" y="8"/>
                      <a:pt x="17" y="8"/>
                    </a:cubicBezTo>
                    <a:cubicBezTo>
                      <a:pt x="12" y="8"/>
                      <a:pt x="10" y="13"/>
                      <a:pt x="10" y="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27" name="Freeform 12">
                <a:extLst>
                  <a:ext uri="{FF2B5EF4-FFF2-40B4-BE49-F238E27FC236}">
                    <a16:creationId xmlns:a16="http://schemas.microsoft.com/office/drawing/2014/main" id="{F9BF4DA0-84A7-DCA4-28B9-5985B75C9B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3110" y="3873502"/>
                <a:ext cx="37308" cy="58788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6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7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7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6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7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7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28" name="Freeform 13">
                <a:extLst>
                  <a:ext uri="{FF2B5EF4-FFF2-40B4-BE49-F238E27FC236}">
                    <a16:creationId xmlns:a16="http://schemas.microsoft.com/office/drawing/2014/main" id="{DE9CBEB3-B3DF-8C69-4B3B-9635B642BA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3110" y="3975250"/>
                <a:ext cx="37308" cy="58788"/>
              </a:xfrm>
              <a:custGeom>
                <a:avLst/>
                <a:gdLst>
                  <a:gd name="T0" fmla="*/ 30 w 66"/>
                  <a:gd name="T1" fmla="*/ 23 h 104"/>
                  <a:gd name="T2" fmla="*/ 9 w 66"/>
                  <a:gd name="T3" fmla="*/ 35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5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5 h 104"/>
                  <a:gd name="T22" fmla="*/ 30 w 66"/>
                  <a:gd name="T23" fmla="*/ 2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3"/>
                    </a:moveTo>
                    <a:lnTo>
                      <a:pt x="9" y="35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5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5"/>
                    </a:lnTo>
                    <a:lnTo>
                      <a:pt x="30" y="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29" name="Freeform 14">
                <a:extLst>
                  <a:ext uri="{FF2B5EF4-FFF2-40B4-BE49-F238E27FC236}">
                    <a16:creationId xmlns:a16="http://schemas.microsoft.com/office/drawing/2014/main" id="{67F78962-7F12-B21E-E27E-D6CD2C915C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3110" y="4076432"/>
                <a:ext cx="37308" cy="58788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6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5 h 104"/>
                  <a:gd name="T12" fmla="*/ 66 w 66"/>
                  <a:gd name="T13" fmla="*/ 88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8 h 104"/>
                  <a:gd name="T20" fmla="*/ 30 w 66"/>
                  <a:gd name="T21" fmla="*/ 85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6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5"/>
                    </a:lnTo>
                    <a:lnTo>
                      <a:pt x="66" y="88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8"/>
                    </a:lnTo>
                    <a:lnTo>
                      <a:pt x="30" y="85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30" name="Freeform 15">
                <a:extLst>
                  <a:ext uri="{FF2B5EF4-FFF2-40B4-BE49-F238E27FC236}">
                    <a16:creationId xmlns:a16="http://schemas.microsoft.com/office/drawing/2014/main" id="{B9BFFE28-B974-9C43-5720-46BA3F0C92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3110" y="4178180"/>
                <a:ext cx="37308" cy="57092"/>
              </a:xfrm>
              <a:custGeom>
                <a:avLst/>
                <a:gdLst>
                  <a:gd name="T0" fmla="*/ 30 w 66"/>
                  <a:gd name="T1" fmla="*/ 23 h 101"/>
                  <a:gd name="T2" fmla="*/ 9 w 66"/>
                  <a:gd name="T3" fmla="*/ 35 h 101"/>
                  <a:gd name="T4" fmla="*/ 0 w 66"/>
                  <a:gd name="T5" fmla="*/ 19 h 101"/>
                  <a:gd name="T6" fmla="*/ 33 w 66"/>
                  <a:gd name="T7" fmla="*/ 0 h 101"/>
                  <a:gd name="T8" fmla="*/ 52 w 66"/>
                  <a:gd name="T9" fmla="*/ 0 h 101"/>
                  <a:gd name="T10" fmla="*/ 52 w 66"/>
                  <a:gd name="T11" fmla="*/ 85 h 101"/>
                  <a:gd name="T12" fmla="*/ 66 w 66"/>
                  <a:gd name="T13" fmla="*/ 85 h 101"/>
                  <a:gd name="T14" fmla="*/ 66 w 66"/>
                  <a:gd name="T15" fmla="*/ 101 h 101"/>
                  <a:gd name="T16" fmla="*/ 16 w 66"/>
                  <a:gd name="T17" fmla="*/ 101 h 101"/>
                  <a:gd name="T18" fmla="*/ 16 w 66"/>
                  <a:gd name="T19" fmla="*/ 85 h 101"/>
                  <a:gd name="T20" fmla="*/ 30 w 66"/>
                  <a:gd name="T21" fmla="*/ 85 h 101"/>
                  <a:gd name="T22" fmla="*/ 30 w 66"/>
                  <a:gd name="T23" fmla="*/ 23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1">
                    <a:moveTo>
                      <a:pt x="30" y="23"/>
                    </a:moveTo>
                    <a:lnTo>
                      <a:pt x="9" y="35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5"/>
                    </a:lnTo>
                    <a:lnTo>
                      <a:pt x="66" y="85"/>
                    </a:lnTo>
                    <a:lnTo>
                      <a:pt x="66" y="101"/>
                    </a:lnTo>
                    <a:lnTo>
                      <a:pt x="16" y="101"/>
                    </a:lnTo>
                    <a:lnTo>
                      <a:pt x="16" y="85"/>
                    </a:lnTo>
                    <a:lnTo>
                      <a:pt x="30" y="85"/>
                    </a:lnTo>
                    <a:lnTo>
                      <a:pt x="30" y="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31" name="Freeform 16">
                <a:extLst>
                  <a:ext uri="{FF2B5EF4-FFF2-40B4-BE49-F238E27FC236}">
                    <a16:creationId xmlns:a16="http://schemas.microsoft.com/office/drawing/2014/main" id="{7EC6E9E6-A1CE-A548-21F8-C961C759265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10284" y="4379414"/>
                <a:ext cx="45221" cy="60484"/>
              </a:xfrm>
              <a:custGeom>
                <a:avLst/>
                <a:gdLst>
                  <a:gd name="T0" fmla="*/ 32 w 34"/>
                  <a:gd name="T1" fmla="*/ 8 h 45"/>
                  <a:gd name="T2" fmla="*/ 34 w 34"/>
                  <a:gd name="T3" fmla="*/ 22 h 45"/>
                  <a:gd name="T4" fmla="*/ 31 w 34"/>
                  <a:gd name="T5" fmla="*/ 39 h 45"/>
                  <a:gd name="T6" fmla="*/ 17 w 34"/>
                  <a:gd name="T7" fmla="*/ 45 h 45"/>
                  <a:gd name="T8" fmla="*/ 3 w 34"/>
                  <a:gd name="T9" fmla="*/ 37 h 45"/>
                  <a:gd name="T10" fmla="*/ 0 w 34"/>
                  <a:gd name="T11" fmla="*/ 22 h 45"/>
                  <a:gd name="T12" fmla="*/ 17 w 34"/>
                  <a:gd name="T13" fmla="*/ 0 h 45"/>
                  <a:gd name="T14" fmla="*/ 32 w 34"/>
                  <a:gd name="T15" fmla="*/ 8 h 45"/>
                  <a:gd name="T16" fmla="*/ 10 w 34"/>
                  <a:gd name="T17" fmla="*/ 22 h 45"/>
                  <a:gd name="T18" fmla="*/ 17 w 34"/>
                  <a:gd name="T19" fmla="*/ 37 h 45"/>
                  <a:gd name="T20" fmla="*/ 25 w 34"/>
                  <a:gd name="T21" fmla="*/ 22 h 45"/>
                  <a:gd name="T22" fmla="*/ 17 w 34"/>
                  <a:gd name="T23" fmla="*/ 7 h 45"/>
                  <a:gd name="T24" fmla="*/ 10 w 34"/>
                  <a:gd name="T25" fmla="*/ 2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45">
                    <a:moveTo>
                      <a:pt x="32" y="8"/>
                    </a:moveTo>
                    <a:cubicBezTo>
                      <a:pt x="34" y="11"/>
                      <a:pt x="34" y="16"/>
                      <a:pt x="34" y="22"/>
                    </a:cubicBezTo>
                    <a:cubicBezTo>
                      <a:pt x="34" y="30"/>
                      <a:pt x="33" y="35"/>
                      <a:pt x="31" y="39"/>
                    </a:cubicBezTo>
                    <a:cubicBezTo>
                      <a:pt x="28" y="43"/>
                      <a:pt x="23" y="45"/>
                      <a:pt x="17" y="45"/>
                    </a:cubicBezTo>
                    <a:cubicBezTo>
                      <a:pt x="11" y="45"/>
                      <a:pt x="6" y="42"/>
                      <a:pt x="3" y="37"/>
                    </a:cubicBezTo>
                    <a:cubicBezTo>
                      <a:pt x="1" y="33"/>
                      <a:pt x="0" y="29"/>
                      <a:pt x="0" y="22"/>
                    </a:cubicBezTo>
                    <a:cubicBezTo>
                      <a:pt x="0" y="7"/>
                      <a:pt x="6" y="0"/>
                      <a:pt x="17" y="0"/>
                    </a:cubicBezTo>
                    <a:cubicBezTo>
                      <a:pt x="24" y="0"/>
                      <a:pt x="29" y="2"/>
                      <a:pt x="32" y="8"/>
                    </a:cubicBezTo>
                    <a:close/>
                    <a:moveTo>
                      <a:pt x="10" y="22"/>
                    </a:moveTo>
                    <a:cubicBezTo>
                      <a:pt x="10" y="33"/>
                      <a:pt x="12" y="37"/>
                      <a:pt x="17" y="37"/>
                    </a:cubicBezTo>
                    <a:cubicBezTo>
                      <a:pt x="22" y="37"/>
                      <a:pt x="25" y="33"/>
                      <a:pt x="25" y="22"/>
                    </a:cubicBezTo>
                    <a:cubicBezTo>
                      <a:pt x="25" y="12"/>
                      <a:pt x="22" y="7"/>
                      <a:pt x="17" y="7"/>
                    </a:cubicBezTo>
                    <a:cubicBezTo>
                      <a:pt x="12" y="7"/>
                      <a:pt x="10" y="12"/>
                      <a:pt x="10" y="2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32" name="Freeform 17">
                <a:extLst>
                  <a:ext uri="{FF2B5EF4-FFF2-40B4-BE49-F238E27FC236}">
                    <a16:creationId xmlns:a16="http://schemas.microsoft.com/office/drawing/2014/main" id="{6F849D70-D8A3-4B9A-DFE5-F67CCF0043B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10284" y="4481162"/>
                <a:ext cx="45221" cy="59918"/>
              </a:xfrm>
              <a:custGeom>
                <a:avLst/>
                <a:gdLst>
                  <a:gd name="T0" fmla="*/ 32 w 34"/>
                  <a:gd name="T1" fmla="*/ 8 h 45"/>
                  <a:gd name="T2" fmla="*/ 34 w 34"/>
                  <a:gd name="T3" fmla="*/ 22 h 45"/>
                  <a:gd name="T4" fmla="*/ 31 w 34"/>
                  <a:gd name="T5" fmla="*/ 39 h 45"/>
                  <a:gd name="T6" fmla="*/ 17 w 34"/>
                  <a:gd name="T7" fmla="*/ 45 h 45"/>
                  <a:gd name="T8" fmla="*/ 3 w 34"/>
                  <a:gd name="T9" fmla="*/ 37 h 45"/>
                  <a:gd name="T10" fmla="*/ 0 w 34"/>
                  <a:gd name="T11" fmla="*/ 22 h 45"/>
                  <a:gd name="T12" fmla="*/ 17 w 34"/>
                  <a:gd name="T13" fmla="*/ 0 h 45"/>
                  <a:gd name="T14" fmla="*/ 32 w 34"/>
                  <a:gd name="T15" fmla="*/ 8 h 45"/>
                  <a:gd name="T16" fmla="*/ 10 w 34"/>
                  <a:gd name="T17" fmla="*/ 22 h 45"/>
                  <a:gd name="T18" fmla="*/ 17 w 34"/>
                  <a:gd name="T19" fmla="*/ 37 h 45"/>
                  <a:gd name="T20" fmla="*/ 25 w 34"/>
                  <a:gd name="T21" fmla="*/ 22 h 45"/>
                  <a:gd name="T22" fmla="*/ 17 w 34"/>
                  <a:gd name="T23" fmla="*/ 7 h 45"/>
                  <a:gd name="T24" fmla="*/ 10 w 34"/>
                  <a:gd name="T25" fmla="*/ 2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45">
                    <a:moveTo>
                      <a:pt x="32" y="8"/>
                    </a:moveTo>
                    <a:cubicBezTo>
                      <a:pt x="34" y="11"/>
                      <a:pt x="34" y="16"/>
                      <a:pt x="34" y="22"/>
                    </a:cubicBezTo>
                    <a:cubicBezTo>
                      <a:pt x="34" y="30"/>
                      <a:pt x="33" y="35"/>
                      <a:pt x="31" y="39"/>
                    </a:cubicBezTo>
                    <a:cubicBezTo>
                      <a:pt x="28" y="43"/>
                      <a:pt x="23" y="45"/>
                      <a:pt x="17" y="45"/>
                    </a:cubicBezTo>
                    <a:cubicBezTo>
                      <a:pt x="11" y="45"/>
                      <a:pt x="6" y="42"/>
                      <a:pt x="3" y="37"/>
                    </a:cubicBezTo>
                    <a:cubicBezTo>
                      <a:pt x="1" y="33"/>
                      <a:pt x="0" y="29"/>
                      <a:pt x="0" y="22"/>
                    </a:cubicBezTo>
                    <a:cubicBezTo>
                      <a:pt x="0" y="7"/>
                      <a:pt x="6" y="0"/>
                      <a:pt x="17" y="0"/>
                    </a:cubicBezTo>
                    <a:cubicBezTo>
                      <a:pt x="24" y="0"/>
                      <a:pt x="29" y="2"/>
                      <a:pt x="32" y="8"/>
                    </a:cubicBezTo>
                    <a:close/>
                    <a:moveTo>
                      <a:pt x="10" y="22"/>
                    </a:moveTo>
                    <a:cubicBezTo>
                      <a:pt x="10" y="33"/>
                      <a:pt x="12" y="37"/>
                      <a:pt x="17" y="37"/>
                    </a:cubicBezTo>
                    <a:cubicBezTo>
                      <a:pt x="22" y="37"/>
                      <a:pt x="25" y="33"/>
                      <a:pt x="25" y="22"/>
                    </a:cubicBezTo>
                    <a:cubicBezTo>
                      <a:pt x="25" y="12"/>
                      <a:pt x="22" y="7"/>
                      <a:pt x="17" y="7"/>
                    </a:cubicBezTo>
                    <a:cubicBezTo>
                      <a:pt x="12" y="7"/>
                      <a:pt x="10" y="12"/>
                      <a:pt x="10" y="2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33" name="Freeform 23">
                <a:extLst>
                  <a:ext uri="{FF2B5EF4-FFF2-40B4-BE49-F238E27FC236}">
                    <a16:creationId xmlns:a16="http://schemas.microsoft.com/office/drawing/2014/main" id="{716BF870-FC84-606A-6DA8-FAF78058AB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7405" y="3400940"/>
                <a:ext cx="28263" cy="42395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8 h 32"/>
                  <a:gd name="T14" fmla="*/ 16 w 21"/>
                  <a:gd name="T15" fmla="*/ 16 h 32"/>
                  <a:gd name="T16" fmla="*/ 11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1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1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34" name="Freeform 24">
                <a:extLst>
                  <a:ext uri="{FF2B5EF4-FFF2-40B4-BE49-F238E27FC236}">
                    <a16:creationId xmlns:a16="http://schemas.microsoft.com/office/drawing/2014/main" id="{60BC1133-A1B9-413C-1DF1-962703D74D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7405" y="3472728"/>
                <a:ext cx="28263" cy="41830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5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35" name="Freeform 25">
                <a:extLst>
                  <a:ext uri="{FF2B5EF4-FFF2-40B4-BE49-F238E27FC236}">
                    <a16:creationId xmlns:a16="http://schemas.microsoft.com/office/drawing/2014/main" id="{CAD1B40B-D7A5-C0A3-F2AF-1B9AE1C61F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8536" y="3615741"/>
                <a:ext cx="24306" cy="4126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2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2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36" name="Freeform 26">
                <a:extLst>
                  <a:ext uri="{FF2B5EF4-FFF2-40B4-BE49-F238E27FC236}">
                    <a16:creationId xmlns:a16="http://schemas.microsoft.com/office/drawing/2014/main" id="{4EB52AE5-DEB4-239F-EE2B-D5FEBEB400D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7405" y="3686399"/>
                <a:ext cx="28263" cy="41830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6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37" name="Freeform 27">
                <a:extLst>
                  <a:ext uri="{FF2B5EF4-FFF2-40B4-BE49-F238E27FC236}">
                    <a16:creationId xmlns:a16="http://schemas.microsoft.com/office/drawing/2014/main" id="{9F80BC62-5F28-F6B3-05DF-558D588300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7405" y="3757622"/>
                <a:ext cx="28263" cy="42395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7 h 32"/>
                  <a:gd name="T14" fmla="*/ 16 w 21"/>
                  <a:gd name="T15" fmla="*/ 16 h 32"/>
                  <a:gd name="T16" fmla="*/ 11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1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38" name="Freeform 28">
                <a:extLst>
                  <a:ext uri="{FF2B5EF4-FFF2-40B4-BE49-F238E27FC236}">
                    <a16:creationId xmlns:a16="http://schemas.microsoft.com/office/drawing/2014/main" id="{CB11C25E-1342-7CBB-2FE7-EB6E1893F0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8536" y="3900069"/>
                <a:ext cx="24306" cy="41830"/>
              </a:xfrm>
              <a:custGeom>
                <a:avLst/>
                <a:gdLst>
                  <a:gd name="T0" fmla="*/ 19 w 43"/>
                  <a:gd name="T1" fmla="*/ 14 h 74"/>
                  <a:gd name="T2" fmla="*/ 5 w 43"/>
                  <a:gd name="T3" fmla="*/ 24 h 74"/>
                  <a:gd name="T4" fmla="*/ 0 w 43"/>
                  <a:gd name="T5" fmla="*/ 14 h 74"/>
                  <a:gd name="T6" fmla="*/ 22 w 43"/>
                  <a:gd name="T7" fmla="*/ 0 h 74"/>
                  <a:gd name="T8" fmla="*/ 34 w 43"/>
                  <a:gd name="T9" fmla="*/ 0 h 74"/>
                  <a:gd name="T10" fmla="*/ 34 w 43"/>
                  <a:gd name="T11" fmla="*/ 64 h 74"/>
                  <a:gd name="T12" fmla="*/ 43 w 43"/>
                  <a:gd name="T13" fmla="*/ 64 h 74"/>
                  <a:gd name="T14" fmla="*/ 43 w 43"/>
                  <a:gd name="T15" fmla="*/ 74 h 74"/>
                  <a:gd name="T16" fmla="*/ 10 w 43"/>
                  <a:gd name="T17" fmla="*/ 74 h 74"/>
                  <a:gd name="T18" fmla="*/ 10 w 43"/>
                  <a:gd name="T19" fmla="*/ 64 h 74"/>
                  <a:gd name="T20" fmla="*/ 19 w 43"/>
                  <a:gd name="T21" fmla="*/ 64 h 74"/>
                  <a:gd name="T22" fmla="*/ 19 w 43"/>
                  <a:gd name="T23" fmla="*/ 1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4">
                    <a:moveTo>
                      <a:pt x="19" y="14"/>
                    </a:moveTo>
                    <a:lnTo>
                      <a:pt x="5" y="24"/>
                    </a:lnTo>
                    <a:lnTo>
                      <a:pt x="0" y="14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4"/>
                    </a:lnTo>
                    <a:lnTo>
                      <a:pt x="10" y="74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39" name="Freeform 29">
                <a:extLst>
                  <a:ext uri="{FF2B5EF4-FFF2-40B4-BE49-F238E27FC236}">
                    <a16:creationId xmlns:a16="http://schemas.microsoft.com/office/drawing/2014/main" id="{463BD6DD-BC0F-D27F-CCE3-DFC6A93909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7405" y="3971293"/>
                <a:ext cx="28263" cy="42395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8 h 32"/>
                  <a:gd name="T14" fmla="*/ 16 w 21"/>
                  <a:gd name="T15" fmla="*/ 16 h 32"/>
                  <a:gd name="T16" fmla="*/ 11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1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1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40" name="Freeform 30">
                <a:extLst>
                  <a:ext uri="{FF2B5EF4-FFF2-40B4-BE49-F238E27FC236}">
                    <a16:creationId xmlns:a16="http://schemas.microsoft.com/office/drawing/2014/main" id="{8E00AF7A-D753-DE4A-F134-B6D2AB647C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8536" y="4043082"/>
                <a:ext cx="24306" cy="4126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4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4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41" name="Freeform 31">
                <a:extLst>
                  <a:ext uri="{FF2B5EF4-FFF2-40B4-BE49-F238E27FC236}">
                    <a16:creationId xmlns:a16="http://schemas.microsoft.com/office/drawing/2014/main" id="{72CD0F3C-B87C-B0A3-194B-AD49B9A365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7405" y="4113739"/>
                <a:ext cx="28263" cy="42960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7 h 32"/>
                  <a:gd name="T14" fmla="*/ 16 w 21"/>
                  <a:gd name="T15" fmla="*/ 16 h 32"/>
                  <a:gd name="T16" fmla="*/ 11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1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42" name="Freeform 32">
                <a:extLst>
                  <a:ext uri="{FF2B5EF4-FFF2-40B4-BE49-F238E27FC236}">
                    <a16:creationId xmlns:a16="http://schemas.microsoft.com/office/drawing/2014/main" id="{3B149C8C-E2F5-784A-0FF7-90B48E413A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8536" y="4186094"/>
                <a:ext cx="24306" cy="40134"/>
              </a:xfrm>
              <a:custGeom>
                <a:avLst/>
                <a:gdLst>
                  <a:gd name="T0" fmla="*/ 19 w 43"/>
                  <a:gd name="T1" fmla="*/ 12 h 71"/>
                  <a:gd name="T2" fmla="*/ 5 w 43"/>
                  <a:gd name="T3" fmla="*/ 21 h 71"/>
                  <a:gd name="T4" fmla="*/ 0 w 43"/>
                  <a:gd name="T5" fmla="*/ 12 h 71"/>
                  <a:gd name="T6" fmla="*/ 22 w 43"/>
                  <a:gd name="T7" fmla="*/ 0 h 71"/>
                  <a:gd name="T8" fmla="*/ 34 w 43"/>
                  <a:gd name="T9" fmla="*/ 0 h 71"/>
                  <a:gd name="T10" fmla="*/ 34 w 43"/>
                  <a:gd name="T11" fmla="*/ 64 h 71"/>
                  <a:gd name="T12" fmla="*/ 43 w 43"/>
                  <a:gd name="T13" fmla="*/ 64 h 71"/>
                  <a:gd name="T14" fmla="*/ 43 w 43"/>
                  <a:gd name="T15" fmla="*/ 71 h 71"/>
                  <a:gd name="T16" fmla="*/ 10 w 43"/>
                  <a:gd name="T17" fmla="*/ 71 h 71"/>
                  <a:gd name="T18" fmla="*/ 10 w 43"/>
                  <a:gd name="T19" fmla="*/ 64 h 71"/>
                  <a:gd name="T20" fmla="*/ 19 w 43"/>
                  <a:gd name="T21" fmla="*/ 64 h 71"/>
                  <a:gd name="T22" fmla="*/ 19 w 43"/>
                  <a:gd name="T23" fmla="*/ 1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1">
                    <a:moveTo>
                      <a:pt x="19" y="12"/>
                    </a:moveTo>
                    <a:lnTo>
                      <a:pt x="5" y="21"/>
                    </a:lnTo>
                    <a:lnTo>
                      <a:pt x="0" y="12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1"/>
                    </a:lnTo>
                    <a:lnTo>
                      <a:pt x="10" y="71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43" name="Freeform 33">
                <a:extLst>
                  <a:ext uri="{FF2B5EF4-FFF2-40B4-BE49-F238E27FC236}">
                    <a16:creationId xmlns:a16="http://schemas.microsoft.com/office/drawing/2014/main" id="{4F8D52E2-C86A-E985-FDE5-B40C57E8A2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8536" y="4256752"/>
                <a:ext cx="24306" cy="4126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4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4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44" name="Freeform 34">
                <a:extLst>
                  <a:ext uri="{FF2B5EF4-FFF2-40B4-BE49-F238E27FC236}">
                    <a16:creationId xmlns:a16="http://schemas.microsoft.com/office/drawing/2014/main" id="{E60E7C09-6CB5-84EA-C4A1-D68E5F6DE9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8536" y="4327410"/>
                <a:ext cx="24306" cy="4126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4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4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45" name="Freeform 43">
                <a:extLst>
                  <a:ext uri="{FF2B5EF4-FFF2-40B4-BE49-F238E27FC236}">
                    <a16:creationId xmlns:a16="http://schemas.microsoft.com/office/drawing/2014/main" id="{E9C06FD5-E492-C2C9-C681-8C79F5C0D7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2050" y="3475555"/>
                <a:ext cx="23741" cy="3504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5" y="0"/>
                      <a:pt x="18" y="5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46" name="Freeform 44">
                <a:extLst>
                  <a:ext uri="{FF2B5EF4-FFF2-40B4-BE49-F238E27FC236}">
                    <a16:creationId xmlns:a16="http://schemas.microsoft.com/office/drawing/2014/main" id="{6E15BDA8-FE69-E435-4FC1-003A00D819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2050" y="3533212"/>
                <a:ext cx="23741" cy="34481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1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47" name="Freeform 45">
                <a:extLst>
                  <a:ext uri="{FF2B5EF4-FFF2-40B4-BE49-F238E27FC236}">
                    <a16:creationId xmlns:a16="http://schemas.microsoft.com/office/drawing/2014/main" id="{E33ED3C5-D471-B0DC-CE9B-76403F2BB7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3181" y="3647960"/>
                <a:ext cx="18654" cy="33351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49 h 59"/>
                  <a:gd name="T20" fmla="*/ 17 w 33"/>
                  <a:gd name="T21" fmla="*/ 49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48" name="Freeform 46">
                <a:extLst>
                  <a:ext uri="{FF2B5EF4-FFF2-40B4-BE49-F238E27FC236}">
                    <a16:creationId xmlns:a16="http://schemas.microsoft.com/office/drawing/2014/main" id="{220A23BD-8CC7-59F1-6A0C-E0DD758E07B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2050" y="3703922"/>
                <a:ext cx="23741" cy="34481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49" name="Freeform 47">
                <a:extLst>
                  <a:ext uri="{FF2B5EF4-FFF2-40B4-BE49-F238E27FC236}">
                    <a16:creationId xmlns:a16="http://schemas.microsoft.com/office/drawing/2014/main" id="{C8C3CB9E-3186-8266-FE7D-FEBA5CBA2C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2050" y="3761579"/>
                <a:ext cx="23741" cy="33351"/>
              </a:xfrm>
              <a:custGeom>
                <a:avLst/>
                <a:gdLst>
                  <a:gd name="T0" fmla="*/ 18 w 18"/>
                  <a:gd name="T1" fmla="*/ 13 h 25"/>
                  <a:gd name="T2" fmla="*/ 9 w 18"/>
                  <a:gd name="T3" fmla="*/ 25 h 25"/>
                  <a:gd name="T4" fmla="*/ 0 w 18"/>
                  <a:gd name="T5" fmla="*/ 12 h 25"/>
                  <a:gd name="T6" fmla="*/ 9 w 18"/>
                  <a:gd name="T7" fmla="*/ 0 h 25"/>
                  <a:gd name="T8" fmla="*/ 18 w 18"/>
                  <a:gd name="T9" fmla="*/ 13 h 25"/>
                  <a:gd name="T10" fmla="*/ 5 w 18"/>
                  <a:gd name="T11" fmla="*/ 12 h 25"/>
                  <a:gd name="T12" fmla="*/ 9 w 18"/>
                  <a:gd name="T13" fmla="*/ 22 h 25"/>
                  <a:gd name="T14" fmla="*/ 13 w 18"/>
                  <a:gd name="T15" fmla="*/ 13 h 25"/>
                  <a:gd name="T16" fmla="*/ 9 w 18"/>
                  <a:gd name="T17" fmla="*/ 3 h 25"/>
                  <a:gd name="T18" fmla="*/ 5 w 18"/>
                  <a:gd name="T1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5">
                    <a:moveTo>
                      <a:pt x="18" y="13"/>
                    </a:moveTo>
                    <a:cubicBezTo>
                      <a:pt x="18" y="21"/>
                      <a:pt x="15" y="25"/>
                      <a:pt x="9" y="25"/>
                    </a:cubicBezTo>
                    <a:cubicBezTo>
                      <a:pt x="3" y="25"/>
                      <a:pt x="0" y="21"/>
                      <a:pt x="0" y="12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2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6"/>
                      <a:pt x="12" y="3"/>
                      <a:pt x="9" y="3"/>
                    </a:cubicBezTo>
                    <a:cubicBezTo>
                      <a:pt x="6" y="3"/>
                      <a:pt x="5" y="6"/>
                      <a:pt x="5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50" name="Freeform 48">
                <a:extLst>
                  <a:ext uri="{FF2B5EF4-FFF2-40B4-BE49-F238E27FC236}">
                    <a16:creationId xmlns:a16="http://schemas.microsoft.com/office/drawing/2014/main" id="{0C0F3E27-2B98-CCF8-39DF-015A0ACEB1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3181" y="3876328"/>
                <a:ext cx="18654" cy="31655"/>
              </a:xfrm>
              <a:custGeom>
                <a:avLst/>
                <a:gdLst>
                  <a:gd name="T0" fmla="*/ 17 w 33"/>
                  <a:gd name="T1" fmla="*/ 9 h 56"/>
                  <a:gd name="T2" fmla="*/ 5 w 33"/>
                  <a:gd name="T3" fmla="*/ 16 h 56"/>
                  <a:gd name="T4" fmla="*/ 0 w 33"/>
                  <a:gd name="T5" fmla="*/ 9 h 56"/>
                  <a:gd name="T6" fmla="*/ 19 w 33"/>
                  <a:gd name="T7" fmla="*/ 0 h 56"/>
                  <a:gd name="T8" fmla="*/ 26 w 33"/>
                  <a:gd name="T9" fmla="*/ 0 h 56"/>
                  <a:gd name="T10" fmla="*/ 26 w 33"/>
                  <a:gd name="T11" fmla="*/ 49 h 56"/>
                  <a:gd name="T12" fmla="*/ 33 w 33"/>
                  <a:gd name="T13" fmla="*/ 49 h 56"/>
                  <a:gd name="T14" fmla="*/ 33 w 33"/>
                  <a:gd name="T15" fmla="*/ 56 h 56"/>
                  <a:gd name="T16" fmla="*/ 10 w 33"/>
                  <a:gd name="T17" fmla="*/ 56 h 56"/>
                  <a:gd name="T18" fmla="*/ 10 w 33"/>
                  <a:gd name="T19" fmla="*/ 49 h 56"/>
                  <a:gd name="T20" fmla="*/ 17 w 33"/>
                  <a:gd name="T21" fmla="*/ 49 h 56"/>
                  <a:gd name="T22" fmla="*/ 17 w 33"/>
                  <a:gd name="T23" fmla="*/ 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6">
                    <a:moveTo>
                      <a:pt x="17" y="9"/>
                    </a:moveTo>
                    <a:lnTo>
                      <a:pt x="5" y="16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6"/>
                    </a:lnTo>
                    <a:lnTo>
                      <a:pt x="10" y="56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51" name="Freeform 49">
                <a:extLst>
                  <a:ext uri="{FF2B5EF4-FFF2-40B4-BE49-F238E27FC236}">
                    <a16:creationId xmlns:a16="http://schemas.microsoft.com/office/drawing/2014/main" id="{236033F7-29EF-B45D-DD50-16D69984D0B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2050" y="3932289"/>
                <a:ext cx="23741" cy="33351"/>
              </a:xfrm>
              <a:custGeom>
                <a:avLst/>
                <a:gdLst>
                  <a:gd name="T0" fmla="*/ 18 w 18"/>
                  <a:gd name="T1" fmla="*/ 13 h 25"/>
                  <a:gd name="T2" fmla="*/ 9 w 18"/>
                  <a:gd name="T3" fmla="*/ 25 h 25"/>
                  <a:gd name="T4" fmla="*/ 0 w 18"/>
                  <a:gd name="T5" fmla="*/ 13 h 25"/>
                  <a:gd name="T6" fmla="*/ 9 w 18"/>
                  <a:gd name="T7" fmla="*/ 0 h 25"/>
                  <a:gd name="T8" fmla="*/ 18 w 18"/>
                  <a:gd name="T9" fmla="*/ 13 h 25"/>
                  <a:gd name="T10" fmla="*/ 5 w 18"/>
                  <a:gd name="T11" fmla="*/ 13 h 25"/>
                  <a:gd name="T12" fmla="*/ 9 w 18"/>
                  <a:gd name="T13" fmla="*/ 22 h 25"/>
                  <a:gd name="T14" fmla="*/ 13 w 18"/>
                  <a:gd name="T15" fmla="*/ 13 h 25"/>
                  <a:gd name="T16" fmla="*/ 9 w 18"/>
                  <a:gd name="T17" fmla="*/ 3 h 25"/>
                  <a:gd name="T18" fmla="*/ 5 w 18"/>
                  <a:gd name="T19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5">
                    <a:moveTo>
                      <a:pt x="18" y="13"/>
                    </a:moveTo>
                    <a:cubicBezTo>
                      <a:pt x="18" y="21"/>
                      <a:pt x="15" y="25"/>
                      <a:pt x="9" y="25"/>
                    </a:cubicBezTo>
                    <a:cubicBezTo>
                      <a:pt x="3" y="25"/>
                      <a:pt x="0" y="21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6"/>
                      <a:pt x="12" y="3"/>
                      <a:pt x="9" y="3"/>
                    </a:cubicBezTo>
                    <a:cubicBezTo>
                      <a:pt x="6" y="3"/>
                      <a:pt x="5" y="6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52" name="Freeform 50">
                <a:extLst>
                  <a:ext uri="{FF2B5EF4-FFF2-40B4-BE49-F238E27FC236}">
                    <a16:creationId xmlns:a16="http://schemas.microsoft.com/office/drawing/2014/main" id="{46152D50-918A-922A-FE9C-E55CA386D9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3181" y="3989946"/>
                <a:ext cx="18654" cy="33351"/>
              </a:xfrm>
              <a:custGeom>
                <a:avLst/>
                <a:gdLst>
                  <a:gd name="T0" fmla="*/ 17 w 33"/>
                  <a:gd name="T1" fmla="*/ 11 h 59"/>
                  <a:gd name="T2" fmla="*/ 5 w 33"/>
                  <a:gd name="T3" fmla="*/ 18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52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52 h 59"/>
                  <a:gd name="T20" fmla="*/ 17 w 33"/>
                  <a:gd name="T21" fmla="*/ 49 h 59"/>
                  <a:gd name="T22" fmla="*/ 17 w 33"/>
                  <a:gd name="T23" fmla="*/ 11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1"/>
                    </a:moveTo>
                    <a:lnTo>
                      <a:pt x="5" y="18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52"/>
                    </a:lnTo>
                    <a:lnTo>
                      <a:pt x="17" y="49"/>
                    </a:lnTo>
                    <a:lnTo>
                      <a:pt x="17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53" name="Freeform 51">
                <a:extLst>
                  <a:ext uri="{FF2B5EF4-FFF2-40B4-BE49-F238E27FC236}">
                    <a16:creationId xmlns:a16="http://schemas.microsoft.com/office/drawing/2014/main" id="{C46C1656-3057-0900-E91D-660EC7B7985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2050" y="4045908"/>
                <a:ext cx="23741" cy="34481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54" name="Freeform 52">
                <a:extLst>
                  <a:ext uri="{FF2B5EF4-FFF2-40B4-BE49-F238E27FC236}">
                    <a16:creationId xmlns:a16="http://schemas.microsoft.com/office/drawing/2014/main" id="{6D35BE26-1899-E528-E52F-956CE5E3C1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3181" y="4102999"/>
                <a:ext cx="18654" cy="33351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12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52 h 59"/>
                  <a:gd name="T12" fmla="*/ 33 w 33"/>
                  <a:gd name="T13" fmla="*/ 52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52 h 59"/>
                  <a:gd name="T20" fmla="*/ 17 w 33"/>
                  <a:gd name="T21" fmla="*/ 52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52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52"/>
                    </a:lnTo>
                    <a:lnTo>
                      <a:pt x="17" y="52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55" name="Freeform 53">
                <a:extLst>
                  <a:ext uri="{FF2B5EF4-FFF2-40B4-BE49-F238E27FC236}">
                    <a16:creationId xmlns:a16="http://schemas.microsoft.com/office/drawing/2014/main" id="{637FA19A-7F7E-4EBA-F571-F4B0982BC1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3181" y="4160657"/>
                <a:ext cx="18654" cy="33351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52 h 59"/>
                  <a:gd name="T12" fmla="*/ 33 w 33"/>
                  <a:gd name="T13" fmla="*/ 52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52 h 59"/>
                  <a:gd name="T20" fmla="*/ 17 w 33"/>
                  <a:gd name="T21" fmla="*/ 52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52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52"/>
                    </a:lnTo>
                    <a:lnTo>
                      <a:pt x="17" y="52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56" name="Freeform 54">
                <a:extLst>
                  <a:ext uri="{FF2B5EF4-FFF2-40B4-BE49-F238E27FC236}">
                    <a16:creationId xmlns:a16="http://schemas.microsoft.com/office/drawing/2014/main" id="{F6FBF721-CB81-6CB0-8802-7A35F9E604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3181" y="4218314"/>
                <a:ext cx="18654" cy="31655"/>
              </a:xfrm>
              <a:custGeom>
                <a:avLst/>
                <a:gdLst>
                  <a:gd name="T0" fmla="*/ 17 w 33"/>
                  <a:gd name="T1" fmla="*/ 9 h 56"/>
                  <a:gd name="T2" fmla="*/ 5 w 33"/>
                  <a:gd name="T3" fmla="*/ 16 h 56"/>
                  <a:gd name="T4" fmla="*/ 0 w 33"/>
                  <a:gd name="T5" fmla="*/ 9 h 56"/>
                  <a:gd name="T6" fmla="*/ 19 w 33"/>
                  <a:gd name="T7" fmla="*/ 0 h 56"/>
                  <a:gd name="T8" fmla="*/ 26 w 33"/>
                  <a:gd name="T9" fmla="*/ 0 h 56"/>
                  <a:gd name="T10" fmla="*/ 26 w 33"/>
                  <a:gd name="T11" fmla="*/ 49 h 56"/>
                  <a:gd name="T12" fmla="*/ 33 w 33"/>
                  <a:gd name="T13" fmla="*/ 49 h 56"/>
                  <a:gd name="T14" fmla="*/ 33 w 33"/>
                  <a:gd name="T15" fmla="*/ 56 h 56"/>
                  <a:gd name="T16" fmla="*/ 10 w 33"/>
                  <a:gd name="T17" fmla="*/ 56 h 56"/>
                  <a:gd name="T18" fmla="*/ 10 w 33"/>
                  <a:gd name="T19" fmla="*/ 49 h 56"/>
                  <a:gd name="T20" fmla="*/ 17 w 33"/>
                  <a:gd name="T21" fmla="*/ 49 h 56"/>
                  <a:gd name="T22" fmla="*/ 17 w 33"/>
                  <a:gd name="T23" fmla="*/ 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6">
                    <a:moveTo>
                      <a:pt x="17" y="9"/>
                    </a:moveTo>
                    <a:lnTo>
                      <a:pt x="5" y="16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6"/>
                    </a:lnTo>
                    <a:lnTo>
                      <a:pt x="10" y="56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57" name="Freeform 55">
                <a:extLst>
                  <a:ext uri="{FF2B5EF4-FFF2-40B4-BE49-F238E27FC236}">
                    <a16:creationId xmlns:a16="http://schemas.microsoft.com/office/drawing/2014/main" id="{485CCE35-E753-41C0-3AB2-D53548D428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2050" y="4387893"/>
                <a:ext cx="23741" cy="34481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58" name="Freeform 56">
                <a:extLst>
                  <a:ext uri="{FF2B5EF4-FFF2-40B4-BE49-F238E27FC236}">
                    <a16:creationId xmlns:a16="http://schemas.microsoft.com/office/drawing/2014/main" id="{73B7639F-80C6-FAFF-0181-5E90D223BB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2050" y="4444985"/>
                <a:ext cx="23741" cy="33351"/>
              </a:xfrm>
              <a:custGeom>
                <a:avLst/>
                <a:gdLst>
                  <a:gd name="T0" fmla="*/ 18 w 18"/>
                  <a:gd name="T1" fmla="*/ 13 h 25"/>
                  <a:gd name="T2" fmla="*/ 9 w 18"/>
                  <a:gd name="T3" fmla="*/ 25 h 25"/>
                  <a:gd name="T4" fmla="*/ 0 w 18"/>
                  <a:gd name="T5" fmla="*/ 13 h 25"/>
                  <a:gd name="T6" fmla="*/ 9 w 18"/>
                  <a:gd name="T7" fmla="*/ 0 h 25"/>
                  <a:gd name="T8" fmla="*/ 18 w 18"/>
                  <a:gd name="T9" fmla="*/ 13 h 25"/>
                  <a:gd name="T10" fmla="*/ 5 w 18"/>
                  <a:gd name="T11" fmla="*/ 13 h 25"/>
                  <a:gd name="T12" fmla="*/ 9 w 18"/>
                  <a:gd name="T13" fmla="*/ 22 h 25"/>
                  <a:gd name="T14" fmla="*/ 13 w 18"/>
                  <a:gd name="T15" fmla="*/ 13 h 25"/>
                  <a:gd name="T16" fmla="*/ 9 w 18"/>
                  <a:gd name="T17" fmla="*/ 4 h 25"/>
                  <a:gd name="T18" fmla="*/ 5 w 18"/>
                  <a:gd name="T19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5">
                    <a:moveTo>
                      <a:pt x="18" y="13"/>
                    </a:moveTo>
                    <a:cubicBezTo>
                      <a:pt x="18" y="21"/>
                      <a:pt x="15" y="25"/>
                      <a:pt x="9" y="25"/>
                    </a:cubicBezTo>
                    <a:cubicBezTo>
                      <a:pt x="3" y="25"/>
                      <a:pt x="0" y="21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59" name="Freeform 63">
                <a:extLst>
                  <a:ext uri="{FF2B5EF4-FFF2-40B4-BE49-F238E27FC236}">
                    <a16:creationId xmlns:a16="http://schemas.microsoft.com/office/drawing/2014/main" id="{011AE629-F9EF-2EF4-228D-ECE2DDFA384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81768" y="3475555"/>
                <a:ext cx="22611" cy="3504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4" y="0"/>
                      <a:pt x="17" y="5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60" name="Freeform 64">
                <a:extLst>
                  <a:ext uri="{FF2B5EF4-FFF2-40B4-BE49-F238E27FC236}">
                    <a16:creationId xmlns:a16="http://schemas.microsoft.com/office/drawing/2014/main" id="{35F975F3-9264-6ECD-9AD3-86E19A6066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81768" y="3533212"/>
                <a:ext cx="22611" cy="34481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1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61" name="Freeform 65">
                <a:extLst>
                  <a:ext uri="{FF2B5EF4-FFF2-40B4-BE49-F238E27FC236}">
                    <a16:creationId xmlns:a16="http://schemas.microsoft.com/office/drawing/2014/main" id="{0D11AB4A-6603-3409-231E-5B0ED85DA1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3464" y="3647960"/>
                <a:ext cx="18654" cy="33351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49 h 59"/>
                  <a:gd name="T20" fmla="*/ 16 w 33"/>
                  <a:gd name="T21" fmla="*/ 49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62" name="Freeform 66">
                <a:extLst>
                  <a:ext uri="{FF2B5EF4-FFF2-40B4-BE49-F238E27FC236}">
                    <a16:creationId xmlns:a16="http://schemas.microsoft.com/office/drawing/2014/main" id="{1A0D8F78-318D-FA03-36B5-51DF68BE102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81768" y="3703922"/>
                <a:ext cx="22611" cy="34481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63" name="Freeform 67">
                <a:extLst>
                  <a:ext uri="{FF2B5EF4-FFF2-40B4-BE49-F238E27FC236}">
                    <a16:creationId xmlns:a16="http://schemas.microsoft.com/office/drawing/2014/main" id="{FCC598B1-E40A-1769-8E3B-8186787D89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81768" y="3761579"/>
                <a:ext cx="22611" cy="33351"/>
              </a:xfrm>
              <a:custGeom>
                <a:avLst/>
                <a:gdLst>
                  <a:gd name="T0" fmla="*/ 17 w 17"/>
                  <a:gd name="T1" fmla="*/ 13 h 25"/>
                  <a:gd name="T2" fmla="*/ 9 w 17"/>
                  <a:gd name="T3" fmla="*/ 25 h 25"/>
                  <a:gd name="T4" fmla="*/ 0 w 17"/>
                  <a:gd name="T5" fmla="*/ 12 h 25"/>
                  <a:gd name="T6" fmla="*/ 9 w 17"/>
                  <a:gd name="T7" fmla="*/ 0 h 25"/>
                  <a:gd name="T8" fmla="*/ 17 w 17"/>
                  <a:gd name="T9" fmla="*/ 13 h 25"/>
                  <a:gd name="T10" fmla="*/ 4 w 17"/>
                  <a:gd name="T11" fmla="*/ 12 h 25"/>
                  <a:gd name="T12" fmla="*/ 9 w 17"/>
                  <a:gd name="T13" fmla="*/ 22 h 25"/>
                  <a:gd name="T14" fmla="*/ 13 w 17"/>
                  <a:gd name="T15" fmla="*/ 13 h 25"/>
                  <a:gd name="T16" fmla="*/ 9 w 17"/>
                  <a:gd name="T17" fmla="*/ 3 h 25"/>
                  <a:gd name="T18" fmla="*/ 4 w 17"/>
                  <a:gd name="T1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5">
                    <a:moveTo>
                      <a:pt x="17" y="13"/>
                    </a:moveTo>
                    <a:cubicBezTo>
                      <a:pt x="17" y="21"/>
                      <a:pt x="14" y="25"/>
                      <a:pt x="9" y="25"/>
                    </a:cubicBezTo>
                    <a:cubicBezTo>
                      <a:pt x="3" y="25"/>
                      <a:pt x="0" y="21"/>
                      <a:pt x="0" y="12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2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6"/>
                      <a:pt x="11" y="3"/>
                      <a:pt x="9" y="3"/>
                    </a:cubicBezTo>
                    <a:cubicBezTo>
                      <a:pt x="6" y="3"/>
                      <a:pt x="4" y="6"/>
                      <a:pt x="4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64" name="Freeform 68">
                <a:extLst>
                  <a:ext uri="{FF2B5EF4-FFF2-40B4-BE49-F238E27FC236}">
                    <a16:creationId xmlns:a16="http://schemas.microsoft.com/office/drawing/2014/main" id="{6B68F4CF-55A0-83CA-7AFE-E1CCB570D3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3464" y="3876328"/>
                <a:ext cx="18654" cy="31655"/>
              </a:xfrm>
              <a:custGeom>
                <a:avLst/>
                <a:gdLst>
                  <a:gd name="T0" fmla="*/ 16 w 33"/>
                  <a:gd name="T1" fmla="*/ 9 h 56"/>
                  <a:gd name="T2" fmla="*/ 4 w 33"/>
                  <a:gd name="T3" fmla="*/ 16 h 56"/>
                  <a:gd name="T4" fmla="*/ 0 w 33"/>
                  <a:gd name="T5" fmla="*/ 9 h 56"/>
                  <a:gd name="T6" fmla="*/ 16 w 33"/>
                  <a:gd name="T7" fmla="*/ 0 h 56"/>
                  <a:gd name="T8" fmla="*/ 26 w 33"/>
                  <a:gd name="T9" fmla="*/ 0 h 56"/>
                  <a:gd name="T10" fmla="*/ 26 w 33"/>
                  <a:gd name="T11" fmla="*/ 49 h 56"/>
                  <a:gd name="T12" fmla="*/ 33 w 33"/>
                  <a:gd name="T13" fmla="*/ 49 h 56"/>
                  <a:gd name="T14" fmla="*/ 33 w 33"/>
                  <a:gd name="T15" fmla="*/ 56 h 56"/>
                  <a:gd name="T16" fmla="*/ 7 w 33"/>
                  <a:gd name="T17" fmla="*/ 56 h 56"/>
                  <a:gd name="T18" fmla="*/ 7 w 33"/>
                  <a:gd name="T19" fmla="*/ 49 h 56"/>
                  <a:gd name="T20" fmla="*/ 16 w 33"/>
                  <a:gd name="T21" fmla="*/ 49 h 56"/>
                  <a:gd name="T22" fmla="*/ 16 w 33"/>
                  <a:gd name="T23" fmla="*/ 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6">
                    <a:moveTo>
                      <a:pt x="16" y="9"/>
                    </a:moveTo>
                    <a:lnTo>
                      <a:pt x="4" y="16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6"/>
                    </a:lnTo>
                    <a:lnTo>
                      <a:pt x="7" y="56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65" name="Freeform 69">
                <a:extLst>
                  <a:ext uri="{FF2B5EF4-FFF2-40B4-BE49-F238E27FC236}">
                    <a16:creationId xmlns:a16="http://schemas.microsoft.com/office/drawing/2014/main" id="{B3A8AA7F-9794-B915-ED99-9D13B659CC4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81768" y="3932289"/>
                <a:ext cx="22611" cy="33351"/>
              </a:xfrm>
              <a:custGeom>
                <a:avLst/>
                <a:gdLst>
                  <a:gd name="T0" fmla="*/ 17 w 17"/>
                  <a:gd name="T1" fmla="*/ 13 h 25"/>
                  <a:gd name="T2" fmla="*/ 9 w 17"/>
                  <a:gd name="T3" fmla="*/ 25 h 25"/>
                  <a:gd name="T4" fmla="*/ 0 w 17"/>
                  <a:gd name="T5" fmla="*/ 13 h 25"/>
                  <a:gd name="T6" fmla="*/ 9 w 17"/>
                  <a:gd name="T7" fmla="*/ 0 h 25"/>
                  <a:gd name="T8" fmla="*/ 17 w 17"/>
                  <a:gd name="T9" fmla="*/ 13 h 25"/>
                  <a:gd name="T10" fmla="*/ 4 w 17"/>
                  <a:gd name="T11" fmla="*/ 13 h 25"/>
                  <a:gd name="T12" fmla="*/ 9 w 17"/>
                  <a:gd name="T13" fmla="*/ 22 h 25"/>
                  <a:gd name="T14" fmla="*/ 13 w 17"/>
                  <a:gd name="T15" fmla="*/ 13 h 25"/>
                  <a:gd name="T16" fmla="*/ 9 w 17"/>
                  <a:gd name="T17" fmla="*/ 3 h 25"/>
                  <a:gd name="T18" fmla="*/ 4 w 17"/>
                  <a:gd name="T19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5">
                    <a:moveTo>
                      <a:pt x="17" y="13"/>
                    </a:moveTo>
                    <a:cubicBezTo>
                      <a:pt x="17" y="21"/>
                      <a:pt x="14" y="25"/>
                      <a:pt x="9" y="25"/>
                    </a:cubicBezTo>
                    <a:cubicBezTo>
                      <a:pt x="3" y="25"/>
                      <a:pt x="0" y="21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6"/>
                      <a:pt x="11" y="3"/>
                      <a:pt x="9" y="3"/>
                    </a:cubicBezTo>
                    <a:cubicBezTo>
                      <a:pt x="6" y="3"/>
                      <a:pt x="4" y="6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66" name="Freeform 70">
                <a:extLst>
                  <a:ext uri="{FF2B5EF4-FFF2-40B4-BE49-F238E27FC236}">
                    <a16:creationId xmlns:a16="http://schemas.microsoft.com/office/drawing/2014/main" id="{60669007-C97C-182C-0BB1-00B5F29BDB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3464" y="3989946"/>
                <a:ext cx="18654" cy="33351"/>
              </a:xfrm>
              <a:custGeom>
                <a:avLst/>
                <a:gdLst>
                  <a:gd name="T0" fmla="*/ 16 w 33"/>
                  <a:gd name="T1" fmla="*/ 11 h 59"/>
                  <a:gd name="T2" fmla="*/ 4 w 33"/>
                  <a:gd name="T3" fmla="*/ 18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52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52 h 59"/>
                  <a:gd name="T20" fmla="*/ 16 w 33"/>
                  <a:gd name="T21" fmla="*/ 49 h 59"/>
                  <a:gd name="T22" fmla="*/ 16 w 33"/>
                  <a:gd name="T23" fmla="*/ 11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1"/>
                    </a:moveTo>
                    <a:lnTo>
                      <a:pt x="4" y="18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52"/>
                    </a:lnTo>
                    <a:lnTo>
                      <a:pt x="16" y="49"/>
                    </a:lnTo>
                    <a:lnTo>
                      <a:pt x="16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67" name="Freeform 71">
                <a:extLst>
                  <a:ext uri="{FF2B5EF4-FFF2-40B4-BE49-F238E27FC236}">
                    <a16:creationId xmlns:a16="http://schemas.microsoft.com/office/drawing/2014/main" id="{E2A5C1A4-BB82-241B-2020-D620CDC7927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81768" y="4045908"/>
                <a:ext cx="22611" cy="34481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68" name="Freeform 72">
                <a:extLst>
                  <a:ext uri="{FF2B5EF4-FFF2-40B4-BE49-F238E27FC236}">
                    <a16:creationId xmlns:a16="http://schemas.microsoft.com/office/drawing/2014/main" id="{1421F804-DB24-D9D9-D1F0-DE3EED92DF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3464" y="4102999"/>
                <a:ext cx="18654" cy="33351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12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52 h 59"/>
                  <a:gd name="T12" fmla="*/ 33 w 33"/>
                  <a:gd name="T13" fmla="*/ 52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52 h 59"/>
                  <a:gd name="T20" fmla="*/ 16 w 33"/>
                  <a:gd name="T21" fmla="*/ 52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12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52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52"/>
                    </a:lnTo>
                    <a:lnTo>
                      <a:pt x="16" y="52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69" name="Freeform 73">
                <a:extLst>
                  <a:ext uri="{FF2B5EF4-FFF2-40B4-BE49-F238E27FC236}">
                    <a16:creationId xmlns:a16="http://schemas.microsoft.com/office/drawing/2014/main" id="{04833AEF-B0CB-BD99-C9AD-EDE33AF2C8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3464" y="4160657"/>
                <a:ext cx="18654" cy="33351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52 h 59"/>
                  <a:gd name="T12" fmla="*/ 33 w 33"/>
                  <a:gd name="T13" fmla="*/ 52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52 h 59"/>
                  <a:gd name="T20" fmla="*/ 16 w 33"/>
                  <a:gd name="T21" fmla="*/ 52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52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52"/>
                    </a:lnTo>
                    <a:lnTo>
                      <a:pt x="16" y="52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70" name="Freeform 74">
                <a:extLst>
                  <a:ext uri="{FF2B5EF4-FFF2-40B4-BE49-F238E27FC236}">
                    <a16:creationId xmlns:a16="http://schemas.microsoft.com/office/drawing/2014/main" id="{CB661586-CE9E-9BAE-C0DF-49798C6013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3464" y="4218314"/>
                <a:ext cx="18654" cy="31655"/>
              </a:xfrm>
              <a:custGeom>
                <a:avLst/>
                <a:gdLst>
                  <a:gd name="T0" fmla="*/ 16 w 33"/>
                  <a:gd name="T1" fmla="*/ 9 h 56"/>
                  <a:gd name="T2" fmla="*/ 4 w 33"/>
                  <a:gd name="T3" fmla="*/ 16 h 56"/>
                  <a:gd name="T4" fmla="*/ 0 w 33"/>
                  <a:gd name="T5" fmla="*/ 9 h 56"/>
                  <a:gd name="T6" fmla="*/ 16 w 33"/>
                  <a:gd name="T7" fmla="*/ 0 h 56"/>
                  <a:gd name="T8" fmla="*/ 26 w 33"/>
                  <a:gd name="T9" fmla="*/ 0 h 56"/>
                  <a:gd name="T10" fmla="*/ 26 w 33"/>
                  <a:gd name="T11" fmla="*/ 49 h 56"/>
                  <a:gd name="T12" fmla="*/ 33 w 33"/>
                  <a:gd name="T13" fmla="*/ 49 h 56"/>
                  <a:gd name="T14" fmla="*/ 33 w 33"/>
                  <a:gd name="T15" fmla="*/ 56 h 56"/>
                  <a:gd name="T16" fmla="*/ 7 w 33"/>
                  <a:gd name="T17" fmla="*/ 56 h 56"/>
                  <a:gd name="T18" fmla="*/ 7 w 33"/>
                  <a:gd name="T19" fmla="*/ 49 h 56"/>
                  <a:gd name="T20" fmla="*/ 16 w 33"/>
                  <a:gd name="T21" fmla="*/ 49 h 56"/>
                  <a:gd name="T22" fmla="*/ 16 w 33"/>
                  <a:gd name="T23" fmla="*/ 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6">
                    <a:moveTo>
                      <a:pt x="16" y="9"/>
                    </a:moveTo>
                    <a:lnTo>
                      <a:pt x="4" y="16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6"/>
                    </a:lnTo>
                    <a:lnTo>
                      <a:pt x="7" y="56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71" name="Freeform 75">
                <a:extLst>
                  <a:ext uri="{FF2B5EF4-FFF2-40B4-BE49-F238E27FC236}">
                    <a16:creationId xmlns:a16="http://schemas.microsoft.com/office/drawing/2014/main" id="{0AF58345-0144-10A8-8BD8-B029A8909D6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81768" y="4387893"/>
                <a:ext cx="22611" cy="34481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72" name="Freeform 76">
                <a:extLst>
                  <a:ext uri="{FF2B5EF4-FFF2-40B4-BE49-F238E27FC236}">
                    <a16:creationId xmlns:a16="http://schemas.microsoft.com/office/drawing/2014/main" id="{DD475673-6049-478F-54C6-BCF594D85C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81768" y="4444985"/>
                <a:ext cx="22611" cy="33351"/>
              </a:xfrm>
              <a:custGeom>
                <a:avLst/>
                <a:gdLst>
                  <a:gd name="T0" fmla="*/ 17 w 17"/>
                  <a:gd name="T1" fmla="*/ 13 h 25"/>
                  <a:gd name="T2" fmla="*/ 9 w 17"/>
                  <a:gd name="T3" fmla="*/ 25 h 25"/>
                  <a:gd name="T4" fmla="*/ 0 w 17"/>
                  <a:gd name="T5" fmla="*/ 13 h 25"/>
                  <a:gd name="T6" fmla="*/ 9 w 17"/>
                  <a:gd name="T7" fmla="*/ 0 h 25"/>
                  <a:gd name="T8" fmla="*/ 17 w 17"/>
                  <a:gd name="T9" fmla="*/ 13 h 25"/>
                  <a:gd name="T10" fmla="*/ 4 w 17"/>
                  <a:gd name="T11" fmla="*/ 13 h 25"/>
                  <a:gd name="T12" fmla="*/ 9 w 17"/>
                  <a:gd name="T13" fmla="*/ 22 h 25"/>
                  <a:gd name="T14" fmla="*/ 13 w 17"/>
                  <a:gd name="T15" fmla="*/ 13 h 25"/>
                  <a:gd name="T16" fmla="*/ 9 w 17"/>
                  <a:gd name="T17" fmla="*/ 4 h 25"/>
                  <a:gd name="T18" fmla="*/ 4 w 17"/>
                  <a:gd name="T19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5">
                    <a:moveTo>
                      <a:pt x="17" y="13"/>
                    </a:moveTo>
                    <a:cubicBezTo>
                      <a:pt x="17" y="21"/>
                      <a:pt x="14" y="25"/>
                      <a:pt x="9" y="25"/>
                    </a:cubicBezTo>
                    <a:cubicBezTo>
                      <a:pt x="3" y="25"/>
                      <a:pt x="0" y="21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73" name="Freeform 83">
                <a:extLst>
                  <a:ext uri="{FF2B5EF4-FFF2-40B4-BE49-F238E27FC236}">
                    <a16:creationId xmlns:a16="http://schemas.microsoft.com/office/drawing/2014/main" id="{A458165A-45B0-0FEB-7861-C1594E794B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23954" y="3478381"/>
                <a:ext cx="34481" cy="58788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3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74" name="Freeform 84">
                <a:extLst>
                  <a:ext uri="{FF2B5EF4-FFF2-40B4-BE49-F238E27FC236}">
                    <a16:creationId xmlns:a16="http://schemas.microsoft.com/office/drawing/2014/main" id="{3C39F28A-8FCF-3DA1-C859-BF64CCEEB6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22824" y="3578433"/>
                <a:ext cx="41265" cy="61614"/>
              </a:xfrm>
              <a:custGeom>
                <a:avLst/>
                <a:gdLst>
                  <a:gd name="T0" fmla="*/ 31 w 31"/>
                  <a:gd name="T1" fmla="*/ 23 h 46"/>
                  <a:gd name="T2" fmla="*/ 15 w 31"/>
                  <a:gd name="T3" fmla="*/ 46 h 46"/>
                  <a:gd name="T4" fmla="*/ 0 w 31"/>
                  <a:gd name="T5" fmla="*/ 23 h 46"/>
                  <a:gd name="T6" fmla="*/ 15 w 31"/>
                  <a:gd name="T7" fmla="*/ 0 h 46"/>
                  <a:gd name="T8" fmla="*/ 31 w 31"/>
                  <a:gd name="T9" fmla="*/ 23 h 46"/>
                  <a:gd name="T10" fmla="*/ 8 w 31"/>
                  <a:gd name="T11" fmla="*/ 23 h 46"/>
                  <a:gd name="T12" fmla="*/ 15 w 31"/>
                  <a:gd name="T13" fmla="*/ 39 h 46"/>
                  <a:gd name="T14" fmla="*/ 23 w 31"/>
                  <a:gd name="T15" fmla="*/ 23 h 46"/>
                  <a:gd name="T16" fmla="*/ 15 w 31"/>
                  <a:gd name="T17" fmla="*/ 7 h 46"/>
                  <a:gd name="T18" fmla="*/ 8 w 31"/>
                  <a:gd name="T19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6">
                    <a:moveTo>
                      <a:pt x="31" y="23"/>
                    </a:moveTo>
                    <a:cubicBezTo>
                      <a:pt x="31" y="38"/>
                      <a:pt x="26" y="46"/>
                      <a:pt x="15" y="46"/>
                    </a:cubicBezTo>
                    <a:cubicBezTo>
                      <a:pt x="5" y="46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7"/>
                      <a:pt x="15" y="7"/>
                    </a:cubicBezTo>
                    <a:cubicBezTo>
                      <a:pt x="10" y="7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75" name="Freeform 85">
                <a:extLst>
                  <a:ext uri="{FF2B5EF4-FFF2-40B4-BE49-F238E27FC236}">
                    <a16:creationId xmlns:a16="http://schemas.microsoft.com/office/drawing/2014/main" id="{3688888D-C63C-5A10-18DB-3D132B5F64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22824" y="3680181"/>
                <a:ext cx="41265" cy="59918"/>
              </a:xfrm>
              <a:custGeom>
                <a:avLst/>
                <a:gdLst>
                  <a:gd name="T0" fmla="*/ 31 w 31"/>
                  <a:gd name="T1" fmla="*/ 23 h 45"/>
                  <a:gd name="T2" fmla="*/ 15 w 31"/>
                  <a:gd name="T3" fmla="*/ 45 h 45"/>
                  <a:gd name="T4" fmla="*/ 0 w 31"/>
                  <a:gd name="T5" fmla="*/ 23 h 45"/>
                  <a:gd name="T6" fmla="*/ 15 w 31"/>
                  <a:gd name="T7" fmla="*/ 0 h 45"/>
                  <a:gd name="T8" fmla="*/ 31 w 31"/>
                  <a:gd name="T9" fmla="*/ 23 h 45"/>
                  <a:gd name="T10" fmla="*/ 8 w 31"/>
                  <a:gd name="T11" fmla="*/ 23 h 45"/>
                  <a:gd name="T12" fmla="*/ 15 w 31"/>
                  <a:gd name="T13" fmla="*/ 39 h 45"/>
                  <a:gd name="T14" fmla="*/ 23 w 31"/>
                  <a:gd name="T15" fmla="*/ 23 h 45"/>
                  <a:gd name="T16" fmla="*/ 15 w 31"/>
                  <a:gd name="T17" fmla="*/ 6 h 45"/>
                  <a:gd name="T18" fmla="*/ 8 w 31"/>
                  <a:gd name="T19" fmla="*/ 2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31" y="23"/>
                    </a:moveTo>
                    <a:cubicBezTo>
                      <a:pt x="31" y="38"/>
                      <a:pt x="26" y="45"/>
                      <a:pt x="15" y="45"/>
                    </a:cubicBezTo>
                    <a:cubicBezTo>
                      <a:pt x="5" y="45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6"/>
                      <a:pt x="15" y="6"/>
                    </a:cubicBezTo>
                    <a:cubicBezTo>
                      <a:pt x="10" y="6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76" name="Freeform 86">
                <a:extLst>
                  <a:ext uri="{FF2B5EF4-FFF2-40B4-BE49-F238E27FC236}">
                    <a16:creationId xmlns:a16="http://schemas.microsoft.com/office/drawing/2014/main" id="{98643E66-247A-C551-B85F-E004F43138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23954" y="3782494"/>
                <a:ext cx="34481" cy="58788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4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4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77" name="Freeform 87">
                <a:extLst>
                  <a:ext uri="{FF2B5EF4-FFF2-40B4-BE49-F238E27FC236}">
                    <a16:creationId xmlns:a16="http://schemas.microsoft.com/office/drawing/2014/main" id="{9F0225D4-BEE5-90F3-4BBD-98E3D32E46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23954" y="3884242"/>
                <a:ext cx="34481" cy="58788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1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1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78" name="Freeform 88">
                <a:extLst>
                  <a:ext uri="{FF2B5EF4-FFF2-40B4-BE49-F238E27FC236}">
                    <a16:creationId xmlns:a16="http://schemas.microsoft.com/office/drawing/2014/main" id="{B007D71C-98B1-9C79-2FEC-F66B383471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23954" y="3985989"/>
                <a:ext cx="34481" cy="58223"/>
              </a:xfrm>
              <a:custGeom>
                <a:avLst/>
                <a:gdLst>
                  <a:gd name="T0" fmla="*/ 31 w 61"/>
                  <a:gd name="T1" fmla="*/ 18 h 103"/>
                  <a:gd name="T2" fmla="*/ 10 w 61"/>
                  <a:gd name="T3" fmla="*/ 30 h 103"/>
                  <a:gd name="T4" fmla="*/ 0 w 61"/>
                  <a:gd name="T5" fmla="*/ 18 h 103"/>
                  <a:gd name="T6" fmla="*/ 31 w 61"/>
                  <a:gd name="T7" fmla="*/ 0 h 103"/>
                  <a:gd name="T8" fmla="*/ 47 w 61"/>
                  <a:gd name="T9" fmla="*/ 0 h 103"/>
                  <a:gd name="T10" fmla="*/ 47 w 61"/>
                  <a:gd name="T11" fmla="*/ 89 h 103"/>
                  <a:gd name="T12" fmla="*/ 61 w 61"/>
                  <a:gd name="T13" fmla="*/ 89 h 103"/>
                  <a:gd name="T14" fmla="*/ 61 w 61"/>
                  <a:gd name="T15" fmla="*/ 103 h 103"/>
                  <a:gd name="T16" fmla="*/ 17 w 61"/>
                  <a:gd name="T17" fmla="*/ 103 h 103"/>
                  <a:gd name="T18" fmla="*/ 17 w 61"/>
                  <a:gd name="T19" fmla="*/ 89 h 103"/>
                  <a:gd name="T20" fmla="*/ 31 w 61"/>
                  <a:gd name="T21" fmla="*/ 89 h 103"/>
                  <a:gd name="T22" fmla="*/ 31 w 61"/>
                  <a:gd name="T23" fmla="*/ 18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3">
                    <a:moveTo>
                      <a:pt x="31" y="18"/>
                    </a:moveTo>
                    <a:lnTo>
                      <a:pt x="10" y="30"/>
                    </a:lnTo>
                    <a:lnTo>
                      <a:pt x="0" y="18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89"/>
                    </a:lnTo>
                    <a:lnTo>
                      <a:pt x="61" y="89"/>
                    </a:lnTo>
                    <a:lnTo>
                      <a:pt x="61" y="103"/>
                    </a:lnTo>
                    <a:lnTo>
                      <a:pt x="17" y="103"/>
                    </a:lnTo>
                    <a:lnTo>
                      <a:pt x="17" y="89"/>
                    </a:lnTo>
                    <a:lnTo>
                      <a:pt x="31" y="89"/>
                    </a:lnTo>
                    <a:lnTo>
                      <a:pt x="31" y="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79" name="Freeform 89">
                <a:extLst>
                  <a:ext uri="{FF2B5EF4-FFF2-40B4-BE49-F238E27FC236}">
                    <a16:creationId xmlns:a16="http://schemas.microsoft.com/office/drawing/2014/main" id="{350E8BE5-6BA2-CB90-F1D4-E392605D92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22824" y="4086042"/>
                <a:ext cx="41265" cy="59918"/>
              </a:xfrm>
              <a:custGeom>
                <a:avLst/>
                <a:gdLst>
                  <a:gd name="T0" fmla="*/ 31 w 31"/>
                  <a:gd name="T1" fmla="*/ 23 h 45"/>
                  <a:gd name="T2" fmla="*/ 15 w 31"/>
                  <a:gd name="T3" fmla="*/ 45 h 45"/>
                  <a:gd name="T4" fmla="*/ 0 w 31"/>
                  <a:gd name="T5" fmla="*/ 22 h 45"/>
                  <a:gd name="T6" fmla="*/ 15 w 31"/>
                  <a:gd name="T7" fmla="*/ 0 h 45"/>
                  <a:gd name="T8" fmla="*/ 31 w 31"/>
                  <a:gd name="T9" fmla="*/ 23 h 45"/>
                  <a:gd name="T10" fmla="*/ 8 w 31"/>
                  <a:gd name="T11" fmla="*/ 22 h 45"/>
                  <a:gd name="T12" fmla="*/ 15 w 31"/>
                  <a:gd name="T13" fmla="*/ 39 h 45"/>
                  <a:gd name="T14" fmla="*/ 23 w 31"/>
                  <a:gd name="T15" fmla="*/ 23 h 45"/>
                  <a:gd name="T16" fmla="*/ 15 w 31"/>
                  <a:gd name="T17" fmla="*/ 6 h 45"/>
                  <a:gd name="T18" fmla="*/ 8 w 31"/>
                  <a:gd name="T19" fmla="*/ 2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31" y="23"/>
                    </a:moveTo>
                    <a:cubicBezTo>
                      <a:pt x="31" y="38"/>
                      <a:pt x="26" y="45"/>
                      <a:pt x="15" y="45"/>
                    </a:cubicBezTo>
                    <a:cubicBezTo>
                      <a:pt x="5" y="45"/>
                      <a:pt x="0" y="38"/>
                      <a:pt x="0" y="22"/>
                    </a:cubicBezTo>
                    <a:cubicBezTo>
                      <a:pt x="0" y="7"/>
                      <a:pt x="5" y="0"/>
                      <a:pt x="15" y="0"/>
                    </a:cubicBezTo>
                    <a:cubicBezTo>
                      <a:pt x="26" y="0"/>
                      <a:pt x="31" y="7"/>
                      <a:pt x="31" y="23"/>
                    </a:cubicBezTo>
                    <a:close/>
                    <a:moveTo>
                      <a:pt x="8" y="22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1"/>
                      <a:pt x="20" y="6"/>
                      <a:pt x="15" y="6"/>
                    </a:cubicBezTo>
                    <a:cubicBezTo>
                      <a:pt x="10" y="6"/>
                      <a:pt x="8" y="11"/>
                      <a:pt x="8" y="2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80" name="Freeform 90">
                <a:extLst>
                  <a:ext uri="{FF2B5EF4-FFF2-40B4-BE49-F238E27FC236}">
                    <a16:creationId xmlns:a16="http://schemas.microsoft.com/office/drawing/2014/main" id="{5EAE2ECB-CDFE-EB6A-4629-C538396C82F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22824" y="4390154"/>
                <a:ext cx="41265" cy="60484"/>
              </a:xfrm>
              <a:custGeom>
                <a:avLst/>
                <a:gdLst>
                  <a:gd name="T0" fmla="*/ 31 w 31"/>
                  <a:gd name="T1" fmla="*/ 22 h 45"/>
                  <a:gd name="T2" fmla="*/ 15 w 31"/>
                  <a:gd name="T3" fmla="*/ 45 h 45"/>
                  <a:gd name="T4" fmla="*/ 0 w 31"/>
                  <a:gd name="T5" fmla="*/ 22 h 45"/>
                  <a:gd name="T6" fmla="*/ 15 w 31"/>
                  <a:gd name="T7" fmla="*/ 0 h 45"/>
                  <a:gd name="T8" fmla="*/ 31 w 31"/>
                  <a:gd name="T9" fmla="*/ 22 h 45"/>
                  <a:gd name="T10" fmla="*/ 8 w 31"/>
                  <a:gd name="T11" fmla="*/ 22 h 45"/>
                  <a:gd name="T12" fmla="*/ 15 w 31"/>
                  <a:gd name="T13" fmla="*/ 39 h 45"/>
                  <a:gd name="T14" fmla="*/ 23 w 31"/>
                  <a:gd name="T15" fmla="*/ 22 h 45"/>
                  <a:gd name="T16" fmla="*/ 15 w 31"/>
                  <a:gd name="T17" fmla="*/ 6 h 45"/>
                  <a:gd name="T18" fmla="*/ 8 w 31"/>
                  <a:gd name="T19" fmla="*/ 2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31" y="22"/>
                    </a:moveTo>
                    <a:cubicBezTo>
                      <a:pt x="31" y="38"/>
                      <a:pt x="26" y="45"/>
                      <a:pt x="15" y="45"/>
                    </a:cubicBezTo>
                    <a:cubicBezTo>
                      <a:pt x="5" y="45"/>
                      <a:pt x="0" y="38"/>
                      <a:pt x="0" y="22"/>
                    </a:cubicBezTo>
                    <a:cubicBezTo>
                      <a:pt x="0" y="7"/>
                      <a:pt x="5" y="0"/>
                      <a:pt x="15" y="0"/>
                    </a:cubicBezTo>
                    <a:cubicBezTo>
                      <a:pt x="26" y="0"/>
                      <a:pt x="31" y="7"/>
                      <a:pt x="31" y="22"/>
                    </a:cubicBezTo>
                    <a:close/>
                    <a:moveTo>
                      <a:pt x="8" y="22"/>
                    </a:moveTo>
                    <a:cubicBezTo>
                      <a:pt x="8" y="33"/>
                      <a:pt x="10" y="39"/>
                      <a:pt x="15" y="39"/>
                    </a:cubicBezTo>
                    <a:cubicBezTo>
                      <a:pt x="20" y="39"/>
                      <a:pt x="23" y="33"/>
                      <a:pt x="23" y="22"/>
                    </a:cubicBezTo>
                    <a:cubicBezTo>
                      <a:pt x="23" y="11"/>
                      <a:pt x="20" y="6"/>
                      <a:pt x="15" y="6"/>
                    </a:cubicBezTo>
                    <a:cubicBezTo>
                      <a:pt x="10" y="6"/>
                      <a:pt x="8" y="11"/>
                      <a:pt x="8" y="2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81" name="Freeform 95">
                <a:extLst>
                  <a:ext uri="{FF2B5EF4-FFF2-40B4-BE49-F238E27FC236}">
                    <a16:creationId xmlns:a16="http://schemas.microsoft.com/office/drawing/2014/main" id="{087AC2D8-2262-2F88-9445-8B52666E8A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5702" y="3147135"/>
                <a:ext cx="19784" cy="32220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82" name="Freeform 96">
                <a:extLst>
                  <a:ext uri="{FF2B5EF4-FFF2-40B4-BE49-F238E27FC236}">
                    <a16:creationId xmlns:a16="http://schemas.microsoft.com/office/drawing/2014/main" id="{151E1638-DF0E-2E36-891E-A918107B21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4006" y="3201966"/>
                <a:ext cx="25437" cy="32220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83" name="Freeform 97">
                <a:extLst>
                  <a:ext uri="{FF2B5EF4-FFF2-40B4-BE49-F238E27FC236}">
                    <a16:creationId xmlns:a16="http://schemas.microsoft.com/office/drawing/2014/main" id="{8B4A8BC5-A832-7338-E470-B80F3CDD2B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5702" y="3256797"/>
                <a:ext cx="19784" cy="31655"/>
              </a:xfrm>
              <a:custGeom>
                <a:avLst/>
                <a:gdLst>
                  <a:gd name="T0" fmla="*/ 16 w 35"/>
                  <a:gd name="T1" fmla="*/ 14 h 56"/>
                  <a:gd name="T2" fmla="*/ 7 w 35"/>
                  <a:gd name="T3" fmla="*/ 21 h 56"/>
                  <a:gd name="T4" fmla="*/ 0 w 35"/>
                  <a:gd name="T5" fmla="*/ 11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4"/>
                    </a:moveTo>
                    <a:lnTo>
                      <a:pt x="7" y="21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84" name="Freeform 98">
                <a:extLst>
                  <a:ext uri="{FF2B5EF4-FFF2-40B4-BE49-F238E27FC236}">
                    <a16:creationId xmlns:a16="http://schemas.microsoft.com/office/drawing/2014/main" id="{315BF0C8-520D-1211-266B-514C639D6E1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4006" y="3311627"/>
                <a:ext cx="25437" cy="31655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85" name="Freeform 99">
                <a:extLst>
                  <a:ext uri="{FF2B5EF4-FFF2-40B4-BE49-F238E27FC236}">
                    <a16:creationId xmlns:a16="http://schemas.microsoft.com/office/drawing/2014/main" id="{95C0BE5A-4B99-9680-E391-6A74C134E1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5702" y="3365893"/>
                <a:ext cx="19784" cy="32220"/>
              </a:xfrm>
              <a:custGeom>
                <a:avLst/>
                <a:gdLst>
                  <a:gd name="T0" fmla="*/ 16 w 35"/>
                  <a:gd name="T1" fmla="*/ 15 h 57"/>
                  <a:gd name="T2" fmla="*/ 7 w 35"/>
                  <a:gd name="T3" fmla="*/ 22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8 h 57"/>
                  <a:gd name="T12" fmla="*/ 35 w 35"/>
                  <a:gd name="T13" fmla="*/ 48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8 h 57"/>
                  <a:gd name="T20" fmla="*/ 16 w 35"/>
                  <a:gd name="T21" fmla="*/ 48 h 57"/>
                  <a:gd name="T22" fmla="*/ 16 w 35"/>
                  <a:gd name="T23" fmla="*/ 1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5"/>
                    </a:moveTo>
                    <a:lnTo>
                      <a:pt x="7" y="22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86" name="Freeform 100">
                <a:extLst>
                  <a:ext uri="{FF2B5EF4-FFF2-40B4-BE49-F238E27FC236}">
                    <a16:creationId xmlns:a16="http://schemas.microsoft.com/office/drawing/2014/main" id="{D33953D9-97A7-00D9-A5A5-F400DFF6F0A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4006" y="3420724"/>
                <a:ext cx="25437" cy="32220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0059B8A0-8795-71DD-2C40-CBCE358D54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5702" y="3475555"/>
                <a:ext cx="19784" cy="32220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88" name="Freeform 102">
                <a:extLst>
                  <a:ext uri="{FF2B5EF4-FFF2-40B4-BE49-F238E27FC236}">
                    <a16:creationId xmlns:a16="http://schemas.microsoft.com/office/drawing/2014/main" id="{88481939-48F2-6854-49BD-D1555457F6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5702" y="3530385"/>
                <a:ext cx="19784" cy="32220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89" name="Freeform 103">
                <a:extLst>
                  <a:ext uri="{FF2B5EF4-FFF2-40B4-BE49-F238E27FC236}">
                    <a16:creationId xmlns:a16="http://schemas.microsoft.com/office/drawing/2014/main" id="{6156AD7C-8257-FAB8-C60C-0687F1C13D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5702" y="3586347"/>
                <a:ext cx="19784" cy="31090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5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5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90" name="Freeform 104">
                <a:extLst>
                  <a:ext uri="{FF2B5EF4-FFF2-40B4-BE49-F238E27FC236}">
                    <a16:creationId xmlns:a16="http://schemas.microsoft.com/office/drawing/2014/main" id="{3DAC564B-7A1D-72B3-4719-CDBBF2CDFB6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4006" y="3640047"/>
                <a:ext cx="25437" cy="33351"/>
              </a:xfrm>
              <a:custGeom>
                <a:avLst/>
                <a:gdLst>
                  <a:gd name="T0" fmla="*/ 17 w 19"/>
                  <a:gd name="T1" fmla="*/ 4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4 h 25"/>
                  <a:gd name="T16" fmla="*/ 6 w 19"/>
                  <a:gd name="T17" fmla="*/ 12 h 25"/>
                  <a:gd name="T18" fmla="*/ 10 w 19"/>
                  <a:gd name="T19" fmla="*/ 20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3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91" name="Freeform 105">
                <a:extLst>
                  <a:ext uri="{FF2B5EF4-FFF2-40B4-BE49-F238E27FC236}">
                    <a16:creationId xmlns:a16="http://schemas.microsoft.com/office/drawing/2014/main" id="{8BD1A366-389D-CB2C-13C3-35D8738066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5702" y="3696008"/>
                <a:ext cx="19784" cy="30524"/>
              </a:xfrm>
              <a:custGeom>
                <a:avLst/>
                <a:gdLst>
                  <a:gd name="T0" fmla="*/ 16 w 35"/>
                  <a:gd name="T1" fmla="*/ 12 h 54"/>
                  <a:gd name="T2" fmla="*/ 7 w 35"/>
                  <a:gd name="T3" fmla="*/ 19 h 54"/>
                  <a:gd name="T4" fmla="*/ 0 w 35"/>
                  <a:gd name="T5" fmla="*/ 9 h 54"/>
                  <a:gd name="T6" fmla="*/ 19 w 35"/>
                  <a:gd name="T7" fmla="*/ 0 h 54"/>
                  <a:gd name="T8" fmla="*/ 28 w 35"/>
                  <a:gd name="T9" fmla="*/ 0 h 54"/>
                  <a:gd name="T10" fmla="*/ 28 w 35"/>
                  <a:gd name="T11" fmla="*/ 45 h 54"/>
                  <a:gd name="T12" fmla="*/ 35 w 35"/>
                  <a:gd name="T13" fmla="*/ 45 h 54"/>
                  <a:gd name="T14" fmla="*/ 35 w 35"/>
                  <a:gd name="T15" fmla="*/ 54 h 54"/>
                  <a:gd name="T16" fmla="*/ 9 w 35"/>
                  <a:gd name="T17" fmla="*/ 54 h 54"/>
                  <a:gd name="T18" fmla="*/ 9 w 35"/>
                  <a:gd name="T19" fmla="*/ 45 h 54"/>
                  <a:gd name="T20" fmla="*/ 16 w 35"/>
                  <a:gd name="T21" fmla="*/ 45 h 54"/>
                  <a:gd name="T22" fmla="*/ 16 w 35"/>
                  <a:gd name="T23" fmla="*/ 1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4">
                    <a:moveTo>
                      <a:pt x="16" y="12"/>
                    </a:moveTo>
                    <a:lnTo>
                      <a:pt x="7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4"/>
                    </a:lnTo>
                    <a:lnTo>
                      <a:pt x="9" y="54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92" name="Freeform 106">
                <a:extLst>
                  <a:ext uri="{FF2B5EF4-FFF2-40B4-BE49-F238E27FC236}">
                    <a16:creationId xmlns:a16="http://schemas.microsoft.com/office/drawing/2014/main" id="{B9838672-8C54-B27E-9BAF-48C007874B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4006" y="3749143"/>
                <a:ext cx="25437" cy="33351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2 h 25"/>
                  <a:gd name="T18" fmla="*/ 10 w 19"/>
                  <a:gd name="T19" fmla="*/ 21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93" name="Freeform 107">
                <a:extLst>
                  <a:ext uri="{FF2B5EF4-FFF2-40B4-BE49-F238E27FC236}">
                    <a16:creationId xmlns:a16="http://schemas.microsoft.com/office/drawing/2014/main" id="{EEEA44D8-14DC-E99C-A375-B675CA3C1B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4006" y="3803974"/>
                <a:ext cx="25437" cy="33351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2 h 25"/>
                  <a:gd name="T18" fmla="*/ 10 w 19"/>
                  <a:gd name="T19" fmla="*/ 21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94" name="Freeform 108">
                <a:extLst>
                  <a:ext uri="{FF2B5EF4-FFF2-40B4-BE49-F238E27FC236}">
                    <a16:creationId xmlns:a16="http://schemas.microsoft.com/office/drawing/2014/main" id="{27A64B4A-40C9-37A0-E2EB-362FC60631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5702" y="3859935"/>
                <a:ext cx="19784" cy="31090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8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8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8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8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95" name="Freeform 109">
                <a:extLst>
                  <a:ext uri="{FF2B5EF4-FFF2-40B4-BE49-F238E27FC236}">
                    <a16:creationId xmlns:a16="http://schemas.microsoft.com/office/drawing/2014/main" id="{01600F86-D3E6-FF74-4420-B46E1760BC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5702" y="3914766"/>
                <a:ext cx="19784" cy="31090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8 h 55"/>
                  <a:gd name="T12" fmla="*/ 35 w 35"/>
                  <a:gd name="T13" fmla="*/ 48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8 h 55"/>
                  <a:gd name="T20" fmla="*/ 16 w 35"/>
                  <a:gd name="T21" fmla="*/ 48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96" name="Freeform 110">
                <a:extLst>
                  <a:ext uri="{FF2B5EF4-FFF2-40B4-BE49-F238E27FC236}">
                    <a16:creationId xmlns:a16="http://schemas.microsoft.com/office/drawing/2014/main" id="{8B041D2C-876B-F674-BAF6-C4B1468EBD1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4006" y="3968466"/>
                <a:ext cx="25437" cy="33351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3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1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3 h 25"/>
                  <a:gd name="T18" fmla="*/ 10 w 19"/>
                  <a:gd name="T19" fmla="*/ 21 h 25"/>
                  <a:gd name="T20" fmla="*/ 14 w 19"/>
                  <a:gd name="T21" fmla="*/ 13 h 25"/>
                  <a:gd name="T22" fmla="*/ 10 w 19"/>
                  <a:gd name="T23" fmla="*/ 5 h 25"/>
                  <a:gd name="T24" fmla="*/ 6 w 19"/>
                  <a:gd name="T25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7"/>
                      <a:pt x="19" y="9"/>
                      <a:pt x="19" y="13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1"/>
                    </a:cubicBezTo>
                    <a:cubicBezTo>
                      <a:pt x="1" y="19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3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3"/>
                    </a:cubicBezTo>
                    <a:cubicBezTo>
                      <a:pt x="14" y="7"/>
                      <a:pt x="12" y="5"/>
                      <a:pt x="10" y="5"/>
                    </a:cubicBezTo>
                    <a:cubicBezTo>
                      <a:pt x="7" y="5"/>
                      <a:pt x="6" y="7"/>
                      <a:pt x="6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97" name="Freeform 111">
                <a:extLst>
                  <a:ext uri="{FF2B5EF4-FFF2-40B4-BE49-F238E27FC236}">
                    <a16:creationId xmlns:a16="http://schemas.microsoft.com/office/drawing/2014/main" id="{83489619-C0D5-D985-8E6F-D8C540CA9B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5702" y="4024428"/>
                <a:ext cx="19784" cy="30524"/>
              </a:xfrm>
              <a:custGeom>
                <a:avLst/>
                <a:gdLst>
                  <a:gd name="T0" fmla="*/ 16 w 35"/>
                  <a:gd name="T1" fmla="*/ 12 h 54"/>
                  <a:gd name="T2" fmla="*/ 7 w 35"/>
                  <a:gd name="T3" fmla="*/ 19 h 54"/>
                  <a:gd name="T4" fmla="*/ 0 w 35"/>
                  <a:gd name="T5" fmla="*/ 9 h 54"/>
                  <a:gd name="T6" fmla="*/ 19 w 35"/>
                  <a:gd name="T7" fmla="*/ 0 h 54"/>
                  <a:gd name="T8" fmla="*/ 28 w 35"/>
                  <a:gd name="T9" fmla="*/ 0 h 54"/>
                  <a:gd name="T10" fmla="*/ 28 w 35"/>
                  <a:gd name="T11" fmla="*/ 47 h 54"/>
                  <a:gd name="T12" fmla="*/ 35 w 35"/>
                  <a:gd name="T13" fmla="*/ 47 h 54"/>
                  <a:gd name="T14" fmla="*/ 35 w 35"/>
                  <a:gd name="T15" fmla="*/ 54 h 54"/>
                  <a:gd name="T16" fmla="*/ 9 w 35"/>
                  <a:gd name="T17" fmla="*/ 54 h 54"/>
                  <a:gd name="T18" fmla="*/ 9 w 35"/>
                  <a:gd name="T19" fmla="*/ 47 h 54"/>
                  <a:gd name="T20" fmla="*/ 16 w 35"/>
                  <a:gd name="T21" fmla="*/ 47 h 54"/>
                  <a:gd name="T22" fmla="*/ 16 w 35"/>
                  <a:gd name="T23" fmla="*/ 1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4">
                    <a:moveTo>
                      <a:pt x="16" y="12"/>
                    </a:moveTo>
                    <a:lnTo>
                      <a:pt x="7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4"/>
                    </a:lnTo>
                    <a:lnTo>
                      <a:pt x="9" y="54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98" name="Freeform 112">
                <a:extLst>
                  <a:ext uri="{FF2B5EF4-FFF2-40B4-BE49-F238E27FC236}">
                    <a16:creationId xmlns:a16="http://schemas.microsoft.com/office/drawing/2014/main" id="{773430D9-1E5B-0729-82EC-DA7D57608B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4006" y="4078128"/>
                <a:ext cx="25437" cy="33351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3 h 25"/>
                  <a:gd name="T4" fmla="*/ 17 w 19"/>
                  <a:gd name="T5" fmla="*/ 22 h 25"/>
                  <a:gd name="T6" fmla="*/ 10 w 19"/>
                  <a:gd name="T7" fmla="*/ 25 h 25"/>
                  <a:gd name="T8" fmla="*/ 2 w 19"/>
                  <a:gd name="T9" fmla="*/ 21 h 25"/>
                  <a:gd name="T10" fmla="*/ 0 w 19"/>
                  <a:gd name="T11" fmla="*/ 13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3 h 25"/>
                  <a:gd name="T18" fmla="*/ 10 w 19"/>
                  <a:gd name="T19" fmla="*/ 21 h 25"/>
                  <a:gd name="T20" fmla="*/ 14 w 19"/>
                  <a:gd name="T21" fmla="*/ 13 h 25"/>
                  <a:gd name="T22" fmla="*/ 10 w 19"/>
                  <a:gd name="T23" fmla="*/ 5 h 25"/>
                  <a:gd name="T24" fmla="*/ 6 w 19"/>
                  <a:gd name="T25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7"/>
                      <a:pt x="19" y="9"/>
                      <a:pt x="19" y="13"/>
                    </a:cubicBezTo>
                    <a:cubicBezTo>
                      <a:pt x="19" y="17"/>
                      <a:pt x="18" y="20"/>
                      <a:pt x="17" y="22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1"/>
                    </a:cubicBezTo>
                    <a:cubicBezTo>
                      <a:pt x="1" y="19"/>
                      <a:pt x="0" y="16"/>
                      <a:pt x="0" y="13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3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3"/>
                    </a:cubicBezTo>
                    <a:cubicBezTo>
                      <a:pt x="14" y="7"/>
                      <a:pt x="12" y="5"/>
                      <a:pt x="10" y="5"/>
                    </a:cubicBezTo>
                    <a:cubicBezTo>
                      <a:pt x="7" y="5"/>
                      <a:pt x="6" y="7"/>
                      <a:pt x="6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99" name="Freeform 113">
                <a:extLst>
                  <a:ext uri="{FF2B5EF4-FFF2-40B4-BE49-F238E27FC236}">
                    <a16:creationId xmlns:a16="http://schemas.microsoft.com/office/drawing/2014/main" id="{4B7DD9F3-44E6-63B0-9A7A-8791979662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5702" y="4134089"/>
                <a:ext cx="19784" cy="31655"/>
              </a:xfrm>
              <a:custGeom>
                <a:avLst/>
                <a:gdLst>
                  <a:gd name="T0" fmla="*/ 16 w 35"/>
                  <a:gd name="T1" fmla="*/ 12 h 56"/>
                  <a:gd name="T2" fmla="*/ 7 w 35"/>
                  <a:gd name="T3" fmla="*/ 19 h 56"/>
                  <a:gd name="T4" fmla="*/ 0 w 35"/>
                  <a:gd name="T5" fmla="*/ 9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2"/>
                    </a:moveTo>
                    <a:lnTo>
                      <a:pt x="7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00" name="Freeform 114">
                <a:extLst>
                  <a:ext uri="{FF2B5EF4-FFF2-40B4-BE49-F238E27FC236}">
                    <a16:creationId xmlns:a16="http://schemas.microsoft.com/office/drawing/2014/main" id="{07CA3DDB-14B0-20B9-016E-120F4AD827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5702" y="4188920"/>
                <a:ext cx="19784" cy="31655"/>
              </a:xfrm>
              <a:custGeom>
                <a:avLst/>
                <a:gdLst>
                  <a:gd name="T0" fmla="*/ 16 w 35"/>
                  <a:gd name="T1" fmla="*/ 11 h 56"/>
                  <a:gd name="T2" fmla="*/ 7 w 35"/>
                  <a:gd name="T3" fmla="*/ 18 h 56"/>
                  <a:gd name="T4" fmla="*/ 0 w 35"/>
                  <a:gd name="T5" fmla="*/ 9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1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1"/>
                    </a:moveTo>
                    <a:lnTo>
                      <a:pt x="7" y="18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01" name="Freeform 115">
                <a:extLst>
                  <a:ext uri="{FF2B5EF4-FFF2-40B4-BE49-F238E27FC236}">
                    <a16:creationId xmlns:a16="http://schemas.microsoft.com/office/drawing/2014/main" id="{47E0DBA1-971F-9D30-D5E6-66600268C7B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4006" y="4243185"/>
                <a:ext cx="25437" cy="32220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8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5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7"/>
                      <a:pt x="7" y="20"/>
                      <a:pt x="10" y="20"/>
                    </a:cubicBezTo>
                    <a:cubicBezTo>
                      <a:pt x="12" y="20"/>
                      <a:pt x="14" y="17"/>
                      <a:pt x="14" y="12"/>
                    </a:cubicBezTo>
                    <a:cubicBezTo>
                      <a:pt x="14" y="6"/>
                      <a:pt x="12" y="4"/>
                      <a:pt x="10" y="4"/>
                    </a:cubicBezTo>
                    <a:cubicBezTo>
                      <a:pt x="7" y="4"/>
                      <a:pt x="6" y="6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02" name="Freeform 116">
                <a:extLst>
                  <a:ext uri="{FF2B5EF4-FFF2-40B4-BE49-F238E27FC236}">
                    <a16:creationId xmlns:a16="http://schemas.microsoft.com/office/drawing/2014/main" id="{83EB5EE8-DF2E-551F-DDC6-9BD6D9CA334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4006" y="4298016"/>
                <a:ext cx="25437" cy="32220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8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5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7"/>
                      <a:pt x="7" y="20"/>
                      <a:pt x="10" y="20"/>
                    </a:cubicBezTo>
                    <a:cubicBezTo>
                      <a:pt x="12" y="20"/>
                      <a:pt x="14" y="17"/>
                      <a:pt x="14" y="12"/>
                    </a:cubicBezTo>
                    <a:cubicBezTo>
                      <a:pt x="14" y="6"/>
                      <a:pt x="12" y="4"/>
                      <a:pt x="10" y="4"/>
                    </a:cubicBezTo>
                    <a:cubicBezTo>
                      <a:pt x="7" y="4"/>
                      <a:pt x="6" y="6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03" name="Freeform 117">
                <a:extLst>
                  <a:ext uri="{FF2B5EF4-FFF2-40B4-BE49-F238E27FC236}">
                    <a16:creationId xmlns:a16="http://schemas.microsoft.com/office/drawing/2014/main" id="{04F6D091-0C01-4FCA-B882-68E27AEE365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4006" y="4352847"/>
                <a:ext cx="25437" cy="32220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8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5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7"/>
                      <a:pt x="7" y="20"/>
                      <a:pt x="10" y="20"/>
                    </a:cubicBezTo>
                    <a:cubicBezTo>
                      <a:pt x="12" y="20"/>
                      <a:pt x="14" y="17"/>
                      <a:pt x="14" y="12"/>
                    </a:cubicBezTo>
                    <a:cubicBezTo>
                      <a:pt x="14" y="6"/>
                      <a:pt x="12" y="4"/>
                      <a:pt x="10" y="4"/>
                    </a:cubicBezTo>
                    <a:cubicBezTo>
                      <a:pt x="7" y="4"/>
                      <a:pt x="6" y="6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04" name="Freeform 118">
                <a:extLst>
                  <a:ext uri="{FF2B5EF4-FFF2-40B4-BE49-F238E27FC236}">
                    <a16:creationId xmlns:a16="http://schemas.microsoft.com/office/drawing/2014/main" id="{1C4C9B5B-4BB1-E4EB-23CF-CF943E8E24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5702" y="4407678"/>
                <a:ext cx="19784" cy="32220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05" name="Freeform 119">
                <a:extLst>
                  <a:ext uri="{FF2B5EF4-FFF2-40B4-BE49-F238E27FC236}">
                    <a16:creationId xmlns:a16="http://schemas.microsoft.com/office/drawing/2014/main" id="{FB595CBF-BA9F-1457-A5B5-8D93894909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4006" y="4462509"/>
                <a:ext cx="25437" cy="32220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8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5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6"/>
                      <a:pt x="12" y="4"/>
                      <a:pt x="10" y="4"/>
                    </a:cubicBezTo>
                    <a:cubicBezTo>
                      <a:pt x="7" y="4"/>
                      <a:pt x="6" y="6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06" name="Freeform 135">
                <a:extLst>
                  <a:ext uri="{FF2B5EF4-FFF2-40B4-BE49-F238E27FC236}">
                    <a16:creationId xmlns:a16="http://schemas.microsoft.com/office/drawing/2014/main" id="{E854255D-0956-8BEC-2CC9-5DD9B25A6A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9945" y="3284495"/>
                <a:ext cx="22611" cy="41830"/>
              </a:xfrm>
              <a:custGeom>
                <a:avLst/>
                <a:gdLst>
                  <a:gd name="T0" fmla="*/ 19 w 40"/>
                  <a:gd name="T1" fmla="*/ 14 h 74"/>
                  <a:gd name="T2" fmla="*/ 4 w 40"/>
                  <a:gd name="T3" fmla="*/ 24 h 74"/>
                  <a:gd name="T4" fmla="*/ 0 w 40"/>
                  <a:gd name="T5" fmla="*/ 14 h 74"/>
                  <a:gd name="T6" fmla="*/ 21 w 40"/>
                  <a:gd name="T7" fmla="*/ 0 h 74"/>
                  <a:gd name="T8" fmla="*/ 30 w 40"/>
                  <a:gd name="T9" fmla="*/ 0 h 74"/>
                  <a:gd name="T10" fmla="*/ 30 w 40"/>
                  <a:gd name="T11" fmla="*/ 64 h 74"/>
                  <a:gd name="T12" fmla="*/ 40 w 40"/>
                  <a:gd name="T13" fmla="*/ 64 h 74"/>
                  <a:gd name="T14" fmla="*/ 40 w 40"/>
                  <a:gd name="T15" fmla="*/ 74 h 74"/>
                  <a:gd name="T16" fmla="*/ 9 w 40"/>
                  <a:gd name="T17" fmla="*/ 74 h 74"/>
                  <a:gd name="T18" fmla="*/ 9 w 40"/>
                  <a:gd name="T19" fmla="*/ 64 h 74"/>
                  <a:gd name="T20" fmla="*/ 19 w 40"/>
                  <a:gd name="T21" fmla="*/ 64 h 74"/>
                  <a:gd name="T22" fmla="*/ 19 w 40"/>
                  <a:gd name="T23" fmla="*/ 1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4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4"/>
                    </a:lnTo>
                    <a:lnTo>
                      <a:pt x="9" y="74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07" name="Freeform 136">
                <a:extLst>
                  <a:ext uri="{FF2B5EF4-FFF2-40B4-BE49-F238E27FC236}">
                    <a16:creationId xmlns:a16="http://schemas.microsoft.com/office/drawing/2014/main" id="{194CDAB6-5B91-4A00-E12C-1418DF1A475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18250" y="3355153"/>
                <a:ext cx="28263" cy="42960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8 h 32"/>
                  <a:gd name="T14" fmla="*/ 16 w 21"/>
                  <a:gd name="T15" fmla="*/ 16 h 32"/>
                  <a:gd name="T16" fmla="*/ 10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0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0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08" name="Freeform 137">
                <a:extLst>
                  <a:ext uri="{FF2B5EF4-FFF2-40B4-BE49-F238E27FC236}">
                    <a16:creationId xmlns:a16="http://schemas.microsoft.com/office/drawing/2014/main" id="{F56E1305-5B38-FF4F-A5DB-317B4B0E885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18250" y="3498165"/>
                <a:ext cx="28263" cy="42960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6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09" name="Freeform 138">
                <a:extLst>
                  <a:ext uri="{FF2B5EF4-FFF2-40B4-BE49-F238E27FC236}">
                    <a16:creationId xmlns:a16="http://schemas.microsoft.com/office/drawing/2014/main" id="{2737AE15-7A72-521E-B0AA-491FC66521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9945" y="3570519"/>
                <a:ext cx="22611" cy="40134"/>
              </a:xfrm>
              <a:custGeom>
                <a:avLst/>
                <a:gdLst>
                  <a:gd name="T0" fmla="*/ 19 w 40"/>
                  <a:gd name="T1" fmla="*/ 12 h 71"/>
                  <a:gd name="T2" fmla="*/ 4 w 40"/>
                  <a:gd name="T3" fmla="*/ 21 h 71"/>
                  <a:gd name="T4" fmla="*/ 0 w 40"/>
                  <a:gd name="T5" fmla="*/ 12 h 71"/>
                  <a:gd name="T6" fmla="*/ 21 w 40"/>
                  <a:gd name="T7" fmla="*/ 0 h 71"/>
                  <a:gd name="T8" fmla="*/ 30 w 40"/>
                  <a:gd name="T9" fmla="*/ 0 h 71"/>
                  <a:gd name="T10" fmla="*/ 30 w 40"/>
                  <a:gd name="T11" fmla="*/ 64 h 71"/>
                  <a:gd name="T12" fmla="*/ 40 w 40"/>
                  <a:gd name="T13" fmla="*/ 64 h 71"/>
                  <a:gd name="T14" fmla="*/ 40 w 40"/>
                  <a:gd name="T15" fmla="*/ 71 h 71"/>
                  <a:gd name="T16" fmla="*/ 9 w 40"/>
                  <a:gd name="T17" fmla="*/ 71 h 71"/>
                  <a:gd name="T18" fmla="*/ 9 w 40"/>
                  <a:gd name="T19" fmla="*/ 64 h 71"/>
                  <a:gd name="T20" fmla="*/ 19 w 40"/>
                  <a:gd name="T21" fmla="*/ 64 h 71"/>
                  <a:gd name="T22" fmla="*/ 19 w 40"/>
                  <a:gd name="T23" fmla="*/ 1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1">
                    <a:moveTo>
                      <a:pt x="19" y="12"/>
                    </a:moveTo>
                    <a:lnTo>
                      <a:pt x="4" y="21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1"/>
                    </a:lnTo>
                    <a:lnTo>
                      <a:pt x="9" y="71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10" name="Freeform 139">
                <a:extLst>
                  <a:ext uri="{FF2B5EF4-FFF2-40B4-BE49-F238E27FC236}">
                    <a16:creationId xmlns:a16="http://schemas.microsoft.com/office/drawing/2014/main" id="{AA64F828-75AE-9C77-E679-AAD1A025E9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9945" y="3641177"/>
                <a:ext cx="22611" cy="4126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11" name="Freeform 140">
                <a:extLst>
                  <a:ext uri="{FF2B5EF4-FFF2-40B4-BE49-F238E27FC236}">
                    <a16:creationId xmlns:a16="http://schemas.microsoft.com/office/drawing/2014/main" id="{E5C80AC9-34F4-05DE-B0BF-E155B2BAEC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9945" y="3711836"/>
                <a:ext cx="22611" cy="4126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12" name="Freeform 141">
                <a:extLst>
                  <a:ext uri="{FF2B5EF4-FFF2-40B4-BE49-F238E27FC236}">
                    <a16:creationId xmlns:a16="http://schemas.microsoft.com/office/drawing/2014/main" id="{82FF8B92-7AA7-D4C8-F4A5-B56DA61258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9945" y="3784190"/>
                <a:ext cx="22611" cy="4126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1 h 73"/>
                  <a:gd name="T4" fmla="*/ 0 w 40"/>
                  <a:gd name="T5" fmla="*/ 12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1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13" name="Freeform 142">
                <a:extLst>
                  <a:ext uri="{FF2B5EF4-FFF2-40B4-BE49-F238E27FC236}">
                    <a16:creationId xmlns:a16="http://schemas.microsoft.com/office/drawing/2014/main" id="{0F4A5B93-0DD6-CA6E-0E3F-DD6053BBE4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18250" y="3854848"/>
                <a:ext cx="28263" cy="41265"/>
              </a:xfrm>
              <a:custGeom>
                <a:avLst/>
                <a:gdLst>
                  <a:gd name="T0" fmla="*/ 21 w 21"/>
                  <a:gd name="T1" fmla="*/ 15 h 31"/>
                  <a:gd name="T2" fmla="*/ 10 w 21"/>
                  <a:gd name="T3" fmla="*/ 31 h 31"/>
                  <a:gd name="T4" fmla="*/ 0 w 21"/>
                  <a:gd name="T5" fmla="*/ 15 h 31"/>
                  <a:gd name="T6" fmla="*/ 10 w 21"/>
                  <a:gd name="T7" fmla="*/ 0 h 31"/>
                  <a:gd name="T8" fmla="*/ 21 w 21"/>
                  <a:gd name="T9" fmla="*/ 15 h 31"/>
                  <a:gd name="T10" fmla="*/ 5 w 21"/>
                  <a:gd name="T11" fmla="*/ 15 h 31"/>
                  <a:gd name="T12" fmla="*/ 10 w 21"/>
                  <a:gd name="T13" fmla="*/ 27 h 31"/>
                  <a:gd name="T14" fmla="*/ 16 w 21"/>
                  <a:gd name="T15" fmla="*/ 15 h 31"/>
                  <a:gd name="T16" fmla="*/ 10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5"/>
                    </a:moveTo>
                    <a:cubicBezTo>
                      <a:pt x="21" y="26"/>
                      <a:pt x="18" y="31"/>
                      <a:pt x="10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5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0" y="27"/>
                    </a:cubicBezTo>
                    <a:cubicBezTo>
                      <a:pt x="14" y="27"/>
                      <a:pt x="16" y="23"/>
                      <a:pt x="16" y="15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14" name="Freeform 143">
                <a:extLst>
                  <a:ext uri="{FF2B5EF4-FFF2-40B4-BE49-F238E27FC236}">
                    <a16:creationId xmlns:a16="http://schemas.microsoft.com/office/drawing/2014/main" id="{284378CC-C43A-9018-CDAF-B203C8DEF7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18250" y="3925506"/>
                <a:ext cx="28263" cy="42960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15" name="Freeform 144">
                <a:extLst>
                  <a:ext uri="{FF2B5EF4-FFF2-40B4-BE49-F238E27FC236}">
                    <a16:creationId xmlns:a16="http://schemas.microsoft.com/office/drawing/2014/main" id="{DCE64A6A-ADDF-8E6A-7D40-BC4B0F3903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18250" y="4209835"/>
                <a:ext cx="28263" cy="42960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8 h 32"/>
                  <a:gd name="T14" fmla="*/ 16 w 21"/>
                  <a:gd name="T15" fmla="*/ 16 h 32"/>
                  <a:gd name="T16" fmla="*/ 10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0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0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16" name="Freeform 145">
                <a:extLst>
                  <a:ext uri="{FF2B5EF4-FFF2-40B4-BE49-F238E27FC236}">
                    <a16:creationId xmlns:a16="http://schemas.microsoft.com/office/drawing/2014/main" id="{FB3DA7EA-E65E-FE6A-2100-D8DCDB7543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18250" y="4282189"/>
                <a:ext cx="28263" cy="41265"/>
              </a:xfrm>
              <a:custGeom>
                <a:avLst/>
                <a:gdLst>
                  <a:gd name="T0" fmla="*/ 21 w 21"/>
                  <a:gd name="T1" fmla="*/ 16 h 31"/>
                  <a:gd name="T2" fmla="*/ 10 w 21"/>
                  <a:gd name="T3" fmla="*/ 31 h 31"/>
                  <a:gd name="T4" fmla="*/ 0 w 21"/>
                  <a:gd name="T5" fmla="*/ 15 h 31"/>
                  <a:gd name="T6" fmla="*/ 10 w 21"/>
                  <a:gd name="T7" fmla="*/ 0 h 31"/>
                  <a:gd name="T8" fmla="*/ 21 w 21"/>
                  <a:gd name="T9" fmla="*/ 16 h 31"/>
                  <a:gd name="T10" fmla="*/ 5 w 21"/>
                  <a:gd name="T11" fmla="*/ 15 h 31"/>
                  <a:gd name="T12" fmla="*/ 10 w 21"/>
                  <a:gd name="T13" fmla="*/ 27 h 31"/>
                  <a:gd name="T14" fmla="*/ 16 w 21"/>
                  <a:gd name="T15" fmla="*/ 16 h 31"/>
                  <a:gd name="T16" fmla="*/ 10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0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0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17" name="Freeform 146">
                <a:extLst>
                  <a:ext uri="{FF2B5EF4-FFF2-40B4-BE49-F238E27FC236}">
                    <a16:creationId xmlns:a16="http://schemas.microsoft.com/office/drawing/2014/main" id="{F0481A32-0B3C-2C9C-70D3-7651826E4B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18250" y="4352847"/>
                <a:ext cx="28263" cy="42960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18" name="Freeform 147">
                <a:extLst>
                  <a:ext uri="{FF2B5EF4-FFF2-40B4-BE49-F238E27FC236}">
                    <a16:creationId xmlns:a16="http://schemas.microsoft.com/office/drawing/2014/main" id="{AC4E2B38-DC90-781E-9B95-01E78B8167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9945" y="4425201"/>
                <a:ext cx="22611" cy="4126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3 h 73"/>
                  <a:gd name="T4" fmla="*/ 0 w 40"/>
                  <a:gd name="T5" fmla="*/ 12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3 h 73"/>
                  <a:gd name="T12" fmla="*/ 40 w 40"/>
                  <a:gd name="T13" fmla="*/ 63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3 h 73"/>
                  <a:gd name="T20" fmla="*/ 19 w 40"/>
                  <a:gd name="T21" fmla="*/ 63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3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3"/>
                    </a:lnTo>
                    <a:lnTo>
                      <a:pt x="40" y="63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3"/>
                    </a:lnTo>
                    <a:lnTo>
                      <a:pt x="19" y="63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19" name="Freeform 149">
                <a:extLst>
                  <a:ext uri="{FF2B5EF4-FFF2-40B4-BE49-F238E27FC236}">
                    <a16:creationId xmlns:a16="http://schemas.microsoft.com/office/drawing/2014/main" id="{C40D1865-2F0E-8918-D83C-682C924E5B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7759" y="3151092"/>
                <a:ext cx="34481" cy="61614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20" name="Freeform 150">
                <a:extLst>
                  <a:ext uri="{FF2B5EF4-FFF2-40B4-BE49-F238E27FC236}">
                    <a16:creationId xmlns:a16="http://schemas.microsoft.com/office/drawing/2014/main" id="{D5176CE0-23C9-0AD3-F618-AB2ED31CDC8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74932" y="3256797"/>
                <a:ext cx="42960" cy="63875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21" name="Freeform 151">
                <a:extLst>
                  <a:ext uri="{FF2B5EF4-FFF2-40B4-BE49-F238E27FC236}">
                    <a16:creationId xmlns:a16="http://schemas.microsoft.com/office/drawing/2014/main" id="{2587CA79-66DD-E359-F4CB-0763CFF764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7759" y="3364762"/>
                <a:ext cx="34481" cy="61614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22" name="Freeform 152">
                <a:extLst>
                  <a:ext uri="{FF2B5EF4-FFF2-40B4-BE49-F238E27FC236}">
                    <a16:creationId xmlns:a16="http://schemas.microsoft.com/office/drawing/2014/main" id="{C7BF4B79-01E3-71D7-ED59-3F18C296612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74932" y="3470467"/>
                <a:ext cx="42960" cy="63875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23" name="Freeform 153">
                <a:extLst>
                  <a:ext uri="{FF2B5EF4-FFF2-40B4-BE49-F238E27FC236}">
                    <a16:creationId xmlns:a16="http://schemas.microsoft.com/office/drawing/2014/main" id="{B21124A5-62A3-AABA-54B0-50087CCE15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7759" y="3578433"/>
                <a:ext cx="34481" cy="61614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24" name="Freeform 154">
                <a:extLst>
                  <a:ext uri="{FF2B5EF4-FFF2-40B4-BE49-F238E27FC236}">
                    <a16:creationId xmlns:a16="http://schemas.microsoft.com/office/drawing/2014/main" id="{7D0739EE-8547-BA79-07DB-8BA457D510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7759" y="3685268"/>
                <a:ext cx="34481" cy="61614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25" name="Freeform 155">
                <a:extLst>
                  <a:ext uri="{FF2B5EF4-FFF2-40B4-BE49-F238E27FC236}">
                    <a16:creationId xmlns:a16="http://schemas.microsoft.com/office/drawing/2014/main" id="{2A89363E-8E46-E7C2-9941-A1F2F6F651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7759" y="3792103"/>
                <a:ext cx="34481" cy="61614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7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7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7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7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26" name="Freeform 156">
                <a:extLst>
                  <a:ext uri="{FF2B5EF4-FFF2-40B4-BE49-F238E27FC236}">
                    <a16:creationId xmlns:a16="http://schemas.microsoft.com/office/drawing/2014/main" id="{D2B6AADE-29AF-34AF-6F68-1C71886AB3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7759" y="3898938"/>
                <a:ext cx="34481" cy="61614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5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7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7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5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7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7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27" name="Freeform 157">
                <a:extLst>
                  <a:ext uri="{FF2B5EF4-FFF2-40B4-BE49-F238E27FC236}">
                    <a16:creationId xmlns:a16="http://schemas.microsoft.com/office/drawing/2014/main" id="{73F32051-B735-BA78-6070-32C041D01E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74932" y="4004643"/>
                <a:ext cx="42960" cy="63875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28" name="Freeform 158">
                <a:extLst>
                  <a:ext uri="{FF2B5EF4-FFF2-40B4-BE49-F238E27FC236}">
                    <a16:creationId xmlns:a16="http://schemas.microsoft.com/office/drawing/2014/main" id="{943398CC-B0AD-2E76-EBE7-A8A7F65221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74932" y="4111478"/>
                <a:ext cx="42960" cy="63875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2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2"/>
                      <a:pt x="16" y="42"/>
                    </a:cubicBezTo>
                    <a:cubicBezTo>
                      <a:pt x="22" y="42"/>
                      <a:pt x="24" y="36"/>
                      <a:pt x="24" y="24"/>
                    </a:cubicBezTo>
                    <a:cubicBezTo>
                      <a:pt x="24" y="13"/>
                      <a:pt x="22" y="7"/>
                      <a:pt x="16" y="7"/>
                    </a:cubicBezTo>
                    <a:cubicBezTo>
                      <a:pt x="11" y="7"/>
                      <a:pt x="8" y="13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29" name="Freeform 159">
                <a:extLst>
                  <a:ext uri="{FF2B5EF4-FFF2-40B4-BE49-F238E27FC236}">
                    <a16:creationId xmlns:a16="http://schemas.microsoft.com/office/drawing/2014/main" id="{1468D80A-3694-8946-1CBE-60E26C562DB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74932" y="4218314"/>
                <a:ext cx="42960" cy="63875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2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2"/>
                      <a:pt x="16" y="42"/>
                    </a:cubicBezTo>
                    <a:cubicBezTo>
                      <a:pt x="22" y="42"/>
                      <a:pt x="24" y="36"/>
                      <a:pt x="24" y="24"/>
                    </a:cubicBezTo>
                    <a:cubicBezTo>
                      <a:pt x="24" y="13"/>
                      <a:pt x="22" y="7"/>
                      <a:pt x="16" y="7"/>
                    </a:cubicBezTo>
                    <a:cubicBezTo>
                      <a:pt x="11" y="7"/>
                      <a:pt x="8" y="13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30" name="Freeform 160">
                <a:extLst>
                  <a:ext uri="{FF2B5EF4-FFF2-40B4-BE49-F238E27FC236}">
                    <a16:creationId xmlns:a16="http://schemas.microsoft.com/office/drawing/2014/main" id="{0F220CE2-5CAC-DA33-C5DD-B20D7155B0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74932" y="4325149"/>
                <a:ext cx="42960" cy="63875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2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1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2"/>
                      <a:pt x="16" y="42"/>
                    </a:cubicBezTo>
                    <a:cubicBezTo>
                      <a:pt x="22" y="42"/>
                      <a:pt x="24" y="36"/>
                      <a:pt x="24" y="24"/>
                    </a:cubicBezTo>
                    <a:cubicBezTo>
                      <a:pt x="24" y="13"/>
                      <a:pt x="22" y="7"/>
                      <a:pt x="16" y="7"/>
                    </a:cubicBezTo>
                    <a:cubicBezTo>
                      <a:pt x="11" y="7"/>
                      <a:pt x="8" y="13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31" name="Freeform 161">
                <a:extLst>
                  <a:ext uri="{FF2B5EF4-FFF2-40B4-BE49-F238E27FC236}">
                    <a16:creationId xmlns:a16="http://schemas.microsoft.com/office/drawing/2014/main" id="{988CE084-AEC9-DEE1-BF2C-AE1145E0B7B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74932" y="4433115"/>
                <a:ext cx="42960" cy="62745"/>
              </a:xfrm>
              <a:custGeom>
                <a:avLst/>
                <a:gdLst>
                  <a:gd name="T0" fmla="*/ 32 w 32"/>
                  <a:gd name="T1" fmla="*/ 23 h 47"/>
                  <a:gd name="T2" fmla="*/ 16 w 32"/>
                  <a:gd name="T3" fmla="*/ 47 h 47"/>
                  <a:gd name="T4" fmla="*/ 0 w 32"/>
                  <a:gd name="T5" fmla="*/ 23 h 47"/>
                  <a:gd name="T6" fmla="*/ 16 w 32"/>
                  <a:gd name="T7" fmla="*/ 0 h 47"/>
                  <a:gd name="T8" fmla="*/ 32 w 32"/>
                  <a:gd name="T9" fmla="*/ 23 h 47"/>
                  <a:gd name="T10" fmla="*/ 8 w 32"/>
                  <a:gd name="T11" fmla="*/ 23 h 47"/>
                  <a:gd name="T12" fmla="*/ 16 w 32"/>
                  <a:gd name="T13" fmla="*/ 41 h 47"/>
                  <a:gd name="T14" fmla="*/ 24 w 32"/>
                  <a:gd name="T15" fmla="*/ 23 h 47"/>
                  <a:gd name="T16" fmla="*/ 16 w 32"/>
                  <a:gd name="T17" fmla="*/ 6 h 47"/>
                  <a:gd name="T18" fmla="*/ 8 w 32"/>
                  <a:gd name="T19" fmla="*/ 2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7">
                    <a:moveTo>
                      <a:pt x="32" y="23"/>
                    </a:moveTo>
                    <a:cubicBezTo>
                      <a:pt x="32" y="39"/>
                      <a:pt x="27" y="47"/>
                      <a:pt x="16" y="47"/>
                    </a:cubicBezTo>
                    <a:cubicBezTo>
                      <a:pt x="5" y="47"/>
                      <a:pt x="0" y="40"/>
                      <a:pt x="0" y="23"/>
                    </a:cubicBezTo>
                    <a:cubicBezTo>
                      <a:pt x="0" y="7"/>
                      <a:pt x="5" y="0"/>
                      <a:pt x="16" y="0"/>
                    </a:cubicBezTo>
                    <a:cubicBezTo>
                      <a:pt x="27" y="0"/>
                      <a:pt x="32" y="7"/>
                      <a:pt x="32" y="23"/>
                    </a:cubicBezTo>
                    <a:close/>
                    <a:moveTo>
                      <a:pt x="8" y="23"/>
                    </a:moveTo>
                    <a:cubicBezTo>
                      <a:pt x="8" y="35"/>
                      <a:pt x="11" y="41"/>
                      <a:pt x="16" y="41"/>
                    </a:cubicBezTo>
                    <a:cubicBezTo>
                      <a:pt x="22" y="41"/>
                      <a:pt x="24" y="35"/>
                      <a:pt x="24" y="23"/>
                    </a:cubicBezTo>
                    <a:cubicBezTo>
                      <a:pt x="24" y="12"/>
                      <a:pt x="22" y="6"/>
                      <a:pt x="16" y="6"/>
                    </a:cubicBezTo>
                    <a:cubicBezTo>
                      <a:pt x="11" y="6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32" name="Line 8">
                <a:extLst>
                  <a:ext uri="{FF2B5EF4-FFF2-40B4-BE49-F238E27FC236}">
                    <a16:creationId xmlns:a16="http://schemas.microsoft.com/office/drawing/2014/main" id="{0EE56ADE-93CA-16ED-7B2B-CC99E914AF6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623106" y="3979773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33" name="Line 9">
                <a:extLst>
                  <a:ext uri="{FF2B5EF4-FFF2-40B4-BE49-F238E27FC236}">
                    <a16:creationId xmlns:a16="http://schemas.microsoft.com/office/drawing/2014/main" id="{C3CEC000-349A-D80F-9047-BEDF2906102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623106" y="3979773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34" name="Freeform 10">
                <a:extLst>
                  <a:ext uri="{FF2B5EF4-FFF2-40B4-BE49-F238E27FC236}">
                    <a16:creationId xmlns:a16="http://schemas.microsoft.com/office/drawing/2014/main" id="{10E545FF-6DCA-A4B8-F4F5-D2C3F37A9A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60466" y="4380547"/>
                <a:ext cx="37308" cy="58788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8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7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7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8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7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7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35" name="Freeform 11">
                <a:extLst>
                  <a:ext uri="{FF2B5EF4-FFF2-40B4-BE49-F238E27FC236}">
                    <a16:creationId xmlns:a16="http://schemas.microsoft.com/office/drawing/2014/main" id="{E6AB307A-DC3C-8949-F40C-1CF74483558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55378" y="4480599"/>
                <a:ext cx="45221" cy="61614"/>
              </a:xfrm>
              <a:custGeom>
                <a:avLst/>
                <a:gdLst>
                  <a:gd name="T0" fmla="*/ 32 w 34"/>
                  <a:gd name="T1" fmla="*/ 8 h 46"/>
                  <a:gd name="T2" fmla="*/ 34 w 34"/>
                  <a:gd name="T3" fmla="*/ 23 h 46"/>
                  <a:gd name="T4" fmla="*/ 31 w 34"/>
                  <a:gd name="T5" fmla="*/ 39 h 46"/>
                  <a:gd name="T6" fmla="*/ 17 w 34"/>
                  <a:gd name="T7" fmla="*/ 46 h 46"/>
                  <a:gd name="T8" fmla="*/ 3 w 34"/>
                  <a:gd name="T9" fmla="*/ 37 h 46"/>
                  <a:gd name="T10" fmla="*/ 0 w 34"/>
                  <a:gd name="T11" fmla="*/ 23 h 46"/>
                  <a:gd name="T12" fmla="*/ 17 w 34"/>
                  <a:gd name="T13" fmla="*/ 0 h 46"/>
                  <a:gd name="T14" fmla="*/ 32 w 34"/>
                  <a:gd name="T15" fmla="*/ 8 h 46"/>
                  <a:gd name="T16" fmla="*/ 10 w 34"/>
                  <a:gd name="T17" fmla="*/ 23 h 46"/>
                  <a:gd name="T18" fmla="*/ 17 w 34"/>
                  <a:gd name="T19" fmla="*/ 38 h 46"/>
                  <a:gd name="T20" fmla="*/ 25 w 34"/>
                  <a:gd name="T21" fmla="*/ 23 h 46"/>
                  <a:gd name="T22" fmla="*/ 17 w 34"/>
                  <a:gd name="T23" fmla="*/ 8 h 46"/>
                  <a:gd name="T24" fmla="*/ 10 w 34"/>
                  <a:gd name="T25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46">
                    <a:moveTo>
                      <a:pt x="32" y="8"/>
                    </a:moveTo>
                    <a:cubicBezTo>
                      <a:pt x="34" y="12"/>
                      <a:pt x="34" y="16"/>
                      <a:pt x="34" y="23"/>
                    </a:cubicBezTo>
                    <a:cubicBezTo>
                      <a:pt x="34" y="31"/>
                      <a:pt x="33" y="36"/>
                      <a:pt x="31" y="39"/>
                    </a:cubicBezTo>
                    <a:cubicBezTo>
                      <a:pt x="28" y="43"/>
                      <a:pt x="23" y="46"/>
                      <a:pt x="17" y="46"/>
                    </a:cubicBezTo>
                    <a:cubicBezTo>
                      <a:pt x="11" y="46"/>
                      <a:pt x="6" y="43"/>
                      <a:pt x="3" y="37"/>
                    </a:cubicBezTo>
                    <a:cubicBezTo>
                      <a:pt x="1" y="34"/>
                      <a:pt x="0" y="29"/>
                      <a:pt x="0" y="23"/>
                    </a:cubicBezTo>
                    <a:cubicBezTo>
                      <a:pt x="0" y="8"/>
                      <a:pt x="6" y="0"/>
                      <a:pt x="17" y="0"/>
                    </a:cubicBezTo>
                    <a:cubicBezTo>
                      <a:pt x="24" y="0"/>
                      <a:pt x="29" y="3"/>
                      <a:pt x="32" y="8"/>
                    </a:cubicBezTo>
                    <a:close/>
                    <a:moveTo>
                      <a:pt x="10" y="23"/>
                    </a:moveTo>
                    <a:cubicBezTo>
                      <a:pt x="10" y="33"/>
                      <a:pt x="12" y="38"/>
                      <a:pt x="17" y="38"/>
                    </a:cubicBezTo>
                    <a:cubicBezTo>
                      <a:pt x="22" y="38"/>
                      <a:pt x="25" y="33"/>
                      <a:pt x="25" y="23"/>
                    </a:cubicBezTo>
                    <a:cubicBezTo>
                      <a:pt x="25" y="13"/>
                      <a:pt x="22" y="8"/>
                      <a:pt x="17" y="8"/>
                    </a:cubicBezTo>
                    <a:cubicBezTo>
                      <a:pt x="12" y="8"/>
                      <a:pt x="10" y="13"/>
                      <a:pt x="10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36" name="Freeform 23">
                <a:extLst>
                  <a:ext uri="{FF2B5EF4-FFF2-40B4-BE49-F238E27FC236}">
                    <a16:creationId xmlns:a16="http://schemas.microsoft.com/office/drawing/2014/main" id="{24E84C7B-61E5-6D31-1B50-6C2FA1199F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75215" y="4110915"/>
                <a:ext cx="28263" cy="42395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8 h 32"/>
                  <a:gd name="T14" fmla="*/ 16 w 21"/>
                  <a:gd name="T15" fmla="*/ 16 h 32"/>
                  <a:gd name="T16" fmla="*/ 11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1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1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37" name="Freeform 24">
                <a:extLst>
                  <a:ext uri="{FF2B5EF4-FFF2-40B4-BE49-F238E27FC236}">
                    <a16:creationId xmlns:a16="http://schemas.microsoft.com/office/drawing/2014/main" id="{EAB81CE1-AEFD-B064-44F6-579702AA6F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75215" y="4182704"/>
                <a:ext cx="28263" cy="41830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5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38" name="Freeform 25">
                <a:extLst>
                  <a:ext uri="{FF2B5EF4-FFF2-40B4-BE49-F238E27FC236}">
                    <a16:creationId xmlns:a16="http://schemas.microsoft.com/office/drawing/2014/main" id="{4A9F20E1-BFA5-45C2-40CA-6ABCD457AB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78041" y="4325716"/>
                <a:ext cx="24306" cy="4126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2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2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39" name="Freeform 26">
                <a:extLst>
                  <a:ext uri="{FF2B5EF4-FFF2-40B4-BE49-F238E27FC236}">
                    <a16:creationId xmlns:a16="http://schemas.microsoft.com/office/drawing/2014/main" id="{A6D69C71-8929-A9E4-CDF4-13FB545E833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75215" y="4396374"/>
                <a:ext cx="28263" cy="41830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6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40" name="Freeform 27">
                <a:extLst>
                  <a:ext uri="{FF2B5EF4-FFF2-40B4-BE49-F238E27FC236}">
                    <a16:creationId xmlns:a16="http://schemas.microsoft.com/office/drawing/2014/main" id="{8000DCCF-30AF-195D-B825-193E3576FAC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75215" y="4467598"/>
                <a:ext cx="28263" cy="42395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7 h 32"/>
                  <a:gd name="T14" fmla="*/ 16 w 21"/>
                  <a:gd name="T15" fmla="*/ 16 h 32"/>
                  <a:gd name="T16" fmla="*/ 11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1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41" name="Freeform 43">
                <a:extLst>
                  <a:ext uri="{FF2B5EF4-FFF2-40B4-BE49-F238E27FC236}">
                    <a16:creationId xmlns:a16="http://schemas.microsoft.com/office/drawing/2014/main" id="{A8D9C707-780D-90F6-42B0-22BBE77A50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65092" y="4185530"/>
                <a:ext cx="23741" cy="3504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5" y="0"/>
                      <a:pt x="18" y="5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42" name="Freeform 44">
                <a:extLst>
                  <a:ext uri="{FF2B5EF4-FFF2-40B4-BE49-F238E27FC236}">
                    <a16:creationId xmlns:a16="http://schemas.microsoft.com/office/drawing/2014/main" id="{F90EAE4A-B735-51B2-567C-48CFE09297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65092" y="4243187"/>
                <a:ext cx="23741" cy="34481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1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43" name="Freeform 45">
                <a:extLst>
                  <a:ext uri="{FF2B5EF4-FFF2-40B4-BE49-F238E27FC236}">
                    <a16:creationId xmlns:a16="http://schemas.microsoft.com/office/drawing/2014/main" id="{A16C40E9-76C0-5A8E-3DB5-DDCE82F3B5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69049" y="4357936"/>
                <a:ext cx="18654" cy="33351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49 h 59"/>
                  <a:gd name="T20" fmla="*/ 17 w 33"/>
                  <a:gd name="T21" fmla="*/ 49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44" name="Freeform 46">
                <a:extLst>
                  <a:ext uri="{FF2B5EF4-FFF2-40B4-BE49-F238E27FC236}">
                    <a16:creationId xmlns:a16="http://schemas.microsoft.com/office/drawing/2014/main" id="{F8852104-00B9-7FE8-4B20-CC7EB3B352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65092" y="4413897"/>
                <a:ext cx="23741" cy="34481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45" name="Freeform 47">
                <a:extLst>
                  <a:ext uri="{FF2B5EF4-FFF2-40B4-BE49-F238E27FC236}">
                    <a16:creationId xmlns:a16="http://schemas.microsoft.com/office/drawing/2014/main" id="{D0EAD15E-D89E-6619-1D29-6737DC25F3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65092" y="4471555"/>
                <a:ext cx="23741" cy="33351"/>
              </a:xfrm>
              <a:custGeom>
                <a:avLst/>
                <a:gdLst>
                  <a:gd name="T0" fmla="*/ 18 w 18"/>
                  <a:gd name="T1" fmla="*/ 13 h 25"/>
                  <a:gd name="T2" fmla="*/ 9 w 18"/>
                  <a:gd name="T3" fmla="*/ 25 h 25"/>
                  <a:gd name="T4" fmla="*/ 0 w 18"/>
                  <a:gd name="T5" fmla="*/ 12 h 25"/>
                  <a:gd name="T6" fmla="*/ 9 w 18"/>
                  <a:gd name="T7" fmla="*/ 0 h 25"/>
                  <a:gd name="T8" fmla="*/ 18 w 18"/>
                  <a:gd name="T9" fmla="*/ 13 h 25"/>
                  <a:gd name="T10" fmla="*/ 5 w 18"/>
                  <a:gd name="T11" fmla="*/ 12 h 25"/>
                  <a:gd name="T12" fmla="*/ 9 w 18"/>
                  <a:gd name="T13" fmla="*/ 22 h 25"/>
                  <a:gd name="T14" fmla="*/ 13 w 18"/>
                  <a:gd name="T15" fmla="*/ 13 h 25"/>
                  <a:gd name="T16" fmla="*/ 9 w 18"/>
                  <a:gd name="T17" fmla="*/ 3 h 25"/>
                  <a:gd name="T18" fmla="*/ 5 w 18"/>
                  <a:gd name="T1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5">
                    <a:moveTo>
                      <a:pt x="18" y="13"/>
                    </a:moveTo>
                    <a:cubicBezTo>
                      <a:pt x="18" y="21"/>
                      <a:pt x="15" y="25"/>
                      <a:pt x="9" y="25"/>
                    </a:cubicBezTo>
                    <a:cubicBezTo>
                      <a:pt x="3" y="25"/>
                      <a:pt x="0" y="21"/>
                      <a:pt x="0" y="12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2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6"/>
                      <a:pt x="12" y="3"/>
                      <a:pt x="9" y="3"/>
                    </a:cubicBezTo>
                    <a:cubicBezTo>
                      <a:pt x="6" y="3"/>
                      <a:pt x="5" y="6"/>
                      <a:pt x="5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46" name="Freeform 63">
                <a:extLst>
                  <a:ext uri="{FF2B5EF4-FFF2-40B4-BE49-F238E27FC236}">
                    <a16:creationId xmlns:a16="http://schemas.microsoft.com/office/drawing/2014/main" id="{4C820301-1E49-9E38-C790-17D28443B4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06505" y="4185530"/>
                <a:ext cx="22611" cy="3504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4" y="0"/>
                      <a:pt x="17" y="5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47" name="Freeform 64">
                <a:extLst>
                  <a:ext uri="{FF2B5EF4-FFF2-40B4-BE49-F238E27FC236}">
                    <a16:creationId xmlns:a16="http://schemas.microsoft.com/office/drawing/2014/main" id="{37318592-B2DC-CDE2-432F-ABE6077945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06505" y="4243187"/>
                <a:ext cx="22611" cy="34481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1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48" name="Freeform 65">
                <a:extLst>
                  <a:ext uri="{FF2B5EF4-FFF2-40B4-BE49-F238E27FC236}">
                    <a16:creationId xmlns:a16="http://schemas.microsoft.com/office/drawing/2014/main" id="{C8D4910D-2A8E-A6F8-F9D8-121D905C02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8766" y="4357936"/>
                <a:ext cx="18654" cy="33351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49 h 59"/>
                  <a:gd name="T20" fmla="*/ 16 w 33"/>
                  <a:gd name="T21" fmla="*/ 49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49" name="Freeform 66">
                <a:extLst>
                  <a:ext uri="{FF2B5EF4-FFF2-40B4-BE49-F238E27FC236}">
                    <a16:creationId xmlns:a16="http://schemas.microsoft.com/office/drawing/2014/main" id="{136181FC-1F67-2932-711D-188EF12569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06505" y="4413897"/>
                <a:ext cx="22611" cy="34481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50" name="Freeform 67">
                <a:extLst>
                  <a:ext uri="{FF2B5EF4-FFF2-40B4-BE49-F238E27FC236}">
                    <a16:creationId xmlns:a16="http://schemas.microsoft.com/office/drawing/2014/main" id="{AB5C21E8-9DEA-30F8-FDF4-4C281647CF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06505" y="4471555"/>
                <a:ext cx="22611" cy="33351"/>
              </a:xfrm>
              <a:custGeom>
                <a:avLst/>
                <a:gdLst>
                  <a:gd name="T0" fmla="*/ 17 w 17"/>
                  <a:gd name="T1" fmla="*/ 13 h 25"/>
                  <a:gd name="T2" fmla="*/ 9 w 17"/>
                  <a:gd name="T3" fmla="*/ 25 h 25"/>
                  <a:gd name="T4" fmla="*/ 0 w 17"/>
                  <a:gd name="T5" fmla="*/ 12 h 25"/>
                  <a:gd name="T6" fmla="*/ 9 w 17"/>
                  <a:gd name="T7" fmla="*/ 0 h 25"/>
                  <a:gd name="T8" fmla="*/ 17 w 17"/>
                  <a:gd name="T9" fmla="*/ 13 h 25"/>
                  <a:gd name="T10" fmla="*/ 4 w 17"/>
                  <a:gd name="T11" fmla="*/ 12 h 25"/>
                  <a:gd name="T12" fmla="*/ 9 w 17"/>
                  <a:gd name="T13" fmla="*/ 22 h 25"/>
                  <a:gd name="T14" fmla="*/ 13 w 17"/>
                  <a:gd name="T15" fmla="*/ 13 h 25"/>
                  <a:gd name="T16" fmla="*/ 9 w 17"/>
                  <a:gd name="T17" fmla="*/ 3 h 25"/>
                  <a:gd name="T18" fmla="*/ 4 w 17"/>
                  <a:gd name="T1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5">
                    <a:moveTo>
                      <a:pt x="17" y="13"/>
                    </a:moveTo>
                    <a:cubicBezTo>
                      <a:pt x="17" y="21"/>
                      <a:pt x="14" y="25"/>
                      <a:pt x="9" y="25"/>
                    </a:cubicBezTo>
                    <a:cubicBezTo>
                      <a:pt x="3" y="25"/>
                      <a:pt x="0" y="21"/>
                      <a:pt x="0" y="12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2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6"/>
                      <a:pt x="11" y="3"/>
                      <a:pt x="9" y="3"/>
                    </a:cubicBezTo>
                    <a:cubicBezTo>
                      <a:pt x="6" y="3"/>
                      <a:pt x="4" y="6"/>
                      <a:pt x="4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51" name="Freeform 83">
                <a:extLst>
                  <a:ext uri="{FF2B5EF4-FFF2-40B4-BE49-F238E27FC236}">
                    <a16:creationId xmlns:a16="http://schemas.microsoft.com/office/drawing/2014/main" id="{6B80778A-567C-4EEF-AA1B-AB7743DA6E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2448" y="4188356"/>
                <a:ext cx="34481" cy="58788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3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52" name="Freeform 84">
                <a:extLst>
                  <a:ext uri="{FF2B5EF4-FFF2-40B4-BE49-F238E27FC236}">
                    <a16:creationId xmlns:a16="http://schemas.microsoft.com/office/drawing/2014/main" id="{42EE68E7-37EB-C9D6-EA96-6C6516BFCC3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46795" y="4288408"/>
                <a:ext cx="41265" cy="61614"/>
              </a:xfrm>
              <a:custGeom>
                <a:avLst/>
                <a:gdLst>
                  <a:gd name="T0" fmla="*/ 31 w 31"/>
                  <a:gd name="T1" fmla="*/ 23 h 46"/>
                  <a:gd name="T2" fmla="*/ 15 w 31"/>
                  <a:gd name="T3" fmla="*/ 46 h 46"/>
                  <a:gd name="T4" fmla="*/ 0 w 31"/>
                  <a:gd name="T5" fmla="*/ 23 h 46"/>
                  <a:gd name="T6" fmla="*/ 15 w 31"/>
                  <a:gd name="T7" fmla="*/ 0 h 46"/>
                  <a:gd name="T8" fmla="*/ 31 w 31"/>
                  <a:gd name="T9" fmla="*/ 23 h 46"/>
                  <a:gd name="T10" fmla="*/ 8 w 31"/>
                  <a:gd name="T11" fmla="*/ 23 h 46"/>
                  <a:gd name="T12" fmla="*/ 15 w 31"/>
                  <a:gd name="T13" fmla="*/ 39 h 46"/>
                  <a:gd name="T14" fmla="*/ 23 w 31"/>
                  <a:gd name="T15" fmla="*/ 23 h 46"/>
                  <a:gd name="T16" fmla="*/ 15 w 31"/>
                  <a:gd name="T17" fmla="*/ 7 h 46"/>
                  <a:gd name="T18" fmla="*/ 8 w 31"/>
                  <a:gd name="T19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6">
                    <a:moveTo>
                      <a:pt x="31" y="23"/>
                    </a:moveTo>
                    <a:cubicBezTo>
                      <a:pt x="31" y="38"/>
                      <a:pt x="26" y="46"/>
                      <a:pt x="15" y="46"/>
                    </a:cubicBezTo>
                    <a:cubicBezTo>
                      <a:pt x="5" y="46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7"/>
                      <a:pt x="15" y="7"/>
                    </a:cubicBezTo>
                    <a:cubicBezTo>
                      <a:pt x="10" y="7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53" name="Freeform 85">
                <a:extLst>
                  <a:ext uri="{FF2B5EF4-FFF2-40B4-BE49-F238E27FC236}">
                    <a16:creationId xmlns:a16="http://schemas.microsoft.com/office/drawing/2014/main" id="{32965EB1-2EBA-29AC-70DB-81696782680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46795" y="4390156"/>
                <a:ext cx="41265" cy="59918"/>
              </a:xfrm>
              <a:custGeom>
                <a:avLst/>
                <a:gdLst>
                  <a:gd name="T0" fmla="*/ 31 w 31"/>
                  <a:gd name="T1" fmla="*/ 23 h 45"/>
                  <a:gd name="T2" fmla="*/ 15 w 31"/>
                  <a:gd name="T3" fmla="*/ 45 h 45"/>
                  <a:gd name="T4" fmla="*/ 0 w 31"/>
                  <a:gd name="T5" fmla="*/ 23 h 45"/>
                  <a:gd name="T6" fmla="*/ 15 w 31"/>
                  <a:gd name="T7" fmla="*/ 0 h 45"/>
                  <a:gd name="T8" fmla="*/ 31 w 31"/>
                  <a:gd name="T9" fmla="*/ 23 h 45"/>
                  <a:gd name="T10" fmla="*/ 8 w 31"/>
                  <a:gd name="T11" fmla="*/ 23 h 45"/>
                  <a:gd name="T12" fmla="*/ 15 w 31"/>
                  <a:gd name="T13" fmla="*/ 39 h 45"/>
                  <a:gd name="T14" fmla="*/ 23 w 31"/>
                  <a:gd name="T15" fmla="*/ 23 h 45"/>
                  <a:gd name="T16" fmla="*/ 15 w 31"/>
                  <a:gd name="T17" fmla="*/ 6 h 45"/>
                  <a:gd name="T18" fmla="*/ 8 w 31"/>
                  <a:gd name="T19" fmla="*/ 2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31" y="23"/>
                    </a:moveTo>
                    <a:cubicBezTo>
                      <a:pt x="31" y="38"/>
                      <a:pt x="26" y="45"/>
                      <a:pt x="15" y="45"/>
                    </a:cubicBezTo>
                    <a:cubicBezTo>
                      <a:pt x="5" y="45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6"/>
                      <a:pt x="15" y="6"/>
                    </a:cubicBezTo>
                    <a:cubicBezTo>
                      <a:pt x="10" y="6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54" name="Freeform 95">
                <a:extLst>
                  <a:ext uri="{FF2B5EF4-FFF2-40B4-BE49-F238E27FC236}">
                    <a16:creationId xmlns:a16="http://schemas.microsoft.com/office/drawing/2014/main" id="{0CFE8A9A-FEF3-86EE-5344-8339DD9333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5397" y="3857111"/>
                <a:ext cx="19784" cy="32220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55" name="Freeform 96">
                <a:extLst>
                  <a:ext uri="{FF2B5EF4-FFF2-40B4-BE49-F238E27FC236}">
                    <a16:creationId xmlns:a16="http://schemas.microsoft.com/office/drawing/2014/main" id="{BE7C2C0C-A9EC-1BFC-51CB-A0498E310E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61440" y="3911941"/>
                <a:ext cx="25437" cy="32220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56" name="Freeform 97">
                <a:extLst>
                  <a:ext uri="{FF2B5EF4-FFF2-40B4-BE49-F238E27FC236}">
                    <a16:creationId xmlns:a16="http://schemas.microsoft.com/office/drawing/2014/main" id="{08744EDC-6CDE-7048-D75E-AD5C5CCA69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5397" y="3966772"/>
                <a:ext cx="19784" cy="31655"/>
              </a:xfrm>
              <a:custGeom>
                <a:avLst/>
                <a:gdLst>
                  <a:gd name="T0" fmla="*/ 16 w 35"/>
                  <a:gd name="T1" fmla="*/ 14 h 56"/>
                  <a:gd name="T2" fmla="*/ 7 w 35"/>
                  <a:gd name="T3" fmla="*/ 21 h 56"/>
                  <a:gd name="T4" fmla="*/ 0 w 35"/>
                  <a:gd name="T5" fmla="*/ 11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4"/>
                    </a:moveTo>
                    <a:lnTo>
                      <a:pt x="7" y="21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57" name="Freeform 98">
                <a:extLst>
                  <a:ext uri="{FF2B5EF4-FFF2-40B4-BE49-F238E27FC236}">
                    <a16:creationId xmlns:a16="http://schemas.microsoft.com/office/drawing/2014/main" id="{CE894BE9-B948-9748-A189-27713FB38F1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61440" y="4021603"/>
                <a:ext cx="25437" cy="31655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58" name="Freeform 99">
                <a:extLst>
                  <a:ext uri="{FF2B5EF4-FFF2-40B4-BE49-F238E27FC236}">
                    <a16:creationId xmlns:a16="http://schemas.microsoft.com/office/drawing/2014/main" id="{CB2DE63A-B28B-6EE5-335D-68FC93CBD4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5397" y="4075868"/>
                <a:ext cx="19784" cy="32220"/>
              </a:xfrm>
              <a:custGeom>
                <a:avLst/>
                <a:gdLst>
                  <a:gd name="T0" fmla="*/ 16 w 35"/>
                  <a:gd name="T1" fmla="*/ 15 h 57"/>
                  <a:gd name="T2" fmla="*/ 7 w 35"/>
                  <a:gd name="T3" fmla="*/ 22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8 h 57"/>
                  <a:gd name="T12" fmla="*/ 35 w 35"/>
                  <a:gd name="T13" fmla="*/ 48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8 h 57"/>
                  <a:gd name="T20" fmla="*/ 16 w 35"/>
                  <a:gd name="T21" fmla="*/ 48 h 57"/>
                  <a:gd name="T22" fmla="*/ 16 w 35"/>
                  <a:gd name="T23" fmla="*/ 1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5"/>
                    </a:moveTo>
                    <a:lnTo>
                      <a:pt x="7" y="22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5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59" name="Freeform 100">
                <a:extLst>
                  <a:ext uri="{FF2B5EF4-FFF2-40B4-BE49-F238E27FC236}">
                    <a16:creationId xmlns:a16="http://schemas.microsoft.com/office/drawing/2014/main" id="{A871D7F2-55A8-0EA7-A81C-648C56A0F6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61440" y="4130699"/>
                <a:ext cx="25437" cy="32220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60" name="Freeform 101">
                <a:extLst>
                  <a:ext uri="{FF2B5EF4-FFF2-40B4-BE49-F238E27FC236}">
                    <a16:creationId xmlns:a16="http://schemas.microsoft.com/office/drawing/2014/main" id="{B2F92EAB-5B76-2A84-98E3-2414F09536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5397" y="4185530"/>
                <a:ext cx="19784" cy="32220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61" name="Freeform 102">
                <a:extLst>
                  <a:ext uri="{FF2B5EF4-FFF2-40B4-BE49-F238E27FC236}">
                    <a16:creationId xmlns:a16="http://schemas.microsoft.com/office/drawing/2014/main" id="{284E75C8-6716-2235-10E2-B5E5175924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5397" y="4240361"/>
                <a:ext cx="19784" cy="32220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62" name="Freeform 103">
                <a:extLst>
                  <a:ext uri="{FF2B5EF4-FFF2-40B4-BE49-F238E27FC236}">
                    <a16:creationId xmlns:a16="http://schemas.microsoft.com/office/drawing/2014/main" id="{81A2C3D6-4632-FE8E-B86B-9BBB307309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5397" y="4296322"/>
                <a:ext cx="19784" cy="31090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5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5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63" name="Freeform 104">
                <a:extLst>
                  <a:ext uri="{FF2B5EF4-FFF2-40B4-BE49-F238E27FC236}">
                    <a16:creationId xmlns:a16="http://schemas.microsoft.com/office/drawing/2014/main" id="{E041A534-A02A-5157-3DDA-655BDA3CDA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61440" y="4350022"/>
                <a:ext cx="25437" cy="33351"/>
              </a:xfrm>
              <a:custGeom>
                <a:avLst/>
                <a:gdLst>
                  <a:gd name="T0" fmla="*/ 17 w 19"/>
                  <a:gd name="T1" fmla="*/ 4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4 h 25"/>
                  <a:gd name="T16" fmla="*/ 6 w 19"/>
                  <a:gd name="T17" fmla="*/ 12 h 25"/>
                  <a:gd name="T18" fmla="*/ 10 w 19"/>
                  <a:gd name="T19" fmla="*/ 20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3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64" name="Freeform 105">
                <a:extLst>
                  <a:ext uri="{FF2B5EF4-FFF2-40B4-BE49-F238E27FC236}">
                    <a16:creationId xmlns:a16="http://schemas.microsoft.com/office/drawing/2014/main" id="{19D92279-96BA-6E21-34CD-D85F40B77A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5397" y="4405984"/>
                <a:ext cx="19784" cy="30524"/>
              </a:xfrm>
              <a:custGeom>
                <a:avLst/>
                <a:gdLst>
                  <a:gd name="T0" fmla="*/ 16 w 35"/>
                  <a:gd name="T1" fmla="*/ 12 h 54"/>
                  <a:gd name="T2" fmla="*/ 7 w 35"/>
                  <a:gd name="T3" fmla="*/ 19 h 54"/>
                  <a:gd name="T4" fmla="*/ 0 w 35"/>
                  <a:gd name="T5" fmla="*/ 9 h 54"/>
                  <a:gd name="T6" fmla="*/ 19 w 35"/>
                  <a:gd name="T7" fmla="*/ 0 h 54"/>
                  <a:gd name="T8" fmla="*/ 28 w 35"/>
                  <a:gd name="T9" fmla="*/ 0 h 54"/>
                  <a:gd name="T10" fmla="*/ 28 w 35"/>
                  <a:gd name="T11" fmla="*/ 45 h 54"/>
                  <a:gd name="T12" fmla="*/ 35 w 35"/>
                  <a:gd name="T13" fmla="*/ 45 h 54"/>
                  <a:gd name="T14" fmla="*/ 35 w 35"/>
                  <a:gd name="T15" fmla="*/ 54 h 54"/>
                  <a:gd name="T16" fmla="*/ 9 w 35"/>
                  <a:gd name="T17" fmla="*/ 54 h 54"/>
                  <a:gd name="T18" fmla="*/ 9 w 35"/>
                  <a:gd name="T19" fmla="*/ 45 h 54"/>
                  <a:gd name="T20" fmla="*/ 16 w 35"/>
                  <a:gd name="T21" fmla="*/ 45 h 54"/>
                  <a:gd name="T22" fmla="*/ 16 w 35"/>
                  <a:gd name="T23" fmla="*/ 1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4">
                    <a:moveTo>
                      <a:pt x="16" y="12"/>
                    </a:moveTo>
                    <a:lnTo>
                      <a:pt x="7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4"/>
                    </a:lnTo>
                    <a:lnTo>
                      <a:pt x="9" y="54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65" name="Freeform 106">
                <a:extLst>
                  <a:ext uri="{FF2B5EF4-FFF2-40B4-BE49-F238E27FC236}">
                    <a16:creationId xmlns:a16="http://schemas.microsoft.com/office/drawing/2014/main" id="{17C4CA3C-4A93-BAF2-8040-14FF64AE1CC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61440" y="4459119"/>
                <a:ext cx="25437" cy="33351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2 h 25"/>
                  <a:gd name="T18" fmla="*/ 10 w 19"/>
                  <a:gd name="T19" fmla="*/ 21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66" name="Freeform 135">
                <a:extLst>
                  <a:ext uri="{FF2B5EF4-FFF2-40B4-BE49-F238E27FC236}">
                    <a16:creationId xmlns:a16="http://schemas.microsoft.com/office/drawing/2014/main" id="{83429A8B-B5A8-0432-B2A5-237EC43525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68328" y="3994470"/>
                <a:ext cx="22611" cy="41830"/>
              </a:xfrm>
              <a:custGeom>
                <a:avLst/>
                <a:gdLst>
                  <a:gd name="T0" fmla="*/ 19 w 40"/>
                  <a:gd name="T1" fmla="*/ 14 h 74"/>
                  <a:gd name="T2" fmla="*/ 4 w 40"/>
                  <a:gd name="T3" fmla="*/ 24 h 74"/>
                  <a:gd name="T4" fmla="*/ 0 w 40"/>
                  <a:gd name="T5" fmla="*/ 14 h 74"/>
                  <a:gd name="T6" fmla="*/ 21 w 40"/>
                  <a:gd name="T7" fmla="*/ 0 h 74"/>
                  <a:gd name="T8" fmla="*/ 30 w 40"/>
                  <a:gd name="T9" fmla="*/ 0 h 74"/>
                  <a:gd name="T10" fmla="*/ 30 w 40"/>
                  <a:gd name="T11" fmla="*/ 64 h 74"/>
                  <a:gd name="T12" fmla="*/ 40 w 40"/>
                  <a:gd name="T13" fmla="*/ 64 h 74"/>
                  <a:gd name="T14" fmla="*/ 40 w 40"/>
                  <a:gd name="T15" fmla="*/ 74 h 74"/>
                  <a:gd name="T16" fmla="*/ 9 w 40"/>
                  <a:gd name="T17" fmla="*/ 74 h 74"/>
                  <a:gd name="T18" fmla="*/ 9 w 40"/>
                  <a:gd name="T19" fmla="*/ 64 h 74"/>
                  <a:gd name="T20" fmla="*/ 19 w 40"/>
                  <a:gd name="T21" fmla="*/ 64 h 74"/>
                  <a:gd name="T22" fmla="*/ 19 w 40"/>
                  <a:gd name="T23" fmla="*/ 1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4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4"/>
                    </a:lnTo>
                    <a:lnTo>
                      <a:pt x="9" y="74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67" name="Freeform 136">
                <a:extLst>
                  <a:ext uri="{FF2B5EF4-FFF2-40B4-BE49-F238E27FC236}">
                    <a16:creationId xmlns:a16="http://schemas.microsoft.com/office/drawing/2014/main" id="{F294A596-1DEB-6652-98E4-47B03281A76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64370" y="4065128"/>
                <a:ext cx="28263" cy="42960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8 h 32"/>
                  <a:gd name="T14" fmla="*/ 16 w 21"/>
                  <a:gd name="T15" fmla="*/ 16 h 32"/>
                  <a:gd name="T16" fmla="*/ 10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0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0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68" name="Freeform 137">
                <a:extLst>
                  <a:ext uri="{FF2B5EF4-FFF2-40B4-BE49-F238E27FC236}">
                    <a16:creationId xmlns:a16="http://schemas.microsoft.com/office/drawing/2014/main" id="{6FAA2577-B4A8-C1B1-F1DC-6C19EA5E47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64370" y="4208141"/>
                <a:ext cx="28263" cy="42960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6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69" name="Freeform 138">
                <a:extLst>
                  <a:ext uri="{FF2B5EF4-FFF2-40B4-BE49-F238E27FC236}">
                    <a16:creationId xmlns:a16="http://schemas.microsoft.com/office/drawing/2014/main" id="{E1475340-4C30-173E-396C-8CB58C5AF4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68329" y="4280495"/>
                <a:ext cx="22611" cy="40134"/>
              </a:xfrm>
              <a:custGeom>
                <a:avLst/>
                <a:gdLst>
                  <a:gd name="T0" fmla="*/ 19 w 40"/>
                  <a:gd name="T1" fmla="*/ 12 h 71"/>
                  <a:gd name="T2" fmla="*/ 4 w 40"/>
                  <a:gd name="T3" fmla="*/ 21 h 71"/>
                  <a:gd name="T4" fmla="*/ 0 w 40"/>
                  <a:gd name="T5" fmla="*/ 12 h 71"/>
                  <a:gd name="T6" fmla="*/ 21 w 40"/>
                  <a:gd name="T7" fmla="*/ 0 h 71"/>
                  <a:gd name="T8" fmla="*/ 30 w 40"/>
                  <a:gd name="T9" fmla="*/ 0 h 71"/>
                  <a:gd name="T10" fmla="*/ 30 w 40"/>
                  <a:gd name="T11" fmla="*/ 64 h 71"/>
                  <a:gd name="T12" fmla="*/ 40 w 40"/>
                  <a:gd name="T13" fmla="*/ 64 h 71"/>
                  <a:gd name="T14" fmla="*/ 40 w 40"/>
                  <a:gd name="T15" fmla="*/ 71 h 71"/>
                  <a:gd name="T16" fmla="*/ 9 w 40"/>
                  <a:gd name="T17" fmla="*/ 71 h 71"/>
                  <a:gd name="T18" fmla="*/ 9 w 40"/>
                  <a:gd name="T19" fmla="*/ 64 h 71"/>
                  <a:gd name="T20" fmla="*/ 19 w 40"/>
                  <a:gd name="T21" fmla="*/ 64 h 71"/>
                  <a:gd name="T22" fmla="*/ 19 w 40"/>
                  <a:gd name="T23" fmla="*/ 1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1">
                    <a:moveTo>
                      <a:pt x="19" y="12"/>
                    </a:moveTo>
                    <a:lnTo>
                      <a:pt x="4" y="21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1"/>
                    </a:lnTo>
                    <a:lnTo>
                      <a:pt x="9" y="71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70" name="Freeform 139">
                <a:extLst>
                  <a:ext uri="{FF2B5EF4-FFF2-40B4-BE49-F238E27FC236}">
                    <a16:creationId xmlns:a16="http://schemas.microsoft.com/office/drawing/2014/main" id="{CB717576-048D-CCE4-8022-EE22C4FDBA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68329" y="4351153"/>
                <a:ext cx="22611" cy="4126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71" name="Freeform 140">
                <a:extLst>
                  <a:ext uri="{FF2B5EF4-FFF2-40B4-BE49-F238E27FC236}">
                    <a16:creationId xmlns:a16="http://schemas.microsoft.com/office/drawing/2014/main" id="{DA8AD131-713D-9831-E9B5-E6AC4DED67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68329" y="4421811"/>
                <a:ext cx="22611" cy="4126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72" name="Freeform 149">
                <a:extLst>
                  <a:ext uri="{FF2B5EF4-FFF2-40B4-BE49-F238E27FC236}">
                    <a16:creationId xmlns:a16="http://schemas.microsoft.com/office/drawing/2014/main" id="{65D2650E-2E80-BAFB-0680-EF21EFAB81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8644" y="3861067"/>
                <a:ext cx="34481" cy="61614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73" name="Freeform 150">
                <a:extLst>
                  <a:ext uri="{FF2B5EF4-FFF2-40B4-BE49-F238E27FC236}">
                    <a16:creationId xmlns:a16="http://schemas.microsoft.com/office/drawing/2014/main" id="{9AEAEF25-7508-BE07-9588-D3DC281E920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92992" y="3966772"/>
                <a:ext cx="42960" cy="63875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74" name="Freeform 151">
                <a:extLst>
                  <a:ext uri="{FF2B5EF4-FFF2-40B4-BE49-F238E27FC236}">
                    <a16:creationId xmlns:a16="http://schemas.microsoft.com/office/drawing/2014/main" id="{102D4FF7-0C48-EC54-F5AF-5D2336C50C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8644" y="4074738"/>
                <a:ext cx="34481" cy="61614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75" name="Freeform 152">
                <a:extLst>
                  <a:ext uri="{FF2B5EF4-FFF2-40B4-BE49-F238E27FC236}">
                    <a16:creationId xmlns:a16="http://schemas.microsoft.com/office/drawing/2014/main" id="{1475CB9F-2C7F-0D14-AF79-3D671CA226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92992" y="4180443"/>
                <a:ext cx="42960" cy="63875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76" name="Freeform 153">
                <a:extLst>
                  <a:ext uri="{FF2B5EF4-FFF2-40B4-BE49-F238E27FC236}">
                    <a16:creationId xmlns:a16="http://schemas.microsoft.com/office/drawing/2014/main" id="{A2E6ABEF-88F7-A9E2-8675-FD2D25042F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8644" y="4288408"/>
                <a:ext cx="34481" cy="61614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77" name="Freeform 154">
                <a:extLst>
                  <a:ext uri="{FF2B5EF4-FFF2-40B4-BE49-F238E27FC236}">
                    <a16:creationId xmlns:a16="http://schemas.microsoft.com/office/drawing/2014/main" id="{9B25B61E-AFC9-EF0C-8052-6422996A9E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8644" y="4395244"/>
                <a:ext cx="34481" cy="61614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78" name="Freeform 63">
                <a:extLst>
                  <a:ext uri="{FF2B5EF4-FFF2-40B4-BE49-F238E27FC236}">
                    <a16:creationId xmlns:a16="http://schemas.microsoft.com/office/drawing/2014/main" id="{5F596D27-8751-C151-4A3B-D0DAA977E7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03776" y="4262972"/>
                <a:ext cx="22611" cy="3504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4" y="0"/>
                      <a:pt x="17" y="5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79" name="Freeform 64">
                <a:extLst>
                  <a:ext uri="{FF2B5EF4-FFF2-40B4-BE49-F238E27FC236}">
                    <a16:creationId xmlns:a16="http://schemas.microsoft.com/office/drawing/2014/main" id="{23B58FF2-C4D5-019B-8448-64AAD58A480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03777" y="4320629"/>
                <a:ext cx="22611" cy="34481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1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80" name="Freeform 65">
                <a:extLst>
                  <a:ext uri="{FF2B5EF4-FFF2-40B4-BE49-F238E27FC236}">
                    <a16:creationId xmlns:a16="http://schemas.microsoft.com/office/drawing/2014/main" id="{EE4124AD-C6A4-1D6E-0A05-2F340EB496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5472" y="4435377"/>
                <a:ext cx="18654" cy="33351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49 h 59"/>
                  <a:gd name="T20" fmla="*/ 16 w 33"/>
                  <a:gd name="T21" fmla="*/ 49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81" name="Freeform 95">
                <a:extLst>
                  <a:ext uri="{FF2B5EF4-FFF2-40B4-BE49-F238E27FC236}">
                    <a16:creationId xmlns:a16="http://schemas.microsoft.com/office/drawing/2014/main" id="{0764A304-2AA9-F620-8D9F-8C3D197D20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7710" y="3934551"/>
                <a:ext cx="19784" cy="32220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82" name="Freeform 96">
                <a:extLst>
                  <a:ext uri="{FF2B5EF4-FFF2-40B4-BE49-F238E27FC236}">
                    <a16:creationId xmlns:a16="http://schemas.microsoft.com/office/drawing/2014/main" id="{6D089495-35FD-8B3A-8AC5-CED7468303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46015" y="3989382"/>
                <a:ext cx="25437" cy="32220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83" name="Freeform 97">
                <a:extLst>
                  <a:ext uri="{FF2B5EF4-FFF2-40B4-BE49-F238E27FC236}">
                    <a16:creationId xmlns:a16="http://schemas.microsoft.com/office/drawing/2014/main" id="{8B9F60C0-74EA-B44F-E093-77D5B82C73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7710" y="4044213"/>
                <a:ext cx="19784" cy="31655"/>
              </a:xfrm>
              <a:custGeom>
                <a:avLst/>
                <a:gdLst>
                  <a:gd name="T0" fmla="*/ 16 w 35"/>
                  <a:gd name="T1" fmla="*/ 14 h 56"/>
                  <a:gd name="T2" fmla="*/ 7 w 35"/>
                  <a:gd name="T3" fmla="*/ 21 h 56"/>
                  <a:gd name="T4" fmla="*/ 0 w 35"/>
                  <a:gd name="T5" fmla="*/ 11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4"/>
                    </a:moveTo>
                    <a:lnTo>
                      <a:pt x="7" y="21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84" name="Freeform 98">
                <a:extLst>
                  <a:ext uri="{FF2B5EF4-FFF2-40B4-BE49-F238E27FC236}">
                    <a16:creationId xmlns:a16="http://schemas.microsoft.com/office/drawing/2014/main" id="{C3400BBD-1BDF-2A9E-5517-5D4F8DB469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46015" y="4099044"/>
                <a:ext cx="25437" cy="31655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85" name="Freeform 99">
                <a:extLst>
                  <a:ext uri="{FF2B5EF4-FFF2-40B4-BE49-F238E27FC236}">
                    <a16:creationId xmlns:a16="http://schemas.microsoft.com/office/drawing/2014/main" id="{07152965-D27B-03FA-7CB0-D5B89F8D92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7710" y="4153309"/>
                <a:ext cx="19784" cy="32220"/>
              </a:xfrm>
              <a:custGeom>
                <a:avLst/>
                <a:gdLst>
                  <a:gd name="T0" fmla="*/ 16 w 35"/>
                  <a:gd name="T1" fmla="*/ 15 h 57"/>
                  <a:gd name="T2" fmla="*/ 7 w 35"/>
                  <a:gd name="T3" fmla="*/ 22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8 h 57"/>
                  <a:gd name="T12" fmla="*/ 35 w 35"/>
                  <a:gd name="T13" fmla="*/ 48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8 h 57"/>
                  <a:gd name="T20" fmla="*/ 16 w 35"/>
                  <a:gd name="T21" fmla="*/ 48 h 57"/>
                  <a:gd name="T22" fmla="*/ 16 w 35"/>
                  <a:gd name="T23" fmla="*/ 1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5"/>
                    </a:moveTo>
                    <a:lnTo>
                      <a:pt x="7" y="22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5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86" name="Freeform 100">
                <a:extLst>
                  <a:ext uri="{FF2B5EF4-FFF2-40B4-BE49-F238E27FC236}">
                    <a16:creationId xmlns:a16="http://schemas.microsoft.com/office/drawing/2014/main" id="{85EF8EE3-B832-C0B3-2A1E-8B22FE5184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46015" y="4208140"/>
                <a:ext cx="25437" cy="32220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87" name="Freeform 101">
                <a:extLst>
                  <a:ext uri="{FF2B5EF4-FFF2-40B4-BE49-F238E27FC236}">
                    <a16:creationId xmlns:a16="http://schemas.microsoft.com/office/drawing/2014/main" id="{BF7E96F7-5EF4-4DA8-AD8C-ABC4C1E4F0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7710" y="4262971"/>
                <a:ext cx="19784" cy="32220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88" name="Freeform 102">
                <a:extLst>
                  <a:ext uri="{FF2B5EF4-FFF2-40B4-BE49-F238E27FC236}">
                    <a16:creationId xmlns:a16="http://schemas.microsoft.com/office/drawing/2014/main" id="{10ABDDF0-C064-2533-FA7C-FEBE515D94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7710" y="4317801"/>
                <a:ext cx="19784" cy="32220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89" name="Freeform 103">
                <a:extLst>
                  <a:ext uri="{FF2B5EF4-FFF2-40B4-BE49-F238E27FC236}">
                    <a16:creationId xmlns:a16="http://schemas.microsoft.com/office/drawing/2014/main" id="{5BA8D9FE-DF9D-2DC7-D17F-555755D12B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7710" y="4373763"/>
                <a:ext cx="19784" cy="31090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5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5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90" name="Freeform 104">
                <a:extLst>
                  <a:ext uri="{FF2B5EF4-FFF2-40B4-BE49-F238E27FC236}">
                    <a16:creationId xmlns:a16="http://schemas.microsoft.com/office/drawing/2014/main" id="{94EBBA22-3F65-BD98-8512-7BEAF4030F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46015" y="4427463"/>
                <a:ext cx="25437" cy="33351"/>
              </a:xfrm>
              <a:custGeom>
                <a:avLst/>
                <a:gdLst>
                  <a:gd name="T0" fmla="*/ 17 w 19"/>
                  <a:gd name="T1" fmla="*/ 4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4 h 25"/>
                  <a:gd name="T16" fmla="*/ 6 w 19"/>
                  <a:gd name="T17" fmla="*/ 12 h 25"/>
                  <a:gd name="T18" fmla="*/ 10 w 19"/>
                  <a:gd name="T19" fmla="*/ 20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3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91" name="Freeform 105">
                <a:extLst>
                  <a:ext uri="{FF2B5EF4-FFF2-40B4-BE49-F238E27FC236}">
                    <a16:creationId xmlns:a16="http://schemas.microsoft.com/office/drawing/2014/main" id="{0E80D49D-0C3C-DFE7-7B57-6D07CD3CC9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7710" y="4483424"/>
                <a:ext cx="19784" cy="30524"/>
              </a:xfrm>
              <a:custGeom>
                <a:avLst/>
                <a:gdLst>
                  <a:gd name="T0" fmla="*/ 16 w 35"/>
                  <a:gd name="T1" fmla="*/ 12 h 54"/>
                  <a:gd name="T2" fmla="*/ 7 w 35"/>
                  <a:gd name="T3" fmla="*/ 19 h 54"/>
                  <a:gd name="T4" fmla="*/ 0 w 35"/>
                  <a:gd name="T5" fmla="*/ 9 h 54"/>
                  <a:gd name="T6" fmla="*/ 19 w 35"/>
                  <a:gd name="T7" fmla="*/ 0 h 54"/>
                  <a:gd name="T8" fmla="*/ 28 w 35"/>
                  <a:gd name="T9" fmla="*/ 0 h 54"/>
                  <a:gd name="T10" fmla="*/ 28 w 35"/>
                  <a:gd name="T11" fmla="*/ 45 h 54"/>
                  <a:gd name="T12" fmla="*/ 35 w 35"/>
                  <a:gd name="T13" fmla="*/ 45 h 54"/>
                  <a:gd name="T14" fmla="*/ 35 w 35"/>
                  <a:gd name="T15" fmla="*/ 54 h 54"/>
                  <a:gd name="T16" fmla="*/ 9 w 35"/>
                  <a:gd name="T17" fmla="*/ 54 h 54"/>
                  <a:gd name="T18" fmla="*/ 9 w 35"/>
                  <a:gd name="T19" fmla="*/ 45 h 54"/>
                  <a:gd name="T20" fmla="*/ 16 w 35"/>
                  <a:gd name="T21" fmla="*/ 45 h 54"/>
                  <a:gd name="T22" fmla="*/ 16 w 35"/>
                  <a:gd name="T23" fmla="*/ 1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4">
                    <a:moveTo>
                      <a:pt x="16" y="12"/>
                    </a:moveTo>
                    <a:lnTo>
                      <a:pt x="7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4"/>
                    </a:lnTo>
                    <a:lnTo>
                      <a:pt x="9" y="54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92" name="Freeform 149">
                <a:extLst>
                  <a:ext uri="{FF2B5EF4-FFF2-40B4-BE49-F238E27FC236}">
                    <a16:creationId xmlns:a16="http://schemas.microsoft.com/office/drawing/2014/main" id="{0821C437-6710-31AB-E18D-4622155863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9768" y="3938508"/>
                <a:ext cx="34481" cy="61614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93" name="Freeform 150">
                <a:extLst>
                  <a:ext uri="{FF2B5EF4-FFF2-40B4-BE49-F238E27FC236}">
                    <a16:creationId xmlns:a16="http://schemas.microsoft.com/office/drawing/2014/main" id="{ABE7FCEA-F37D-0A34-8ACC-0987D09FE8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96934" y="4044213"/>
                <a:ext cx="42960" cy="63875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94" name="Freeform 151">
                <a:extLst>
                  <a:ext uri="{FF2B5EF4-FFF2-40B4-BE49-F238E27FC236}">
                    <a16:creationId xmlns:a16="http://schemas.microsoft.com/office/drawing/2014/main" id="{2D95714D-9482-9D53-9133-53587A258B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9760" y="4152178"/>
                <a:ext cx="34481" cy="61614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95" name="Freeform 152">
                <a:extLst>
                  <a:ext uri="{FF2B5EF4-FFF2-40B4-BE49-F238E27FC236}">
                    <a16:creationId xmlns:a16="http://schemas.microsoft.com/office/drawing/2014/main" id="{3316C595-0455-632D-0841-2904C379E2F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96924" y="4257883"/>
                <a:ext cx="42960" cy="63875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96" name="Freeform 153">
                <a:extLst>
                  <a:ext uri="{FF2B5EF4-FFF2-40B4-BE49-F238E27FC236}">
                    <a16:creationId xmlns:a16="http://schemas.microsoft.com/office/drawing/2014/main" id="{B6DE1E6B-8389-066E-9C49-72A35D23F6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9743" y="4365847"/>
                <a:ext cx="34481" cy="61614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97" name="Freeform 154">
                <a:extLst>
                  <a:ext uri="{FF2B5EF4-FFF2-40B4-BE49-F238E27FC236}">
                    <a16:creationId xmlns:a16="http://schemas.microsoft.com/office/drawing/2014/main" id="{944F58CA-6AC7-9B74-B73A-5A6438AB0A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9732" y="4472682"/>
                <a:ext cx="34481" cy="61614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</p:grpSp>
        <p:grpSp>
          <p:nvGrpSpPr>
            <p:cNvPr id="498" name="Gruppieren 2">
              <a:extLst>
                <a:ext uri="{FF2B5EF4-FFF2-40B4-BE49-F238E27FC236}">
                  <a16:creationId xmlns:a16="http://schemas.microsoft.com/office/drawing/2014/main" id="{9B2574E6-7E3B-2E61-A60E-E9EA884604AC}"/>
                </a:ext>
              </a:extLst>
            </p:cNvPr>
            <p:cNvGrpSpPr/>
            <p:nvPr/>
          </p:nvGrpSpPr>
          <p:grpSpPr>
            <a:xfrm>
              <a:off x="6935261" y="5541389"/>
              <a:ext cx="4335028" cy="1394352"/>
              <a:chOff x="667960" y="3350946"/>
              <a:chExt cx="11591926" cy="3728517"/>
            </a:xfrm>
          </p:grpSpPr>
          <p:sp>
            <p:nvSpPr>
              <p:cNvPr id="499" name="Line 8">
                <a:extLst>
                  <a:ext uri="{FF2B5EF4-FFF2-40B4-BE49-F238E27FC236}">
                    <a16:creationId xmlns:a16="http://schemas.microsoft.com/office/drawing/2014/main" id="{E3E8FBBB-65D5-545E-85FD-ECBF40237AA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645410" y="5893530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00" name="Line 9">
                <a:extLst>
                  <a:ext uri="{FF2B5EF4-FFF2-40B4-BE49-F238E27FC236}">
                    <a16:creationId xmlns:a16="http://schemas.microsoft.com/office/drawing/2014/main" id="{BE62840D-D3BF-4F27-FA75-0E87F03B146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645410" y="5893530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01" name="Freeform 23">
                <a:extLst>
                  <a:ext uri="{FF2B5EF4-FFF2-40B4-BE49-F238E27FC236}">
                    <a16:creationId xmlns:a16="http://schemas.microsoft.com/office/drawing/2014/main" id="{B16136C6-7E5B-38AA-36D4-03B5D87B74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96082" y="6244022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8 h 32"/>
                  <a:gd name="T14" fmla="*/ 16 w 21"/>
                  <a:gd name="T15" fmla="*/ 16 h 32"/>
                  <a:gd name="T16" fmla="*/ 11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1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1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02" name="Freeform 24">
                <a:extLst>
                  <a:ext uri="{FF2B5EF4-FFF2-40B4-BE49-F238E27FC236}">
                    <a16:creationId xmlns:a16="http://schemas.microsoft.com/office/drawing/2014/main" id="{6E8B5D6E-7D00-7B07-31CD-8D1F8ACCFF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96082" y="6435886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5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03" name="Freeform 25">
                <a:extLst>
                  <a:ext uri="{FF2B5EF4-FFF2-40B4-BE49-F238E27FC236}">
                    <a16:creationId xmlns:a16="http://schemas.microsoft.com/office/drawing/2014/main" id="{85EDADC9-DCA6-5614-61F3-FE2111F9D3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9103" y="6818104"/>
                <a:ext cx="64962" cy="11028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2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2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04" name="Freeform 43">
                <a:extLst>
                  <a:ext uri="{FF2B5EF4-FFF2-40B4-BE49-F238E27FC236}">
                    <a16:creationId xmlns:a16="http://schemas.microsoft.com/office/drawing/2014/main" id="{E1E470AF-3FC6-3E16-0EA2-C82A84A362A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7960" y="6443440"/>
                <a:ext cx="63451" cy="9366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5" y="0"/>
                      <a:pt x="18" y="5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05" name="Freeform 44">
                <a:extLst>
                  <a:ext uri="{FF2B5EF4-FFF2-40B4-BE49-F238E27FC236}">
                    <a16:creationId xmlns:a16="http://schemas.microsoft.com/office/drawing/2014/main" id="{05D02FD3-779A-4554-6AEC-19D505178B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7960" y="6597536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1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06" name="Freeform 45">
                <a:extLst>
                  <a:ext uri="{FF2B5EF4-FFF2-40B4-BE49-F238E27FC236}">
                    <a16:creationId xmlns:a16="http://schemas.microsoft.com/office/drawing/2014/main" id="{188306AE-C0AF-9042-670A-CFD4C6C9CB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0981" y="6904216"/>
                <a:ext cx="49855" cy="89134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49 h 59"/>
                  <a:gd name="T20" fmla="*/ 17 w 33"/>
                  <a:gd name="T21" fmla="*/ 49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07" name="Freeform 63">
                <a:extLst>
                  <a:ext uri="{FF2B5EF4-FFF2-40B4-BE49-F238E27FC236}">
                    <a16:creationId xmlns:a16="http://schemas.microsoft.com/office/drawing/2014/main" id="{76AD594D-E523-FD1E-C9FD-A84325CDF7D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98397" y="6443440"/>
                <a:ext cx="60430" cy="9366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4" y="0"/>
                      <a:pt x="17" y="5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08" name="Freeform 64">
                <a:extLst>
                  <a:ext uri="{FF2B5EF4-FFF2-40B4-BE49-F238E27FC236}">
                    <a16:creationId xmlns:a16="http://schemas.microsoft.com/office/drawing/2014/main" id="{EFA2D9F9-3BBB-9CF3-C0FE-139C7D90DA1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98397" y="6597536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1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09" name="Freeform 65">
                <a:extLst>
                  <a:ext uri="{FF2B5EF4-FFF2-40B4-BE49-F238E27FC236}">
                    <a16:creationId xmlns:a16="http://schemas.microsoft.com/office/drawing/2014/main" id="{31489B98-14EA-29C9-2377-6E9C21142E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2929" y="6904216"/>
                <a:ext cx="49855" cy="89134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49 h 59"/>
                  <a:gd name="T20" fmla="*/ 16 w 33"/>
                  <a:gd name="T21" fmla="*/ 49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10" name="Freeform 83">
                <a:extLst>
                  <a:ext uri="{FF2B5EF4-FFF2-40B4-BE49-F238E27FC236}">
                    <a16:creationId xmlns:a16="http://schemas.microsoft.com/office/drawing/2014/main" id="{D511D702-EF50-1EEA-D2B4-17E863F648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2097" y="6450993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3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11" name="Freeform 84">
                <a:extLst>
                  <a:ext uri="{FF2B5EF4-FFF2-40B4-BE49-F238E27FC236}">
                    <a16:creationId xmlns:a16="http://schemas.microsoft.com/office/drawing/2014/main" id="{41260325-D6D7-5133-EACD-BE1BE8E1CB6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39076" y="6718395"/>
                <a:ext cx="110285" cy="164671"/>
              </a:xfrm>
              <a:custGeom>
                <a:avLst/>
                <a:gdLst>
                  <a:gd name="T0" fmla="*/ 31 w 31"/>
                  <a:gd name="T1" fmla="*/ 23 h 46"/>
                  <a:gd name="T2" fmla="*/ 15 w 31"/>
                  <a:gd name="T3" fmla="*/ 46 h 46"/>
                  <a:gd name="T4" fmla="*/ 0 w 31"/>
                  <a:gd name="T5" fmla="*/ 23 h 46"/>
                  <a:gd name="T6" fmla="*/ 15 w 31"/>
                  <a:gd name="T7" fmla="*/ 0 h 46"/>
                  <a:gd name="T8" fmla="*/ 31 w 31"/>
                  <a:gd name="T9" fmla="*/ 23 h 46"/>
                  <a:gd name="T10" fmla="*/ 8 w 31"/>
                  <a:gd name="T11" fmla="*/ 23 h 46"/>
                  <a:gd name="T12" fmla="*/ 15 w 31"/>
                  <a:gd name="T13" fmla="*/ 39 h 46"/>
                  <a:gd name="T14" fmla="*/ 23 w 31"/>
                  <a:gd name="T15" fmla="*/ 23 h 46"/>
                  <a:gd name="T16" fmla="*/ 15 w 31"/>
                  <a:gd name="T17" fmla="*/ 7 h 46"/>
                  <a:gd name="T18" fmla="*/ 8 w 31"/>
                  <a:gd name="T19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6">
                    <a:moveTo>
                      <a:pt x="31" y="23"/>
                    </a:moveTo>
                    <a:cubicBezTo>
                      <a:pt x="31" y="38"/>
                      <a:pt x="26" y="46"/>
                      <a:pt x="15" y="46"/>
                    </a:cubicBezTo>
                    <a:cubicBezTo>
                      <a:pt x="5" y="46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7"/>
                      <a:pt x="15" y="7"/>
                    </a:cubicBezTo>
                    <a:cubicBezTo>
                      <a:pt x="10" y="7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12" name="Freeform 95">
                <a:extLst>
                  <a:ext uri="{FF2B5EF4-FFF2-40B4-BE49-F238E27FC236}">
                    <a16:creationId xmlns:a16="http://schemas.microsoft.com/office/drawing/2014/main" id="{840D3161-1991-8B43-FCF5-0AB065C7E3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4031" y="5565699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13" name="Freeform 96">
                <a:extLst>
                  <a:ext uri="{FF2B5EF4-FFF2-40B4-BE49-F238E27FC236}">
                    <a16:creationId xmlns:a16="http://schemas.microsoft.com/office/drawing/2014/main" id="{DE59E0D7-6083-57B8-16F3-E605A05C3D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09499" y="5712241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14" name="Freeform 97">
                <a:extLst>
                  <a:ext uri="{FF2B5EF4-FFF2-40B4-BE49-F238E27FC236}">
                    <a16:creationId xmlns:a16="http://schemas.microsoft.com/office/drawing/2014/main" id="{00067C04-E452-BB84-5300-ACE8BF1CAF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4031" y="5858783"/>
                <a:ext cx="52876" cy="84602"/>
              </a:xfrm>
              <a:custGeom>
                <a:avLst/>
                <a:gdLst>
                  <a:gd name="T0" fmla="*/ 16 w 35"/>
                  <a:gd name="T1" fmla="*/ 14 h 56"/>
                  <a:gd name="T2" fmla="*/ 7 w 35"/>
                  <a:gd name="T3" fmla="*/ 21 h 56"/>
                  <a:gd name="T4" fmla="*/ 0 w 35"/>
                  <a:gd name="T5" fmla="*/ 11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4"/>
                    </a:moveTo>
                    <a:lnTo>
                      <a:pt x="7" y="21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15" name="Freeform 98">
                <a:extLst>
                  <a:ext uri="{FF2B5EF4-FFF2-40B4-BE49-F238E27FC236}">
                    <a16:creationId xmlns:a16="http://schemas.microsoft.com/office/drawing/2014/main" id="{FC3C726E-53B0-AAB8-185D-9BC6F59F73E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09499" y="6005325"/>
                <a:ext cx="67984" cy="84602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16" name="Freeform 99">
                <a:extLst>
                  <a:ext uri="{FF2B5EF4-FFF2-40B4-BE49-F238E27FC236}">
                    <a16:creationId xmlns:a16="http://schemas.microsoft.com/office/drawing/2014/main" id="{007FCCD4-C0E6-0258-EBDB-6ED03E4CB9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4031" y="6150356"/>
                <a:ext cx="52876" cy="86113"/>
              </a:xfrm>
              <a:custGeom>
                <a:avLst/>
                <a:gdLst>
                  <a:gd name="T0" fmla="*/ 16 w 35"/>
                  <a:gd name="T1" fmla="*/ 15 h 57"/>
                  <a:gd name="T2" fmla="*/ 7 w 35"/>
                  <a:gd name="T3" fmla="*/ 22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8 h 57"/>
                  <a:gd name="T12" fmla="*/ 35 w 35"/>
                  <a:gd name="T13" fmla="*/ 48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8 h 57"/>
                  <a:gd name="T20" fmla="*/ 16 w 35"/>
                  <a:gd name="T21" fmla="*/ 48 h 57"/>
                  <a:gd name="T22" fmla="*/ 16 w 35"/>
                  <a:gd name="T23" fmla="*/ 1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5"/>
                    </a:moveTo>
                    <a:lnTo>
                      <a:pt x="7" y="22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5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17" name="Freeform 100">
                <a:extLst>
                  <a:ext uri="{FF2B5EF4-FFF2-40B4-BE49-F238E27FC236}">
                    <a16:creationId xmlns:a16="http://schemas.microsoft.com/office/drawing/2014/main" id="{2BC218C0-A37E-0C91-FD16-FF07459D27C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09499" y="6296898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18" name="Freeform 101">
                <a:extLst>
                  <a:ext uri="{FF2B5EF4-FFF2-40B4-BE49-F238E27FC236}">
                    <a16:creationId xmlns:a16="http://schemas.microsoft.com/office/drawing/2014/main" id="{DE10409F-E14C-EB15-233C-21BCEC47CC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4031" y="6443440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19" name="Freeform 102">
                <a:extLst>
                  <a:ext uri="{FF2B5EF4-FFF2-40B4-BE49-F238E27FC236}">
                    <a16:creationId xmlns:a16="http://schemas.microsoft.com/office/drawing/2014/main" id="{9C148A68-9433-5903-49DE-9B66BCA1C3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4031" y="6589982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20" name="Freeform 103">
                <a:extLst>
                  <a:ext uri="{FF2B5EF4-FFF2-40B4-BE49-F238E27FC236}">
                    <a16:creationId xmlns:a16="http://schemas.microsoft.com/office/drawing/2014/main" id="{837FD717-7FA0-D4E1-F0F4-6EB1FD254D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4031" y="6739546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5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5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21" name="Freeform 104">
                <a:extLst>
                  <a:ext uri="{FF2B5EF4-FFF2-40B4-BE49-F238E27FC236}">
                    <a16:creationId xmlns:a16="http://schemas.microsoft.com/office/drawing/2014/main" id="{A03DFD8F-2672-7197-EB1F-4838315CFD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09499" y="6883066"/>
                <a:ext cx="67984" cy="89134"/>
              </a:xfrm>
              <a:custGeom>
                <a:avLst/>
                <a:gdLst>
                  <a:gd name="T0" fmla="*/ 17 w 19"/>
                  <a:gd name="T1" fmla="*/ 4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4 h 25"/>
                  <a:gd name="T16" fmla="*/ 6 w 19"/>
                  <a:gd name="T17" fmla="*/ 12 h 25"/>
                  <a:gd name="T18" fmla="*/ 10 w 19"/>
                  <a:gd name="T19" fmla="*/ 20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3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22" name="Freeform 135">
                <a:extLst>
                  <a:ext uri="{FF2B5EF4-FFF2-40B4-BE49-F238E27FC236}">
                    <a16:creationId xmlns:a16="http://schemas.microsoft.com/office/drawing/2014/main" id="{EBEEE142-0B99-DCA6-2A9A-B11C2B62C9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4121" y="5932809"/>
                <a:ext cx="60430" cy="111795"/>
              </a:xfrm>
              <a:custGeom>
                <a:avLst/>
                <a:gdLst>
                  <a:gd name="T0" fmla="*/ 19 w 40"/>
                  <a:gd name="T1" fmla="*/ 14 h 74"/>
                  <a:gd name="T2" fmla="*/ 4 w 40"/>
                  <a:gd name="T3" fmla="*/ 24 h 74"/>
                  <a:gd name="T4" fmla="*/ 0 w 40"/>
                  <a:gd name="T5" fmla="*/ 14 h 74"/>
                  <a:gd name="T6" fmla="*/ 21 w 40"/>
                  <a:gd name="T7" fmla="*/ 0 h 74"/>
                  <a:gd name="T8" fmla="*/ 30 w 40"/>
                  <a:gd name="T9" fmla="*/ 0 h 74"/>
                  <a:gd name="T10" fmla="*/ 30 w 40"/>
                  <a:gd name="T11" fmla="*/ 64 h 74"/>
                  <a:gd name="T12" fmla="*/ 40 w 40"/>
                  <a:gd name="T13" fmla="*/ 64 h 74"/>
                  <a:gd name="T14" fmla="*/ 40 w 40"/>
                  <a:gd name="T15" fmla="*/ 74 h 74"/>
                  <a:gd name="T16" fmla="*/ 9 w 40"/>
                  <a:gd name="T17" fmla="*/ 74 h 74"/>
                  <a:gd name="T18" fmla="*/ 9 w 40"/>
                  <a:gd name="T19" fmla="*/ 64 h 74"/>
                  <a:gd name="T20" fmla="*/ 19 w 40"/>
                  <a:gd name="T21" fmla="*/ 64 h 74"/>
                  <a:gd name="T22" fmla="*/ 19 w 40"/>
                  <a:gd name="T23" fmla="*/ 1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4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4"/>
                    </a:lnTo>
                    <a:lnTo>
                      <a:pt x="9" y="74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23" name="Freeform 136">
                <a:extLst>
                  <a:ext uri="{FF2B5EF4-FFF2-40B4-BE49-F238E27FC236}">
                    <a16:creationId xmlns:a16="http://schemas.microsoft.com/office/drawing/2014/main" id="{545D49BD-FA92-A67B-CA7D-A264F9DAB14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459589" y="6121652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8 h 32"/>
                  <a:gd name="T14" fmla="*/ 16 w 21"/>
                  <a:gd name="T15" fmla="*/ 16 h 32"/>
                  <a:gd name="T16" fmla="*/ 10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0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0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24" name="Freeform 137">
                <a:extLst>
                  <a:ext uri="{FF2B5EF4-FFF2-40B4-BE49-F238E27FC236}">
                    <a16:creationId xmlns:a16="http://schemas.microsoft.com/office/drawing/2014/main" id="{9C19E2FA-A3F6-C72E-C13E-BAC3B066E1F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459589" y="6503870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6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25" name="Freeform 138">
                <a:extLst>
                  <a:ext uri="{FF2B5EF4-FFF2-40B4-BE49-F238E27FC236}">
                    <a16:creationId xmlns:a16="http://schemas.microsoft.com/office/drawing/2014/main" id="{FEDB490F-BD25-5414-CB06-B362341E57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4121" y="6697245"/>
                <a:ext cx="60430" cy="107263"/>
              </a:xfrm>
              <a:custGeom>
                <a:avLst/>
                <a:gdLst>
                  <a:gd name="T0" fmla="*/ 19 w 40"/>
                  <a:gd name="T1" fmla="*/ 12 h 71"/>
                  <a:gd name="T2" fmla="*/ 4 w 40"/>
                  <a:gd name="T3" fmla="*/ 21 h 71"/>
                  <a:gd name="T4" fmla="*/ 0 w 40"/>
                  <a:gd name="T5" fmla="*/ 12 h 71"/>
                  <a:gd name="T6" fmla="*/ 21 w 40"/>
                  <a:gd name="T7" fmla="*/ 0 h 71"/>
                  <a:gd name="T8" fmla="*/ 30 w 40"/>
                  <a:gd name="T9" fmla="*/ 0 h 71"/>
                  <a:gd name="T10" fmla="*/ 30 w 40"/>
                  <a:gd name="T11" fmla="*/ 64 h 71"/>
                  <a:gd name="T12" fmla="*/ 40 w 40"/>
                  <a:gd name="T13" fmla="*/ 64 h 71"/>
                  <a:gd name="T14" fmla="*/ 40 w 40"/>
                  <a:gd name="T15" fmla="*/ 71 h 71"/>
                  <a:gd name="T16" fmla="*/ 9 w 40"/>
                  <a:gd name="T17" fmla="*/ 71 h 71"/>
                  <a:gd name="T18" fmla="*/ 9 w 40"/>
                  <a:gd name="T19" fmla="*/ 64 h 71"/>
                  <a:gd name="T20" fmla="*/ 19 w 40"/>
                  <a:gd name="T21" fmla="*/ 64 h 71"/>
                  <a:gd name="T22" fmla="*/ 19 w 40"/>
                  <a:gd name="T23" fmla="*/ 1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1">
                    <a:moveTo>
                      <a:pt x="19" y="12"/>
                    </a:moveTo>
                    <a:lnTo>
                      <a:pt x="4" y="21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1"/>
                    </a:lnTo>
                    <a:lnTo>
                      <a:pt x="9" y="71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26" name="Freeform 139">
                <a:extLst>
                  <a:ext uri="{FF2B5EF4-FFF2-40B4-BE49-F238E27FC236}">
                    <a16:creationId xmlns:a16="http://schemas.microsoft.com/office/drawing/2014/main" id="{1AD36BF0-9932-19DD-5F9B-BC562345AC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4121" y="6886087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27" name="Freeform 149">
                <a:extLst>
                  <a:ext uri="{FF2B5EF4-FFF2-40B4-BE49-F238E27FC236}">
                    <a16:creationId xmlns:a16="http://schemas.microsoft.com/office/drawing/2014/main" id="{68686874-7316-8145-B287-04BD023BBE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0421" y="5576274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28" name="Freeform 150">
                <a:extLst>
                  <a:ext uri="{FF2B5EF4-FFF2-40B4-BE49-F238E27FC236}">
                    <a16:creationId xmlns:a16="http://schemas.microsoft.com/office/drawing/2014/main" id="{8398D8F6-C02E-DD7D-33C2-07BADF717F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12867" y="5858783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29" name="Freeform 151">
                <a:extLst>
                  <a:ext uri="{FF2B5EF4-FFF2-40B4-BE49-F238E27FC236}">
                    <a16:creationId xmlns:a16="http://schemas.microsoft.com/office/drawing/2014/main" id="{3C254CD7-DF64-F4F6-B115-CC7AD8BB06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0421" y="6147335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30" name="Freeform 152">
                <a:extLst>
                  <a:ext uri="{FF2B5EF4-FFF2-40B4-BE49-F238E27FC236}">
                    <a16:creationId xmlns:a16="http://schemas.microsoft.com/office/drawing/2014/main" id="{0A7C1B79-2450-375E-2CFB-D579642C752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12867" y="6429843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31" name="Freeform 153">
                <a:extLst>
                  <a:ext uri="{FF2B5EF4-FFF2-40B4-BE49-F238E27FC236}">
                    <a16:creationId xmlns:a16="http://schemas.microsoft.com/office/drawing/2014/main" id="{02C48B26-1334-4265-30AB-1458D911D7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0421" y="6718395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32" name="Line 8">
                <a:extLst>
                  <a:ext uri="{FF2B5EF4-FFF2-40B4-BE49-F238E27FC236}">
                    <a16:creationId xmlns:a16="http://schemas.microsoft.com/office/drawing/2014/main" id="{F056DE82-79E2-5F7F-31A5-DAFAA477511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81365" y="5104923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33" name="Line 9">
                <a:extLst>
                  <a:ext uri="{FF2B5EF4-FFF2-40B4-BE49-F238E27FC236}">
                    <a16:creationId xmlns:a16="http://schemas.microsoft.com/office/drawing/2014/main" id="{0EF50001-9AB8-1E84-F6D4-F164031AE1A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81365" y="5104923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34" name="Freeform 10">
                <a:extLst>
                  <a:ext uri="{FF2B5EF4-FFF2-40B4-BE49-F238E27FC236}">
                    <a16:creationId xmlns:a16="http://schemas.microsoft.com/office/drawing/2014/main" id="{06FEDF70-BCAC-001A-78B5-A0376A8C42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8475" y="6176038"/>
                <a:ext cx="99709" cy="157117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8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7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7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8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7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7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35" name="Freeform 11">
                <a:extLst>
                  <a:ext uri="{FF2B5EF4-FFF2-40B4-BE49-F238E27FC236}">
                    <a16:creationId xmlns:a16="http://schemas.microsoft.com/office/drawing/2014/main" id="{3616F2D2-4468-D245-BF5A-302B05864BD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34879" y="6443440"/>
                <a:ext cx="120859" cy="164671"/>
              </a:xfrm>
              <a:custGeom>
                <a:avLst/>
                <a:gdLst>
                  <a:gd name="T0" fmla="*/ 32 w 34"/>
                  <a:gd name="T1" fmla="*/ 8 h 46"/>
                  <a:gd name="T2" fmla="*/ 34 w 34"/>
                  <a:gd name="T3" fmla="*/ 23 h 46"/>
                  <a:gd name="T4" fmla="*/ 31 w 34"/>
                  <a:gd name="T5" fmla="*/ 39 h 46"/>
                  <a:gd name="T6" fmla="*/ 17 w 34"/>
                  <a:gd name="T7" fmla="*/ 46 h 46"/>
                  <a:gd name="T8" fmla="*/ 3 w 34"/>
                  <a:gd name="T9" fmla="*/ 37 h 46"/>
                  <a:gd name="T10" fmla="*/ 0 w 34"/>
                  <a:gd name="T11" fmla="*/ 23 h 46"/>
                  <a:gd name="T12" fmla="*/ 17 w 34"/>
                  <a:gd name="T13" fmla="*/ 0 h 46"/>
                  <a:gd name="T14" fmla="*/ 32 w 34"/>
                  <a:gd name="T15" fmla="*/ 8 h 46"/>
                  <a:gd name="T16" fmla="*/ 10 w 34"/>
                  <a:gd name="T17" fmla="*/ 23 h 46"/>
                  <a:gd name="T18" fmla="*/ 17 w 34"/>
                  <a:gd name="T19" fmla="*/ 38 h 46"/>
                  <a:gd name="T20" fmla="*/ 25 w 34"/>
                  <a:gd name="T21" fmla="*/ 23 h 46"/>
                  <a:gd name="T22" fmla="*/ 17 w 34"/>
                  <a:gd name="T23" fmla="*/ 8 h 46"/>
                  <a:gd name="T24" fmla="*/ 10 w 34"/>
                  <a:gd name="T25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46">
                    <a:moveTo>
                      <a:pt x="32" y="8"/>
                    </a:moveTo>
                    <a:cubicBezTo>
                      <a:pt x="34" y="12"/>
                      <a:pt x="34" y="16"/>
                      <a:pt x="34" y="23"/>
                    </a:cubicBezTo>
                    <a:cubicBezTo>
                      <a:pt x="34" y="31"/>
                      <a:pt x="33" y="36"/>
                      <a:pt x="31" y="39"/>
                    </a:cubicBezTo>
                    <a:cubicBezTo>
                      <a:pt x="28" y="43"/>
                      <a:pt x="23" y="46"/>
                      <a:pt x="17" y="46"/>
                    </a:cubicBezTo>
                    <a:cubicBezTo>
                      <a:pt x="11" y="46"/>
                      <a:pt x="6" y="43"/>
                      <a:pt x="3" y="37"/>
                    </a:cubicBezTo>
                    <a:cubicBezTo>
                      <a:pt x="1" y="34"/>
                      <a:pt x="0" y="29"/>
                      <a:pt x="0" y="23"/>
                    </a:cubicBezTo>
                    <a:cubicBezTo>
                      <a:pt x="0" y="8"/>
                      <a:pt x="6" y="0"/>
                      <a:pt x="17" y="0"/>
                    </a:cubicBezTo>
                    <a:cubicBezTo>
                      <a:pt x="24" y="0"/>
                      <a:pt x="29" y="3"/>
                      <a:pt x="32" y="8"/>
                    </a:cubicBezTo>
                    <a:close/>
                    <a:moveTo>
                      <a:pt x="10" y="23"/>
                    </a:moveTo>
                    <a:cubicBezTo>
                      <a:pt x="10" y="33"/>
                      <a:pt x="12" y="38"/>
                      <a:pt x="17" y="38"/>
                    </a:cubicBezTo>
                    <a:cubicBezTo>
                      <a:pt x="22" y="38"/>
                      <a:pt x="25" y="33"/>
                      <a:pt x="25" y="23"/>
                    </a:cubicBezTo>
                    <a:cubicBezTo>
                      <a:pt x="25" y="13"/>
                      <a:pt x="22" y="8"/>
                      <a:pt x="17" y="8"/>
                    </a:cubicBezTo>
                    <a:cubicBezTo>
                      <a:pt x="12" y="8"/>
                      <a:pt x="10" y="13"/>
                      <a:pt x="10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36" name="Freeform 12">
                <a:extLst>
                  <a:ext uri="{FF2B5EF4-FFF2-40B4-BE49-F238E27FC236}">
                    <a16:creationId xmlns:a16="http://schemas.microsoft.com/office/drawing/2014/main" id="{A2A26301-017C-6698-FE54-9214CDBE49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8475" y="6718395"/>
                <a:ext cx="99709" cy="157117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6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7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7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6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7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7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37" name="Freeform 23">
                <a:extLst>
                  <a:ext uri="{FF2B5EF4-FFF2-40B4-BE49-F238E27FC236}">
                    <a16:creationId xmlns:a16="http://schemas.microsoft.com/office/drawing/2014/main" id="{18AD7A40-2334-0DF5-A58E-2F554DF6CAC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55156" y="5455415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8 h 32"/>
                  <a:gd name="T14" fmla="*/ 16 w 21"/>
                  <a:gd name="T15" fmla="*/ 16 h 32"/>
                  <a:gd name="T16" fmla="*/ 11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1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1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38" name="Freeform 24">
                <a:extLst>
                  <a:ext uri="{FF2B5EF4-FFF2-40B4-BE49-F238E27FC236}">
                    <a16:creationId xmlns:a16="http://schemas.microsoft.com/office/drawing/2014/main" id="{453F0633-2201-8518-E6DD-E6242F81205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55156" y="5647279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5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39" name="Freeform 25">
                <a:extLst>
                  <a:ext uri="{FF2B5EF4-FFF2-40B4-BE49-F238E27FC236}">
                    <a16:creationId xmlns:a16="http://schemas.microsoft.com/office/drawing/2014/main" id="{923AF22F-4170-036B-7BAD-D715E3FED7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2709" y="6029497"/>
                <a:ext cx="64962" cy="11028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2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2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40" name="Freeform 26">
                <a:extLst>
                  <a:ext uri="{FF2B5EF4-FFF2-40B4-BE49-F238E27FC236}">
                    <a16:creationId xmlns:a16="http://schemas.microsoft.com/office/drawing/2014/main" id="{4EDB73E8-8A06-E3D3-0272-ECB7C6943E6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55156" y="6218339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6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41" name="Freeform 27">
                <a:extLst>
                  <a:ext uri="{FF2B5EF4-FFF2-40B4-BE49-F238E27FC236}">
                    <a16:creationId xmlns:a16="http://schemas.microsoft.com/office/drawing/2014/main" id="{9206F923-AA69-C5BC-62B3-0A8269C7863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55156" y="6408693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7 h 32"/>
                  <a:gd name="T14" fmla="*/ 16 w 21"/>
                  <a:gd name="T15" fmla="*/ 16 h 32"/>
                  <a:gd name="T16" fmla="*/ 11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1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42" name="Freeform 28">
                <a:extLst>
                  <a:ext uri="{FF2B5EF4-FFF2-40B4-BE49-F238E27FC236}">
                    <a16:creationId xmlns:a16="http://schemas.microsoft.com/office/drawing/2014/main" id="{9B0F2295-AC56-8E25-BD47-B72DC24843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2709" y="6789400"/>
                <a:ext cx="64962" cy="111795"/>
              </a:xfrm>
              <a:custGeom>
                <a:avLst/>
                <a:gdLst>
                  <a:gd name="T0" fmla="*/ 19 w 43"/>
                  <a:gd name="T1" fmla="*/ 14 h 74"/>
                  <a:gd name="T2" fmla="*/ 5 w 43"/>
                  <a:gd name="T3" fmla="*/ 24 h 74"/>
                  <a:gd name="T4" fmla="*/ 0 w 43"/>
                  <a:gd name="T5" fmla="*/ 14 h 74"/>
                  <a:gd name="T6" fmla="*/ 22 w 43"/>
                  <a:gd name="T7" fmla="*/ 0 h 74"/>
                  <a:gd name="T8" fmla="*/ 34 w 43"/>
                  <a:gd name="T9" fmla="*/ 0 h 74"/>
                  <a:gd name="T10" fmla="*/ 34 w 43"/>
                  <a:gd name="T11" fmla="*/ 64 h 74"/>
                  <a:gd name="T12" fmla="*/ 43 w 43"/>
                  <a:gd name="T13" fmla="*/ 64 h 74"/>
                  <a:gd name="T14" fmla="*/ 43 w 43"/>
                  <a:gd name="T15" fmla="*/ 74 h 74"/>
                  <a:gd name="T16" fmla="*/ 10 w 43"/>
                  <a:gd name="T17" fmla="*/ 74 h 74"/>
                  <a:gd name="T18" fmla="*/ 10 w 43"/>
                  <a:gd name="T19" fmla="*/ 64 h 74"/>
                  <a:gd name="T20" fmla="*/ 19 w 43"/>
                  <a:gd name="T21" fmla="*/ 64 h 74"/>
                  <a:gd name="T22" fmla="*/ 19 w 43"/>
                  <a:gd name="T23" fmla="*/ 1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4">
                    <a:moveTo>
                      <a:pt x="19" y="14"/>
                    </a:moveTo>
                    <a:lnTo>
                      <a:pt x="5" y="24"/>
                    </a:lnTo>
                    <a:lnTo>
                      <a:pt x="0" y="14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4"/>
                    </a:lnTo>
                    <a:lnTo>
                      <a:pt x="10" y="74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43" name="Freeform 43">
                <a:extLst>
                  <a:ext uri="{FF2B5EF4-FFF2-40B4-BE49-F238E27FC236}">
                    <a16:creationId xmlns:a16="http://schemas.microsoft.com/office/drawing/2014/main" id="{064DD16D-4060-5552-4DC2-33F8BB751C9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5364" y="5654833"/>
                <a:ext cx="63451" cy="9366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5" y="0"/>
                      <a:pt x="18" y="5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44" name="Freeform 44">
                <a:extLst>
                  <a:ext uri="{FF2B5EF4-FFF2-40B4-BE49-F238E27FC236}">
                    <a16:creationId xmlns:a16="http://schemas.microsoft.com/office/drawing/2014/main" id="{7875FF18-B9D9-86A2-4F1A-9FD8AEE9D3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5364" y="5808928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1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45" name="Freeform 45">
                <a:extLst>
                  <a:ext uri="{FF2B5EF4-FFF2-40B4-BE49-F238E27FC236}">
                    <a16:creationId xmlns:a16="http://schemas.microsoft.com/office/drawing/2014/main" id="{9D0B5026-E270-FFA1-94BD-108B7CD63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5938" y="6115609"/>
                <a:ext cx="49855" cy="89134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49 h 59"/>
                  <a:gd name="T20" fmla="*/ 17 w 33"/>
                  <a:gd name="T21" fmla="*/ 49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46" name="Freeform 46">
                <a:extLst>
                  <a:ext uri="{FF2B5EF4-FFF2-40B4-BE49-F238E27FC236}">
                    <a16:creationId xmlns:a16="http://schemas.microsoft.com/office/drawing/2014/main" id="{6877A6DC-95C0-2CD2-0E4E-04F1C45A429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5364" y="6265173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47" name="Freeform 47">
                <a:extLst>
                  <a:ext uri="{FF2B5EF4-FFF2-40B4-BE49-F238E27FC236}">
                    <a16:creationId xmlns:a16="http://schemas.microsoft.com/office/drawing/2014/main" id="{D52CE433-DB2E-CF1A-E293-B0B8E59D844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5364" y="6419268"/>
                <a:ext cx="63451" cy="89134"/>
              </a:xfrm>
              <a:custGeom>
                <a:avLst/>
                <a:gdLst>
                  <a:gd name="T0" fmla="*/ 18 w 18"/>
                  <a:gd name="T1" fmla="*/ 13 h 25"/>
                  <a:gd name="T2" fmla="*/ 9 w 18"/>
                  <a:gd name="T3" fmla="*/ 25 h 25"/>
                  <a:gd name="T4" fmla="*/ 0 w 18"/>
                  <a:gd name="T5" fmla="*/ 12 h 25"/>
                  <a:gd name="T6" fmla="*/ 9 w 18"/>
                  <a:gd name="T7" fmla="*/ 0 h 25"/>
                  <a:gd name="T8" fmla="*/ 18 w 18"/>
                  <a:gd name="T9" fmla="*/ 13 h 25"/>
                  <a:gd name="T10" fmla="*/ 5 w 18"/>
                  <a:gd name="T11" fmla="*/ 12 h 25"/>
                  <a:gd name="T12" fmla="*/ 9 w 18"/>
                  <a:gd name="T13" fmla="*/ 22 h 25"/>
                  <a:gd name="T14" fmla="*/ 13 w 18"/>
                  <a:gd name="T15" fmla="*/ 13 h 25"/>
                  <a:gd name="T16" fmla="*/ 9 w 18"/>
                  <a:gd name="T17" fmla="*/ 3 h 25"/>
                  <a:gd name="T18" fmla="*/ 5 w 18"/>
                  <a:gd name="T1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5">
                    <a:moveTo>
                      <a:pt x="18" y="13"/>
                    </a:moveTo>
                    <a:cubicBezTo>
                      <a:pt x="18" y="21"/>
                      <a:pt x="15" y="25"/>
                      <a:pt x="9" y="25"/>
                    </a:cubicBezTo>
                    <a:cubicBezTo>
                      <a:pt x="3" y="25"/>
                      <a:pt x="0" y="21"/>
                      <a:pt x="0" y="12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2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6"/>
                      <a:pt x="12" y="3"/>
                      <a:pt x="9" y="3"/>
                    </a:cubicBezTo>
                    <a:cubicBezTo>
                      <a:pt x="6" y="3"/>
                      <a:pt x="5" y="6"/>
                      <a:pt x="5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48" name="Freeform 48">
                <a:extLst>
                  <a:ext uri="{FF2B5EF4-FFF2-40B4-BE49-F238E27FC236}">
                    <a16:creationId xmlns:a16="http://schemas.microsoft.com/office/drawing/2014/main" id="{A7E33B22-94EA-A945-29BA-42C59C10D5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5938" y="6725948"/>
                <a:ext cx="49855" cy="84602"/>
              </a:xfrm>
              <a:custGeom>
                <a:avLst/>
                <a:gdLst>
                  <a:gd name="T0" fmla="*/ 17 w 33"/>
                  <a:gd name="T1" fmla="*/ 9 h 56"/>
                  <a:gd name="T2" fmla="*/ 5 w 33"/>
                  <a:gd name="T3" fmla="*/ 16 h 56"/>
                  <a:gd name="T4" fmla="*/ 0 w 33"/>
                  <a:gd name="T5" fmla="*/ 9 h 56"/>
                  <a:gd name="T6" fmla="*/ 19 w 33"/>
                  <a:gd name="T7" fmla="*/ 0 h 56"/>
                  <a:gd name="T8" fmla="*/ 26 w 33"/>
                  <a:gd name="T9" fmla="*/ 0 h 56"/>
                  <a:gd name="T10" fmla="*/ 26 w 33"/>
                  <a:gd name="T11" fmla="*/ 49 h 56"/>
                  <a:gd name="T12" fmla="*/ 33 w 33"/>
                  <a:gd name="T13" fmla="*/ 49 h 56"/>
                  <a:gd name="T14" fmla="*/ 33 w 33"/>
                  <a:gd name="T15" fmla="*/ 56 h 56"/>
                  <a:gd name="T16" fmla="*/ 10 w 33"/>
                  <a:gd name="T17" fmla="*/ 56 h 56"/>
                  <a:gd name="T18" fmla="*/ 10 w 33"/>
                  <a:gd name="T19" fmla="*/ 49 h 56"/>
                  <a:gd name="T20" fmla="*/ 17 w 33"/>
                  <a:gd name="T21" fmla="*/ 49 h 56"/>
                  <a:gd name="T22" fmla="*/ 17 w 33"/>
                  <a:gd name="T23" fmla="*/ 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6">
                    <a:moveTo>
                      <a:pt x="17" y="9"/>
                    </a:moveTo>
                    <a:lnTo>
                      <a:pt x="5" y="16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6"/>
                    </a:lnTo>
                    <a:lnTo>
                      <a:pt x="10" y="56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9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49" name="Freeform 49">
                <a:extLst>
                  <a:ext uri="{FF2B5EF4-FFF2-40B4-BE49-F238E27FC236}">
                    <a16:creationId xmlns:a16="http://schemas.microsoft.com/office/drawing/2014/main" id="{BD57B9DB-0172-1FE1-D522-EDEE909409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5364" y="6875512"/>
                <a:ext cx="63451" cy="89134"/>
              </a:xfrm>
              <a:custGeom>
                <a:avLst/>
                <a:gdLst>
                  <a:gd name="T0" fmla="*/ 18 w 18"/>
                  <a:gd name="T1" fmla="*/ 13 h 25"/>
                  <a:gd name="T2" fmla="*/ 9 w 18"/>
                  <a:gd name="T3" fmla="*/ 25 h 25"/>
                  <a:gd name="T4" fmla="*/ 0 w 18"/>
                  <a:gd name="T5" fmla="*/ 13 h 25"/>
                  <a:gd name="T6" fmla="*/ 9 w 18"/>
                  <a:gd name="T7" fmla="*/ 0 h 25"/>
                  <a:gd name="T8" fmla="*/ 18 w 18"/>
                  <a:gd name="T9" fmla="*/ 13 h 25"/>
                  <a:gd name="T10" fmla="*/ 5 w 18"/>
                  <a:gd name="T11" fmla="*/ 13 h 25"/>
                  <a:gd name="T12" fmla="*/ 9 w 18"/>
                  <a:gd name="T13" fmla="*/ 22 h 25"/>
                  <a:gd name="T14" fmla="*/ 13 w 18"/>
                  <a:gd name="T15" fmla="*/ 13 h 25"/>
                  <a:gd name="T16" fmla="*/ 9 w 18"/>
                  <a:gd name="T17" fmla="*/ 3 h 25"/>
                  <a:gd name="T18" fmla="*/ 5 w 18"/>
                  <a:gd name="T19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5">
                    <a:moveTo>
                      <a:pt x="18" y="13"/>
                    </a:moveTo>
                    <a:cubicBezTo>
                      <a:pt x="18" y="21"/>
                      <a:pt x="15" y="25"/>
                      <a:pt x="9" y="25"/>
                    </a:cubicBezTo>
                    <a:cubicBezTo>
                      <a:pt x="3" y="25"/>
                      <a:pt x="0" y="21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6"/>
                      <a:pt x="12" y="3"/>
                      <a:pt x="9" y="3"/>
                    </a:cubicBezTo>
                    <a:cubicBezTo>
                      <a:pt x="6" y="3"/>
                      <a:pt x="5" y="6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50" name="Freeform 63">
                <a:extLst>
                  <a:ext uri="{FF2B5EF4-FFF2-40B4-BE49-F238E27FC236}">
                    <a16:creationId xmlns:a16="http://schemas.microsoft.com/office/drawing/2014/main" id="{5E40DFE8-CFE1-5F60-5776-5016F0140EB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67948" y="5654833"/>
                <a:ext cx="60430" cy="9366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4" y="0"/>
                      <a:pt x="17" y="5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51" name="Freeform 64">
                <a:extLst>
                  <a:ext uri="{FF2B5EF4-FFF2-40B4-BE49-F238E27FC236}">
                    <a16:creationId xmlns:a16="http://schemas.microsoft.com/office/drawing/2014/main" id="{478D4D4B-4037-1074-C198-FB340F6BC60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67948" y="5808928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1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52" name="Freeform 65">
                <a:extLst>
                  <a:ext uri="{FF2B5EF4-FFF2-40B4-BE49-F238E27FC236}">
                    <a16:creationId xmlns:a16="http://schemas.microsoft.com/office/drawing/2014/main" id="{F03415ED-2B56-5475-5020-1296B11B24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3991" y="6115609"/>
                <a:ext cx="49855" cy="89134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49 h 59"/>
                  <a:gd name="T20" fmla="*/ 16 w 33"/>
                  <a:gd name="T21" fmla="*/ 49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53" name="Freeform 66">
                <a:extLst>
                  <a:ext uri="{FF2B5EF4-FFF2-40B4-BE49-F238E27FC236}">
                    <a16:creationId xmlns:a16="http://schemas.microsoft.com/office/drawing/2014/main" id="{13341B44-6E1E-F716-3B1E-530F0C8D4AF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67948" y="6265173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54" name="Freeform 67">
                <a:extLst>
                  <a:ext uri="{FF2B5EF4-FFF2-40B4-BE49-F238E27FC236}">
                    <a16:creationId xmlns:a16="http://schemas.microsoft.com/office/drawing/2014/main" id="{51C4E507-42A0-EC21-71F6-8AF77ACC0EA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67948" y="6419268"/>
                <a:ext cx="60430" cy="89134"/>
              </a:xfrm>
              <a:custGeom>
                <a:avLst/>
                <a:gdLst>
                  <a:gd name="T0" fmla="*/ 17 w 17"/>
                  <a:gd name="T1" fmla="*/ 13 h 25"/>
                  <a:gd name="T2" fmla="*/ 9 w 17"/>
                  <a:gd name="T3" fmla="*/ 25 h 25"/>
                  <a:gd name="T4" fmla="*/ 0 w 17"/>
                  <a:gd name="T5" fmla="*/ 12 h 25"/>
                  <a:gd name="T6" fmla="*/ 9 w 17"/>
                  <a:gd name="T7" fmla="*/ 0 h 25"/>
                  <a:gd name="T8" fmla="*/ 17 w 17"/>
                  <a:gd name="T9" fmla="*/ 13 h 25"/>
                  <a:gd name="T10" fmla="*/ 4 w 17"/>
                  <a:gd name="T11" fmla="*/ 12 h 25"/>
                  <a:gd name="T12" fmla="*/ 9 w 17"/>
                  <a:gd name="T13" fmla="*/ 22 h 25"/>
                  <a:gd name="T14" fmla="*/ 13 w 17"/>
                  <a:gd name="T15" fmla="*/ 13 h 25"/>
                  <a:gd name="T16" fmla="*/ 9 w 17"/>
                  <a:gd name="T17" fmla="*/ 3 h 25"/>
                  <a:gd name="T18" fmla="*/ 4 w 17"/>
                  <a:gd name="T1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5">
                    <a:moveTo>
                      <a:pt x="17" y="13"/>
                    </a:moveTo>
                    <a:cubicBezTo>
                      <a:pt x="17" y="21"/>
                      <a:pt x="14" y="25"/>
                      <a:pt x="9" y="25"/>
                    </a:cubicBezTo>
                    <a:cubicBezTo>
                      <a:pt x="3" y="25"/>
                      <a:pt x="0" y="21"/>
                      <a:pt x="0" y="12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2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6"/>
                      <a:pt x="11" y="3"/>
                      <a:pt x="9" y="3"/>
                    </a:cubicBezTo>
                    <a:cubicBezTo>
                      <a:pt x="6" y="3"/>
                      <a:pt x="4" y="6"/>
                      <a:pt x="4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55" name="Freeform 68">
                <a:extLst>
                  <a:ext uri="{FF2B5EF4-FFF2-40B4-BE49-F238E27FC236}">
                    <a16:creationId xmlns:a16="http://schemas.microsoft.com/office/drawing/2014/main" id="{4DD284F8-968B-CD3E-22C0-5DB69CEC9A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3991" y="6725948"/>
                <a:ext cx="49855" cy="84602"/>
              </a:xfrm>
              <a:custGeom>
                <a:avLst/>
                <a:gdLst>
                  <a:gd name="T0" fmla="*/ 16 w 33"/>
                  <a:gd name="T1" fmla="*/ 9 h 56"/>
                  <a:gd name="T2" fmla="*/ 4 w 33"/>
                  <a:gd name="T3" fmla="*/ 16 h 56"/>
                  <a:gd name="T4" fmla="*/ 0 w 33"/>
                  <a:gd name="T5" fmla="*/ 9 h 56"/>
                  <a:gd name="T6" fmla="*/ 16 w 33"/>
                  <a:gd name="T7" fmla="*/ 0 h 56"/>
                  <a:gd name="T8" fmla="*/ 26 w 33"/>
                  <a:gd name="T9" fmla="*/ 0 h 56"/>
                  <a:gd name="T10" fmla="*/ 26 w 33"/>
                  <a:gd name="T11" fmla="*/ 49 h 56"/>
                  <a:gd name="T12" fmla="*/ 33 w 33"/>
                  <a:gd name="T13" fmla="*/ 49 h 56"/>
                  <a:gd name="T14" fmla="*/ 33 w 33"/>
                  <a:gd name="T15" fmla="*/ 56 h 56"/>
                  <a:gd name="T16" fmla="*/ 7 w 33"/>
                  <a:gd name="T17" fmla="*/ 56 h 56"/>
                  <a:gd name="T18" fmla="*/ 7 w 33"/>
                  <a:gd name="T19" fmla="*/ 49 h 56"/>
                  <a:gd name="T20" fmla="*/ 16 w 33"/>
                  <a:gd name="T21" fmla="*/ 49 h 56"/>
                  <a:gd name="T22" fmla="*/ 16 w 33"/>
                  <a:gd name="T23" fmla="*/ 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6">
                    <a:moveTo>
                      <a:pt x="16" y="9"/>
                    </a:moveTo>
                    <a:lnTo>
                      <a:pt x="4" y="16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6"/>
                    </a:lnTo>
                    <a:lnTo>
                      <a:pt x="7" y="56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9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56" name="Freeform 69">
                <a:extLst>
                  <a:ext uri="{FF2B5EF4-FFF2-40B4-BE49-F238E27FC236}">
                    <a16:creationId xmlns:a16="http://schemas.microsoft.com/office/drawing/2014/main" id="{AEC3BB2E-0F26-A6B8-0781-200FDCB574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67948" y="6875512"/>
                <a:ext cx="60430" cy="89134"/>
              </a:xfrm>
              <a:custGeom>
                <a:avLst/>
                <a:gdLst>
                  <a:gd name="T0" fmla="*/ 17 w 17"/>
                  <a:gd name="T1" fmla="*/ 13 h 25"/>
                  <a:gd name="T2" fmla="*/ 9 w 17"/>
                  <a:gd name="T3" fmla="*/ 25 h 25"/>
                  <a:gd name="T4" fmla="*/ 0 w 17"/>
                  <a:gd name="T5" fmla="*/ 13 h 25"/>
                  <a:gd name="T6" fmla="*/ 9 w 17"/>
                  <a:gd name="T7" fmla="*/ 0 h 25"/>
                  <a:gd name="T8" fmla="*/ 17 w 17"/>
                  <a:gd name="T9" fmla="*/ 13 h 25"/>
                  <a:gd name="T10" fmla="*/ 4 w 17"/>
                  <a:gd name="T11" fmla="*/ 13 h 25"/>
                  <a:gd name="T12" fmla="*/ 9 w 17"/>
                  <a:gd name="T13" fmla="*/ 22 h 25"/>
                  <a:gd name="T14" fmla="*/ 13 w 17"/>
                  <a:gd name="T15" fmla="*/ 13 h 25"/>
                  <a:gd name="T16" fmla="*/ 9 w 17"/>
                  <a:gd name="T17" fmla="*/ 3 h 25"/>
                  <a:gd name="T18" fmla="*/ 4 w 17"/>
                  <a:gd name="T19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5">
                    <a:moveTo>
                      <a:pt x="17" y="13"/>
                    </a:moveTo>
                    <a:cubicBezTo>
                      <a:pt x="17" y="21"/>
                      <a:pt x="14" y="25"/>
                      <a:pt x="9" y="25"/>
                    </a:cubicBezTo>
                    <a:cubicBezTo>
                      <a:pt x="3" y="25"/>
                      <a:pt x="0" y="21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6"/>
                      <a:pt x="11" y="3"/>
                      <a:pt x="9" y="3"/>
                    </a:cubicBezTo>
                    <a:cubicBezTo>
                      <a:pt x="6" y="3"/>
                      <a:pt x="4" y="6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57" name="Freeform 83">
                <a:extLst>
                  <a:ext uri="{FF2B5EF4-FFF2-40B4-BE49-F238E27FC236}">
                    <a16:creationId xmlns:a16="http://schemas.microsoft.com/office/drawing/2014/main" id="{BF08328A-0D01-F484-9D61-7F351A3817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2522" y="5662386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3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58" name="Freeform 84">
                <a:extLst>
                  <a:ext uri="{FF2B5EF4-FFF2-40B4-BE49-F238E27FC236}">
                    <a16:creationId xmlns:a16="http://schemas.microsoft.com/office/drawing/2014/main" id="{4CAF9E16-96F6-9727-3B4F-FC352ACD159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77415" y="5929788"/>
                <a:ext cx="110285" cy="164671"/>
              </a:xfrm>
              <a:custGeom>
                <a:avLst/>
                <a:gdLst>
                  <a:gd name="T0" fmla="*/ 31 w 31"/>
                  <a:gd name="T1" fmla="*/ 23 h 46"/>
                  <a:gd name="T2" fmla="*/ 15 w 31"/>
                  <a:gd name="T3" fmla="*/ 46 h 46"/>
                  <a:gd name="T4" fmla="*/ 0 w 31"/>
                  <a:gd name="T5" fmla="*/ 23 h 46"/>
                  <a:gd name="T6" fmla="*/ 15 w 31"/>
                  <a:gd name="T7" fmla="*/ 0 h 46"/>
                  <a:gd name="T8" fmla="*/ 31 w 31"/>
                  <a:gd name="T9" fmla="*/ 23 h 46"/>
                  <a:gd name="T10" fmla="*/ 8 w 31"/>
                  <a:gd name="T11" fmla="*/ 23 h 46"/>
                  <a:gd name="T12" fmla="*/ 15 w 31"/>
                  <a:gd name="T13" fmla="*/ 39 h 46"/>
                  <a:gd name="T14" fmla="*/ 23 w 31"/>
                  <a:gd name="T15" fmla="*/ 23 h 46"/>
                  <a:gd name="T16" fmla="*/ 15 w 31"/>
                  <a:gd name="T17" fmla="*/ 7 h 46"/>
                  <a:gd name="T18" fmla="*/ 8 w 31"/>
                  <a:gd name="T19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6">
                    <a:moveTo>
                      <a:pt x="31" y="23"/>
                    </a:moveTo>
                    <a:cubicBezTo>
                      <a:pt x="31" y="38"/>
                      <a:pt x="26" y="46"/>
                      <a:pt x="15" y="46"/>
                    </a:cubicBezTo>
                    <a:cubicBezTo>
                      <a:pt x="5" y="46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7"/>
                      <a:pt x="15" y="7"/>
                    </a:cubicBezTo>
                    <a:cubicBezTo>
                      <a:pt x="10" y="7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59" name="Freeform 85">
                <a:extLst>
                  <a:ext uri="{FF2B5EF4-FFF2-40B4-BE49-F238E27FC236}">
                    <a16:creationId xmlns:a16="http://schemas.microsoft.com/office/drawing/2014/main" id="{5361FDB2-1E93-B7E7-44C1-6E9C28EDC4A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77415" y="6201721"/>
                <a:ext cx="110285" cy="160139"/>
              </a:xfrm>
              <a:custGeom>
                <a:avLst/>
                <a:gdLst>
                  <a:gd name="T0" fmla="*/ 31 w 31"/>
                  <a:gd name="T1" fmla="*/ 23 h 45"/>
                  <a:gd name="T2" fmla="*/ 15 w 31"/>
                  <a:gd name="T3" fmla="*/ 45 h 45"/>
                  <a:gd name="T4" fmla="*/ 0 w 31"/>
                  <a:gd name="T5" fmla="*/ 23 h 45"/>
                  <a:gd name="T6" fmla="*/ 15 w 31"/>
                  <a:gd name="T7" fmla="*/ 0 h 45"/>
                  <a:gd name="T8" fmla="*/ 31 w 31"/>
                  <a:gd name="T9" fmla="*/ 23 h 45"/>
                  <a:gd name="T10" fmla="*/ 8 w 31"/>
                  <a:gd name="T11" fmla="*/ 23 h 45"/>
                  <a:gd name="T12" fmla="*/ 15 w 31"/>
                  <a:gd name="T13" fmla="*/ 39 h 45"/>
                  <a:gd name="T14" fmla="*/ 23 w 31"/>
                  <a:gd name="T15" fmla="*/ 23 h 45"/>
                  <a:gd name="T16" fmla="*/ 15 w 31"/>
                  <a:gd name="T17" fmla="*/ 6 h 45"/>
                  <a:gd name="T18" fmla="*/ 8 w 31"/>
                  <a:gd name="T19" fmla="*/ 2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31" y="23"/>
                    </a:moveTo>
                    <a:cubicBezTo>
                      <a:pt x="31" y="38"/>
                      <a:pt x="26" y="45"/>
                      <a:pt x="15" y="45"/>
                    </a:cubicBezTo>
                    <a:cubicBezTo>
                      <a:pt x="5" y="45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6"/>
                      <a:pt x="15" y="6"/>
                    </a:cubicBezTo>
                    <a:cubicBezTo>
                      <a:pt x="10" y="6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60" name="Freeform 86">
                <a:extLst>
                  <a:ext uri="{FF2B5EF4-FFF2-40B4-BE49-F238E27FC236}">
                    <a16:creationId xmlns:a16="http://schemas.microsoft.com/office/drawing/2014/main" id="{E0E512E6-3F4C-E764-849C-A36660F836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2522" y="6475165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4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4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61" name="Freeform 87">
                <a:extLst>
                  <a:ext uri="{FF2B5EF4-FFF2-40B4-BE49-F238E27FC236}">
                    <a16:creationId xmlns:a16="http://schemas.microsoft.com/office/drawing/2014/main" id="{581899C4-4E2D-2668-D1C0-DA0C58D67C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2522" y="6747099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1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1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62" name="Freeform 95">
                <a:extLst>
                  <a:ext uri="{FF2B5EF4-FFF2-40B4-BE49-F238E27FC236}">
                    <a16:creationId xmlns:a16="http://schemas.microsoft.com/office/drawing/2014/main" id="{32448EE4-F7B8-6EB7-B033-FC8189CC64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4777091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63" name="Freeform 96">
                <a:extLst>
                  <a:ext uri="{FF2B5EF4-FFF2-40B4-BE49-F238E27FC236}">
                    <a16:creationId xmlns:a16="http://schemas.microsoft.com/office/drawing/2014/main" id="{1904D08D-B21C-660F-A7E8-36E2854E531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9292" y="4923634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64" name="Freeform 97">
                <a:extLst>
                  <a:ext uri="{FF2B5EF4-FFF2-40B4-BE49-F238E27FC236}">
                    <a16:creationId xmlns:a16="http://schemas.microsoft.com/office/drawing/2014/main" id="{5F725F82-0649-4D58-0356-2442F5555C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5070175"/>
                <a:ext cx="52876" cy="84602"/>
              </a:xfrm>
              <a:custGeom>
                <a:avLst/>
                <a:gdLst>
                  <a:gd name="T0" fmla="*/ 16 w 35"/>
                  <a:gd name="T1" fmla="*/ 14 h 56"/>
                  <a:gd name="T2" fmla="*/ 7 w 35"/>
                  <a:gd name="T3" fmla="*/ 21 h 56"/>
                  <a:gd name="T4" fmla="*/ 0 w 35"/>
                  <a:gd name="T5" fmla="*/ 11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4"/>
                    </a:moveTo>
                    <a:lnTo>
                      <a:pt x="7" y="21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65" name="Freeform 98">
                <a:extLst>
                  <a:ext uri="{FF2B5EF4-FFF2-40B4-BE49-F238E27FC236}">
                    <a16:creationId xmlns:a16="http://schemas.microsoft.com/office/drawing/2014/main" id="{896C1816-BFBD-E2D3-C86E-55628BE917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9292" y="5216718"/>
                <a:ext cx="67984" cy="84602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66" name="Freeform 99">
                <a:extLst>
                  <a:ext uri="{FF2B5EF4-FFF2-40B4-BE49-F238E27FC236}">
                    <a16:creationId xmlns:a16="http://schemas.microsoft.com/office/drawing/2014/main" id="{C085E86E-EC57-DDBA-93D0-3FFF620D6C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5361749"/>
                <a:ext cx="52876" cy="86113"/>
              </a:xfrm>
              <a:custGeom>
                <a:avLst/>
                <a:gdLst>
                  <a:gd name="T0" fmla="*/ 16 w 35"/>
                  <a:gd name="T1" fmla="*/ 15 h 57"/>
                  <a:gd name="T2" fmla="*/ 7 w 35"/>
                  <a:gd name="T3" fmla="*/ 22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8 h 57"/>
                  <a:gd name="T12" fmla="*/ 35 w 35"/>
                  <a:gd name="T13" fmla="*/ 48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8 h 57"/>
                  <a:gd name="T20" fmla="*/ 16 w 35"/>
                  <a:gd name="T21" fmla="*/ 48 h 57"/>
                  <a:gd name="T22" fmla="*/ 16 w 35"/>
                  <a:gd name="T23" fmla="*/ 1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5"/>
                    </a:moveTo>
                    <a:lnTo>
                      <a:pt x="7" y="22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5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67" name="Freeform 100">
                <a:extLst>
                  <a:ext uri="{FF2B5EF4-FFF2-40B4-BE49-F238E27FC236}">
                    <a16:creationId xmlns:a16="http://schemas.microsoft.com/office/drawing/2014/main" id="{BF97849F-306E-7214-2F25-CB28F9CA31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9292" y="5508290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68" name="Freeform 101">
                <a:extLst>
                  <a:ext uri="{FF2B5EF4-FFF2-40B4-BE49-F238E27FC236}">
                    <a16:creationId xmlns:a16="http://schemas.microsoft.com/office/drawing/2014/main" id="{D65B5DC8-39D6-2043-1DEE-43D34BACD1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5654833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69" name="Freeform 102">
                <a:extLst>
                  <a:ext uri="{FF2B5EF4-FFF2-40B4-BE49-F238E27FC236}">
                    <a16:creationId xmlns:a16="http://schemas.microsoft.com/office/drawing/2014/main" id="{A66CAF9E-925B-8F32-5F2D-4F2FA184C1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5801374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70" name="Freeform 103">
                <a:extLst>
                  <a:ext uri="{FF2B5EF4-FFF2-40B4-BE49-F238E27FC236}">
                    <a16:creationId xmlns:a16="http://schemas.microsoft.com/office/drawing/2014/main" id="{01AE767C-D795-E0D5-744F-FBDE5F6D91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5950938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5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5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71" name="Freeform 104">
                <a:extLst>
                  <a:ext uri="{FF2B5EF4-FFF2-40B4-BE49-F238E27FC236}">
                    <a16:creationId xmlns:a16="http://schemas.microsoft.com/office/drawing/2014/main" id="{856C235F-041D-EF0E-BD5A-EF9480B27A0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9292" y="6094458"/>
                <a:ext cx="67984" cy="89134"/>
              </a:xfrm>
              <a:custGeom>
                <a:avLst/>
                <a:gdLst>
                  <a:gd name="T0" fmla="*/ 17 w 19"/>
                  <a:gd name="T1" fmla="*/ 4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4 h 25"/>
                  <a:gd name="T16" fmla="*/ 6 w 19"/>
                  <a:gd name="T17" fmla="*/ 12 h 25"/>
                  <a:gd name="T18" fmla="*/ 10 w 19"/>
                  <a:gd name="T19" fmla="*/ 20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3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72" name="Freeform 105">
                <a:extLst>
                  <a:ext uri="{FF2B5EF4-FFF2-40B4-BE49-F238E27FC236}">
                    <a16:creationId xmlns:a16="http://schemas.microsoft.com/office/drawing/2014/main" id="{89BB9CC1-0E4D-564D-C60B-8935FF73BC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6244022"/>
                <a:ext cx="52876" cy="81580"/>
              </a:xfrm>
              <a:custGeom>
                <a:avLst/>
                <a:gdLst>
                  <a:gd name="T0" fmla="*/ 16 w 35"/>
                  <a:gd name="T1" fmla="*/ 12 h 54"/>
                  <a:gd name="T2" fmla="*/ 7 w 35"/>
                  <a:gd name="T3" fmla="*/ 19 h 54"/>
                  <a:gd name="T4" fmla="*/ 0 w 35"/>
                  <a:gd name="T5" fmla="*/ 9 h 54"/>
                  <a:gd name="T6" fmla="*/ 19 w 35"/>
                  <a:gd name="T7" fmla="*/ 0 h 54"/>
                  <a:gd name="T8" fmla="*/ 28 w 35"/>
                  <a:gd name="T9" fmla="*/ 0 h 54"/>
                  <a:gd name="T10" fmla="*/ 28 w 35"/>
                  <a:gd name="T11" fmla="*/ 45 h 54"/>
                  <a:gd name="T12" fmla="*/ 35 w 35"/>
                  <a:gd name="T13" fmla="*/ 45 h 54"/>
                  <a:gd name="T14" fmla="*/ 35 w 35"/>
                  <a:gd name="T15" fmla="*/ 54 h 54"/>
                  <a:gd name="T16" fmla="*/ 9 w 35"/>
                  <a:gd name="T17" fmla="*/ 54 h 54"/>
                  <a:gd name="T18" fmla="*/ 9 w 35"/>
                  <a:gd name="T19" fmla="*/ 45 h 54"/>
                  <a:gd name="T20" fmla="*/ 16 w 35"/>
                  <a:gd name="T21" fmla="*/ 45 h 54"/>
                  <a:gd name="T22" fmla="*/ 16 w 35"/>
                  <a:gd name="T23" fmla="*/ 1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4">
                    <a:moveTo>
                      <a:pt x="16" y="12"/>
                    </a:moveTo>
                    <a:lnTo>
                      <a:pt x="7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4"/>
                    </a:lnTo>
                    <a:lnTo>
                      <a:pt x="9" y="54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73" name="Freeform 106">
                <a:extLst>
                  <a:ext uri="{FF2B5EF4-FFF2-40B4-BE49-F238E27FC236}">
                    <a16:creationId xmlns:a16="http://schemas.microsoft.com/office/drawing/2014/main" id="{626924E2-2EF9-DED3-F6E9-037A432BB9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9292" y="6386032"/>
                <a:ext cx="67984" cy="89134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2 h 25"/>
                  <a:gd name="T18" fmla="*/ 10 w 19"/>
                  <a:gd name="T19" fmla="*/ 21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74" name="Freeform 107">
                <a:extLst>
                  <a:ext uri="{FF2B5EF4-FFF2-40B4-BE49-F238E27FC236}">
                    <a16:creationId xmlns:a16="http://schemas.microsoft.com/office/drawing/2014/main" id="{92DE7B00-14E2-4BD1-8901-0BA9666B24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9292" y="6532573"/>
                <a:ext cx="67984" cy="89134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2 h 25"/>
                  <a:gd name="T18" fmla="*/ 10 w 19"/>
                  <a:gd name="T19" fmla="*/ 21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75" name="Freeform 108">
                <a:extLst>
                  <a:ext uri="{FF2B5EF4-FFF2-40B4-BE49-F238E27FC236}">
                    <a16:creationId xmlns:a16="http://schemas.microsoft.com/office/drawing/2014/main" id="{7FF4E1CF-F360-26AC-EE25-B3D8EFE431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6682137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8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8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8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8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76" name="Freeform 109">
                <a:extLst>
                  <a:ext uri="{FF2B5EF4-FFF2-40B4-BE49-F238E27FC236}">
                    <a16:creationId xmlns:a16="http://schemas.microsoft.com/office/drawing/2014/main" id="{13E42B5B-B483-919A-369E-8C1F925C4A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6828679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8 h 55"/>
                  <a:gd name="T12" fmla="*/ 35 w 35"/>
                  <a:gd name="T13" fmla="*/ 48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8 h 55"/>
                  <a:gd name="T20" fmla="*/ 16 w 35"/>
                  <a:gd name="T21" fmla="*/ 48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77" name="Freeform 135">
                <a:extLst>
                  <a:ext uri="{FF2B5EF4-FFF2-40B4-BE49-F238E27FC236}">
                    <a16:creationId xmlns:a16="http://schemas.microsoft.com/office/drawing/2014/main" id="{923832E1-F971-78AD-6759-1F83E70619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2225" y="5144202"/>
                <a:ext cx="60430" cy="111795"/>
              </a:xfrm>
              <a:custGeom>
                <a:avLst/>
                <a:gdLst>
                  <a:gd name="T0" fmla="*/ 19 w 40"/>
                  <a:gd name="T1" fmla="*/ 14 h 74"/>
                  <a:gd name="T2" fmla="*/ 4 w 40"/>
                  <a:gd name="T3" fmla="*/ 24 h 74"/>
                  <a:gd name="T4" fmla="*/ 0 w 40"/>
                  <a:gd name="T5" fmla="*/ 14 h 74"/>
                  <a:gd name="T6" fmla="*/ 21 w 40"/>
                  <a:gd name="T7" fmla="*/ 0 h 74"/>
                  <a:gd name="T8" fmla="*/ 30 w 40"/>
                  <a:gd name="T9" fmla="*/ 0 h 74"/>
                  <a:gd name="T10" fmla="*/ 30 w 40"/>
                  <a:gd name="T11" fmla="*/ 64 h 74"/>
                  <a:gd name="T12" fmla="*/ 40 w 40"/>
                  <a:gd name="T13" fmla="*/ 64 h 74"/>
                  <a:gd name="T14" fmla="*/ 40 w 40"/>
                  <a:gd name="T15" fmla="*/ 74 h 74"/>
                  <a:gd name="T16" fmla="*/ 9 w 40"/>
                  <a:gd name="T17" fmla="*/ 74 h 74"/>
                  <a:gd name="T18" fmla="*/ 9 w 40"/>
                  <a:gd name="T19" fmla="*/ 64 h 74"/>
                  <a:gd name="T20" fmla="*/ 19 w 40"/>
                  <a:gd name="T21" fmla="*/ 64 h 74"/>
                  <a:gd name="T22" fmla="*/ 19 w 40"/>
                  <a:gd name="T23" fmla="*/ 1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4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4"/>
                    </a:lnTo>
                    <a:lnTo>
                      <a:pt x="9" y="74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78" name="Freeform 136">
                <a:extLst>
                  <a:ext uri="{FF2B5EF4-FFF2-40B4-BE49-F238E27FC236}">
                    <a16:creationId xmlns:a16="http://schemas.microsoft.com/office/drawing/2014/main" id="{0ABB868D-2A6A-66CE-FD50-06CEC53E524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91649" y="5333044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8 h 32"/>
                  <a:gd name="T14" fmla="*/ 16 w 21"/>
                  <a:gd name="T15" fmla="*/ 16 h 32"/>
                  <a:gd name="T16" fmla="*/ 10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0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0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79" name="Freeform 137">
                <a:extLst>
                  <a:ext uri="{FF2B5EF4-FFF2-40B4-BE49-F238E27FC236}">
                    <a16:creationId xmlns:a16="http://schemas.microsoft.com/office/drawing/2014/main" id="{C967FD23-94D3-6C03-A0CB-9EA5D8D230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91649" y="5715262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6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80" name="Freeform 138">
                <a:extLst>
                  <a:ext uri="{FF2B5EF4-FFF2-40B4-BE49-F238E27FC236}">
                    <a16:creationId xmlns:a16="http://schemas.microsoft.com/office/drawing/2014/main" id="{9BB7C5DC-2320-1860-77DF-07F5534F45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2225" y="5908637"/>
                <a:ext cx="60430" cy="107263"/>
              </a:xfrm>
              <a:custGeom>
                <a:avLst/>
                <a:gdLst>
                  <a:gd name="T0" fmla="*/ 19 w 40"/>
                  <a:gd name="T1" fmla="*/ 12 h 71"/>
                  <a:gd name="T2" fmla="*/ 4 w 40"/>
                  <a:gd name="T3" fmla="*/ 21 h 71"/>
                  <a:gd name="T4" fmla="*/ 0 w 40"/>
                  <a:gd name="T5" fmla="*/ 12 h 71"/>
                  <a:gd name="T6" fmla="*/ 21 w 40"/>
                  <a:gd name="T7" fmla="*/ 0 h 71"/>
                  <a:gd name="T8" fmla="*/ 30 w 40"/>
                  <a:gd name="T9" fmla="*/ 0 h 71"/>
                  <a:gd name="T10" fmla="*/ 30 w 40"/>
                  <a:gd name="T11" fmla="*/ 64 h 71"/>
                  <a:gd name="T12" fmla="*/ 40 w 40"/>
                  <a:gd name="T13" fmla="*/ 64 h 71"/>
                  <a:gd name="T14" fmla="*/ 40 w 40"/>
                  <a:gd name="T15" fmla="*/ 71 h 71"/>
                  <a:gd name="T16" fmla="*/ 9 w 40"/>
                  <a:gd name="T17" fmla="*/ 71 h 71"/>
                  <a:gd name="T18" fmla="*/ 9 w 40"/>
                  <a:gd name="T19" fmla="*/ 64 h 71"/>
                  <a:gd name="T20" fmla="*/ 19 w 40"/>
                  <a:gd name="T21" fmla="*/ 64 h 71"/>
                  <a:gd name="T22" fmla="*/ 19 w 40"/>
                  <a:gd name="T23" fmla="*/ 1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1">
                    <a:moveTo>
                      <a:pt x="19" y="12"/>
                    </a:moveTo>
                    <a:lnTo>
                      <a:pt x="4" y="21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1"/>
                    </a:lnTo>
                    <a:lnTo>
                      <a:pt x="9" y="71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81" name="Freeform 139">
                <a:extLst>
                  <a:ext uri="{FF2B5EF4-FFF2-40B4-BE49-F238E27FC236}">
                    <a16:creationId xmlns:a16="http://schemas.microsoft.com/office/drawing/2014/main" id="{B7676CDA-EEA7-8789-97FC-F25C15968E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2225" y="6097480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82" name="Freeform 140">
                <a:extLst>
                  <a:ext uri="{FF2B5EF4-FFF2-40B4-BE49-F238E27FC236}">
                    <a16:creationId xmlns:a16="http://schemas.microsoft.com/office/drawing/2014/main" id="{2899360E-4FB4-41E6-2DB4-A13F8AB97F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2225" y="6286323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83" name="Freeform 141">
                <a:extLst>
                  <a:ext uri="{FF2B5EF4-FFF2-40B4-BE49-F238E27FC236}">
                    <a16:creationId xmlns:a16="http://schemas.microsoft.com/office/drawing/2014/main" id="{2FFAECF3-AF26-5924-A56B-AC939915BD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2225" y="6479698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1 h 73"/>
                  <a:gd name="T4" fmla="*/ 0 w 40"/>
                  <a:gd name="T5" fmla="*/ 12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1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84" name="Freeform 142">
                <a:extLst>
                  <a:ext uri="{FF2B5EF4-FFF2-40B4-BE49-F238E27FC236}">
                    <a16:creationId xmlns:a16="http://schemas.microsoft.com/office/drawing/2014/main" id="{30AFA674-C80C-1879-8F0C-497082DAEF4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91649" y="6668540"/>
                <a:ext cx="75537" cy="110285"/>
              </a:xfrm>
              <a:custGeom>
                <a:avLst/>
                <a:gdLst>
                  <a:gd name="T0" fmla="*/ 21 w 21"/>
                  <a:gd name="T1" fmla="*/ 15 h 31"/>
                  <a:gd name="T2" fmla="*/ 10 w 21"/>
                  <a:gd name="T3" fmla="*/ 31 h 31"/>
                  <a:gd name="T4" fmla="*/ 0 w 21"/>
                  <a:gd name="T5" fmla="*/ 15 h 31"/>
                  <a:gd name="T6" fmla="*/ 10 w 21"/>
                  <a:gd name="T7" fmla="*/ 0 h 31"/>
                  <a:gd name="T8" fmla="*/ 21 w 21"/>
                  <a:gd name="T9" fmla="*/ 15 h 31"/>
                  <a:gd name="T10" fmla="*/ 5 w 21"/>
                  <a:gd name="T11" fmla="*/ 15 h 31"/>
                  <a:gd name="T12" fmla="*/ 10 w 21"/>
                  <a:gd name="T13" fmla="*/ 27 h 31"/>
                  <a:gd name="T14" fmla="*/ 16 w 21"/>
                  <a:gd name="T15" fmla="*/ 15 h 31"/>
                  <a:gd name="T16" fmla="*/ 10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5"/>
                    </a:moveTo>
                    <a:cubicBezTo>
                      <a:pt x="21" y="26"/>
                      <a:pt x="18" y="31"/>
                      <a:pt x="10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5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0" y="27"/>
                    </a:cubicBezTo>
                    <a:cubicBezTo>
                      <a:pt x="14" y="27"/>
                      <a:pt x="16" y="23"/>
                      <a:pt x="16" y="15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85" name="Freeform 143">
                <a:extLst>
                  <a:ext uri="{FF2B5EF4-FFF2-40B4-BE49-F238E27FC236}">
                    <a16:creationId xmlns:a16="http://schemas.microsoft.com/office/drawing/2014/main" id="{A7EE0BBB-BD13-CC42-9E7B-23E57B0C2FF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91649" y="6857383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86" name="Freeform 149">
                <a:extLst>
                  <a:ext uri="{FF2B5EF4-FFF2-40B4-BE49-F238E27FC236}">
                    <a16:creationId xmlns:a16="http://schemas.microsoft.com/office/drawing/2014/main" id="{A020ED8A-AE86-EF66-BC32-B2F8E327B6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4198" y="4787667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87" name="Freeform 150">
                <a:extLst>
                  <a:ext uri="{FF2B5EF4-FFF2-40B4-BE49-F238E27FC236}">
                    <a16:creationId xmlns:a16="http://schemas.microsoft.com/office/drawing/2014/main" id="{8D43F17B-9E18-4EBF-BAAC-DD7153A70F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99092" y="5070175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88" name="Freeform 151">
                <a:extLst>
                  <a:ext uri="{FF2B5EF4-FFF2-40B4-BE49-F238E27FC236}">
                    <a16:creationId xmlns:a16="http://schemas.microsoft.com/office/drawing/2014/main" id="{482293DB-D2D9-7E0F-4DC0-7653354B00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4198" y="5358727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89" name="Freeform 152">
                <a:extLst>
                  <a:ext uri="{FF2B5EF4-FFF2-40B4-BE49-F238E27FC236}">
                    <a16:creationId xmlns:a16="http://schemas.microsoft.com/office/drawing/2014/main" id="{5C675363-4C90-2F45-1B40-365B9C4715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99092" y="5641236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90" name="Freeform 153">
                <a:extLst>
                  <a:ext uri="{FF2B5EF4-FFF2-40B4-BE49-F238E27FC236}">
                    <a16:creationId xmlns:a16="http://schemas.microsoft.com/office/drawing/2014/main" id="{9C20782E-DC20-F382-2381-462C657396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4198" y="5929788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91" name="Freeform 154">
                <a:extLst>
                  <a:ext uri="{FF2B5EF4-FFF2-40B4-BE49-F238E27FC236}">
                    <a16:creationId xmlns:a16="http://schemas.microsoft.com/office/drawing/2014/main" id="{C66A6D8A-BAD9-6D59-20C6-C739771A50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4198" y="6215318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92" name="Freeform 155">
                <a:extLst>
                  <a:ext uri="{FF2B5EF4-FFF2-40B4-BE49-F238E27FC236}">
                    <a16:creationId xmlns:a16="http://schemas.microsoft.com/office/drawing/2014/main" id="{D399DE27-EC3B-3C86-0BC3-CFAEF5855D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4198" y="6500848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7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7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7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7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93" name="Freeform 156">
                <a:extLst>
                  <a:ext uri="{FF2B5EF4-FFF2-40B4-BE49-F238E27FC236}">
                    <a16:creationId xmlns:a16="http://schemas.microsoft.com/office/drawing/2014/main" id="{E4DD5B48-38D9-D05D-4B99-A01ABA04F2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4198" y="6786378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5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7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7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5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7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7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94" name="Line 8">
                <a:extLst>
                  <a:ext uri="{FF2B5EF4-FFF2-40B4-BE49-F238E27FC236}">
                    <a16:creationId xmlns:a16="http://schemas.microsoft.com/office/drawing/2014/main" id="{696856E6-1288-BF33-7F8B-F77459EBB52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049918" y="3678777"/>
                <a:ext cx="0" cy="0"/>
              </a:xfrm>
              <a:prstGeom prst="lin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95" name="Line 9">
                <a:extLst>
                  <a:ext uri="{FF2B5EF4-FFF2-40B4-BE49-F238E27FC236}">
                    <a16:creationId xmlns:a16="http://schemas.microsoft.com/office/drawing/2014/main" id="{6F38E85D-440F-1ED9-4911-F0AD2BC69BB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049918" y="3678777"/>
                <a:ext cx="0" cy="0"/>
              </a:xfrm>
              <a:prstGeom prst="lin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96" name="Freeform 10">
                <a:extLst>
                  <a:ext uri="{FF2B5EF4-FFF2-40B4-BE49-F238E27FC236}">
                    <a16:creationId xmlns:a16="http://schemas.microsoft.com/office/drawing/2014/main" id="{DA6F2196-E612-FD42-1EA9-AADBCB5591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83099" y="4749893"/>
                <a:ext cx="99709" cy="157117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8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7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7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8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7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7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97" name="Freeform 11">
                <a:extLst>
                  <a:ext uri="{FF2B5EF4-FFF2-40B4-BE49-F238E27FC236}">
                    <a16:creationId xmlns:a16="http://schemas.microsoft.com/office/drawing/2014/main" id="{30F0E59C-BB37-E8E5-8AB7-93864174324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75545" y="5017295"/>
                <a:ext cx="120859" cy="164671"/>
              </a:xfrm>
              <a:custGeom>
                <a:avLst/>
                <a:gdLst>
                  <a:gd name="T0" fmla="*/ 32 w 34"/>
                  <a:gd name="T1" fmla="*/ 8 h 46"/>
                  <a:gd name="T2" fmla="*/ 34 w 34"/>
                  <a:gd name="T3" fmla="*/ 23 h 46"/>
                  <a:gd name="T4" fmla="*/ 31 w 34"/>
                  <a:gd name="T5" fmla="*/ 39 h 46"/>
                  <a:gd name="T6" fmla="*/ 17 w 34"/>
                  <a:gd name="T7" fmla="*/ 46 h 46"/>
                  <a:gd name="T8" fmla="*/ 3 w 34"/>
                  <a:gd name="T9" fmla="*/ 37 h 46"/>
                  <a:gd name="T10" fmla="*/ 0 w 34"/>
                  <a:gd name="T11" fmla="*/ 23 h 46"/>
                  <a:gd name="T12" fmla="*/ 17 w 34"/>
                  <a:gd name="T13" fmla="*/ 0 h 46"/>
                  <a:gd name="T14" fmla="*/ 32 w 34"/>
                  <a:gd name="T15" fmla="*/ 8 h 46"/>
                  <a:gd name="T16" fmla="*/ 10 w 34"/>
                  <a:gd name="T17" fmla="*/ 23 h 46"/>
                  <a:gd name="T18" fmla="*/ 17 w 34"/>
                  <a:gd name="T19" fmla="*/ 38 h 46"/>
                  <a:gd name="T20" fmla="*/ 25 w 34"/>
                  <a:gd name="T21" fmla="*/ 23 h 46"/>
                  <a:gd name="T22" fmla="*/ 17 w 34"/>
                  <a:gd name="T23" fmla="*/ 8 h 46"/>
                  <a:gd name="T24" fmla="*/ 10 w 34"/>
                  <a:gd name="T25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46">
                    <a:moveTo>
                      <a:pt x="32" y="8"/>
                    </a:moveTo>
                    <a:cubicBezTo>
                      <a:pt x="34" y="12"/>
                      <a:pt x="34" y="16"/>
                      <a:pt x="34" y="23"/>
                    </a:cubicBezTo>
                    <a:cubicBezTo>
                      <a:pt x="34" y="31"/>
                      <a:pt x="33" y="36"/>
                      <a:pt x="31" y="39"/>
                    </a:cubicBezTo>
                    <a:cubicBezTo>
                      <a:pt x="28" y="43"/>
                      <a:pt x="23" y="46"/>
                      <a:pt x="17" y="46"/>
                    </a:cubicBezTo>
                    <a:cubicBezTo>
                      <a:pt x="11" y="46"/>
                      <a:pt x="6" y="43"/>
                      <a:pt x="3" y="37"/>
                    </a:cubicBezTo>
                    <a:cubicBezTo>
                      <a:pt x="1" y="34"/>
                      <a:pt x="0" y="29"/>
                      <a:pt x="0" y="23"/>
                    </a:cubicBezTo>
                    <a:cubicBezTo>
                      <a:pt x="0" y="8"/>
                      <a:pt x="6" y="0"/>
                      <a:pt x="17" y="0"/>
                    </a:cubicBezTo>
                    <a:cubicBezTo>
                      <a:pt x="24" y="0"/>
                      <a:pt x="29" y="3"/>
                      <a:pt x="32" y="8"/>
                    </a:cubicBezTo>
                    <a:close/>
                    <a:moveTo>
                      <a:pt x="10" y="23"/>
                    </a:moveTo>
                    <a:cubicBezTo>
                      <a:pt x="10" y="33"/>
                      <a:pt x="12" y="38"/>
                      <a:pt x="17" y="38"/>
                    </a:cubicBezTo>
                    <a:cubicBezTo>
                      <a:pt x="22" y="38"/>
                      <a:pt x="25" y="33"/>
                      <a:pt x="25" y="23"/>
                    </a:cubicBezTo>
                    <a:cubicBezTo>
                      <a:pt x="25" y="13"/>
                      <a:pt x="22" y="8"/>
                      <a:pt x="17" y="8"/>
                    </a:cubicBezTo>
                    <a:cubicBezTo>
                      <a:pt x="12" y="8"/>
                      <a:pt x="10" y="13"/>
                      <a:pt x="10" y="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98" name="Freeform 12">
                <a:extLst>
                  <a:ext uri="{FF2B5EF4-FFF2-40B4-BE49-F238E27FC236}">
                    <a16:creationId xmlns:a16="http://schemas.microsoft.com/office/drawing/2014/main" id="{922A74C5-B005-300D-5B09-961A621D0D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83099" y="5292250"/>
                <a:ext cx="99709" cy="157117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6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7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7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6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7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7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99" name="Freeform 13">
                <a:extLst>
                  <a:ext uri="{FF2B5EF4-FFF2-40B4-BE49-F238E27FC236}">
                    <a16:creationId xmlns:a16="http://schemas.microsoft.com/office/drawing/2014/main" id="{59F25142-D7C9-1AA9-5237-12B12DD4EB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83099" y="5564184"/>
                <a:ext cx="99709" cy="157117"/>
              </a:xfrm>
              <a:custGeom>
                <a:avLst/>
                <a:gdLst>
                  <a:gd name="T0" fmla="*/ 30 w 66"/>
                  <a:gd name="T1" fmla="*/ 23 h 104"/>
                  <a:gd name="T2" fmla="*/ 9 w 66"/>
                  <a:gd name="T3" fmla="*/ 35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5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5 h 104"/>
                  <a:gd name="T22" fmla="*/ 30 w 66"/>
                  <a:gd name="T23" fmla="*/ 2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3"/>
                    </a:moveTo>
                    <a:lnTo>
                      <a:pt x="9" y="35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5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5"/>
                    </a:lnTo>
                    <a:lnTo>
                      <a:pt x="30" y="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00" name="Freeform 14">
                <a:extLst>
                  <a:ext uri="{FF2B5EF4-FFF2-40B4-BE49-F238E27FC236}">
                    <a16:creationId xmlns:a16="http://schemas.microsoft.com/office/drawing/2014/main" id="{52C75280-77A3-9C15-DBB9-1E1740C52B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83099" y="5834606"/>
                <a:ext cx="99709" cy="157117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6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5 h 104"/>
                  <a:gd name="T12" fmla="*/ 66 w 66"/>
                  <a:gd name="T13" fmla="*/ 88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8 h 104"/>
                  <a:gd name="T20" fmla="*/ 30 w 66"/>
                  <a:gd name="T21" fmla="*/ 85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6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5"/>
                    </a:lnTo>
                    <a:lnTo>
                      <a:pt x="66" y="88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8"/>
                    </a:lnTo>
                    <a:lnTo>
                      <a:pt x="30" y="85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01" name="Freeform 15">
                <a:extLst>
                  <a:ext uri="{FF2B5EF4-FFF2-40B4-BE49-F238E27FC236}">
                    <a16:creationId xmlns:a16="http://schemas.microsoft.com/office/drawing/2014/main" id="{3D7E332C-400C-CC16-D7F0-3C70E03957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83099" y="6106539"/>
                <a:ext cx="99709" cy="152585"/>
              </a:xfrm>
              <a:custGeom>
                <a:avLst/>
                <a:gdLst>
                  <a:gd name="T0" fmla="*/ 30 w 66"/>
                  <a:gd name="T1" fmla="*/ 23 h 101"/>
                  <a:gd name="T2" fmla="*/ 9 w 66"/>
                  <a:gd name="T3" fmla="*/ 35 h 101"/>
                  <a:gd name="T4" fmla="*/ 0 w 66"/>
                  <a:gd name="T5" fmla="*/ 19 h 101"/>
                  <a:gd name="T6" fmla="*/ 33 w 66"/>
                  <a:gd name="T7" fmla="*/ 0 h 101"/>
                  <a:gd name="T8" fmla="*/ 52 w 66"/>
                  <a:gd name="T9" fmla="*/ 0 h 101"/>
                  <a:gd name="T10" fmla="*/ 52 w 66"/>
                  <a:gd name="T11" fmla="*/ 85 h 101"/>
                  <a:gd name="T12" fmla="*/ 66 w 66"/>
                  <a:gd name="T13" fmla="*/ 85 h 101"/>
                  <a:gd name="T14" fmla="*/ 66 w 66"/>
                  <a:gd name="T15" fmla="*/ 101 h 101"/>
                  <a:gd name="T16" fmla="*/ 16 w 66"/>
                  <a:gd name="T17" fmla="*/ 101 h 101"/>
                  <a:gd name="T18" fmla="*/ 16 w 66"/>
                  <a:gd name="T19" fmla="*/ 85 h 101"/>
                  <a:gd name="T20" fmla="*/ 30 w 66"/>
                  <a:gd name="T21" fmla="*/ 85 h 101"/>
                  <a:gd name="T22" fmla="*/ 30 w 66"/>
                  <a:gd name="T23" fmla="*/ 23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1">
                    <a:moveTo>
                      <a:pt x="30" y="23"/>
                    </a:moveTo>
                    <a:lnTo>
                      <a:pt x="9" y="35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5"/>
                    </a:lnTo>
                    <a:lnTo>
                      <a:pt x="66" y="85"/>
                    </a:lnTo>
                    <a:lnTo>
                      <a:pt x="66" y="101"/>
                    </a:lnTo>
                    <a:lnTo>
                      <a:pt x="16" y="101"/>
                    </a:lnTo>
                    <a:lnTo>
                      <a:pt x="16" y="85"/>
                    </a:lnTo>
                    <a:lnTo>
                      <a:pt x="30" y="85"/>
                    </a:lnTo>
                    <a:lnTo>
                      <a:pt x="30" y="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02" name="Freeform 16">
                <a:extLst>
                  <a:ext uri="{FF2B5EF4-FFF2-40B4-BE49-F238E27FC236}">
                    <a16:creationId xmlns:a16="http://schemas.microsoft.com/office/drawing/2014/main" id="{A476E970-6CB1-B579-A756-6D9154E88FB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75545" y="6644364"/>
                <a:ext cx="120859" cy="161650"/>
              </a:xfrm>
              <a:custGeom>
                <a:avLst/>
                <a:gdLst>
                  <a:gd name="T0" fmla="*/ 32 w 34"/>
                  <a:gd name="T1" fmla="*/ 8 h 45"/>
                  <a:gd name="T2" fmla="*/ 34 w 34"/>
                  <a:gd name="T3" fmla="*/ 22 h 45"/>
                  <a:gd name="T4" fmla="*/ 31 w 34"/>
                  <a:gd name="T5" fmla="*/ 39 h 45"/>
                  <a:gd name="T6" fmla="*/ 17 w 34"/>
                  <a:gd name="T7" fmla="*/ 45 h 45"/>
                  <a:gd name="T8" fmla="*/ 3 w 34"/>
                  <a:gd name="T9" fmla="*/ 37 h 45"/>
                  <a:gd name="T10" fmla="*/ 0 w 34"/>
                  <a:gd name="T11" fmla="*/ 22 h 45"/>
                  <a:gd name="T12" fmla="*/ 17 w 34"/>
                  <a:gd name="T13" fmla="*/ 0 h 45"/>
                  <a:gd name="T14" fmla="*/ 32 w 34"/>
                  <a:gd name="T15" fmla="*/ 8 h 45"/>
                  <a:gd name="T16" fmla="*/ 10 w 34"/>
                  <a:gd name="T17" fmla="*/ 22 h 45"/>
                  <a:gd name="T18" fmla="*/ 17 w 34"/>
                  <a:gd name="T19" fmla="*/ 37 h 45"/>
                  <a:gd name="T20" fmla="*/ 25 w 34"/>
                  <a:gd name="T21" fmla="*/ 22 h 45"/>
                  <a:gd name="T22" fmla="*/ 17 w 34"/>
                  <a:gd name="T23" fmla="*/ 7 h 45"/>
                  <a:gd name="T24" fmla="*/ 10 w 34"/>
                  <a:gd name="T25" fmla="*/ 2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45">
                    <a:moveTo>
                      <a:pt x="32" y="8"/>
                    </a:moveTo>
                    <a:cubicBezTo>
                      <a:pt x="34" y="11"/>
                      <a:pt x="34" y="16"/>
                      <a:pt x="34" y="22"/>
                    </a:cubicBezTo>
                    <a:cubicBezTo>
                      <a:pt x="34" y="30"/>
                      <a:pt x="33" y="35"/>
                      <a:pt x="31" y="39"/>
                    </a:cubicBezTo>
                    <a:cubicBezTo>
                      <a:pt x="28" y="43"/>
                      <a:pt x="23" y="45"/>
                      <a:pt x="17" y="45"/>
                    </a:cubicBezTo>
                    <a:cubicBezTo>
                      <a:pt x="11" y="45"/>
                      <a:pt x="6" y="42"/>
                      <a:pt x="3" y="37"/>
                    </a:cubicBezTo>
                    <a:cubicBezTo>
                      <a:pt x="1" y="33"/>
                      <a:pt x="0" y="29"/>
                      <a:pt x="0" y="22"/>
                    </a:cubicBezTo>
                    <a:cubicBezTo>
                      <a:pt x="0" y="7"/>
                      <a:pt x="6" y="0"/>
                      <a:pt x="17" y="0"/>
                    </a:cubicBezTo>
                    <a:cubicBezTo>
                      <a:pt x="24" y="0"/>
                      <a:pt x="29" y="2"/>
                      <a:pt x="32" y="8"/>
                    </a:cubicBezTo>
                    <a:close/>
                    <a:moveTo>
                      <a:pt x="10" y="22"/>
                    </a:moveTo>
                    <a:cubicBezTo>
                      <a:pt x="10" y="33"/>
                      <a:pt x="12" y="37"/>
                      <a:pt x="17" y="37"/>
                    </a:cubicBezTo>
                    <a:cubicBezTo>
                      <a:pt x="22" y="37"/>
                      <a:pt x="25" y="33"/>
                      <a:pt x="25" y="22"/>
                    </a:cubicBezTo>
                    <a:cubicBezTo>
                      <a:pt x="25" y="12"/>
                      <a:pt x="22" y="7"/>
                      <a:pt x="17" y="7"/>
                    </a:cubicBezTo>
                    <a:cubicBezTo>
                      <a:pt x="12" y="7"/>
                      <a:pt x="10" y="12"/>
                      <a:pt x="10" y="2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03" name="Freeform 17">
                <a:extLst>
                  <a:ext uri="{FF2B5EF4-FFF2-40B4-BE49-F238E27FC236}">
                    <a16:creationId xmlns:a16="http://schemas.microsoft.com/office/drawing/2014/main" id="{D8FE48DE-7D67-7F11-F151-B1D95C8E839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75545" y="6916297"/>
                <a:ext cx="120859" cy="160139"/>
              </a:xfrm>
              <a:custGeom>
                <a:avLst/>
                <a:gdLst>
                  <a:gd name="T0" fmla="*/ 32 w 34"/>
                  <a:gd name="T1" fmla="*/ 8 h 45"/>
                  <a:gd name="T2" fmla="*/ 34 w 34"/>
                  <a:gd name="T3" fmla="*/ 22 h 45"/>
                  <a:gd name="T4" fmla="*/ 31 w 34"/>
                  <a:gd name="T5" fmla="*/ 39 h 45"/>
                  <a:gd name="T6" fmla="*/ 17 w 34"/>
                  <a:gd name="T7" fmla="*/ 45 h 45"/>
                  <a:gd name="T8" fmla="*/ 3 w 34"/>
                  <a:gd name="T9" fmla="*/ 37 h 45"/>
                  <a:gd name="T10" fmla="*/ 0 w 34"/>
                  <a:gd name="T11" fmla="*/ 22 h 45"/>
                  <a:gd name="T12" fmla="*/ 17 w 34"/>
                  <a:gd name="T13" fmla="*/ 0 h 45"/>
                  <a:gd name="T14" fmla="*/ 32 w 34"/>
                  <a:gd name="T15" fmla="*/ 8 h 45"/>
                  <a:gd name="T16" fmla="*/ 10 w 34"/>
                  <a:gd name="T17" fmla="*/ 22 h 45"/>
                  <a:gd name="T18" fmla="*/ 17 w 34"/>
                  <a:gd name="T19" fmla="*/ 37 h 45"/>
                  <a:gd name="T20" fmla="*/ 25 w 34"/>
                  <a:gd name="T21" fmla="*/ 22 h 45"/>
                  <a:gd name="T22" fmla="*/ 17 w 34"/>
                  <a:gd name="T23" fmla="*/ 7 h 45"/>
                  <a:gd name="T24" fmla="*/ 10 w 34"/>
                  <a:gd name="T25" fmla="*/ 2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45">
                    <a:moveTo>
                      <a:pt x="32" y="8"/>
                    </a:moveTo>
                    <a:cubicBezTo>
                      <a:pt x="34" y="11"/>
                      <a:pt x="34" y="16"/>
                      <a:pt x="34" y="22"/>
                    </a:cubicBezTo>
                    <a:cubicBezTo>
                      <a:pt x="34" y="30"/>
                      <a:pt x="33" y="35"/>
                      <a:pt x="31" y="39"/>
                    </a:cubicBezTo>
                    <a:cubicBezTo>
                      <a:pt x="28" y="43"/>
                      <a:pt x="23" y="45"/>
                      <a:pt x="17" y="45"/>
                    </a:cubicBezTo>
                    <a:cubicBezTo>
                      <a:pt x="11" y="45"/>
                      <a:pt x="6" y="42"/>
                      <a:pt x="3" y="37"/>
                    </a:cubicBezTo>
                    <a:cubicBezTo>
                      <a:pt x="1" y="33"/>
                      <a:pt x="0" y="29"/>
                      <a:pt x="0" y="22"/>
                    </a:cubicBezTo>
                    <a:cubicBezTo>
                      <a:pt x="0" y="7"/>
                      <a:pt x="6" y="0"/>
                      <a:pt x="17" y="0"/>
                    </a:cubicBezTo>
                    <a:cubicBezTo>
                      <a:pt x="24" y="0"/>
                      <a:pt x="29" y="2"/>
                      <a:pt x="32" y="8"/>
                    </a:cubicBezTo>
                    <a:close/>
                    <a:moveTo>
                      <a:pt x="10" y="22"/>
                    </a:moveTo>
                    <a:cubicBezTo>
                      <a:pt x="10" y="33"/>
                      <a:pt x="12" y="37"/>
                      <a:pt x="17" y="37"/>
                    </a:cubicBezTo>
                    <a:cubicBezTo>
                      <a:pt x="22" y="37"/>
                      <a:pt x="25" y="33"/>
                      <a:pt x="25" y="22"/>
                    </a:cubicBezTo>
                    <a:cubicBezTo>
                      <a:pt x="25" y="12"/>
                      <a:pt x="22" y="7"/>
                      <a:pt x="17" y="7"/>
                    </a:cubicBezTo>
                    <a:cubicBezTo>
                      <a:pt x="12" y="7"/>
                      <a:pt x="10" y="12"/>
                      <a:pt x="10" y="2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04" name="Freeform 23">
                <a:extLst>
                  <a:ext uri="{FF2B5EF4-FFF2-40B4-BE49-F238E27FC236}">
                    <a16:creationId xmlns:a16="http://schemas.microsoft.com/office/drawing/2014/main" id="{1E54418C-97E7-1CF8-2D06-6F6223C70BA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00590" y="4029270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8 h 32"/>
                  <a:gd name="T14" fmla="*/ 16 w 21"/>
                  <a:gd name="T15" fmla="*/ 16 h 32"/>
                  <a:gd name="T16" fmla="*/ 11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1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1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05" name="Freeform 24">
                <a:extLst>
                  <a:ext uri="{FF2B5EF4-FFF2-40B4-BE49-F238E27FC236}">
                    <a16:creationId xmlns:a16="http://schemas.microsoft.com/office/drawing/2014/main" id="{63C9F86F-182C-D0EB-9030-421273B70E2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00590" y="4221133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5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06" name="Freeform 25">
                <a:extLst>
                  <a:ext uri="{FF2B5EF4-FFF2-40B4-BE49-F238E27FC236}">
                    <a16:creationId xmlns:a16="http://schemas.microsoft.com/office/drawing/2014/main" id="{0C951DD0-35DA-3615-9F99-FE7FA87DEC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3612" y="4603352"/>
                <a:ext cx="64962" cy="11028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2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2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07" name="Freeform 26">
                <a:extLst>
                  <a:ext uri="{FF2B5EF4-FFF2-40B4-BE49-F238E27FC236}">
                    <a16:creationId xmlns:a16="http://schemas.microsoft.com/office/drawing/2014/main" id="{FD400E0B-6A98-43F2-0C50-85F12EA7949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00590" y="4792194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6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08" name="Freeform 27">
                <a:extLst>
                  <a:ext uri="{FF2B5EF4-FFF2-40B4-BE49-F238E27FC236}">
                    <a16:creationId xmlns:a16="http://schemas.microsoft.com/office/drawing/2014/main" id="{69D38021-A46D-C509-EF43-4B2B34005AF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00590" y="4982547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7 h 32"/>
                  <a:gd name="T14" fmla="*/ 16 w 21"/>
                  <a:gd name="T15" fmla="*/ 16 h 32"/>
                  <a:gd name="T16" fmla="*/ 11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1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09" name="Freeform 28">
                <a:extLst>
                  <a:ext uri="{FF2B5EF4-FFF2-40B4-BE49-F238E27FC236}">
                    <a16:creationId xmlns:a16="http://schemas.microsoft.com/office/drawing/2014/main" id="{1DC477F2-21F2-04AA-BE37-4C993B90E8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3612" y="5363254"/>
                <a:ext cx="64962" cy="111795"/>
              </a:xfrm>
              <a:custGeom>
                <a:avLst/>
                <a:gdLst>
                  <a:gd name="T0" fmla="*/ 19 w 43"/>
                  <a:gd name="T1" fmla="*/ 14 h 74"/>
                  <a:gd name="T2" fmla="*/ 5 w 43"/>
                  <a:gd name="T3" fmla="*/ 24 h 74"/>
                  <a:gd name="T4" fmla="*/ 0 w 43"/>
                  <a:gd name="T5" fmla="*/ 14 h 74"/>
                  <a:gd name="T6" fmla="*/ 22 w 43"/>
                  <a:gd name="T7" fmla="*/ 0 h 74"/>
                  <a:gd name="T8" fmla="*/ 34 w 43"/>
                  <a:gd name="T9" fmla="*/ 0 h 74"/>
                  <a:gd name="T10" fmla="*/ 34 w 43"/>
                  <a:gd name="T11" fmla="*/ 64 h 74"/>
                  <a:gd name="T12" fmla="*/ 43 w 43"/>
                  <a:gd name="T13" fmla="*/ 64 h 74"/>
                  <a:gd name="T14" fmla="*/ 43 w 43"/>
                  <a:gd name="T15" fmla="*/ 74 h 74"/>
                  <a:gd name="T16" fmla="*/ 10 w 43"/>
                  <a:gd name="T17" fmla="*/ 74 h 74"/>
                  <a:gd name="T18" fmla="*/ 10 w 43"/>
                  <a:gd name="T19" fmla="*/ 64 h 74"/>
                  <a:gd name="T20" fmla="*/ 19 w 43"/>
                  <a:gd name="T21" fmla="*/ 64 h 74"/>
                  <a:gd name="T22" fmla="*/ 19 w 43"/>
                  <a:gd name="T23" fmla="*/ 1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4">
                    <a:moveTo>
                      <a:pt x="19" y="14"/>
                    </a:moveTo>
                    <a:lnTo>
                      <a:pt x="5" y="24"/>
                    </a:lnTo>
                    <a:lnTo>
                      <a:pt x="0" y="14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4"/>
                    </a:lnTo>
                    <a:lnTo>
                      <a:pt x="10" y="74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10" name="Freeform 29">
                <a:extLst>
                  <a:ext uri="{FF2B5EF4-FFF2-40B4-BE49-F238E27FC236}">
                    <a16:creationId xmlns:a16="http://schemas.microsoft.com/office/drawing/2014/main" id="{17D073CC-5389-20FF-A638-293AC84346A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00590" y="5553608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8 h 32"/>
                  <a:gd name="T14" fmla="*/ 16 w 21"/>
                  <a:gd name="T15" fmla="*/ 16 h 32"/>
                  <a:gd name="T16" fmla="*/ 11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1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1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11" name="Freeform 30">
                <a:extLst>
                  <a:ext uri="{FF2B5EF4-FFF2-40B4-BE49-F238E27FC236}">
                    <a16:creationId xmlns:a16="http://schemas.microsoft.com/office/drawing/2014/main" id="{613097A2-28C2-563F-E8B5-7EDDBBFEB9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3612" y="5745473"/>
                <a:ext cx="64962" cy="11028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4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4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12" name="Freeform 31">
                <a:extLst>
                  <a:ext uri="{FF2B5EF4-FFF2-40B4-BE49-F238E27FC236}">
                    <a16:creationId xmlns:a16="http://schemas.microsoft.com/office/drawing/2014/main" id="{DFB66585-D2A3-0402-477B-3BEA5BB265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00590" y="5934315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7 h 32"/>
                  <a:gd name="T14" fmla="*/ 16 w 21"/>
                  <a:gd name="T15" fmla="*/ 16 h 32"/>
                  <a:gd name="T16" fmla="*/ 11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1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13" name="Freeform 32">
                <a:extLst>
                  <a:ext uri="{FF2B5EF4-FFF2-40B4-BE49-F238E27FC236}">
                    <a16:creationId xmlns:a16="http://schemas.microsoft.com/office/drawing/2014/main" id="{FFE626E1-E600-B457-24D6-D3B94A7BB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3612" y="6127690"/>
                <a:ext cx="64962" cy="107263"/>
              </a:xfrm>
              <a:custGeom>
                <a:avLst/>
                <a:gdLst>
                  <a:gd name="T0" fmla="*/ 19 w 43"/>
                  <a:gd name="T1" fmla="*/ 12 h 71"/>
                  <a:gd name="T2" fmla="*/ 5 w 43"/>
                  <a:gd name="T3" fmla="*/ 21 h 71"/>
                  <a:gd name="T4" fmla="*/ 0 w 43"/>
                  <a:gd name="T5" fmla="*/ 12 h 71"/>
                  <a:gd name="T6" fmla="*/ 22 w 43"/>
                  <a:gd name="T7" fmla="*/ 0 h 71"/>
                  <a:gd name="T8" fmla="*/ 34 w 43"/>
                  <a:gd name="T9" fmla="*/ 0 h 71"/>
                  <a:gd name="T10" fmla="*/ 34 w 43"/>
                  <a:gd name="T11" fmla="*/ 64 h 71"/>
                  <a:gd name="T12" fmla="*/ 43 w 43"/>
                  <a:gd name="T13" fmla="*/ 64 h 71"/>
                  <a:gd name="T14" fmla="*/ 43 w 43"/>
                  <a:gd name="T15" fmla="*/ 71 h 71"/>
                  <a:gd name="T16" fmla="*/ 10 w 43"/>
                  <a:gd name="T17" fmla="*/ 71 h 71"/>
                  <a:gd name="T18" fmla="*/ 10 w 43"/>
                  <a:gd name="T19" fmla="*/ 64 h 71"/>
                  <a:gd name="T20" fmla="*/ 19 w 43"/>
                  <a:gd name="T21" fmla="*/ 64 h 71"/>
                  <a:gd name="T22" fmla="*/ 19 w 43"/>
                  <a:gd name="T23" fmla="*/ 1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1">
                    <a:moveTo>
                      <a:pt x="19" y="12"/>
                    </a:moveTo>
                    <a:lnTo>
                      <a:pt x="5" y="21"/>
                    </a:lnTo>
                    <a:lnTo>
                      <a:pt x="0" y="12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1"/>
                    </a:lnTo>
                    <a:lnTo>
                      <a:pt x="10" y="71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14" name="Freeform 33">
                <a:extLst>
                  <a:ext uri="{FF2B5EF4-FFF2-40B4-BE49-F238E27FC236}">
                    <a16:creationId xmlns:a16="http://schemas.microsoft.com/office/drawing/2014/main" id="{14351863-DD66-A270-CF7F-00537C416B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3612" y="6316533"/>
                <a:ext cx="64962" cy="11028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4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4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15" name="Freeform 34">
                <a:extLst>
                  <a:ext uri="{FF2B5EF4-FFF2-40B4-BE49-F238E27FC236}">
                    <a16:creationId xmlns:a16="http://schemas.microsoft.com/office/drawing/2014/main" id="{90D30BEB-4624-054D-B54C-B2153FA11B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3612" y="6505375"/>
                <a:ext cx="64962" cy="11028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4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4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16" name="Freeform 43">
                <a:extLst>
                  <a:ext uri="{FF2B5EF4-FFF2-40B4-BE49-F238E27FC236}">
                    <a16:creationId xmlns:a16="http://schemas.microsoft.com/office/drawing/2014/main" id="{11684478-A552-5D71-E4CC-C564E5CD96A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2468" y="4228688"/>
                <a:ext cx="63451" cy="9366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5" y="0"/>
                      <a:pt x="18" y="5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17" name="Freeform 44">
                <a:extLst>
                  <a:ext uri="{FF2B5EF4-FFF2-40B4-BE49-F238E27FC236}">
                    <a16:creationId xmlns:a16="http://schemas.microsoft.com/office/drawing/2014/main" id="{98F776C5-E088-D3CB-9AE4-FD94A341B02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2468" y="4382783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1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18" name="Freeform 45">
                <a:extLst>
                  <a:ext uri="{FF2B5EF4-FFF2-40B4-BE49-F238E27FC236}">
                    <a16:creationId xmlns:a16="http://schemas.microsoft.com/office/drawing/2014/main" id="{1430F63B-4017-26A2-AED2-9C5A923221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5490" y="4689463"/>
                <a:ext cx="49855" cy="89134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49 h 59"/>
                  <a:gd name="T20" fmla="*/ 17 w 33"/>
                  <a:gd name="T21" fmla="*/ 49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19" name="Freeform 46">
                <a:extLst>
                  <a:ext uri="{FF2B5EF4-FFF2-40B4-BE49-F238E27FC236}">
                    <a16:creationId xmlns:a16="http://schemas.microsoft.com/office/drawing/2014/main" id="{A601FDB2-D97B-CA73-C270-EAA2F7A7B2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2468" y="4839027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20" name="Freeform 47">
                <a:extLst>
                  <a:ext uri="{FF2B5EF4-FFF2-40B4-BE49-F238E27FC236}">
                    <a16:creationId xmlns:a16="http://schemas.microsoft.com/office/drawing/2014/main" id="{4470A2AE-BD3B-1458-D5B8-860E5A5197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2468" y="4993123"/>
                <a:ext cx="63451" cy="89134"/>
              </a:xfrm>
              <a:custGeom>
                <a:avLst/>
                <a:gdLst>
                  <a:gd name="T0" fmla="*/ 18 w 18"/>
                  <a:gd name="T1" fmla="*/ 13 h 25"/>
                  <a:gd name="T2" fmla="*/ 9 w 18"/>
                  <a:gd name="T3" fmla="*/ 25 h 25"/>
                  <a:gd name="T4" fmla="*/ 0 w 18"/>
                  <a:gd name="T5" fmla="*/ 12 h 25"/>
                  <a:gd name="T6" fmla="*/ 9 w 18"/>
                  <a:gd name="T7" fmla="*/ 0 h 25"/>
                  <a:gd name="T8" fmla="*/ 18 w 18"/>
                  <a:gd name="T9" fmla="*/ 13 h 25"/>
                  <a:gd name="T10" fmla="*/ 5 w 18"/>
                  <a:gd name="T11" fmla="*/ 12 h 25"/>
                  <a:gd name="T12" fmla="*/ 9 w 18"/>
                  <a:gd name="T13" fmla="*/ 22 h 25"/>
                  <a:gd name="T14" fmla="*/ 13 w 18"/>
                  <a:gd name="T15" fmla="*/ 13 h 25"/>
                  <a:gd name="T16" fmla="*/ 9 w 18"/>
                  <a:gd name="T17" fmla="*/ 3 h 25"/>
                  <a:gd name="T18" fmla="*/ 5 w 18"/>
                  <a:gd name="T1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5">
                    <a:moveTo>
                      <a:pt x="18" y="13"/>
                    </a:moveTo>
                    <a:cubicBezTo>
                      <a:pt x="18" y="21"/>
                      <a:pt x="15" y="25"/>
                      <a:pt x="9" y="25"/>
                    </a:cubicBezTo>
                    <a:cubicBezTo>
                      <a:pt x="3" y="25"/>
                      <a:pt x="0" y="21"/>
                      <a:pt x="0" y="12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2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6"/>
                      <a:pt x="12" y="3"/>
                      <a:pt x="9" y="3"/>
                    </a:cubicBezTo>
                    <a:cubicBezTo>
                      <a:pt x="6" y="3"/>
                      <a:pt x="5" y="6"/>
                      <a:pt x="5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21" name="Freeform 48">
                <a:extLst>
                  <a:ext uri="{FF2B5EF4-FFF2-40B4-BE49-F238E27FC236}">
                    <a16:creationId xmlns:a16="http://schemas.microsoft.com/office/drawing/2014/main" id="{E1ABDF0C-BB35-3734-6C16-A4D55291B7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5490" y="5299803"/>
                <a:ext cx="49855" cy="84602"/>
              </a:xfrm>
              <a:custGeom>
                <a:avLst/>
                <a:gdLst>
                  <a:gd name="T0" fmla="*/ 17 w 33"/>
                  <a:gd name="T1" fmla="*/ 9 h 56"/>
                  <a:gd name="T2" fmla="*/ 5 w 33"/>
                  <a:gd name="T3" fmla="*/ 16 h 56"/>
                  <a:gd name="T4" fmla="*/ 0 w 33"/>
                  <a:gd name="T5" fmla="*/ 9 h 56"/>
                  <a:gd name="T6" fmla="*/ 19 w 33"/>
                  <a:gd name="T7" fmla="*/ 0 h 56"/>
                  <a:gd name="T8" fmla="*/ 26 w 33"/>
                  <a:gd name="T9" fmla="*/ 0 h 56"/>
                  <a:gd name="T10" fmla="*/ 26 w 33"/>
                  <a:gd name="T11" fmla="*/ 49 h 56"/>
                  <a:gd name="T12" fmla="*/ 33 w 33"/>
                  <a:gd name="T13" fmla="*/ 49 h 56"/>
                  <a:gd name="T14" fmla="*/ 33 w 33"/>
                  <a:gd name="T15" fmla="*/ 56 h 56"/>
                  <a:gd name="T16" fmla="*/ 10 w 33"/>
                  <a:gd name="T17" fmla="*/ 56 h 56"/>
                  <a:gd name="T18" fmla="*/ 10 w 33"/>
                  <a:gd name="T19" fmla="*/ 49 h 56"/>
                  <a:gd name="T20" fmla="*/ 17 w 33"/>
                  <a:gd name="T21" fmla="*/ 49 h 56"/>
                  <a:gd name="T22" fmla="*/ 17 w 33"/>
                  <a:gd name="T23" fmla="*/ 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6">
                    <a:moveTo>
                      <a:pt x="17" y="9"/>
                    </a:moveTo>
                    <a:lnTo>
                      <a:pt x="5" y="16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6"/>
                    </a:lnTo>
                    <a:lnTo>
                      <a:pt x="10" y="56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22" name="Freeform 49">
                <a:extLst>
                  <a:ext uri="{FF2B5EF4-FFF2-40B4-BE49-F238E27FC236}">
                    <a16:creationId xmlns:a16="http://schemas.microsoft.com/office/drawing/2014/main" id="{A3160965-E55D-3B42-9737-94729A5FA37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2468" y="5449367"/>
                <a:ext cx="63451" cy="89134"/>
              </a:xfrm>
              <a:custGeom>
                <a:avLst/>
                <a:gdLst>
                  <a:gd name="T0" fmla="*/ 18 w 18"/>
                  <a:gd name="T1" fmla="*/ 13 h 25"/>
                  <a:gd name="T2" fmla="*/ 9 w 18"/>
                  <a:gd name="T3" fmla="*/ 25 h 25"/>
                  <a:gd name="T4" fmla="*/ 0 w 18"/>
                  <a:gd name="T5" fmla="*/ 13 h 25"/>
                  <a:gd name="T6" fmla="*/ 9 w 18"/>
                  <a:gd name="T7" fmla="*/ 0 h 25"/>
                  <a:gd name="T8" fmla="*/ 18 w 18"/>
                  <a:gd name="T9" fmla="*/ 13 h 25"/>
                  <a:gd name="T10" fmla="*/ 5 w 18"/>
                  <a:gd name="T11" fmla="*/ 13 h 25"/>
                  <a:gd name="T12" fmla="*/ 9 w 18"/>
                  <a:gd name="T13" fmla="*/ 22 h 25"/>
                  <a:gd name="T14" fmla="*/ 13 w 18"/>
                  <a:gd name="T15" fmla="*/ 13 h 25"/>
                  <a:gd name="T16" fmla="*/ 9 w 18"/>
                  <a:gd name="T17" fmla="*/ 3 h 25"/>
                  <a:gd name="T18" fmla="*/ 5 w 18"/>
                  <a:gd name="T19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5">
                    <a:moveTo>
                      <a:pt x="18" y="13"/>
                    </a:moveTo>
                    <a:cubicBezTo>
                      <a:pt x="18" y="21"/>
                      <a:pt x="15" y="25"/>
                      <a:pt x="9" y="25"/>
                    </a:cubicBezTo>
                    <a:cubicBezTo>
                      <a:pt x="3" y="25"/>
                      <a:pt x="0" y="21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6"/>
                      <a:pt x="12" y="3"/>
                      <a:pt x="9" y="3"/>
                    </a:cubicBezTo>
                    <a:cubicBezTo>
                      <a:pt x="6" y="3"/>
                      <a:pt x="5" y="6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23" name="Freeform 50">
                <a:extLst>
                  <a:ext uri="{FF2B5EF4-FFF2-40B4-BE49-F238E27FC236}">
                    <a16:creationId xmlns:a16="http://schemas.microsoft.com/office/drawing/2014/main" id="{CDAEA578-7712-5BAA-AF43-509C4B5E15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5490" y="5603463"/>
                <a:ext cx="49855" cy="89134"/>
              </a:xfrm>
              <a:custGeom>
                <a:avLst/>
                <a:gdLst>
                  <a:gd name="T0" fmla="*/ 17 w 33"/>
                  <a:gd name="T1" fmla="*/ 11 h 59"/>
                  <a:gd name="T2" fmla="*/ 5 w 33"/>
                  <a:gd name="T3" fmla="*/ 18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52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52 h 59"/>
                  <a:gd name="T20" fmla="*/ 17 w 33"/>
                  <a:gd name="T21" fmla="*/ 49 h 59"/>
                  <a:gd name="T22" fmla="*/ 17 w 33"/>
                  <a:gd name="T23" fmla="*/ 11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1"/>
                    </a:moveTo>
                    <a:lnTo>
                      <a:pt x="5" y="18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52"/>
                    </a:lnTo>
                    <a:lnTo>
                      <a:pt x="17" y="49"/>
                    </a:lnTo>
                    <a:lnTo>
                      <a:pt x="17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24" name="Freeform 51">
                <a:extLst>
                  <a:ext uri="{FF2B5EF4-FFF2-40B4-BE49-F238E27FC236}">
                    <a16:creationId xmlns:a16="http://schemas.microsoft.com/office/drawing/2014/main" id="{13DD32C1-3362-C424-0C53-D7B9FF7C59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2468" y="5753026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25" name="Freeform 52">
                <a:extLst>
                  <a:ext uri="{FF2B5EF4-FFF2-40B4-BE49-F238E27FC236}">
                    <a16:creationId xmlns:a16="http://schemas.microsoft.com/office/drawing/2014/main" id="{599EE940-8A89-2A78-B149-3561AAF38F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5490" y="5905611"/>
                <a:ext cx="49855" cy="89134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12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52 h 59"/>
                  <a:gd name="T12" fmla="*/ 33 w 33"/>
                  <a:gd name="T13" fmla="*/ 52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52 h 59"/>
                  <a:gd name="T20" fmla="*/ 17 w 33"/>
                  <a:gd name="T21" fmla="*/ 52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52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52"/>
                    </a:lnTo>
                    <a:lnTo>
                      <a:pt x="17" y="52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26" name="Freeform 53">
                <a:extLst>
                  <a:ext uri="{FF2B5EF4-FFF2-40B4-BE49-F238E27FC236}">
                    <a16:creationId xmlns:a16="http://schemas.microsoft.com/office/drawing/2014/main" id="{44C42BE4-38E8-4F61-44C2-593667DF84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5490" y="6059707"/>
                <a:ext cx="49855" cy="89134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52 h 59"/>
                  <a:gd name="T12" fmla="*/ 33 w 33"/>
                  <a:gd name="T13" fmla="*/ 52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52 h 59"/>
                  <a:gd name="T20" fmla="*/ 17 w 33"/>
                  <a:gd name="T21" fmla="*/ 52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52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52"/>
                    </a:lnTo>
                    <a:lnTo>
                      <a:pt x="17" y="52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27" name="Freeform 54">
                <a:extLst>
                  <a:ext uri="{FF2B5EF4-FFF2-40B4-BE49-F238E27FC236}">
                    <a16:creationId xmlns:a16="http://schemas.microsoft.com/office/drawing/2014/main" id="{FB34B2D0-4C99-6568-102F-C9F7999F16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5490" y="6213803"/>
                <a:ext cx="49855" cy="84602"/>
              </a:xfrm>
              <a:custGeom>
                <a:avLst/>
                <a:gdLst>
                  <a:gd name="T0" fmla="*/ 17 w 33"/>
                  <a:gd name="T1" fmla="*/ 9 h 56"/>
                  <a:gd name="T2" fmla="*/ 5 w 33"/>
                  <a:gd name="T3" fmla="*/ 16 h 56"/>
                  <a:gd name="T4" fmla="*/ 0 w 33"/>
                  <a:gd name="T5" fmla="*/ 9 h 56"/>
                  <a:gd name="T6" fmla="*/ 19 w 33"/>
                  <a:gd name="T7" fmla="*/ 0 h 56"/>
                  <a:gd name="T8" fmla="*/ 26 w 33"/>
                  <a:gd name="T9" fmla="*/ 0 h 56"/>
                  <a:gd name="T10" fmla="*/ 26 w 33"/>
                  <a:gd name="T11" fmla="*/ 49 h 56"/>
                  <a:gd name="T12" fmla="*/ 33 w 33"/>
                  <a:gd name="T13" fmla="*/ 49 h 56"/>
                  <a:gd name="T14" fmla="*/ 33 w 33"/>
                  <a:gd name="T15" fmla="*/ 56 h 56"/>
                  <a:gd name="T16" fmla="*/ 10 w 33"/>
                  <a:gd name="T17" fmla="*/ 56 h 56"/>
                  <a:gd name="T18" fmla="*/ 10 w 33"/>
                  <a:gd name="T19" fmla="*/ 49 h 56"/>
                  <a:gd name="T20" fmla="*/ 17 w 33"/>
                  <a:gd name="T21" fmla="*/ 49 h 56"/>
                  <a:gd name="T22" fmla="*/ 17 w 33"/>
                  <a:gd name="T23" fmla="*/ 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6">
                    <a:moveTo>
                      <a:pt x="17" y="9"/>
                    </a:moveTo>
                    <a:lnTo>
                      <a:pt x="5" y="16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6"/>
                    </a:lnTo>
                    <a:lnTo>
                      <a:pt x="10" y="56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28" name="Freeform 55">
                <a:extLst>
                  <a:ext uri="{FF2B5EF4-FFF2-40B4-BE49-F238E27FC236}">
                    <a16:creationId xmlns:a16="http://schemas.microsoft.com/office/drawing/2014/main" id="{8227BFA0-8BF2-B430-FEBA-FFB1BFCC66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2468" y="6667025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29" name="Freeform 56">
                <a:extLst>
                  <a:ext uri="{FF2B5EF4-FFF2-40B4-BE49-F238E27FC236}">
                    <a16:creationId xmlns:a16="http://schemas.microsoft.com/office/drawing/2014/main" id="{5BFABDF8-A081-29EE-9BB6-3C186F825E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2468" y="6819610"/>
                <a:ext cx="63451" cy="89134"/>
              </a:xfrm>
              <a:custGeom>
                <a:avLst/>
                <a:gdLst>
                  <a:gd name="T0" fmla="*/ 18 w 18"/>
                  <a:gd name="T1" fmla="*/ 13 h 25"/>
                  <a:gd name="T2" fmla="*/ 9 w 18"/>
                  <a:gd name="T3" fmla="*/ 25 h 25"/>
                  <a:gd name="T4" fmla="*/ 0 w 18"/>
                  <a:gd name="T5" fmla="*/ 13 h 25"/>
                  <a:gd name="T6" fmla="*/ 9 w 18"/>
                  <a:gd name="T7" fmla="*/ 0 h 25"/>
                  <a:gd name="T8" fmla="*/ 18 w 18"/>
                  <a:gd name="T9" fmla="*/ 13 h 25"/>
                  <a:gd name="T10" fmla="*/ 5 w 18"/>
                  <a:gd name="T11" fmla="*/ 13 h 25"/>
                  <a:gd name="T12" fmla="*/ 9 w 18"/>
                  <a:gd name="T13" fmla="*/ 22 h 25"/>
                  <a:gd name="T14" fmla="*/ 13 w 18"/>
                  <a:gd name="T15" fmla="*/ 13 h 25"/>
                  <a:gd name="T16" fmla="*/ 9 w 18"/>
                  <a:gd name="T17" fmla="*/ 4 h 25"/>
                  <a:gd name="T18" fmla="*/ 5 w 18"/>
                  <a:gd name="T19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5">
                    <a:moveTo>
                      <a:pt x="18" y="13"/>
                    </a:moveTo>
                    <a:cubicBezTo>
                      <a:pt x="18" y="21"/>
                      <a:pt x="15" y="25"/>
                      <a:pt x="9" y="25"/>
                    </a:cubicBezTo>
                    <a:cubicBezTo>
                      <a:pt x="3" y="25"/>
                      <a:pt x="0" y="21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30" name="Freeform 63">
                <a:extLst>
                  <a:ext uri="{FF2B5EF4-FFF2-40B4-BE49-F238E27FC236}">
                    <a16:creationId xmlns:a16="http://schemas.microsoft.com/office/drawing/2014/main" id="{A4DF9C09-E858-7516-DC1C-C1495350C8E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02906" y="4228688"/>
                <a:ext cx="60430" cy="9366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4" y="0"/>
                      <a:pt x="17" y="5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31" name="Freeform 64">
                <a:extLst>
                  <a:ext uri="{FF2B5EF4-FFF2-40B4-BE49-F238E27FC236}">
                    <a16:creationId xmlns:a16="http://schemas.microsoft.com/office/drawing/2014/main" id="{FB5748CE-990B-704F-6EDB-1717F9E004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02906" y="4382783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1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32" name="Freeform 65">
                <a:extLst>
                  <a:ext uri="{FF2B5EF4-FFF2-40B4-BE49-F238E27FC236}">
                    <a16:creationId xmlns:a16="http://schemas.microsoft.com/office/drawing/2014/main" id="{173F1272-85E4-5B6B-F0F7-B59C13EC29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07438" y="4689463"/>
                <a:ext cx="49855" cy="89134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49 h 59"/>
                  <a:gd name="T20" fmla="*/ 16 w 33"/>
                  <a:gd name="T21" fmla="*/ 49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33" name="Freeform 66">
                <a:extLst>
                  <a:ext uri="{FF2B5EF4-FFF2-40B4-BE49-F238E27FC236}">
                    <a16:creationId xmlns:a16="http://schemas.microsoft.com/office/drawing/2014/main" id="{4682CD1B-3F6F-7B9C-64D9-BA3725DC91A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02906" y="4839027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34" name="Freeform 67">
                <a:extLst>
                  <a:ext uri="{FF2B5EF4-FFF2-40B4-BE49-F238E27FC236}">
                    <a16:creationId xmlns:a16="http://schemas.microsoft.com/office/drawing/2014/main" id="{812B37D3-3B17-16EB-1B3E-4838D57B251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02906" y="4993123"/>
                <a:ext cx="60430" cy="89134"/>
              </a:xfrm>
              <a:custGeom>
                <a:avLst/>
                <a:gdLst>
                  <a:gd name="T0" fmla="*/ 17 w 17"/>
                  <a:gd name="T1" fmla="*/ 13 h 25"/>
                  <a:gd name="T2" fmla="*/ 9 w 17"/>
                  <a:gd name="T3" fmla="*/ 25 h 25"/>
                  <a:gd name="T4" fmla="*/ 0 w 17"/>
                  <a:gd name="T5" fmla="*/ 12 h 25"/>
                  <a:gd name="T6" fmla="*/ 9 w 17"/>
                  <a:gd name="T7" fmla="*/ 0 h 25"/>
                  <a:gd name="T8" fmla="*/ 17 w 17"/>
                  <a:gd name="T9" fmla="*/ 13 h 25"/>
                  <a:gd name="T10" fmla="*/ 4 w 17"/>
                  <a:gd name="T11" fmla="*/ 12 h 25"/>
                  <a:gd name="T12" fmla="*/ 9 w 17"/>
                  <a:gd name="T13" fmla="*/ 22 h 25"/>
                  <a:gd name="T14" fmla="*/ 13 w 17"/>
                  <a:gd name="T15" fmla="*/ 13 h 25"/>
                  <a:gd name="T16" fmla="*/ 9 w 17"/>
                  <a:gd name="T17" fmla="*/ 3 h 25"/>
                  <a:gd name="T18" fmla="*/ 4 w 17"/>
                  <a:gd name="T1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5">
                    <a:moveTo>
                      <a:pt x="17" y="13"/>
                    </a:moveTo>
                    <a:cubicBezTo>
                      <a:pt x="17" y="21"/>
                      <a:pt x="14" y="25"/>
                      <a:pt x="9" y="25"/>
                    </a:cubicBezTo>
                    <a:cubicBezTo>
                      <a:pt x="3" y="25"/>
                      <a:pt x="0" y="21"/>
                      <a:pt x="0" y="12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2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6"/>
                      <a:pt x="11" y="3"/>
                      <a:pt x="9" y="3"/>
                    </a:cubicBezTo>
                    <a:cubicBezTo>
                      <a:pt x="6" y="3"/>
                      <a:pt x="4" y="6"/>
                      <a:pt x="4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35" name="Freeform 68">
                <a:extLst>
                  <a:ext uri="{FF2B5EF4-FFF2-40B4-BE49-F238E27FC236}">
                    <a16:creationId xmlns:a16="http://schemas.microsoft.com/office/drawing/2014/main" id="{2AE03164-AD91-430A-64B4-BC95A8BA5D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07438" y="5299803"/>
                <a:ext cx="49855" cy="84602"/>
              </a:xfrm>
              <a:custGeom>
                <a:avLst/>
                <a:gdLst>
                  <a:gd name="T0" fmla="*/ 16 w 33"/>
                  <a:gd name="T1" fmla="*/ 9 h 56"/>
                  <a:gd name="T2" fmla="*/ 4 w 33"/>
                  <a:gd name="T3" fmla="*/ 16 h 56"/>
                  <a:gd name="T4" fmla="*/ 0 w 33"/>
                  <a:gd name="T5" fmla="*/ 9 h 56"/>
                  <a:gd name="T6" fmla="*/ 16 w 33"/>
                  <a:gd name="T7" fmla="*/ 0 h 56"/>
                  <a:gd name="T8" fmla="*/ 26 w 33"/>
                  <a:gd name="T9" fmla="*/ 0 h 56"/>
                  <a:gd name="T10" fmla="*/ 26 w 33"/>
                  <a:gd name="T11" fmla="*/ 49 h 56"/>
                  <a:gd name="T12" fmla="*/ 33 w 33"/>
                  <a:gd name="T13" fmla="*/ 49 h 56"/>
                  <a:gd name="T14" fmla="*/ 33 w 33"/>
                  <a:gd name="T15" fmla="*/ 56 h 56"/>
                  <a:gd name="T16" fmla="*/ 7 w 33"/>
                  <a:gd name="T17" fmla="*/ 56 h 56"/>
                  <a:gd name="T18" fmla="*/ 7 w 33"/>
                  <a:gd name="T19" fmla="*/ 49 h 56"/>
                  <a:gd name="T20" fmla="*/ 16 w 33"/>
                  <a:gd name="T21" fmla="*/ 49 h 56"/>
                  <a:gd name="T22" fmla="*/ 16 w 33"/>
                  <a:gd name="T23" fmla="*/ 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6">
                    <a:moveTo>
                      <a:pt x="16" y="9"/>
                    </a:moveTo>
                    <a:lnTo>
                      <a:pt x="4" y="16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6"/>
                    </a:lnTo>
                    <a:lnTo>
                      <a:pt x="7" y="56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36" name="Freeform 69">
                <a:extLst>
                  <a:ext uri="{FF2B5EF4-FFF2-40B4-BE49-F238E27FC236}">
                    <a16:creationId xmlns:a16="http://schemas.microsoft.com/office/drawing/2014/main" id="{F0D8CAEB-8938-CBE2-C714-F84258D239E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02906" y="5449367"/>
                <a:ext cx="60430" cy="89134"/>
              </a:xfrm>
              <a:custGeom>
                <a:avLst/>
                <a:gdLst>
                  <a:gd name="T0" fmla="*/ 17 w 17"/>
                  <a:gd name="T1" fmla="*/ 13 h 25"/>
                  <a:gd name="T2" fmla="*/ 9 w 17"/>
                  <a:gd name="T3" fmla="*/ 25 h 25"/>
                  <a:gd name="T4" fmla="*/ 0 w 17"/>
                  <a:gd name="T5" fmla="*/ 13 h 25"/>
                  <a:gd name="T6" fmla="*/ 9 w 17"/>
                  <a:gd name="T7" fmla="*/ 0 h 25"/>
                  <a:gd name="T8" fmla="*/ 17 w 17"/>
                  <a:gd name="T9" fmla="*/ 13 h 25"/>
                  <a:gd name="T10" fmla="*/ 4 w 17"/>
                  <a:gd name="T11" fmla="*/ 13 h 25"/>
                  <a:gd name="T12" fmla="*/ 9 w 17"/>
                  <a:gd name="T13" fmla="*/ 22 h 25"/>
                  <a:gd name="T14" fmla="*/ 13 w 17"/>
                  <a:gd name="T15" fmla="*/ 13 h 25"/>
                  <a:gd name="T16" fmla="*/ 9 w 17"/>
                  <a:gd name="T17" fmla="*/ 3 h 25"/>
                  <a:gd name="T18" fmla="*/ 4 w 17"/>
                  <a:gd name="T19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5">
                    <a:moveTo>
                      <a:pt x="17" y="13"/>
                    </a:moveTo>
                    <a:cubicBezTo>
                      <a:pt x="17" y="21"/>
                      <a:pt x="14" y="25"/>
                      <a:pt x="9" y="25"/>
                    </a:cubicBezTo>
                    <a:cubicBezTo>
                      <a:pt x="3" y="25"/>
                      <a:pt x="0" y="21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6"/>
                      <a:pt x="11" y="3"/>
                      <a:pt x="9" y="3"/>
                    </a:cubicBezTo>
                    <a:cubicBezTo>
                      <a:pt x="6" y="3"/>
                      <a:pt x="4" y="6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37" name="Freeform 70">
                <a:extLst>
                  <a:ext uri="{FF2B5EF4-FFF2-40B4-BE49-F238E27FC236}">
                    <a16:creationId xmlns:a16="http://schemas.microsoft.com/office/drawing/2014/main" id="{A8ED9C29-DC81-2688-72F2-45F4F99F6C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07438" y="5603463"/>
                <a:ext cx="49855" cy="89134"/>
              </a:xfrm>
              <a:custGeom>
                <a:avLst/>
                <a:gdLst>
                  <a:gd name="T0" fmla="*/ 16 w 33"/>
                  <a:gd name="T1" fmla="*/ 11 h 59"/>
                  <a:gd name="T2" fmla="*/ 4 w 33"/>
                  <a:gd name="T3" fmla="*/ 18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52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52 h 59"/>
                  <a:gd name="T20" fmla="*/ 16 w 33"/>
                  <a:gd name="T21" fmla="*/ 49 h 59"/>
                  <a:gd name="T22" fmla="*/ 16 w 33"/>
                  <a:gd name="T23" fmla="*/ 11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1"/>
                    </a:moveTo>
                    <a:lnTo>
                      <a:pt x="4" y="18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52"/>
                    </a:lnTo>
                    <a:lnTo>
                      <a:pt x="16" y="49"/>
                    </a:lnTo>
                    <a:lnTo>
                      <a:pt x="16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38" name="Freeform 71">
                <a:extLst>
                  <a:ext uri="{FF2B5EF4-FFF2-40B4-BE49-F238E27FC236}">
                    <a16:creationId xmlns:a16="http://schemas.microsoft.com/office/drawing/2014/main" id="{8C3023E5-38AD-73A2-07BA-ABD46230FA7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02906" y="5753026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39" name="Freeform 72">
                <a:extLst>
                  <a:ext uri="{FF2B5EF4-FFF2-40B4-BE49-F238E27FC236}">
                    <a16:creationId xmlns:a16="http://schemas.microsoft.com/office/drawing/2014/main" id="{2D7446F9-0CA6-6AB2-64FE-06715068F2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07438" y="5905611"/>
                <a:ext cx="49855" cy="89134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12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52 h 59"/>
                  <a:gd name="T12" fmla="*/ 33 w 33"/>
                  <a:gd name="T13" fmla="*/ 52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52 h 59"/>
                  <a:gd name="T20" fmla="*/ 16 w 33"/>
                  <a:gd name="T21" fmla="*/ 52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12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52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52"/>
                    </a:lnTo>
                    <a:lnTo>
                      <a:pt x="16" y="52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40" name="Freeform 73">
                <a:extLst>
                  <a:ext uri="{FF2B5EF4-FFF2-40B4-BE49-F238E27FC236}">
                    <a16:creationId xmlns:a16="http://schemas.microsoft.com/office/drawing/2014/main" id="{F4105967-F039-4413-525C-96EB17324B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07438" y="6059707"/>
                <a:ext cx="49855" cy="89134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52 h 59"/>
                  <a:gd name="T12" fmla="*/ 33 w 33"/>
                  <a:gd name="T13" fmla="*/ 52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52 h 59"/>
                  <a:gd name="T20" fmla="*/ 16 w 33"/>
                  <a:gd name="T21" fmla="*/ 52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52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52"/>
                    </a:lnTo>
                    <a:lnTo>
                      <a:pt x="16" y="52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41" name="Freeform 74">
                <a:extLst>
                  <a:ext uri="{FF2B5EF4-FFF2-40B4-BE49-F238E27FC236}">
                    <a16:creationId xmlns:a16="http://schemas.microsoft.com/office/drawing/2014/main" id="{35CC5B16-8177-CF42-EEE5-B675F3C543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07438" y="6213803"/>
                <a:ext cx="49855" cy="84602"/>
              </a:xfrm>
              <a:custGeom>
                <a:avLst/>
                <a:gdLst>
                  <a:gd name="T0" fmla="*/ 16 w 33"/>
                  <a:gd name="T1" fmla="*/ 9 h 56"/>
                  <a:gd name="T2" fmla="*/ 4 w 33"/>
                  <a:gd name="T3" fmla="*/ 16 h 56"/>
                  <a:gd name="T4" fmla="*/ 0 w 33"/>
                  <a:gd name="T5" fmla="*/ 9 h 56"/>
                  <a:gd name="T6" fmla="*/ 16 w 33"/>
                  <a:gd name="T7" fmla="*/ 0 h 56"/>
                  <a:gd name="T8" fmla="*/ 26 w 33"/>
                  <a:gd name="T9" fmla="*/ 0 h 56"/>
                  <a:gd name="T10" fmla="*/ 26 w 33"/>
                  <a:gd name="T11" fmla="*/ 49 h 56"/>
                  <a:gd name="T12" fmla="*/ 33 w 33"/>
                  <a:gd name="T13" fmla="*/ 49 h 56"/>
                  <a:gd name="T14" fmla="*/ 33 w 33"/>
                  <a:gd name="T15" fmla="*/ 56 h 56"/>
                  <a:gd name="T16" fmla="*/ 7 w 33"/>
                  <a:gd name="T17" fmla="*/ 56 h 56"/>
                  <a:gd name="T18" fmla="*/ 7 w 33"/>
                  <a:gd name="T19" fmla="*/ 49 h 56"/>
                  <a:gd name="T20" fmla="*/ 16 w 33"/>
                  <a:gd name="T21" fmla="*/ 49 h 56"/>
                  <a:gd name="T22" fmla="*/ 16 w 33"/>
                  <a:gd name="T23" fmla="*/ 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6">
                    <a:moveTo>
                      <a:pt x="16" y="9"/>
                    </a:moveTo>
                    <a:lnTo>
                      <a:pt x="4" y="16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6"/>
                    </a:lnTo>
                    <a:lnTo>
                      <a:pt x="7" y="56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42" name="Freeform 75">
                <a:extLst>
                  <a:ext uri="{FF2B5EF4-FFF2-40B4-BE49-F238E27FC236}">
                    <a16:creationId xmlns:a16="http://schemas.microsoft.com/office/drawing/2014/main" id="{CD8B2F3D-141C-860C-1385-7BB3A38752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02906" y="6667025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43" name="Freeform 76">
                <a:extLst>
                  <a:ext uri="{FF2B5EF4-FFF2-40B4-BE49-F238E27FC236}">
                    <a16:creationId xmlns:a16="http://schemas.microsoft.com/office/drawing/2014/main" id="{58F8B899-9D00-8C16-32C6-3BA4A0C881D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02906" y="6819610"/>
                <a:ext cx="60430" cy="89134"/>
              </a:xfrm>
              <a:custGeom>
                <a:avLst/>
                <a:gdLst>
                  <a:gd name="T0" fmla="*/ 17 w 17"/>
                  <a:gd name="T1" fmla="*/ 13 h 25"/>
                  <a:gd name="T2" fmla="*/ 9 w 17"/>
                  <a:gd name="T3" fmla="*/ 25 h 25"/>
                  <a:gd name="T4" fmla="*/ 0 w 17"/>
                  <a:gd name="T5" fmla="*/ 13 h 25"/>
                  <a:gd name="T6" fmla="*/ 9 w 17"/>
                  <a:gd name="T7" fmla="*/ 0 h 25"/>
                  <a:gd name="T8" fmla="*/ 17 w 17"/>
                  <a:gd name="T9" fmla="*/ 13 h 25"/>
                  <a:gd name="T10" fmla="*/ 4 w 17"/>
                  <a:gd name="T11" fmla="*/ 13 h 25"/>
                  <a:gd name="T12" fmla="*/ 9 w 17"/>
                  <a:gd name="T13" fmla="*/ 22 h 25"/>
                  <a:gd name="T14" fmla="*/ 13 w 17"/>
                  <a:gd name="T15" fmla="*/ 13 h 25"/>
                  <a:gd name="T16" fmla="*/ 9 w 17"/>
                  <a:gd name="T17" fmla="*/ 4 h 25"/>
                  <a:gd name="T18" fmla="*/ 4 w 17"/>
                  <a:gd name="T19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5">
                    <a:moveTo>
                      <a:pt x="17" y="13"/>
                    </a:moveTo>
                    <a:cubicBezTo>
                      <a:pt x="17" y="21"/>
                      <a:pt x="14" y="25"/>
                      <a:pt x="9" y="25"/>
                    </a:cubicBezTo>
                    <a:cubicBezTo>
                      <a:pt x="3" y="25"/>
                      <a:pt x="0" y="21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44" name="Freeform 83">
                <a:extLst>
                  <a:ext uri="{FF2B5EF4-FFF2-40B4-BE49-F238E27FC236}">
                    <a16:creationId xmlns:a16="http://schemas.microsoft.com/office/drawing/2014/main" id="{8512FE56-ED2B-FE89-CDBE-AAAB7C44D6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46606" y="4236241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3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45" name="Freeform 84">
                <a:extLst>
                  <a:ext uri="{FF2B5EF4-FFF2-40B4-BE49-F238E27FC236}">
                    <a16:creationId xmlns:a16="http://schemas.microsoft.com/office/drawing/2014/main" id="{FF2281E6-4CF0-F655-4C22-F4F052DBA09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43584" y="4503643"/>
                <a:ext cx="110285" cy="164671"/>
              </a:xfrm>
              <a:custGeom>
                <a:avLst/>
                <a:gdLst>
                  <a:gd name="T0" fmla="*/ 31 w 31"/>
                  <a:gd name="T1" fmla="*/ 23 h 46"/>
                  <a:gd name="T2" fmla="*/ 15 w 31"/>
                  <a:gd name="T3" fmla="*/ 46 h 46"/>
                  <a:gd name="T4" fmla="*/ 0 w 31"/>
                  <a:gd name="T5" fmla="*/ 23 h 46"/>
                  <a:gd name="T6" fmla="*/ 15 w 31"/>
                  <a:gd name="T7" fmla="*/ 0 h 46"/>
                  <a:gd name="T8" fmla="*/ 31 w 31"/>
                  <a:gd name="T9" fmla="*/ 23 h 46"/>
                  <a:gd name="T10" fmla="*/ 8 w 31"/>
                  <a:gd name="T11" fmla="*/ 23 h 46"/>
                  <a:gd name="T12" fmla="*/ 15 w 31"/>
                  <a:gd name="T13" fmla="*/ 39 h 46"/>
                  <a:gd name="T14" fmla="*/ 23 w 31"/>
                  <a:gd name="T15" fmla="*/ 23 h 46"/>
                  <a:gd name="T16" fmla="*/ 15 w 31"/>
                  <a:gd name="T17" fmla="*/ 7 h 46"/>
                  <a:gd name="T18" fmla="*/ 8 w 31"/>
                  <a:gd name="T19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6">
                    <a:moveTo>
                      <a:pt x="31" y="23"/>
                    </a:moveTo>
                    <a:cubicBezTo>
                      <a:pt x="31" y="38"/>
                      <a:pt x="26" y="46"/>
                      <a:pt x="15" y="46"/>
                    </a:cubicBezTo>
                    <a:cubicBezTo>
                      <a:pt x="5" y="46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7"/>
                      <a:pt x="15" y="7"/>
                    </a:cubicBezTo>
                    <a:cubicBezTo>
                      <a:pt x="10" y="7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46" name="Freeform 85">
                <a:extLst>
                  <a:ext uri="{FF2B5EF4-FFF2-40B4-BE49-F238E27FC236}">
                    <a16:creationId xmlns:a16="http://schemas.microsoft.com/office/drawing/2014/main" id="{864A716E-4814-E632-EA3D-DD1E1DED3AD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43584" y="4775576"/>
                <a:ext cx="110285" cy="160139"/>
              </a:xfrm>
              <a:custGeom>
                <a:avLst/>
                <a:gdLst>
                  <a:gd name="T0" fmla="*/ 31 w 31"/>
                  <a:gd name="T1" fmla="*/ 23 h 45"/>
                  <a:gd name="T2" fmla="*/ 15 w 31"/>
                  <a:gd name="T3" fmla="*/ 45 h 45"/>
                  <a:gd name="T4" fmla="*/ 0 w 31"/>
                  <a:gd name="T5" fmla="*/ 23 h 45"/>
                  <a:gd name="T6" fmla="*/ 15 w 31"/>
                  <a:gd name="T7" fmla="*/ 0 h 45"/>
                  <a:gd name="T8" fmla="*/ 31 w 31"/>
                  <a:gd name="T9" fmla="*/ 23 h 45"/>
                  <a:gd name="T10" fmla="*/ 8 w 31"/>
                  <a:gd name="T11" fmla="*/ 23 h 45"/>
                  <a:gd name="T12" fmla="*/ 15 w 31"/>
                  <a:gd name="T13" fmla="*/ 39 h 45"/>
                  <a:gd name="T14" fmla="*/ 23 w 31"/>
                  <a:gd name="T15" fmla="*/ 23 h 45"/>
                  <a:gd name="T16" fmla="*/ 15 w 31"/>
                  <a:gd name="T17" fmla="*/ 6 h 45"/>
                  <a:gd name="T18" fmla="*/ 8 w 31"/>
                  <a:gd name="T19" fmla="*/ 2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31" y="23"/>
                    </a:moveTo>
                    <a:cubicBezTo>
                      <a:pt x="31" y="38"/>
                      <a:pt x="26" y="45"/>
                      <a:pt x="15" y="45"/>
                    </a:cubicBezTo>
                    <a:cubicBezTo>
                      <a:pt x="5" y="45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6"/>
                      <a:pt x="15" y="6"/>
                    </a:cubicBezTo>
                    <a:cubicBezTo>
                      <a:pt x="10" y="6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47" name="Freeform 86">
                <a:extLst>
                  <a:ext uri="{FF2B5EF4-FFF2-40B4-BE49-F238E27FC236}">
                    <a16:creationId xmlns:a16="http://schemas.microsoft.com/office/drawing/2014/main" id="{BF029133-F5A5-8B6D-C012-548EF935B3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46606" y="5049020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4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4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48" name="Freeform 87">
                <a:extLst>
                  <a:ext uri="{FF2B5EF4-FFF2-40B4-BE49-F238E27FC236}">
                    <a16:creationId xmlns:a16="http://schemas.microsoft.com/office/drawing/2014/main" id="{CD9EDD40-E57C-8711-2CD3-D70DB6329A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46606" y="5320954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1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1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49" name="Freeform 88">
                <a:extLst>
                  <a:ext uri="{FF2B5EF4-FFF2-40B4-BE49-F238E27FC236}">
                    <a16:creationId xmlns:a16="http://schemas.microsoft.com/office/drawing/2014/main" id="{857E3F4E-722B-708B-D9EF-1CEA367117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46606" y="5592887"/>
                <a:ext cx="92156" cy="155607"/>
              </a:xfrm>
              <a:custGeom>
                <a:avLst/>
                <a:gdLst>
                  <a:gd name="T0" fmla="*/ 31 w 61"/>
                  <a:gd name="T1" fmla="*/ 18 h 103"/>
                  <a:gd name="T2" fmla="*/ 10 w 61"/>
                  <a:gd name="T3" fmla="*/ 30 h 103"/>
                  <a:gd name="T4" fmla="*/ 0 w 61"/>
                  <a:gd name="T5" fmla="*/ 18 h 103"/>
                  <a:gd name="T6" fmla="*/ 31 w 61"/>
                  <a:gd name="T7" fmla="*/ 0 h 103"/>
                  <a:gd name="T8" fmla="*/ 47 w 61"/>
                  <a:gd name="T9" fmla="*/ 0 h 103"/>
                  <a:gd name="T10" fmla="*/ 47 w 61"/>
                  <a:gd name="T11" fmla="*/ 89 h 103"/>
                  <a:gd name="T12" fmla="*/ 61 w 61"/>
                  <a:gd name="T13" fmla="*/ 89 h 103"/>
                  <a:gd name="T14" fmla="*/ 61 w 61"/>
                  <a:gd name="T15" fmla="*/ 103 h 103"/>
                  <a:gd name="T16" fmla="*/ 17 w 61"/>
                  <a:gd name="T17" fmla="*/ 103 h 103"/>
                  <a:gd name="T18" fmla="*/ 17 w 61"/>
                  <a:gd name="T19" fmla="*/ 89 h 103"/>
                  <a:gd name="T20" fmla="*/ 31 w 61"/>
                  <a:gd name="T21" fmla="*/ 89 h 103"/>
                  <a:gd name="T22" fmla="*/ 31 w 61"/>
                  <a:gd name="T23" fmla="*/ 18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3">
                    <a:moveTo>
                      <a:pt x="31" y="18"/>
                    </a:moveTo>
                    <a:lnTo>
                      <a:pt x="10" y="30"/>
                    </a:lnTo>
                    <a:lnTo>
                      <a:pt x="0" y="18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89"/>
                    </a:lnTo>
                    <a:lnTo>
                      <a:pt x="61" y="89"/>
                    </a:lnTo>
                    <a:lnTo>
                      <a:pt x="61" y="103"/>
                    </a:lnTo>
                    <a:lnTo>
                      <a:pt x="17" y="103"/>
                    </a:lnTo>
                    <a:lnTo>
                      <a:pt x="17" y="89"/>
                    </a:lnTo>
                    <a:lnTo>
                      <a:pt x="31" y="89"/>
                    </a:lnTo>
                    <a:lnTo>
                      <a:pt x="31" y="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50" name="Freeform 89">
                <a:extLst>
                  <a:ext uri="{FF2B5EF4-FFF2-40B4-BE49-F238E27FC236}">
                    <a16:creationId xmlns:a16="http://schemas.microsoft.com/office/drawing/2014/main" id="{3D6A7C0D-1ED1-E155-06DF-2F9313F466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43584" y="5860289"/>
                <a:ext cx="110285" cy="160139"/>
              </a:xfrm>
              <a:custGeom>
                <a:avLst/>
                <a:gdLst>
                  <a:gd name="T0" fmla="*/ 31 w 31"/>
                  <a:gd name="T1" fmla="*/ 23 h 45"/>
                  <a:gd name="T2" fmla="*/ 15 w 31"/>
                  <a:gd name="T3" fmla="*/ 45 h 45"/>
                  <a:gd name="T4" fmla="*/ 0 w 31"/>
                  <a:gd name="T5" fmla="*/ 22 h 45"/>
                  <a:gd name="T6" fmla="*/ 15 w 31"/>
                  <a:gd name="T7" fmla="*/ 0 h 45"/>
                  <a:gd name="T8" fmla="*/ 31 w 31"/>
                  <a:gd name="T9" fmla="*/ 23 h 45"/>
                  <a:gd name="T10" fmla="*/ 8 w 31"/>
                  <a:gd name="T11" fmla="*/ 22 h 45"/>
                  <a:gd name="T12" fmla="*/ 15 w 31"/>
                  <a:gd name="T13" fmla="*/ 39 h 45"/>
                  <a:gd name="T14" fmla="*/ 23 w 31"/>
                  <a:gd name="T15" fmla="*/ 23 h 45"/>
                  <a:gd name="T16" fmla="*/ 15 w 31"/>
                  <a:gd name="T17" fmla="*/ 6 h 45"/>
                  <a:gd name="T18" fmla="*/ 8 w 31"/>
                  <a:gd name="T19" fmla="*/ 2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31" y="23"/>
                    </a:moveTo>
                    <a:cubicBezTo>
                      <a:pt x="31" y="38"/>
                      <a:pt x="26" y="45"/>
                      <a:pt x="15" y="45"/>
                    </a:cubicBezTo>
                    <a:cubicBezTo>
                      <a:pt x="5" y="45"/>
                      <a:pt x="0" y="38"/>
                      <a:pt x="0" y="22"/>
                    </a:cubicBezTo>
                    <a:cubicBezTo>
                      <a:pt x="0" y="7"/>
                      <a:pt x="5" y="0"/>
                      <a:pt x="15" y="0"/>
                    </a:cubicBezTo>
                    <a:cubicBezTo>
                      <a:pt x="26" y="0"/>
                      <a:pt x="31" y="7"/>
                      <a:pt x="31" y="23"/>
                    </a:cubicBezTo>
                    <a:close/>
                    <a:moveTo>
                      <a:pt x="8" y="22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1"/>
                      <a:pt x="20" y="6"/>
                      <a:pt x="15" y="6"/>
                    </a:cubicBezTo>
                    <a:cubicBezTo>
                      <a:pt x="10" y="6"/>
                      <a:pt x="8" y="11"/>
                      <a:pt x="8" y="2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51" name="Freeform 90">
                <a:extLst>
                  <a:ext uri="{FF2B5EF4-FFF2-40B4-BE49-F238E27FC236}">
                    <a16:creationId xmlns:a16="http://schemas.microsoft.com/office/drawing/2014/main" id="{C9727A72-9C4D-7B05-FB84-76591D2CB5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43584" y="6673068"/>
                <a:ext cx="110285" cy="161650"/>
              </a:xfrm>
              <a:custGeom>
                <a:avLst/>
                <a:gdLst>
                  <a:gd name="T0" fmla="*/ 31 w 31"/>
                  <a:gd name="T1" fmla="*/ 22 h 45"/>
                  <a:gd name="T2" fmla="*/ 15 w 31"/>
                  <a:gd name="T3" fmla="*/ 45 h 45"/>
                  <a:gd name="T4" fmla="*/ 0 w 31"/>
                  <a:gd name="T5" fmla="*/ 22 h 45"/>
                  <a:gd name="T6" fmla="*/ 15 w 31"/>
                  <a:gd name="T7" fmla="*/ 0 h 45"/>
                  <a:gd name="T8" fmla="*/ 31 w 31"/>
                  <a:gd name="T9" fmla="*/ 22 h 45"/>
                  <a:gd name="T10" fmla="*/ 8 w 31"/>
                  <a:gd name="T11" fmla="*/ 22 h 45"/>
                  <a:gd name="T12" fmla="*/ 15 w 31"/>
                  <a:gd name="T13" fmla="*/ 39 h 45"/>
                  <a:gd name="T14" fmla="*/ 23 w 31"/>
                  <a:gd name="T15" fmla="*/ 22 h 45"/>
                  <a:gd name="T16" fmla="*/ 15 w 31"/>
                  <a:gd name="T17" fmla="*/ 6 h 45"/>
                  <a:gd name="T18" fmla="*/ 8 w 31"/>
                  <a:gd name="T19" fmla="*/ 2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31" y="22"/>
                    </a:moveTo>
                    <a:cubicBezTo>
                      <a:pt x="31" y="38"/>
                      <a:pt x="26" y="45"/>
                      <a:pt x="15" y="45"/>
                    </a:cubicBezTo>
                    <a:cubicBezTo>
                      <a:pt x="5" y="45"/>
                      <a:pt x="0" y="38"/>
                      <a:pt x="0" y="22"/>
                    </a:cubicBezTo>
                    <a:cubicBezTo>
                      <a:pt x="0" y="7"/>
                      <a:pt x="5" y="0"/>
                      <a:pt x="15" y="0"/>
                    </a:cubicBezTo>
                    <a:cubicBezTo>
                      <a:pt x="26" y="0"/>
                      <a:pt x="31" y="7"/>
                      <a:pt x="31" y="22"/>
                    </a:cubicBezTo>
                    <a:close/>
                    <a:moveTo>
                      <a:pt x="8" y="22"/>
                    </a:moveTo>
                    <a:cubicBezTo>
                      <a:pt x="8" y="33"/>
                      <a:pt x="10" y="39"/>
                      <a:pt x="15" y="39"/>
                    </a:cubicBezTo>
                    <a:cubicBezTo>
                      <a:pt x="20" y="39"/>
                      <a:pt x="23" y="33"/>
                      <a:pt x="23" y="22"/>
                    </a:cubicBezTo>
                    <a:cubicBezTo>
                      <a:pt x="23" y="11"/>
                      <a:pt x="20" y="6"/>
                      <a:pt x="15" y="6"/>
                    </a:cubicBezTo>
                    <a:cubicBezTo>
                      <a:pt x="10" y="6"/>
                      <a:pt x="8" y="11"/>
                      <a:pt x="8" y="2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52" name="Freeform 95">
                <a:extLst>
                  <a:ext uri="{FF2B5EF4-FFF2-40B4-BE49-F238E27FC236}">
                    <a16:creationId xmlns:a16="http://schemas.microsoft.com/office/drawing/2014/main" id="{A9E5837D-E153-7C89-2FBA-9EE251D8BD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3350946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53" name="Freeform 96">
                <a:extLst>
                  <a:ext uri="{FF2B5EF4-FFF2-40B4-BE49-F238E27FC236}">
                    <a16:creationId xmlns:a16="http://schemas.microsoft.com/office/drawing/2014/main" id="{6217CD68-FDB2-AF22-A549-605AA2EE94A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3497488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54" name="Freeform 97">
                <a:extLst>
                  <a:ext uri="{FF2B5EF4-FFF2-40B4-BE49-F238E27FC236}">
                    <a16:creationId xmlns:a16="http://schemas.microsoft.com/office/drawing/2014/main" id="{2C39A578-2C12-ED9F-14CE-14F14675CC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3644030"/>
                <a:ext cx="52876" cy="84602"/>
              </a:xfrm>
              <a:custGeom>
                <a:avLst/>
                <a:gdLst>
                  <a:gd name="T0" fmla="*/ 16 w 35"/>
                  <a:gd name="T1" fmla="*/ 14 h 56"/>
                  <a:gd name="T2" fmla="*/ 7 w 35"/>
                  <a:gd name="T3" fmla="*/ 21 h 56"/>
                  <a:gd name="T4" fmla="*/ 0 w 35"/>
                  <a:gd name="T5" fmla="*/ 11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4"/>
                    </a:moveTo>
                    <a:lnTo>
                      <a:pt x="7" y="21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55" name="Freeform 98">
                <a:extLst>
                  <a:ext uri="{FF2B5EF4-FFF2-40B4-BE49-F238E27FC236}">
                    <a16:creationId xmlns:a16="http://schemas.microsoft.com/office/drawing/2014/main" id="{DF8F6634-D5FE-7317-ABE8-6672B687FF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3790572"/>
                <a:ext cx="67984" cy="84602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56" name="Freeform 99">
                <a:extLst>
                  <a:ext uri="{FF2B5EF4-FFF2-40B4-BE49-F238E27FC236}">
                    <a16:creationId xmlns:a16="http://schemas.microsoft.com/office/drawing/2014/main" id="{766B23B0-0C7F-9732-046B-C08C9D2E13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3935604"/>
                <a:ext cx="52876" cy="86113"/>
              </a:xfrm>
              <a:custGeom>
                <a:avLst/>
                <a:gdLst>
                  <a:gd name="T0" fmla="*/ 16 w 35"/>
                  <a:gd name="T1" fmla="*/ 15 h 57"/>
                  <a:gd name="T2" fmla="*/ 7 w 35"/>
                  <a:gd name="T3" fmla="*/ 22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8 h 57"/>
                  <a:gd name="T12" fmla="*/ 35 w 35"/>
                  <a:gd name="T13" fmla="*/ 48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8 h 57"/>
                  <a:gd name="T20" fmla="*/ 16 w 35"/>
                  <a:gd name="T21" fmla="*/ 48 h 57"/>
                  <a:gd name="T22" fmla="*/ 16 w 35"/>
                  <a:gd name="T23" fmla="*/ 1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5"/>
                    </a:moveTo>
                    <a:lnTo>
                      <a:pt x="7" y="22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57" name="Freeform 100">
                <a:extLst>
                  <a:ext uri="{FF2B5EF4-FFF2-40B4-BE49-F238E27FC236}">
                    <a16:creationId xmlns:a16="http://schemas.microsoft.com/office/drawing/2014/main" id="{8159F9F8-1CEA-F4DE-317E-021D793415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4082145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58" name="Freeform 101">
                <a:extLst>
                  <a:ext uri="{FF2B5EF4-FFF2-40B4-BE49-F238E27FC236}">
                    <a16:creationId xmlns:a16="http://schemas.microsoft.com/office/drawing/2014/main" id="{4A62512D-FB5F-733D-687C-F32930B89A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4228688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59" name="Freeform 102">
                <a:extLst>
                  <a:ext uri="{FF2B5EF4-FFF2-40B4-BE49-F238E27FC236}">
                    <a16:creationId xmlns:a16="http://schemas.microsoft.com/office/drawing/2014/main" id="{BF9A4D8C-8F42-A8E1-0C04-6E4CBDF3D1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4375229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60" name="Freeform 103">
                <a:extLst>
                  <a:ext uri="{FF2B5EF4-FFF2-40B4-BE49-F238E27FC236}">
                    <a16:creationId xmlns:a16="http://schemas.microsoft.com/office/drawing/2014/main" id="{5C76A7E9-F361-C594-7847-AAF769611C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4524793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5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5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61" name="Freeform 104">
                <a:extLst>
                  <a:ext uri="{FF2B5EF4-FFF2-40B4-BE49-F238E27FC236}">
                    <a16:creationId xmlns:a16="http://schemas.microsoft.com/office/drawing/2014/main" id="{68FC0420-57FC-28E5-B014-3185721367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4668313"/>
                <a:ext cx="67984" cy="89134"/>
              </a:xfrm>
              <a:custGeom>
                <a:avLst/>
                <a:gdLst>
                  <a:gd name="T0" fmla="*/ 17 w 19"/>
                  <a:gd name="T1" fmla="*/ 4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4 h 25"/>
                  <a:gd name="T16" fmla="*/ 6 w 19"/>
                  <a:gd name="T17" fmla="*/ 12 h 25"/>
                  <a:gd name="T18" fmla="*/ 10 w 19"/>
                  <a:gd name="T19" fmla="*/ 20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3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62" name="Freeform 105">
                <a:extLst>
                  <a:ext uri="{FF2B5EF4-FFF2-40B4-BE49-F238E27FC236}">
                    <a16:creationId xmlns:a16="http://schemas.microsoft.com/office/drawing/2014/main" id="{3E4F4CBD-D004-3F71-28F8-B5863C379E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4817877"/>
                <a:ext cx="52876" cy="81580"/>
              </a:xfrm>
              <a:custGeom>
                <a:avLst/>
                <a:gdLst>
                  <a:gd name="T0" fmla="*/ 16 w 35"/>
                  <a:gd name="T1" fmla="*/ 12 h 54"/>
                  <a:gd name="T2" fmla="*/ 7 w 35"/>
                  <a:gd name="T3" fmla="*/ 19 h 54"/>
                  <a:gd name="T4" fmla="*/ 0 w 35"/>
                  <a:gd name="T5" fmla="*/ 9 h 54"/>
                  <a:gd name="T6" fmla="*/ 19 w 35"/>
                  <a:gd name="T7" fmla="*/ 0 h 54"/>
                  <a:gd name="T8" fmla="*/ 28 w 35"/>
                  <a:gd name="T9" fmla="*/ 0 h 54"/>
                  <a:gd name="T10" fmla="*/ 28 w 35"/>
                  <a:gd name="T11" fmla="*/ 45 h 54"/>
                  <a:gd name="T12" fmla="*/ 35 w 35"/>
                  <a:gd name="T13" fmla="*/ 45 h 54"/>
                  <a:gd name="T14" fmla="*/ 35 w 35"/>
                  <a:gd name="T15" fmla="*/ 54 h 54"/>
                  <a:gd name="T16" fmla="*/ 9 w 35"/>
                  <a:gd name="T17" fmla="*/ 54 h 54"/>
                  <a:gd name="T18" fmla="*/ 9 w 35"/>
                  <a:gd name="T19" fmla="*/ 45 h 54"/>
                  <a:gd name="T20" fmla="*/ 16 w 35"/>
                  <a:gd name="T21" fmla="*/ 45 h 54"/>
                  <a:gd name="T22" fmla="*/ 16 w 35"/>
                  <a:gd name="T23" fmla="*/ 1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4">
                    <a:moveTo>
                      <a:pt x="16" y="12"/>
                    </a:moveTo>
                    <a:lnTo>
                      <a:pt x="7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4"/>
                    </a:lnTo>
                    <a:lnTo>
                      <a:pt x="9" y="54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63" name="Freeform 106">
                <a:extLst>
                  <a:ext uri="{FF2B5EF4-FFF2-40B4-BE49-F238E27FC236}">
                    <a16:creationId xmlns:a16="http://schemas.microsoft.com/office/drawing/2014/main" id="{262F280E-AACA-6530-7B25-BC7220945CB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4959887"/>
                <a:ext cx="67984" cy="89134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2 h 25"/>
                  <a:gd name="T18" fmla="*/ 10 w 19"/>
                  <a:gd name="T19" fmla="*/ 21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64" name="Freeform 107">
                <a:extLst>
                  <a:ext uri="{FF2B5EF4-FFF2-40B4-BE49-F238E27FC236}">
                    <a16:creationId xmlns:a16="http://schemas.microsoft.com/office/drawing/2014/main" id="{73BF9704-599E-58FC-24D1-0E5413C646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5106428"/>
                <a:ext cx="67984" cy="89134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2 h 25"/>
                  <a:gd name="T18" fmla="*/ 10 w 19"/>
                  <a:gd name="T19" fmla="*/ 21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65" name="Freeform 108">
                <a:extLst>
                  <a:ext uri="{FF2B5EF4-FFF2-40B4-BE49-F238E27FC236}">
                    <a16:creationId xmlns:a16="http://schemas.microsoft.com/office/drawing/2014/main" id="{597FF732-724D-B17B-8022-358B4AD88C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5255992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8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8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8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8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66" name="Freeform 109">
                <a:extLst>
                  <a:ext uri="{FF2B5EF4-FFF2-40B4-BE49-F238E27FC236}">
                    <a16:creationId xmlns:a16="http://schemas.microsoft.com/office/drawing/2014/main" id="{1CEE24D7-BE28-3EE0-4115-821D70527F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5402534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8 h 55"/>
                  <a:gd name="T12" fmla="*/ 35 w 35"/>
                  <a:gd name="T13" fmla="*/ 48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8 h 55"/>
                  <a:gd name="T20" fmla="*/ 16 w 35"/>
                  <a:gd name="T21" fmla="*/ 48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67" name="Freeform 110">
                <a:extLst>
                  <a:ext uri="{FF2B5EF4-FFF2-40B4-BE49-F238E27FC236}">
                    <a16:creationId xmlns:a16="http://schemas.microsoft.com/office/drawing/2014/main" id="{D249FFE5-F09B-CFEB-5301-2F311686874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5546055"/>
                <a:ext cx="67984" cy="89134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3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1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3 h 25"/>
                  <a:gd name="T18" fmla="*/ 10 w 19"/>
                  <a:gd name="T19" fmla="*/ 21 h 25"/>
                  <a:gd name="T20" fmla="*/ 14 w 19"/>
                  <a:gd name="T21" fmla="*/ 13 h 25"/>
                  <a:gd name="T22" fmla="*/ 10 w 19"/>
                  <a:gd name="T23" fmla="*/ 5 h 25"/>
                  <a:gd name="T24" fmla="*/ 6 w 19"/>
                  <a:gd name="T25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7"/>
                      <a:pt x="19" y="9"/>
                      <a:pt x="19" y="13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1"/>
                    </a:cubicBezTo>
                    <a:cubicBezTo>
                      <a:pt x="1" y="19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3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3"/>
                    </a:cubicBezTo>
                    <a:cubicBezTo>
                      <a:pt x="14" y="7"/>
                      <a:pt x="12" y="5"/>
                      <a:pt x="10" y="5"/>
                    </a:cubicBezTo>
                    <a:cubicBezTo>
                      <a:pt x="7" y="5"/>
                      <a:pt x="6" y="7"/>
                      <a:pt x="6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68" name="Freeform 111">
                <a:extLst>
                  <a:ext uri="{FF2B5EF4-FFF2-40B4-BE49-F238E27FC236}">
                    <a16:creationId xmlns:a16="http://schemas.microsoft.com/office/drawing/2014/main" id="{532039DD-A0FC-73A5-0AFC-C48D86D72D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5695618"/>
                <a:ext cx="52876" cy="81580"/>
              </a:xfrm>
              <a:custGeom>
                <a:avLst/>
                <a:gdLst>
                  <a:gd name="T0" fmla="*/ 16 w 35"/>
                  <a:gd name="T1" fmla="*/ 12 h 54"/>
                  <a:gd name="T2" fmla="*/ 7 w 35"/>
                  <a:gd name="T3" fmla="*/ 19 h 54"/>
                  <a:gd name="T4" fmla="*/ 0 w 35"/>
                  <a:gd name="T5" fmla="*/ 9 h 54"/>
                  <a:gd name="T6" fmla="*/ 19 w 35"/>
                  <a:gd name="T7" fmla="*/ 0 h 54"/>
                  <a:gd name="T8" fmla="*/ 28 w 35"/>
                  <a:gd name="T9" fmla="*/ 0 h 54"/>
                  <a:gd name="T10" fmla="*/ 28 w 35"/>
                  <a:gd name="T11" fmla="*/ 47 h 54"/>
                  <a:gd name="T12" fmla="*/ 35 w 35"/>
                  <a:gd name="T13" fmla="*/ 47 h 54"/>
                  <a:gd name="T14" fmla="*/ 35 w 35"/>
                  <a:gd name="T15" fmla="*/ 54 h 54"/>
                  <a:gd name="T16" fmla="*/ 9 w 35"/>
                  <a:gd name="T17" fmla="*/ 54 h 54"/>
                  <a:gd name="T18" fmla="*/ 9 w 35"/>
                  <a:gd name="T19" fmla="*/ 47 h 54"/>
                  <a:gd name="T20" fmla="*/ 16 w 35"/>
                  <a:gd name="T21" fmla="*/ 47 h 54"/>
                  <a:gd name="T22" fmla="*/ 16 w 35"/>
                  <a:gd name="T23" fmla="*/ 1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4">
                    <a:moveTo>
                      <a:pt x="16" y="12"/>
                    </a:moveTo>
                    <a:lnTo>
                      <a:pt x="7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4"/>
                    </a:lnTo>
                    <a:lnTo>
                      <a:pt x="9" y="54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69" name="Freeform 112">
                <a:extLst>
                  <a:ext uri="{FF2B5EF4-FFF2-40B4-BE49-F238E27FC236}">
                    <a16:creationId xmlns:a16="http://schemas.microsoft.com/office/drawing/2014/main" id="{A2411F49-6722-4413-2601-F40781848A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5839139"/>
                <a:ext cx="67984" cy="89134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3 h 25"/>
                  <a:gd name="T4" fmla="*/ 17 w 19"/>
                  <a:gd name="T5" fmla="*/ 22 h 25"/>
                  <a:gd name="T6" fmla="*/ 10 w 19"/>
                  <a:gd name="T7" fmla="*/ 25 h 25"/>
                  <a:gd name="T8" fmla="*/ 2 w 19"/>
                  <a:gd name="T9" fmla="*/ 21 h 25"/>
                  <a:gd name="T10" fmla="*/ 0 w 19"/>
                  <a:gd name="T11" fmla="*/ 13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3 h 25"/>
                  <a:gd name="T18" fmla="*/ 10 w 19"/>
                  <a:gd name="T19" fmla="*/ 21 h 25"/>
                  <a:gd name="T20" fmla="*/ 14 w 19"/>
                  <a:gd name="T21" fmla="*/ 13 h 25"/>
                  <a:gd name="T22" fmla="*/ 10 w 19"/>
                  <a:gd name="T23" fmla="*/ 5 h 25"/>
                  <a:gd name="T24" fmla="*/ 6 w 19"/>
                  <a:gd name="T25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7"/>
                      <a:pt x="19" y="9"/>
                      <a:pt x="19" y="13"/>
                    </a:cubicBezTo>
                    <a:cubicBezTo>
                      <a:pt x="19" y="17"/>
                      <a:pt x="18" y="20"/>
                      <a:pt x="17" y="22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1"/>
                    </a:cubicBezTo>
                    <a:cubicBezTo>
                      <a:pt x="1" y="19"/>
                      <a:pt x="0" y="16"/>
                      <a:pt x="0" y="13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3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3"/>
                    </a:cubicBezTo>
                    <a:cubicBezTo>
                      <a:pt x="14" y="7"/>
                      <a:pt x="12" y="5"/>
                      <a:pt x="10" y="5"/>
                    </a:cubicBezTo>
                    <a:cubicBezTo>
                      <a:pt x="7" y="5"/>
                      <a:pt x="6" y="7"/>
                      <a:pt x="6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70" name="Freeform 113">
                <a:extLst>
                  <a:ext uri="{FF2B5EF4-FFF2-40B4-BE49-F238E27FC236}">
                    <a16:creationId xmlns:a16="http://schemas.microsoft.com/office/drawing/2014/main" id="{0A0838EC-ABE1-12CB-89AA-40D527F46F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5988702"/>
                <a:ext cx="52876" cy="84602"/>
              </a:xfrm>
              <a:custGeom>
                <a:avLst/>
                <a:gdLst>
                  <a:gd name="T0" fmla="*/ 16 w 35"/>
                  <a:gd name="T1" fmla="*/ 12 h 56"/>
                  <a:gd name="T2" fmla="*/ 7 w 35"/>
                  <a:gd name="T3" fmla="*/ 19 h 56"/>
                  <a:gd name="T4" fmla="*/ 0 w 35"/>
                  <a:gd name="T5" fmla="*/ 9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2"/>
                    </a:moveTo>
                    <a:lnTo>
                      <a:pt x="7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71" name="Freeform 114">
                <a:extLst>
                  <a:ext uri="{FF2B5EF4-FFF2-40B4-BE49-F238E27FC236}">
                    <a16:creationId xmlns:a16="http://schemas.microsoft.com/office/drawing/2014/main" id="{98C547AB-BF28-174F-E06D-5C579E0BCA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6135244"/>
                <a:ext cx="52876" cy="84602"/>
              </a:xfrm>
              <a:custGeom>
                <a:avLst/>
                <a:gdLst>
                  <a:gd name="T0" fmla="*/ 16 w 35"/>
                  <a:gd name="T1" fmla="*/ 11 h 56"/>
                  <a:gd name="T2" fmla="*/ 7 w 35"/>
                  <a:gd name="T3" fmla="*/ 18 h 56"/>
                  <a:gd name="T4" fmla="*/ 0 w 35"/>
                  <a:gd name="T5" fmla="*/ 9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1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1"/>
                    </a:moveTo>
                    <a:lnTo>
                      <a:pt x="7" y="18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72" name="Freeform 115">
                <a:extLst>
                  <a:ext uri="{FF2B5EF4-FFF2-40B4-BE49-F238E27FC236}">
                    <a16:creationId xmlns:a16="http://schemas.microsoft.com/office/drawing/2014/main" id="{279AADE2-77D5-5A5C-7834-E1E254A6DCA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6280275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8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5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7"/>
                      <a:pt x="7" y="20"/>
                      <a:pt x="10" y="20"/>
                    </a:cubicBezTo>
                    <a:cubicBezTo>
                      <a:pt x="12" y="20"/>
                      <a:pt x="14" y="17"/>
                      <a:pt x="14" y="12"/>
                    </a:cubicBezTo>
                    <a:cubicBezTo>
                      <a:pt x="14" y="6"/>
                      <a:pt x="12" y="4"/>
                      <a:pt x="10" y="4"/>
                    </a:cubicBezTo>
                    <a:cubicBezTo>
                      <a:pt x="7" y="4"/>
                      <a:pt x="6" y="6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73" name="Freeform 116">
                <a:extLst>
                  <a:ext uri="{FF2B5EF4-FFF2-40B4-BE49-F238E27FC236}">
                    <a16:creationId xmlns:a16="http://schemas.microsoft.com/office/drawing/2014/main" id="{68D09042-09FF-852C-D5E4-F502FB9E1B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6426817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8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5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7"/>
                      <a:pt x="7" y="20"/>
                      <a:pt x="10" y="20"/>
                    </a:cubicBezTo>
                    <a:cubicBezTo>
                      <a:pt x="12" y="20"/>
                      <a:pt x="14" y="17"/>
                      <a:pt x="14" y="12"/>
                    </a:cubicBezTo>
                    <a:cubicBezTo>
                      <a:pt x="14" y="6"/>
                      <a:pt x="12" y="4"/>
                      <a:pt x="10" y="4"/>
                    </a:cubicBezTo>
                    <a:cubicBezTo>
                      <a:pt x="7" y="4"/>
                      <a:pt x="6" y="6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74" name="Freeform 117">
                <a:extLst>
                  <a:ext uri="{FF2B5EF4-FFF2-40B4-BE49-F238E27FC236}">
                    <a16:creationId xmlns:a16="http://schemas.microsoft.com/office/drawing/2014/main" id="{860268AD-A813-F20E-57C0-EA4802E6C89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6573359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8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5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7"/>
                      <a:pt x="7" y="20"/>
                      <a:pt x="10" y="20"/>
                    </a:cubicBezTo>
                    <a:cubicBezTo>
                      <a:pt x="12" y="20"/>
                      <a:pt x="14" y="17"/>
                      <a:pt x="14" y="12"/>
                    </a:cubicBezTo>
                    <a:cubicBezTo>
                      <a:pt x="14" y="6"/>
                      <a:pt x="12" y="4"/>
                      <a:pt x="10" y="4"/>
                    </a:cubicBezTo>
                    <a:cubicBezTo>
                      <a:pt x="7" y="4"/>
                      <a:pt x="6" y="6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75" name="Freeform 118">
                <a:extLst>
                  <a:ext uri="{FF2B5EF4-FFF2-40B4-BE49-F238E27FC236}">
                    <a16:creationId xmlns:a16="http://schemas.microsoft.com/office/drawing/2014/main" id="{B07344B1-C8DD-DEC1-6E6F-CBD6B868FA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6719901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76" name="Freeform 119">
                <a:extLst>
                  <a:ext uri="{FF2B5EF4-FFF2-40B4-BE49-F238E27FC236}">
                    <a16:creationId xmlns:a16="http://schemas.microsoft.com/office/drawing/2014/main" id="{38EBB45F-021E-E8FB-BA23-6F7493493F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6866443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8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5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6"/>
                      <a:pt x="12" y="4"/>
                      <a:pt x="10" y="4"/>
                    </a:cubicBezTo>
                    <a:cubicBezTo>
                      <a:pt x="7" y="4"/>
                      <a:pt x="6" y="6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77" name="Freeform 135">
                <a:extLst>
                  <a:ext uri="{FF2B5EF4-FFF2-40B4-BE49-F238E27FC236}">
                    <a16:creationId xmlns:a16="http://schemas.microsoft.com/office/drawing/2014/main" id="{DA6B9C90-5B50-4E6B-DF3F-A59C1F8940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68629" y="3718057"/>
                <a:ext cx="60430" cy="111795"/>
              </a:xfrm>
              <a:custGeom>
                <a:avLst/>
                <a:gdLst>
                  <a:gd name="T0" fmla="*/ 19 w 40"/>
                  <a:gd name="T1" fmla="*/ 14 h 74"/>
                  <a:gd name="T2" fmla="*/ 4 w 40"/>
                  <a:gd name="T3" fmla="*/ 24 h 74"/>
                  <a:gd name="T4" fmla="*/ 0 w 40"/>
                  <a:gd name="T5" fmla="*/ 14 h 74"/>
                  <a:gd name="T6" fmla="*/ 21 w 40"/>
                  <a:gd name="T7" fmla="*/ 0 h 74"/>
                  <a:gd name="T8" fmla="*/ 30 w 40"/>
                  <a:gd name="T9" fmla="*/ 0 h 74"/>
                  <a:gd name="T10" fmla="*/ 30 w 40"/>
                  <a:gd name="T11" fmla="*/ 64 h 74"/>
                  <a:gd name="T12" fmla="*/ 40 w 40"/>
                  <a:gd name="T13" fmla="*/ 64 h 74"/>
                  <a:gd name="T14" fmla="*/ 40 w 40"/>
                  <a:gd name="T15" fmla="*/ 74 h 74"/>
                  <a:gd name="T16" fmla="*/ 9 w 40"/>
                  <a:gd name="T17" fmla="*/ 74 h 74"/>
                  <a:gd name="T18" fmla="*/ 9 w 40"/>
                  <a:gd name="T19" fmla="*/ 64 h 74"/>
                  <a:gd name="T20" fmla="*/ 19 w 40"/>
                  <a:gd name="T21" fmla="*/ 64 h 74"/>
                  <a:gd name="T22" fmla="*/ 19 w 40"/>
                  <a:gd name="T23" fmla="*/ 1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4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4"/>
                    </a:lnTo>
                    <a:lnTo>
                      <a:pt x="9" y="74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78" name="Freeform 136">
                <a:extLst>
                  <a:ext uri="{FF2B5EF4-FFF2-40B4-BE49-F238E27FC236}">
                    <a16:creationId xmlns:a16="http://schemas.microsoft.com/office/drawing/2014/main" id="{B6FE0CDD-C5FF-B0BC-2B08-96A5C69499E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64097" y="3906899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8 h 32"/>
                  <a:gd name="T14" fmla="*/ 16 w 21"/>
                  <a:gd name="T15" fmla="*/ 16 h 32"/>
                  <a:gd name="T16" fmla="*/ 10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0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0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79" name="Freeform 137">
                <a:extLst>
                  <a:ext uri="{FF2B5EF4-FFF2-40B4-BE49-F238E27FC236}">
                    <a16:creationId xmlns:a16="http://schemas.microsoft.com/office/drawing/2014/main" id="{9749A4D2-8ED0-BBA5-83C8-93B6A2E6FE2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64097" y="4289117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6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80" name="Freeform 138">
                <a:extLst>
                  <a:ext uri="{FF2B5EF4-FFF2-40B4-BE49-F238E27FC236}">
                    <a16:creationId xmlns:a16="http://schemas.microsoft.com/office/drawing/2014/main" id="{2F82CA1C-80AB-070E-4A32-ECA2D532D9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68629" y="4482492"/>
                <a:ext cx="60430" cy="107263"/>
              </a:xfrm>
              <a:custGeom>
                <a:avLst/>
                <a:gdLst>
                  <a:gd name="T0" fmla="*/ 19 w 40"/>
                  <a:gd name="T1" fmla="*/ 12 h 71"/>
                  <a:gd name="T2" fmla="*/ 4 w 40"/>
                  <a:gd name="T3" fmla="*/ 21 h 71"/>
                  <a:gd name="T4" fmla="*/ 0 w 40"/>
                  <a:gd name="T5" fmla="*/ 12 h 71"/>
                  <a:gd name="T6" fmla="*/ 21 w 40"/>
                  <a:gd name="T7" fmla="*/ 0 h 71"/>
                  <a:gd name="T8" fmla="*/ 30 w 40"/>
                  <a:gd name="T9" fmla="*/ 0 h 71"/>
                  <a:gd name="T10" fmla="*/ 30 w 40"/>
                  <a:gd name="T11" fmla="*/ 64 h 71"/>
                  <a:gd name="T12" fmla="*/ 40 w 40"/>
                  <a:gd name="T13" fmla="*/ 64 h 71"/>
                  <a:gd name="T14" fmla="*/ 40 w 40"/>
                  <a:gd name="T15" fmla="*/ 71 h 71"/>
                  <a:gd name="T16" fmla="*/ 9 w 40"/>
                  <a:gd name="T17" fmla="*/ 71 h 71"/>
                  <a:gd name="T18" fmla="*/ 9 w 40"/>
                  <a:gd name="T19" fmla="*/ 64 h 71"/>
                  <a:gd name="T20" fmla="*/ 19 w 40"/>
                  <a:gd name="T21" fmla="*/ 64 h 71"/>
                  <a:gd name="T22" fmla="*/ 19 w 40"/>
                  <a:gd name="T23" fmla="*/ 1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1">
                    <a:moveTo>
                      <a:pt x="19" y="12"/>
                    </a:moveTo>
                    <a:lnTo>
                      <a:pt x="4" y="21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1"/>
                    </a:lnTo>
                    <a:lnTo>
                      <a:pt x="9" y="71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81" name="Freeform 139">
                <a:extLst>
                  <a:ext uri="{FF2B5EF4-FFF2-40B4-BE49-F238E27FC236}">
                    <a16:creationId xmlns:a16="http://schemas.microsoft.com/office/drawing/2014/main" id="{99B6C595-D291-40AB-2F63-60C1A7F024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68629" y="4671335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82" name="Freeform 140">
                <a:extLst>
                  <a:ext uri="{FF2B5EF4-FFF2-40B4-BE49-F238E27FC236}">
                    <a16:creationId xmlns:a16="http://schemas.microsoft.com/office/drawing/2014/main" id="{2EF6C123-BEF4-B990-FC4F-6C22466CDA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68629" y="4860178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83" name="Freeform 141">
                <a:extLst>
                  <a:ext uri="{FF2B5EF4-FFF2-40B4-BE49-F238E27FC236}">
                    <a16:creationId xmlns:a16="http://schemas.microsoft.com/office/drawing/2014/main" id="{641DB8C2-7825-4442-AB4E-66F471118E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68629" y="5053553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1 h 73"/>
                  <a:gd name="T4" fmla="*/ 0 w 40"/>
                  <a:gd name="T5" fmla="*/ 12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1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84" name="Freeform 142">
                <a:extLst>
                  <a:ext uri="{FF2B5EF4-FFF2-40B4-BE49-F238E27FC236}">
                    <a16:creationId xmlns:a16="http://schemas.microsoft.com/office/drawing/2014/main" id="{17B1B810-0F14-A57A-82B4-38A5D938049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64097" y="5242395"/>
                <a:ext cx="75537" cy="110285"/>
              </a:xfrm>
              <a:custGeom>
                <a:avLst/>
                <a:gdLst>
                  <a:gd name="T0" fmla="*/ 21 w 21"/>
                  <a:gd name="T1" fmla="*/ 15 h 31"/>
                  <a:gd name="T2" fmla="*/ 10 w 21"/>
                  <a:gd name="T3" fmla="*/ 31 h 31"/>
                  <a:gd name="T4" fmla="*/ 0 w 21"/>
                  <a:gd name="T5" fmla="*/ 15 h 31"/>
                  <a:gd name="T6" fmla="*/ 10 w 21"/>
                  <a:gd name="T7" fmla="*/ 0 h 31"/>
                  <a:gd name="T8" fmla="*/ 21 w 21"/>
                  <a:gd name="T9" fmla="*/ 15 h 31"/>
                  <a:gd name="T10" fmla="*/ 5 w 21"/>
                  <a:gd name="T11" fmla="*/ 15 h 31"/>
                  <a:gd name="T12" fmla="*/ 10 w 21"/>
                  <a:gd name="T13" fmla="*/ 27 h 31"/>
                  <a:gd name="T14" fmla="*/ 16 w 21"/>
                  <a:gd name="T15" fmla="*/ 15 h 31"/>
                  <a:gd name="T16" fmla="*/ 10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5"/>
                    </a:moveTo>
                    <a:cubicBezTo>
                      <a:pt x="21" y="26"/>
                      <a:pt x="18" y="31"/>
                      <a:pt x="10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5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0" y="27"/>
                    </a:cubicBezTo>
                    <a:cubicBezTo>
                      <a:pt x="14" y="27"/>
                      <a:pt x="16" y="23"/>
                      <a:pt x="16" y="15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85" name="Freeform 143">
                <a:extLst>
                  <a:ext uri="{FF2B5EF4-FFF2-40B4-BE49-F238E27FC236}">
                    <a16:creationId xmlns:a16="http://schemas.microsoft.com/office/drawing/2014/main" id="{53D2FD20-C26B-FD39-F189-2B9B9955AD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64097" y="5431238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86" name="Freeform 144">
                <a:extLst>
                  <a:ext uri="{FF2B5EF4-FFF2-40B4-BE49-F238E27FC236}">
                    <a16:creationId xmlns:a16="http://schemas.microsoft.com/office/drawing/2014/main" id="{25257950-D237-D2CC-3315-5744E7E1E2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64097" y="6191141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8 h 32"/>
                  <a:gd name="T14" fmla="*/ 16 w 21"/>
                  <a:gd name="T15" fmla="*/ 16 h 32"/>
                  <a:gd name="T16" fmla="*/ 10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0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0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87" name="Freeform 145">
                <a:extLst>
                  <a:ext uri="{FF2B5EF4-FFF2-40B4-BE49-F238E27FC236}">
                    <a16:creationId xmlns:a16="http://schemas.microsoft.com/office/drawing/2014/main" id="{539D07F2-B0E0-B348-43F7-B8E559D6D6D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64097" y="6384516"/>
                <a:ext cx="75537" cy="110285"/>
              </a:xfrm>
              <a:custGeom>
                <a:avLst/>
                <a:gdLst>
                  <a:gd name="T0" fmla="*/ 21 w 21"/>
                  <a:gd name="T1" fmla="*/ 16 h 31"/>
                  <a:gd name="T2" fmla="*/ 10 w 21"/>
                  <a:gd name="T3" fmla="*/ 31 h 31"/>
                  <a:gd name="T4" fmla="*/ 0 w 21"/>
                  <a:gd name="T5" fmla="*/ 15 h 31"/>
                  <a:gd name="T6" fmla="*/ 10 w 21"/>
                  <a:gd name="T7" fmla="*/ 0 h 31"/>
                  <a:gd name="T8" fmla="*/ 21 w 21"/>
                  <a:gd name="T9" fmla="*/ 16 h 31"/>
                  <a:gd name="T10" fmla="*/ 5 w 21"/>
                  <a:gd name="T11" fmla="*/ 15 h 31"/>
                  <a:gd name="T12" fmla="*/ 10 w 21"/>
                  <a:gd name="T13" fmla="*/ 27 h 31"/>
                  <a:gd name="T14" fmla="*/ 16 w 21"/>
                  <a:gd name="T15" fmla="*/ 16 h 31"/>
                  <a:gd name="T16" fmla="*/ 10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0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0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88" name="Freeform 146">
                <a:extLst>
                  <a:ext uri="{FF2B5EF4-FFF2-40B4-BE49-F238E27FC236}">
                    <a16:creationId xmlns:a16="http://schemas.microsoft.com/office/drawing/2014/main" id="{D81D607F-3CAA-5029-537F-CC1D30D2DB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64097" y="6573359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89" name="Freeform 147">
                <a:extLst>
                  <a:ext uri="{FF2B5EF4-FFF2-40B4-BE49-F238E27FC236}">
                    <a16:creationId xmlns:a16="http://schemas.microsoft.com/office/drawing/2014/main" id="{F39E6708-908C-6DC8-001C-45AC1A9458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68629" y="6766734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3 h 73"/>
                  <a:gd name="T4" fmla="*/ 0 w 40"/>
                  <a:gd name="T5" fmla="*/ 12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3 h 73"/>
                  <a:gd name="T12" fmla="*/ 40 w 40"/>
                  <a:gd name="T13" fmla="*/ 63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3 h 73"/>
                  <a:gd name="T20" fmla="*/ 19 w 40"/>
                  <a:gd name="T21" fmla="*/ 63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3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3"/>
                    </a:lnTo>
                    <a:lnTo>
                      <a:pt x="40" y="63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3"/>
                    </a:lnTo>
                    <a:lnTo>
                      <a:pt x="19" y="63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90" name="Freeform 149">
                <a:extLst>
                  <a:ext uri="{FF2B5EF4-FFF2-40B4-BE49-F238E27FC236}">
                    <a16:creationId xmlns:a16="http://schemas.microsoft.com/office/drawing/2014/main" id="{B3372044-AB02-D7AD-C186-95AA66630F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24929" y="3361522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91" name="Freeform 150">
                <a:extLst>
                  <a:ext uri="{FF2B5EF4-FFF2-40B4-BE49-F238E27FC236}">
                    <a16:creationId xmlns:a16="http://schemas.microsoft.com/office/drawing/2014/main" id="{AC421B79-3058-5602-BF1B-5AA3485C54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17375" y="3644030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92" name="Freeform 151">
                <a:extLst>
                  <a:ext uri="{FF2B5EF4-FFF2-40B4-BE49-F238E27FC236}">
                    <a16:creationId xmlns:a16="http://schemas.microsoft.com/office/drawing/2014/main" id="{9D4D006A-0572-7DE0-872F-5FD4CEE199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24929" y="3932582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93" name="Freeform 152">
                <a:extLst>
                  <a:ext uri="{FF2B5EF4-FFF2-40B4-BE49-F238E27FC236}">
                    <a16:creationId xmlns:a16="http://schemas.microsoft.com/office/drawing/2014/main" id="{E1F371DE-4558-8EB1-8AB5-A1946342935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17375" y="4215090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94" name="Freeform 153">
                <a:extLst>
                  <a:ext uri="{FF2B5EF4-FFF2-40B4-BE49-F238E27FC236}">
                    <a16:creationId xmlns:a16="http://schemas.microsoft.com/office/drawing/2014/main" id="{BC3AA487-EAA9-E0FB-1251-F576F24CB1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24929" y="4503643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95" name="Freeform 154">
                <a:extLst>
                  <a:ext uri="{FF2B5EF4-FFF2-40B4-BE49-F238E27FC236}">
                    <a16:creationId xmlns:a16="http://schemas.microsoft.com/office/drawing/2014/main" id="{02D766E8-0B68-1727-65FF-ED5EDFD69D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24929" y="4789172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96" name="Freeform 155">
                <a:extLst>
                  <a:ext uri="{FF2B5EF4-FFF2-40B4-BE49-F238E27FC236}">
                    <a16:creationId xmlns:a16="http://schemas.microsoft.com/office/drawing/2014/main" id="{2F6014A3-71B9-B5B5-EB10-57C366B5DC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24929" y="5074703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7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7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7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7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97" name="Freeform 156">
                <a:extLst>
                  <a:ext uri="{FF2B5EF4-FFF2-40B4-BE49-F238E27FC236}">
                    <a16:creationId xmlns:a16="http://schemas.microsoft.com/office/drawing/2014/main" id="{FECC7C7D-364B-4D0C-A435-8852E1DF82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24929" y="5360233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5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7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7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5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7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7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98" name="Freeform 157">
                <a:extLst>
                  <a:ext uri="{FF2B5EF4-FFF2-40B4-BE49-F238E27FC236}">
                    <a16:creationId xmlns:a16="http://schemas.microsoft.com/office/drawing/2014/main" id="{EC639942-2477-E2E3-ECC1-E143431E8ED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17375" y="5642742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99" name="Freeform 158">
                <a:extLst>
                  <a:ext uri="{FF2B5EF4-FFF2-40B4-BE49-F238E27FC236}">
                    <a16:creationId xmlns:a16="http://schemas.microsoft.com/office/drawing/2014/main" id="{F50EE1E5-22F3-744E-9CC3-283E5F0AE84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17375" y="5928272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2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2"/>
                      <a:pt x="16" y="42"/>
                    </a:cubicBezTo>
                    <a:cubicBezTo>
                      <a:pt x="22" y="42"/>
                      <a:pt x="24" y="36"/>
                      <a:pt x="24" y="24"/>
                    </a:cubicBezTo>
                    <a:cubicBezTo>
                      <a:pt x="24" y="13"/>
                      <a:pt x="22" y="7"/>
                      <a:pt x="16" y="7"/>
                    </a:cubicBezTo>
                    <a:cubicBezTo>
                      <a:pt x="11" y="7"/>
                      <a:pt x="8" y="13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00" name="Freeform 159">
                <a:extLst>
                  <a:ext uri="{FF2B5EF4-FFF2-40B4-BE49-F238E27FC236}">
                    <a16:creationId xmlns:a16="http://schemas.microsoft.com/office/drawing/2014/main" id="{0201438D-6CAB-D45B-AFD0-2D03005561C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17375" y="6213803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2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2"/>
                      <a:pt x="16" y="42"/>
                    </a:cubicBezTo>
                    <a:cubicBezTo>
                      <a:pt x="22" y="42"/>
                      <a:pt x="24" y="36"/>
                      <a:pt x="24" y="24"/>
                    </a:cubicBezTo>
                    <a:cubicBezTo>
                      <a:pt x="24" y="13"/>
                      <a:pt x="22" y="7"/>
                      <a:pt x="16" y="7"/>
                    </a:cubicBezTo>
                    <a:cubicBezTo>
                      <a:pt x="11" y="7"/>
                      <a:pt x="8" y="13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01" name="Freeform 160">
                <a:extLst>
                  <a:ext uri="{FF2B5EF4-FFF2-40B4-BE49-F238E27FC236}">
                    <a16:creationId xmlns:a16="http://schemas.microsoft.com/office/drawing/2014/main" id="{8DB01CD8-3481-9F6B-6519-8E05A145E34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17375" y="6499332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2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1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2"/>
                      <a:pt x="16" y="42"/>
                    </a:cubicBezTo>
                    <a:cubicBezTo>
                      <a:pt x="22" y="42"/>
                      <a:pt x="24" y="36"/>
                      <a:pt x="24" y="24"/>
                    </a:cubicBezTo>
                    <a:cubicBezTo>
                      <a:pt x="24" y="13"/>
                      <a:pt x="22" y="7"/>
                      <a:pt x="16" y="7"/>
                    </a:cubicBezTo>
                    <a:cubicBezTo>
                      <a:pt x="11" y="7"/>
                      <a:pt x="8" y="13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02" name="Freeform 161">
                <a:extLst>
                  <a:ext uri="{FF2B5EF4-FFF2-40B4-BE49-F238E27FC236}">
                    <a16:creationId xmlns:a16="http://schemas.microsoft.com/office/drawing/2014/main" id="{C295D5A6-C4E8-218D-2C9B-44FEF6F42E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17375" y="6787885"/>
                <a:ext cx="114816" cy="167693"/>
              </a:xfrm>
              <a:custGeom>
                <a:avLst/>
                <a:gdLst>
                  <a:gd name="T0" fmla="*/ 32 w 32"/>
                  <a:gd name="T1" fmla="*/ 23 h 47"/>
                  <a:gd name="T2" fmla="*/ 16 w 32"/>
                  <a:gd name="T3" fmla="*/ 47 h 47"/>
                  <a:gd name="T4" fmla="*/ 0 w 32"/>
                  <a:gd name="T5" fmla="*/ 23 h 47"/>
                  <a:gd name="T6" fmla="*/ 16 w 32"/>
                  <a:gd name="T7" fmla="*/ 0 h 47"/>
                  <a:gd name="T8" fmla="*/ 32 w 32"/>
                  <a:gd name="T9" fmla="*/ 23 h 47"/>
                  <a:gd name="T10" fmla="*/ 8 w 32"/>
                  <a:gd name="T11" fmla="*/ 23 h 47"/>
                  <a:gd name="T12" fmla="*/ 16 w 32"/>
                  <a:gd name="T13" fmla="*/ 41 h 47"/>
                  <a:gd name="T14" fmla="*/ 24 w 32"/>
                  <a:gd name="T15" fmla="*/ 23 h 47"/>
                  <a:gd name="T16" fmla="*/ 16 w 32"/>
                  <a:gd name="T17" fmla="*/ 6 h 47"/>
                  <a:gd name="T18" fmla="*/ 8 w 32"/>
                  <a:gd name="T19" fmla="*/ 2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7">
                    <a:moveTo>
                      <a:pt x="32" y="23"/>
                    </a:moveTo>
                    <a:cubicBezTo>
                      <a:pt x="32" y="39"/>
                      <a:pt x="27" y="47"/>
                      <a:pt x="16" y="47"/>
                    </a:cubicBezTo>
                    <a:cubicBezTo>
                      <a:pt x="5" y="47"/>
                      <a:pt x="0" y="40"/>
                      <a:pt x="0" y="23"/>
                    </a:cubicBezTo>
                    <a:cubicBezTo>
                      <a:pt x="0" y="7"/>
                      <a:pt x="5" y="0"/>
                      <a:pt x="16" y="0"/>
                    </a:cubicBezTo>
                    <a:cubicBezTo>
                      <a:pt x="27" y="0"/>
                      <a:pt x="32" y="7"/>
                      <a:pt x="32" y="23"/>
                    </a:cubicBezTo>
                    <a:close/>
                    <a:moveTo>
                      <a:pt x="8" y="23"/>
                    </a:moveTo>
                    <a:cubicBezTo>
                      <a:pt x="8" y="35"/>
                      <a:pt x="11" y="41"/>
                      <a:pt x="16" y="41"/>
                    </a:cubicBezTo>
                    <a:cubicBezTo>
                      <a:pt x="22" y="41"/>
                      <a:pt x="24" y="35"/>
                      <a:pt x="24" y="23"/>
                    </a:cubicBezTo>
                    <a:cubicBezTo>
                      <a:pt x="24" y="12"/>
                      <a:pt x="22" y="6"/>
                      <a:pt x="16" y="6"/>
                    </a:cubicBezTo>
                    <a:cubicBezTo>
                      <a:pt x="11" y="6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03" name="Line 8">
                <a:extLst>
                  <a:ext uri="{FF2B5EF4-FFF2-40B4-BE49-F238E27FC236}">
                    <a16:creationId xmlns:a16="http://schemas.microsoft.com/office/drawing/2014/main" id="{E1F92115-E2B6-9ACC-4434-F19F37199E5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282436" y="5576274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04" name="Line 9">
                <a:extLst>
                  <a:ext uri="{FF2B5EF4-FFF2-40B4-BE49-F238E27FC236}">
                    <a16:creationId xmlns:a16="http://schemas.microsoft.com/office/drawing/2014/main" id="{F10CB203-9AD7-1FA4-7836-475FD924647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282436" y="5576274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05" name="Freeform 10">
                <a:extLst>
                  <a:ext uri="{FF2B5EF4-FFF2-40B4-BE49-F238E27FC236}">
                    <a16:creationId xmlns:a16="http://schemas.microsoft.com/office/drawing/2014/main" id="{C614ED8B-5BFB-3B9F-4188-C5B7E4127C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49546" y="6647390"/>
                <a:ext cx="99709" cy="157117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8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7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7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8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7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7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06" name="Freeform 11">
                <a:extLst>
                  <a:ext uri="{FF2B5EF4-FFF2-40B4-BE49-F238E27FC236}">
                    <a16:creationId xmlns:a16="http://schemas.microsoft.com/office/drawing/2014/main" id="{D1891869-18EE-96EC-E7F4-4E619D5816E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635950" y="6914792"/>
                <a:ext cx="120859" cy="164671"/>
              </a:xfrm>
              <a:custGeom>
                <a:avLst/>
                <a:gdLst>
                  <a:gd name="T0" fmla="*/ 32 w 34"/>
                  <a:gd name="T1" fmla="*/ 8 h 46"/>
                  <a:gd name="T2" fmla="*/ 34 w 34"/>
                  <a:gd name="T3" fmla="*/ 23 h 46"/>
                  <a:gd name="T4" fmla="*/ 31 w 34"/>
                  <a:gd name="T5" fmla="*/ 39 h 46"/>
                  <a:gd name="T6" fmla="*/ 17 w 34"/>
                  <a:gd name="T7" fmla="*/ 46 h 46"/>
                  <a:gd name="T8" fmla="*/ 3 w 34"/>
                  <a:gd name="T9" fmla="*/ 37 h 46"/>
                  <a:gd name="T10" fmla="*/ 0 w 34"/>
                  <a:gd name="T11" fmla="*/ 23 h 46"/>
                  <a:gd name="T12" fmla="*/ 17 w 34"/>
                  <a:gd name="T13" fmla="*/ 0 h 46"/>
                  <a:gd name="T14" fmla="*/ 32 w 34"/>
                  <a:gd name="T15" fmla="*/ 8 h 46"/>
                  <a:gd name="T16" fmla="*/ 10 w 34"/>
                  <a:gd name="T17" fmla="*/ 23 h 46"/>
                  <a:gd name="T18" fmla="*/ 17 w 34"/>
                  <a:gd name="T19" fmla="*/ 38 h 46"/>
                  <a:gd name="T20" fmla="*/ 25 w 34"/>
                  <a:gd name="T21" fmla="*/ 23 h 46"/>
                  <a:gd name="T22" fmla="*/ 17 w 34"/>
                  <a:gd name="T23" fmla="*/ 8 h 46"/>
                  <a:gd name="T24" fmla="*/ 10 w 34"/>
                  <a:gd name="T25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46">
                    <a:moveTo>
                      <a:pt x="32" y="8"/>
                    </a:moveTo>
                    <a:cubicBezTo>
                      <a:pt x="34" y="12"/>
                      <a:pt x="34" y="16"/>
                      <a:pt x="34" y="23"/>
                    </a:cubicBezTo>
                    <a:cubicBezTo>
                      <a:pt x="34" y="31"/>
                      <a:pt x="33" y="36"/>
                      <a:pt x="31" y="39"/>
                    </a:cubicBezTo>
                    <a:cubicBezTo>
                      <a:pt x="28" y="43"/>
                      <a:pt x="23" y="46"/>
                      <a:pt x="17" y="46"/>
                    </a:cubicBezTo>
                    <a:cubicBezTo>
                      <a:pt x="11" y="46"/>
                      <a:pt x="6" y="43"/>
                      <a:pt x="3" y="37"/>
                    </a:cubicBezTo>
                    <a:cubicBezTo>
                      <a:pt x="1" y="34"/>
                      <a:pt x="0" y="29"/>
                      <a:pt x="0" y="23"/>
                    </a:cubicBezTo>
                    <a:cubicBezTo>
                      <a:pt x="0" y="8"/>
                      <a:pt x="6" y="0"/>
                      <a:pt x="17" y="0"/>
                    </a:cubicBezTo>
                    <a:cubicBezTo>
                      <a:pt x="24" y="0"/>
                      <a:pt x="29" y="3"/>
                      <a:pt x="32" y="8"/>
                    </a:cubicBezTo>
                    <a:close/>
                    <a:moveTo>
                      <a:pt x="10" y="23"/>
                    </a:moveTo>
                    <a:cubicBezTo>
                      <a:pt x="10" y="33"/>
                      <a:pt x="12" y="38"/>
                      <a:pt x="17" y="38"/>
                    </a:cubicBezTo>
                    <a:cubicBezTo>
                      <a:pt x="22" y="38"/>
                      <a:pt x="25" y="33"/>
                      <a:pt x="25" y="23"/>
                    </a:cubicBezTo>
                    <a:cubicBezTo>
                      <a:pt x="25" y="13"/>
                      <a:pt x="22" y="8"/>
                      <a:pt x="17" y="8"/>
                    </a:cubicBezTo>
                    <a:cubicBezTo>
                      <a:pt x="12" y="8"/>
                      <a:pt x="10" y="13"/>
                      <a:pt x="10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07" name="Freeform 23">
                <a:extLst>
                  <a:ext uri="{FF2B5EF4-FFF2-40B4-BE49-F238E27FC236}">
                    <a16:creationId xmlns:a16="http://schemas.microsoft.com/office/drawing/2014/main" id="{9C399FE6-0555-8F03-27E5-7EB7129820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956227" y="5926766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8 h 32"/>
                  <a:gd name="T14" fmla="*/ 16 w 21"/>
                  <a:gd name="T15" fmla="*/ 16 h 32"/>
                  <a:gd name="T16" fmla="*/ 11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1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1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08" name="Freeform 24">
                <a:extLst>
                  <a:ext uri="{FF2B5EF4-FFF2-40B4-BE49-F238E27FC236}">
                    <a16:creationId xmlns:a16="http://schemas.microsoft.com/office/drawing/2014/main" id="{CDB64643-1157-1B82-4F8A-C3AF6EEB3B3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956227" y="6118630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5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09" name="Freeform 25">
                <a:extLst>
                  <a:ext uri="{FF2B5EF4-FFF2-40B4-BE49-F238E27FC236}">
                    <a16:creationId xmlns:a16="http://schemas.microsoft.com/office/drawing/2014/main" id="{C19E8BD4-1133-4A0D-8820-29C06F7F55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63781" y="6500848"/>
                <a:ext cx="64962" cy="11028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2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2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10" name="Freeform 26">
                <a:extLst>
                  <a:ext uri="{FF2B5EF4-FFF2-40B4-BE49-F238E27FC236}">
                    <a16:creationId xmlns:a16="http://schemas.microsoft.com/office/drawing/2014/main" id="{12B04EEF-9010-F3A5-67D9-AD1B1D54A2E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956227" y="6689691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6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11" name="Freeform 27">
                <a:extLst>
                  <a:ext uri="{FF2B5EF4-FFF2-40B4-BE49-F238E27FC236}">
                    <a16:creationId xmlns:a16="http://schemas.microsoft.com/office/drawing/2014/main" id="{566FA293-F836-0271-8362-2D3E9C1824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956227" y="6880044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7 h 32"/>
                  <a:gd name="T14" fmla="*/ 16 w 21"/>
                  <a:gd name="T15" fmla="*/ 16 h 32"/>
                  <a:gd name="T16" fmla="*/ 11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1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12" name="Freeform 43">
                <a:extLst>
                  <a:ext uri="{FF2B5EF4-FFF2-40B4-BE49-F238E27FC236}">
                    <a16:creationId xmlns:a16="http://schemas.microsoft.com/office/drawing/2014/main" id="{A86FA66A-9D16-0D4D-8BF9-665252E766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196435" y="6126184"/>
                <a:ext cx="63451" cy="9366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5" y="0"/>
                      <a:pt x="18" y="5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13" name="Freeform 44">
                <a:extLst>
                  <a:ext uri="{FF2B5EF4-FFF2-40B4-BE49-F238E27FC236}">
                    <a16:creationId xmlns:a16="http://schemas.microsoft.com/office/drawing/2014/main" id="{D58A70A3-03AF-C615-0196-71DFD6A1DC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196435" y="6280280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1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14" name="Freeform 45">
                <a:extLst>
                  <a:ext uri="{FF2B5EF4-FFF2-40B4-BE49-F238E27FC236}">
                    <a16:creationId xmlns:a16="http://schemas.microsoft.com/office/drawing/2014/main" id="{06343509-0E78-D14E-D6D5-DB19EACE50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07010" y="6586960"/>
                <a:ext cx="49855" cy="89134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49 h 59"/>
                  <a:gd name="T20" fmla="*/ 17 w 33"/>
                  <a:gd name="T21" fmla="*/ 49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15" name="Freeform 46">
                <a:extLst>
                  <a:ext uri="{FF2B5EF4-FFF2-40B4-BE49-F238E27FC236}">
                    <a16:creationId xmlns:a16="http://schemas.microsoft.com/office/drawing/2014/main" id="{2A186FE1-C622-A760-00F4-E806A30F0F4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196435" y="6736524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16" name="Freeform 47">
                <a:extLst>
                  <a:ext uri="{FF2B5EF4-FFF2-40B4-BE49-F238E27FC236}">
                    <a16:creationId xmlns:a16="http://schemas.microsoft.com/office/drawing/2014/main" id="{6C2B6A3A-4DB0-D6EB-4A3F-595E61192B0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196435" y="6890620"/>
                <a:ext cx="63451" cy="89134"/>
              </a:xfrm>
              <a:custGeom>
                <a:avLst/>
                <a:gdLst>
                  <a:gd name="T0" fmla="*/ 18 w 18"/>
                  <a:gd name="T1" fmla="*/ 13 h 25"/>
                  <a:gd name="T2" fmla="*/ 9 w 18"/>
                  <a:gd name="T3" fmla="*/ 25 h 25"/>
                  <a:gd name="T4" fmla="*/ 0 w 18"/>
                  <a:gd name="T5" fmla="*/ 12 h 25"/>
                  <a:gd name="T6" fmla="*/ 9 w 18"/>
                  <a:gd name="T7" fmla="*/ 0 h 25"/>
                  <a:gd name="T8" fmla="*/ 18 w 18"/>
                  <a:gd name="T9" fmla="*/ 13 h 25"/>
                  <a:gd name="T10" fmla="*/ 5 w 18"/>
                  <a:gd name="T11" fmla="*/ 12 h 25"/>
                  <a:gd name="T12" fmla="*/ 9 w 18"/>
                  <a:gd name="T13" fmla="*/ 22 h 25"/>
                  <a:gd name="T14" fmla="*/ 13 w 18"/>
                  <a:gd name="T15" fmla="*/ 13 h 25"/>
                  <a:gd name="T16" fmla="*/ 9 w 18"/>
                  <a:gd name="T17" fmla="*/ 3 h 25"/>
                  <a:gd name="T18" fmla="*/ 5 w 18"/>
                  <a:gd name="T1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5">
                    <a:moveTo>
                      <a:pt x="18" y="13"/>
                    </a:moveTo>
                    <a:cubicBezTo>
                      <a:pt x="18" y="21"/>
                      <a:pt x="15" y="25"/>
                      <a:pt x="9" y="25"/>
                    </a:cubicBezTo>
                    <a:cubicBezTo>
                      <a:pt x="3" y="25"/>
                      <a:pt x="0" y="21"/>
                      <a:pt x="0" y="12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2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6"/>
                      <a:pt x="12" y="3"/>
                      <a:pt x="9" y="3"/>
                    </a:cubicBezTo>
                    <a:cubicBezTo>
                      <a:pt x="6" y="3"/>
                      <a:pt x="5" y="6"/>
                      <a:pt x="5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17" name="Freeform 63">
                <a:extLst>
                  <a:ext uri="{FF2B5EF4-FFF2-40B4-BE49-F238E27FC236}">
                    <a16:creationId xmlns:a16="http://schemas.microsoft.com/office/drawing/2014/main" id="{977E3EEB-F5F1-31CE-E578-7618E1B297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69019" y="6126184"/>
                <a:ext cx="60430" cy="9366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4" y="0"/>
                      <a:pt x="17" y="5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18" name="Freeform 64">
                <a:extLst>
                  <a:ext uri="{FF2B5EF4-FFF2-40B4-BE49-F238E27FC236}">
                    <a16:creationId xmlns:a16="http://schemas.microsoft.com/office/drawing/2014/main" id="{5525BA21-1EE1-C58E-B740-674FA79F8D0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69019" y="6280280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1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19" name="Freeform 65">
                <a:extLst>
                  <a:ext uri="{FF2B5EF4-FFF2-40B4-BE49-F238E27FC236}">
                    <a16:creationId xmlns:a16="http://schemas.microsoft.com/office/drawing/2014/main" id="{092EC14D-C067-7067-70F7-9E6F871331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75062" y="6586960"/>
                <a:ext cx="49855" cy="89134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49 h 59"/>
                  <a:gd name="T20" fmla="*/ 16 w 33"/>
                  <a:gd name="T21" fmla="*/ 49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20" name="Freeform 66">
                <a:extLst>
                  <a:ext uri="{FF2B5EF4-FFF2-40B4-BE49-F238E27FC236}">
                    <a16:creationId xmlns:a16="http://schemas.microsoft.com/office/drawing/2014/main" id="{B339561A-BD4E-16FA-AF8F-93464C6E2C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69019" y="6736524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21" name="Freeform 67">
                <a:extLst>
                  <a:ext uri="{FF2B5EF4-FFF2-40B4-BE49-F238E27FC236}">
                    <a16:creationId xmlns:a16="http://schemas.microsoft.com/office/drawing/2014/main" id="{93C71846-8A79-D0D5-6AAF-F6FBFA9C71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69019" y="6890620"/>
                <a:ext cx="60430" cy="89134"/>
              </a:xfrm>
              <a:custGeom>
                <a:avLst/>
                <a:gdLst>
                  <a:gd name="T0" fmla="*/ 17 w 17"/>
                  <a:gd name="T1" fmla="*/ 13 h 25"/>
                  <a:gd name="T2" fmla="*/ 9 w 17"/>
                  <a:gd name="T3" fmla="*/ 25 h 25"/>
                  <a:gd name="T4" fmla="*/ 0 w 17"/>
                  <a:gd name="T5" fmla="*/ 12 h 25"/>
                  <a:gd name="T6" fmla="*/ 9 w 17"/>
                  <a:gd name="T7" fmla="*/ 0 h 25"/>
                  <a:gd name="T8" fmla="*/ 17 w 17"/>
                  <a:gd name="T9" fmla="*/ 13 h 25"/>
                  <a:gd name="T10" fmla="*/ 4 w 17"/>
                  <a:gd name="T11" fmla="*/ 12 h 25"/>
                  <a:gd name="T12" fmla="*/ 9 w 17"/>
                  <a:gd name="T13" fmla="*/ 22 h 25"/>
                  <a:gd name="T14" fmla="*/ 13 w 17"/>
                  <a:gd name="T15" fmla="*/ 13 h 25"/>
                  <a:gd name="T16" fmla="*/ 9 w 17"/>
                  <a:gd name="T17" fmla="*/ 3 h 25"/>
                  <a:gd name="T18" fmla="*/ 4 w 17"/>
                  <a:gd name="T1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5">
                    <a:moveTo>
                      <a:pt x="17" y="13"/>
                    </a:moveTo>
                    <a:cubicBezTo>
                      <a:pt x="17" y="21"/>
                      <a:pt x="14" y="25"/>
                      <a:pt x="9" y="25"/>
                    </a:cubicBezTo>
                    <a:cubicBezTo>
                      <a:pt x="3" y="25"/>
                      <a:pt x="0" y="21"/>
                      <a:pt x="0" y="12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2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6"/>
                      <a:pt x="11" y="3"/>
                      <a:pt x="9" y="3"/>
                    </a:cubicBezTo>
                    <a:cubicBezTo>
                      <a:pt x="6" y="3"/>
                      <a:pt x="4" y="6"/>
                      <a:pt x="4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22" name="Freeform 83">
                <a:extLst>
                  <a:ext uri="{FF2B5EF4-FFF2-40B4-BE49-F238E27FC236}">
                    <a16:creationId xmlns:a16="http://schemas.microsoft.com/office/drawing/2014/main" id="{FFFE8F73-8ACD-1E80-C9E6-D571FD2D23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93593" y="6133738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3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23" name="Freeform 84">
                <a:extLst>
                  <a:ext uri="{FF2B5EF4-FFF2-40B4-BE49-F238E27FC236}">
                    <a16:creationId xmlns:a16="http://schemas.microsoft.com/office/drawing/2014/main" id="{A6D8B6A7-8C71-7393-3DB1-D4DDD9C47F1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78486" y="6401139"/>
                <a:ext cx="110285" cy="164671"/>
              </a:xfrm>
              <a:custGeom>
                <a:avLst/>
                <a:gdLst>
                  <a:gd name="T0" fmla="*/ 31 w 31"/>
                  <a:gd name="T1" fmla="*/ 23 h 46"/>
                  <a:gd name="T2" fmla="*/ 15 w 31"/>
                  <a:gd name="T3" fmla="*/ 46 h 46"/>
                  <a:gd name="T4" fmla="*/ 0 w 31"/>
                  <a:gd name="T5" fmla="*/ 23 h 46"/>
                  <a:gd name="T6" fmla="*/ 15 w 31"/>
                  <a:gd name="T7" fmla="*/ 0 h 46"/>
                  <a:gd name="T8" fmla="*/ 31 w 31"/>
                  <a:gd name="T9" fmla="*/ 23 h 46"/>
                  <a:gd name="T10" fmla="*/ 8 w 31"/>
                  <a:gd name="T11" fmla="*/ 23 h 46"/>
                  <a:gd name="T12" fmla="*/ 15 w 31"/>
                  <a:gd name="T13" fmla="*/ 39 h 46"/>
                  <a:gd name="T14" fmla="*/ 23 w 31"/>
                  <a:gd name="T15" fmla="*/ 23 h 46"/>
                  <a:gd name="T16" fmla="*/ 15 w 31"/>
                  <a:gd name="T17" fmla="*/ 7 h 46"/>
                  <a:gd name="T18" fmla="*/ 8 w 31"/>
                  <a:gd name="T19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6">
                    <a:moveTo>
                      <a:pt x="31" y="23"/>
                    </a:moveTo>
                    <a:cubicBezTo>
                      <a:pt x="31" y="38"/>
                      <a:pt x="26" y="46"/>
                      <a:pt x="15" y="46"/>
                    </a:cubicBezTo>
                    <a:cubicBezTo>
                      <a:pt x="5" y="46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7"/>
                      <a:pt x="15" y="7"/>
                    </a:cubicBezTo>
                    <a:cubicBezTo>
                      <a:pt x="10" y="7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24" name="Freeform 85">
                <a:extLst>
                  <a:ext uri="{FF2B5EF4-FFF2-40B4-BE49-F238E27FC236}">
                    <a16:creationId xmlns:a16="http://schemas.microsoft.com/office/drawing/2014/main" id="{CAD5C87D-4288-5945-458F-E7AD496087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78486" y="6673073"/>
                <a:ext cx="110285" cy="160139"/>
              </a:xfrm>
              <a:custGeom>
                <a:avLst/>
                <a:gdLst>
                  <a:gd name="T0" fmla="*/ 31 w 31"/>
                  <a:gd name="T1" fmla="*/ 23 h 45"/>
                  <a:gd name="T2" fmla="*/ 15 w 31"/>
                  <a:gd name="T3" fmla="*/ 45 h 45"/>
                  <a:gd name="T4" fmla="*/ 0 w 31"/>
                  <a:gd name="T5" fmla="*/ 23 h 45"/>
                  <a:gd name="T6" fmla="*/ 15 w 31"/>
                  <a:gd name="T7" fmla="*/ 0 h 45"/>
                  <a:gd name="T8" fmla="*/ 31 w 31"/>
                  <a:gd name="T9" fmla="*/ 23 h 45"/>
                  <a:gd name="T10" fmla="*/ 8 w 31"/>
                  <a:gd name="T11" fmla="*/ 23 h 45"/>
                  <a:gd name="T12" fmla="*/ 15 w 31"/>
                  <a:gd name="T13" fmla="*/ 39 h 45"/>
                  <a:gd name="T14" fmla="*/ 23 w 31"/>
                  <a:gd name="T15" fmla="*/ 23 h 45"/>
                  <a:gd name="T16" fmla="*/ 15 w 31"/>
                  <a:gd name="T17" fmla="*/ 6 h 45"/>
                  <a:gd name="T18" fmla="*/ 8 w 31"/>
                  <a:gd name="T19" fmla="*/ 2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31" y="23"/>
                    </a:moveTo>
                    <a:cubicBezTo>
                      <a:pt x="31" y="38"/>
                      <a:pt x="26" y="45"/>
                      <a:pt x="15" y="45"/>
                    </a:cubicBezTo>
                    <a:cubicBezTo>
                      <a:pt x="5" y="45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6"/>
                      <a:pt x="15" y="6"/>
                    </a:cubicBezTo>
                    <a:cubicBezTo>
                      <a:pt x="10" y="6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25" name="Freeform 95">
                <a:extLst>
                  <a:ext uri="{FF2B5EF4-FFF2-40B4-BE49-F238E27FC236}">
                    <a16:creationId xmlns:a16="http://schemas.microsoft.com/office/drawing/2014/main" id="{2C107EEC-04CD-98A2-0D39-4E983DFCD2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0939" y="5248443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26" name="Freeform 96">
                <a:extLst>
                  <a:ext uri="{FF2B5EF4-FFF2-40B4-BE49-F238E27FC236}">
                    <a16:creationId xmlns:a16="http://schemas.microsoft.com/office/drawing/2014/main" id="{A64D70DE-F4AF-94DD-6B18-2640D6ACDFE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850363" y="5394985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27" name="Freeform 97">
                <a:extLst>
                  <a:ext uri="{FF2B5EF4-FFF2-40B4-BE49-F238E27FC236}">
                    <a16:creationId xmlns:a16="http://schemas.microsoft.com/office/drawing/2014/main" id="{F3158E80-BB05-BCC4-03B7-477A78C260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0939" y="5541527"/>
                <a:ext cx="52876" cy="84602"/>
              </a:xfrm>
              <a:custGeom>
                <a:avLst/>
                <a:gdLst>
                  <a:gd name="T0" fmla="*/ 16 w 35"/>
                  <a:gd name="T1" fmla="*/ 14 h 56"/>
                  <a:gd name="T2" fmla="*/ 7 w 35"/>
                  <a:gd name="T3" fmla="*/ 21 h 56"/>
                  <a:gd name="T4" fmla="*/ 0 w 35"/>
                  <a:gd name="T5" fmla="*/ 11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4"/>
                    </a:moveTo>
                    <a:lnTo>
                      <a:pt x="7" y="21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28" name="Freeform 98">
                <a:extLst>
                  <a:ext uri="{FF2B5EF4-FFF2-40B4-BE49-F238E27FC236}">
                    <a16:creationId xmlns:a16="http://schemas.microsoft.com/office/drawing/2014/main" id="{841010D8-F704-75FD-82FE-E2C71F01C49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850363" y="5688069"/>
                <a:ext cx="67984" cy="84602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29" name="Freeform 99">
                <a:extLst>
                  <a:ext uri="{FF2B5EF4-FFF2-40B4-BE49-F238E27FC236}">
                    <a16:creationId xmlns:a16="http://schemas.microsoft.com/office/drawing/2014/main" id="{49BCAAB1-B9BE-BB96-2164-22862682CC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0939" y="5833100"/>
                <a:ext cx="52876" cy="86113"/>
              </a:xfrm>
              <a:custGeom>
                <a:avLst/>
                <a:gdLst>
                  <a:gd name="T0" fmla="*/ 16 w 35"/>
                  <a:gd name="T1" fmla="*/ 15 h 57"/>
                  <a:gd name="T2" fmla="*/ 7 w 35"/>
                  <a:gd name="T3" fmla="*/ 22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8 h 57"/>
                  <a:gd name="T12" fmla="*/ 35 w 35"/>
                  <a:gd name="T13" fmla="*/ 48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8 h 57"/>
                  <a:gd name="T20" fmla="*/ 16 w 35"/>
                  <a:gd name="T21" fmla="*/ 48 h 57"/>
                  <a:gd name="T22" fmla="*/ 16 w 35"/>
                  <a:gd name="T23" fmla="*/ 1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5"/>
                    </a:moveTo>
                    <a:lnTo>
                      <a:pt x="7" y="22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5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30" name="Freeform 100">
                <a:extLst>
                  <a:ext uri="{FF2B5EF4-FFF2-40B4-BE49-F238E27FC236}">
                    <a16:creationId xmlns:a16="http://schemas.microsoft.com/office/drawing/2014/main" id="{AE69400E-CBAD-A41C-EE7B-445CA7113FD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850363" y="5979642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31" name="Freeform 101">
                <a:extLst>
                  <a:ext uri="{FF2B5EF4-FFF2-40B4-BE49-F238E27FC236}">
                    <a16:creationId xmlns:a16="http://schemas.microsoft.com/office/drawing/2014/main" id="{165485EA-5758-C644-2982-014800A420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0939" y="6126184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32" name="Freeform 102">
                <a:extLst>
                  <a:ext uri="{FF2B5EF4-FFF2-40B4-BE49-F238E27FC236}">
                    <a16:creationId xmlns:a16="http://schemas.microsoft.com/office/drawing/2014/main" id="{431C2DF7-370D-746D-EE90-9D358BFEC4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0939" y="6272726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33" name="Freeform 103">
                <a:extLst>
                  <a:ext uri="{FF2B5EF4-FFF2-40B4-BE49-F238E27FC236}">
                    <a16:creationId xmlns:a16="http://schemas.microsoft.com/office/drawing/2014/main" id="{C765AC34-44D7-66F1-F98B-A1575272FE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0939" y="6422290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5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5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34" name="Freeform 104">
                <a:extLst>
                  <a:ext uri="{FF2B5EF4-FFF2-40B4-BE49-F238E27FC236}">
                    <a16:creationId xmlns:a16="http://schemas.microsoft.com/office/drawing/2014/main" id="{55DB74BD-0723-F904-3CB4-CF4E06E5EF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850363" y="6565810"/>
                <a:ext cx="67984" cy="89134"/>
              </a:xfrm>
              <a:custGeom>
                <a:avLst/>
                <a:gdLst>
                  <a:gd name="T0" fmla="*/ 17 w 19"/>
                  <a:gd name="T1" fmla="*/ 4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4 h 25"/>
                  <a:gd name="T16" fmla="*/ 6 w 19"/>
                  <a:gd name="T17" fmla="*/ 12 h 25"/>
                  <a:gd name="T18" fmla="*/ 10 w 19"/>
                  <a:gd name="T19" fmla="*/ 20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3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35" name="Freeform 105">
                <a:extLst>
                  <a:ext uri="{FF2B5EF4-FFF2-40B4-BE49-F238E27FC236}">
                    <a16:creationId xmlns:a16="http://schemas.microsoft.com/office/drawing/2014/main" id="{B6562859-6F80-9C92-0017-B11262856E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0939" y="6715374"/>
                <a:ext cx="52876" cy="81580"/>
              </a:xfrm>
              <a:custGeom>
                <a:avLst/>
                <a:gdLst>
                  <a:gd name="T0" fmla="*/ 16 w 35"/>
                  <a:gd name="T1" fmla="*/ 12 h 54"/>
                  <a:gd name="T2" fmla="*/ 7 w 35"/>
                  <a:gd name="T3" fmla="*/ 19 h 54"/>
                  <a:gd name="T4" fmla="*/ 0 w 35"/>
                  <a:gd name="T5" fmla="*/ 9 h 54"/>
                  <a:gd name="T6" fmla="*/ 19 w 35"/>
                  <a:gd name="T7" fmla="*/ 0 h 54"/>
                  <a:gd name="T8" fmla="*/ 28 w 35"/>
                  <a:gd name="T9" fmla="*/ 0 h 54"/>
                  <a:gd name="T10" fmla="*/ 28 w 35"/>
                  <a:gd name="T11" fmla="*/ 45 h 54"/>
                  <a:gd name="T12" fmla="*/ 35 w 35"/>
                  <a:gd name="T13" fmla="*/ 45 h 54"/>
                  <a:gd name="T14" fmla="*/ 35 w 35"/>
                  <a:gd name="T15" fmla="*/ 54 h 54"/>
                  <a:gd name="T16" fmla="*/ 9 w 35"/>
                  <a:gd name="T17" fmla="*/ 54 h 54"/>
                  <a:gd name="T18" fmla="*/ 9 w 35"/>
                  <a:gd name="T19" fmla="*/ 45 h 54"/>
                  <a:gd name="T20" fmla="*/ 16 w 35"/>
                  <a:gd name="T21" fmla="*/ 45 h 54"/>
                  <a:gd name="T22" fmla="*/ 16 w 35"/>
                  <a:gd name="T23" fmla="*/ 1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4">
                    <a:moveTo>
                      <a:pt x="16" y="12"/>
                    </a:moveTo>
                    <a:lnTo>
                      <a:pt x="7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4"/>
                    </a:lnTo>
                    <a:lnTo>
                      <a:pt x="9" y="54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36" name="Freeform 106">
                <a:extLst>
                  <a:ext uri="{FF2B5EF4-FFF2-40B4-BE49-F238E27FC236}">
                    <a16:creationId xmlns:a16="http://schemas.microsoft.com/office/drawing/2014/main" id="{E24C7937-A35D-DC8B-10AA-26695C7CCF1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850363" y="6857383"/>
                <a:ext cx="67984" cy="89134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2 h 25"/>
                  <a:gd name="T18" fmla="*/ 10 w 19"/>
                  <a:gd name="T19" fmla="*/ 21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37" name="Freeform 135">
                <a:extLst>
                  <a:ext uri="{FF2B5EF4-FFF2-40B4-BE49-F238E27FC236}">
                    <a16:creationId xmlns:a16="http://schemas.microsoft.com/office/drawing/2014/main" id="{AFC37F9E-2A96-D883-4314-F50C14A0E0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03296" y="5615554"/>
                <a:ext cx="60430" cy="111795"/>
              </a:xfrm>
              <a:custGeom>
                <a:avLst/>
                <a:gdLst>
                  <a:gd name="T0" fmla="*/ 19 w 40"/>
                  <a:gd name="T1" fmla="*/ 14 h 74"/>
                  <a:gd name="T2" fmla="*/ 4 w 40"/>
                  <a:gd name="T3" fmla="*/ 24 h 74"/>
                  <a:gd name="T4" fmla="*/ 0 w 40"/>
                  <a:gd name="T5" fmla="*/ 14 h 74"/>
                  <a:gd name="T6" fmla="*/ 21 w 40"/>
                  <a:gd name="T7" fmla="*/ 0 h 74"/>
                  <a:gd name="T8" fmla="*/ 30 w 40"/>
                  <a:gd name="T9" fmla="*/ 0 h 74"/>
                  <a:gd name="T10" fmla="*/ 30 w 40"/>
                  <a:gd name="T11" fmla="*/ 64 h 74"/>
                  <a:gd name="T12" fmla="*/ 40 w 40"/>
                  <a:gd name="T13" fmla="*/ 64 h 74"/>
                  <a:gd name="T14" fmla="*/ 40 w 40"/>
                  <a:gd name="T15" fmla="*/ 74 h 74"/>
                  <a:gd name="T16" fmla="*/ 9 w 40"/>
                  <a:gd name="T17" fmla="*/ 74 h 74"/>
                  <a:gd name="T18" fmla="*/ 9 w 40"/>
                  <a:gd name="T19" fmla="*/ 64 h 74"/>
                  <a:gd name="T20" fmla="*/ 19 w 40"/>
                  <a:gd name="T21" fmla="*/ 64 h 74"/>
                  <a:gd name="T22" fmla="*/ 19 w 40"/>
                  <a:gd name="T23" fmla="*/ 1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4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4"/>
                    </a:lnTo>
                    <a:lnTo>
                      <a:pt x="9" y="74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38" name="Freeform 136">
                <a:extLst>
                  <a:ext uri="{FF2B5EF4-FFF2-40B4-BE49-F238E27FC236}">
                    <a16:creationId xmlns:a16="http://schemas.microsoft.com/office/drawing/2014/main" id="{4A5C0618-2277-EB6E-8A05-557FF410C8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392720" y="5804396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8 h 32"/>
                  <a:gd name="T14" fmla="*/ 16 w 21"/>
                  <a:gd name="T15" fmla="*/ 16 h 32"/>
                  <a:gd name="T16" fmla="*/ 10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0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0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39" name="Freeform 137">
                <a:extLst>
                  <a:ext uri="{FF2B5EF4-FFF2-40B4-BE49-F238E27FC236}">
                    <a16:creationId xmlns:a16="http://schemas.microsoft.com/office/drawing/2014/main" id="{A4D9D7CD-9B57-7137-44C0-9CDE94D5F5A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392720" y="6186614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6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40" name="Freeform 138">
                <a:extLst>
                  <a:ext uri="{FF2B5EF4-FFF2-40B4-BE49-F238E27FC236}">
                    <a16:creationId xmlns:a16="http://schemas.microsoft.com/office/drawing/2014/main" id="{A820336E-1B9B-D146-E843-45B5689A4A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03296" y="6379989"/>
                <a:ext cx="60430" cy="107263"/>
              </a:xfrm>
              <a:custGeom>
                <a:avLst/>
                <a:gdLst>
                  <a:gd name="T0" fmla="*/ 19 w 40"/>
                  <a:gd name="T1" fmla="*/ 12 h 71"/>
                  <a:gd name="T2" fmla="*/ 4 w 40"/>
                  <a:gd name="T3" fmla="*/ 21 h 71"/>
                  <a:gd name="T4" fmla="*/ 0 w 40"/>
                  <a:gd name="T5" fmla="*/ 12 h 71"/>
                  <a:gd name="T6" fmla="*/ 21 w 40"/>
                  <a:gd name="T7" fmla="*/ 0 h 71"/>
                  <a:gd name="T8" fmla="*/ 30 w 40"/>
                  <a:gd name="T9" fmla="*/ 0 h 71"/>
                  <a:gd name="T10" fmla="*/ 30 w 40"/>
                  <a:gd name="T11" fmla="*/ 64 h 71"/>
                  <a:gd name="T12" fmla="*/ 40 w 40"/>
                  <a:gd name="T13" fmla="*/ 64 h 71"/>
                  <a:gd name="T14" fmla="*/ 40 w 40"/>
                  <a:gd name="T15" fmla="*/ 71 h 71"/>
                  <a:gd name="T16" fmla="*/ 9 w 40"/>
                  <a:gd name="T17" fmla="*/ 71 h 71"/>
                  <a:gd name="T18" fmla="*/ 9 w 40"/>
                  <a:gd name="T19" fmla="*/ 64 h 71"/>
                  <a:gd name="T20" fmla="*/ 19 w 40"/>
                  <a:gd name="T21" fmla="*/ 64 h 71"/>
                  <a:gd name="T22" fmla="*/ 19 w 40"/>
                  <a:gd name="T23" fmla="*/ 1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1">
                    <a:moveTo>
                      <a:pt x="19" y="12"/>
                    </a:moveTo>
                    <a:lnTo>
                      <a:pt x="4" y="21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1"/>
                    </a:lnTo>
                    <a:lnTo>
                      <a:pt x="9" y="71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41" name="Freeform 139">
                <a:extLst>
                  <a:ext uri="{FF2B5EF4-FFF2-40B4-BE49-F238E27FC236}">
                    <a16:creationId xmlns:a16="http://schemas.microsoft.com/office/drawing/2014/main" id="{B8D56DF3-2282-88FC-5887-A291A1494C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03296" y="6568831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42" name="Freeform 140">
                <a:extLst>
                  <a:ext uri="{FF2B5EF4-FFF2-40B4-BE49-F238E27FC236}">
                    <a16:creationId xmlns:a16="http://schemas.microsoft.com/office/drawing/2014/main" id="{DABD0055-1414-18D7-1844-1CE55E0A76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03296" y="6757674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43" name="Freeform 149">
                <a:extLst>
                  <a:ext uri="{FF2B5EF4-FFF2-40B4-BE49-F238E27FC236}">
                    <a16:creationId xmlns:a16="http://schemas.microsoft.com/office/drawing/2014/main" id="{90D4A485-DED2-D002-B37F-AA22B1CA06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15269" y="5259018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44" name="Freeform 150">
                <a:extLst>
                  <a:ext uri="{FF2B5EF4-FFF2-40B4-BE49-F238E27FC236}">
                    <a16:creationId xmlns:a16="http://schemas.microsoft.com/office/drawing/2014/main" id="{E0DF2FBA-117E-7C54-AD87-1B2B4B32F7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400163" y="5541527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45" name="Freeform 151">
                <a:extLst>
                  <a:ext uri="{FF2B5EF4-FFF2-40B4-BE49-F238E27FC236}">
                    <a16:creationId xmlns:a16="http://schemas.microsoft.com/office/drawing/2014/main" id="{225A21DC-D31C-3BD6-77D2-52E5AD015E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15269" y="5830079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46" name="Freeform 152">
                <a:extLst>
                  <a:ext uri="{FF2B5EF4-FFF2-40B4-BE49-F238E27FC236}">
                    <a16:creationId xmlns:a16="http://schemas.microsoft.com/office/drawing/2014/main" id="{7BA48B97-501B-9608-16FE-CD9C8657193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400163" y="6112587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47" name="Freeform 153">
                <a:extLst>
                  <a:ext uri="{FF2B5EF4-FFF2-40B4-BE49-F238E27FC236}">
                    <a16:creationId xmlns:a16="http://schemas.microsoft.com/office/drawing/2014/main" id="{C0182812-5758-F048-B5C6-3E1FF2EAEE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15269" y="6401139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48" name="Freeform 154">
                <a:extLst>
                  <a:ext uri="{FF2B5EF4-FFF2-40B4-BE49-F238E27FC236}">
                    <a16:creationId xmlns:a16="http://schemas.microsoft.com/office/drawing/2014/main" id="{ABF2F825-ECB1-1FF7-D786-639F84DA42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15269" y="6686669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49" name="Line 8">
                <a:extLst>
                  <a:ext uri="{FF2B5EF4-FFF2-40B4-BE49-F238E27FC236}">
                    <a16:creationId xmlns:a16="http://schemas.microsoft.com/office/drawing/2014/main" id="{87977E31-B6DB-84AD-4A6D-87ECEE786BD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03374" y="5783246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50" name="Line 9">
                <a:extLst>
                  <a:ext uri="{FF2B5EF4-FFF2-40B4-BE49-F238E27FC236}">
                    <a16:creationId xmlns:a16="http://schemas.microsoft.com/office/drawing/2014/main" id="{7723205C-313F-60E9-80A6-D5BF1C1498A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03374" y="5783246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51" name="Freeform 10">
                <a:extLst>
                  <a:ext uri="{FF2B5EF4-FFF2-40B4-BE49-F238E27FC236}">
                    <a16:creationId xmlns:a16="http://schemas.microsoft.com/office/drawing/2014/main" id="{A74BA3AB-C0AD-BDD6-A69C-CCA2A42C81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6556" y="6854362"/>
                <a:ext cx="99709" cy="157117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8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7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7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8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7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7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52" name="Freeform 23">
                <a:extLst>
                  <a:ext uri="{FF2B5EF4-FFF2-40B4-BE49-F238E27FC236}">
                    <a16:creationId xmlns:a16="http://schemas.microsoft.com/office/drawing/2014/main" id="{0CDD7B18-CEC5-4626-2EA2-CE4A560C2AE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54046" y="6133738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8 h 32"/>
                  <a:gd name="T14" fmla="*/ 16 w 21"/>
                  <a:gd name="T15" fmla="*/ 16 h 32"/>
                  <a:gd name="T16" fmla="*/ 11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1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1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53" name="Freeform 24">
                <a:extLst>
                  <a:ext uri="{FF2B5EF4-FFF2-40B4-BE49-F238E27FC236}">
                    <a16:creationId xmlns:a16="http://schemas.microsoft.com/office/drawing/2014/main" id="{04B11314-D8C3-9E9D-11A0-4CE8A85A5EB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54046" y="6325602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5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54" name="Freeform 25">
                <a:extLst>
                  <a:ext uri="{FF2B5EF4-FFF2-40B4-BE49-F238E27FC236}">
                    <a16:creationId xmlns:a16="http://schemas.microsoft.com/office/drawing/2014/main" id="{5A55B802-1401-6CB4-4FE9-5BFD3B4908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57068" y="6707820"/>
                <a:ext cx="64962" cy="11028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2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2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55" name="Freeform 26">
                <a:extLst>
                  <a:ext uri="{FF2B5EF4-FFF2-40B4-BE49-F238E27FC236}">
                    <a16:creationId xmlns:a16="http://schemas.microsoft.com/office/drawing/2014/main" id="{B3516B55-A99A-F165-BF52-5F777C34FBF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54046" y="6896663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6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56" name="Freeform 43">
                <a:extLst>
                  <a:ext uri="{FF2B5EF4-FFF2-40B4-BE49-F238E27FC236}">
                    <a16:creationId xmlns:a16="http://schemas.microsoft.com/office/drawing/2014/main" id="{417209C3-9454-F034-DB4D-FE7DE8453C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25925" y="6333156"/>
                <a:ext cx="63451" cy="9366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5" y="0"/>
                      <a:pt x="18" y="5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57" name="Freeform 44">
                <a:extLst>
                  <a:ext uri="{FF2B5EF4-FFF2-40B4-BE49-F238E27FC236}">
                    <a16:creationId xmlns:a16="http://schemas.microsoft.com/office/drawing/2014/main" id="{D5E25E8E-B724-D5B7-CF35-5C27AB31AC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25925" y="6487252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1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58" name="Freeform 45">
                <a:extLst>
                  <a:ext uri="{FF2B5EF4-FFF2-40B4-BE49-F238E27FC236}">
                    <a16:creationId xmlns:a16="http://schemas.microsoft.com/office/drawing/2014/main" id="{9886C29D-A4AF-18BB-82BF-58B0C7D47B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28946" y="6793932"/>
                <a:ext cx="49855" cy="89134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49 h 59"/>
                  <a:gd name="T20" fmla="*/ 17 w 33"/>
                  <a:gd name="T21" fmla="*/ 49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59" name="Freeform 63">
                <a:extLst>
                  <a:ext uri="{FF2B5EF4-FFF2-40B4-BE49-F238E27FC236}">
                    <a16:creationId xmlns:a16="http://schemas.microsoft.com/office/drawing/2014/main" id="{2B8CA038-F1D3-1038-9FC7-7CC6A76BF0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756362" y="6333156"/>
                <a:ext cx="60430" cy="9366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4" y="0"/>
                      <a:pt x="17" y="5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60" name="Freeform 64">
                <a:extLst>
                  <a:ext uri="{FF2B5EF4-FFF2-40B4-BE49-F238E27FC236}">
                    <a16:creationId xmlns:a16="http://schemas.microsoft.com/office/drawing/2014/main" id="{B5A94128-4A79-F985-B4AF-07106CC7603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756362" y="6487252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1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61" name="Freeform 65">
                <a:extLst>
                  <a:ext uri="{FF2B5EF4-FFF2-40B4-BE49-F238E27FC236}">
                    <a16:creationId xmlns:a16="http://schemas.microsoft.com/office/drawing/2014/main" id="{5F41A01B-8F71-B28C-A5AC-073D68CEDF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60894" y="6793932"/>
                <a:ext cx="49855" cy="89134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49 h 59"/>
                  <a:gd name="T20" fmla="*/ 16 w 33"/>
                  <a:gd name="T21" fmla="*/ 49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62" name="Freeform 83">
                <a:extLst>
                  <a:ext uri="{FF2B5EF4-FFF2-40B4-BE49-F238E27FC236}">
                    <a16:creationId xmlns:a16="http://schemas.microsoft.com/office/drawing/2014/main" id="{BE98A96E-B552-D7A5-6DDF-895BBD0576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00062" y="6340710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3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63" name="Freeform 84">
                <a:extLst>
                  <a:ext uri="{FF2B5EF4-FFF2-40B4-BE49-F238E27FC236}">
                    <a16:creationId xmlns:a16="http://schemas.microsoft.com/office/drawing/2014/main" id="{BE41DCE3-3CB9-AB32-82A7-AD00F9CF2E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97040" y="6608111"/>
                <a:ext cx="110285" cy="164671"/>
              </a:xfrm>
              <a:custGeom>
                <a:avLst/>
                <a:gdLst>
                  <a:gd name="T0" fmla="*/ 31 w 31"/>
                  <a:gd name="T1" fmla="*/ 23 h 46"/>
                  <a:gd name="T2" fmla="*/ 15 w 31"/>
                  <a:gd name="T3" fmla="*/ 46 h 46"/>
                  <a:gd name="T4" fmla="*/ 0 w 31"/>
                  <a:gd name="T5" fmla="*/ 23 h 46"/>
                  <a:gd name="T6" fmla="*/ 15 w 31"/>
                  <a:gd name="T7" fmla="*/ 0 h 46"/>
                  <a:gd name="T8" fmla="*/ 31 w 31"/>
                  <a:gd name="T9" fmla="*/ 23 h 46"/>
                  <a:gd name="T10" fmla="*/ 8 w 31"/>
                  <a:gd name="T11" fmla="*/ 23 h 46"/>
                  <a:gd name="T12" fmla="*/ 15 w 31"/>
                  <a:gd name="T13" fmla="*/ 39 h 46"/>
                  <a:gd name="T14" fmla="*/ 23 w 31"/>
                  <a:gd name="T15" fmla="*/ 23 h 46"/>
                  <a:gd name="T16" fmla="*/ 15 w 31"/>
                  <a:gd name="T17" fmla="*/ 7 h 46"/>
                  <a:gd name="T18" fmla="*/ 8 w 31"/>
                  <a:gd name="T19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6">
                    <a:moveTo>
                      <a:pt x="31" y="23"/>
                    </a:moveTo>
                    <a:cubicBezTo>
                      <a:pt x="31" y="38"/>
                      <a:pt x="26" y="46"/>
                      <a:pt x="15" y="46"/>
                    </a:cubicBezTo>
                    <a:cubicBezTo>
                      <a:pt x="5" y="46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7"/>
                      <a:pt x="15" y="7"/>
                    </a:cubicBezTo>
                    <a:cubicBezTo>
                      <a:pt x="10" y="7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64" name="Freeform 85">
                <a:extLst>
                  <a:ext uri="{FF2B5EF4-FFF2-40B4-BE49-F238E27FC236}">
                    <a16:creationId xmlns:a16="http://schemas.microsoft.com/office/drawing/2014/main" id="{2BE1A29C-743A-CBFC-129C-A5A7F92655E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97040" y="6880045"/>
                <a:ext cx="110285" cy="160139"/>
              </a:xfrm>
              <a:custGeom>
                <a:avLst/>
                <a:gdLst>
                  <a:gd name="T0" fmla="*/ 31 w 31"/>
                  <a:gd name="T1" fmla="*/ 23 h 45"/>
                  <a:gd name="T2" fmla="*/ 15 w 31"/>
                  <a:gd name="T3" fmla="*/ 45 h 45"/>
                  <a:gd name="T4" fmla="*/ 0 w 31"/>
                  <a:gd name="T5" fmla="*/ 23 h 45"/>
                  <a:gd name="T6" fmla="*/ 15 w 31"/>
                  <a:gd name="T7" fmla="*/ 0 h 45"/>
                  <a:gd name="T8" fmla="*/ 31 w 31"/>
                  <a:gd name="T9" fmla="*/ 23 h 45"/>
                  <a:gd name="T10" fmla="*/ 8 w 31"/>
                  <a:gd name="T11" fmla="*/ 23 h 45"/>
                  <a:gd name="T12" fmla="*/ 15 w 31"/>
                  <a:gd name="T13" fmla="*/ 39 h 45"/>
                  <a:gd name="T14" fmla="*/ 23 w 31"/>
                  <a:gd name="T15" fmla="*/ 23 h 45"/>
                  <a:gd name="T16" fmla="*/ 15 w 31"/>
                  <a:gd name="T17" fmla="*/ 6 h 45"/>
                  <a:gd name="T18" fmla="*/ 8 w 31"/>
                  <a:gd name="T19" fmla="*/ 2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31" y="23"/>
                    </a:moveTo>
                    <a:cubicBezTo>
                      <a:pt x="31" y="38"/>
                      <a:pt x="26" y="45"/>
                      <a:pt x="15" y="45"/>
                    </a:cubicBezTo>
                    <a:cubicBezTo>
                      <a:pt x="5" y="45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6"/>
                      <a:pt x="15" y="6"/>
                    </a:cubicBezTo>
                    <a:cubicBezTo>
                      <a:pt x="10" y="6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65" name="Freeform 95">
                <a:extLst>
                  <a:ext uri="{FF2B5EF4-FFF2-40B4-BE49-F238E27FC236}">
                    <a16:creationId xmlns:a16="http://schemas.microsoft.com/office/drawing/2014/main" id="{A3DEFE23-6B59-59DC-564D-9D7AA137C7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1996" y="5455415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66" name="Freeform 96">
                <a:extLst>
                  <a:ext uri="{FF2B5EF4-FFF2-40B4-BE49-F238E27FC236}">
                    <a16:creationId xmlns:a16="http://schemas.microsoft.com/office/drawing/2014/main" id="{2B70D136-9408-4BB5-30CE-406BD2E28FF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67464" y="5601957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67" name="Freeform 97">
                <a:extLst>
                  <a:ext uri="{FF2B5EF4-FFF2-40B4-BE49-F238E27FC236}">
                    <a16:creationId xmlns:a16="http://schemas.microsoft.com/office/drawing/2014/main" id="{C272FA33-9688-7F7E-4040-35A3C7786F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1996" y="5748499"/>
                <a:ext cx="52876" cy="84602"/>
              </a:xfrm>
              <a:custGeom>
                <a:avLst/>
                <a:gdLst>
                  <a:gd name="T0" fmla="*/ 16 w 35"/>
                  <a:gd name="T1" fmla="*/ 14 h 56"/>
                  <a:gd name="T2" fmla="*/ 7 w 35"/>
                  <a:gd name="T3" fmla="*/ 21 h 56"/>
                  <a:gd name="T4" fmla="*/ 0 w 35"/>
                  <a:gd name="T5" fmla="*/ 11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4"/>
                    </a:moveTo>
                    <a:lnTo>
                      <a:pt x="7" y="21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68" name="Freeform 98">
                <a:extLst>
                  <a:ext uri="{FF2B5EF4-FFF2-40B4-BE49-F238E27FC236}">
                    <a16:creationId xmlns:a16="http://schemas.microsoft.com/office/drawing/2014/main" id="{BB638495-E53A-8971-C2F8-96ED41C3970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67464" y="5895041"/>
                <a:ext cx="67984" cy="84602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69" name="Freeform 99">
                <a:extLst>
                  <a:ext uri="{FF2B5EF4-FFF2-40B4-BE49-F238E27FC236}">
                    <a16:creationId xmlns:a16="http://schemas.microsoft.com/office/drawing/2014/main" id="{5C3A6E74-43B0-C28E-1F25-38A7DED156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1996" y="6040072"/>
                <a:ext cx="52876" cy="86113"/>
              </a:xfrm>
              <a:custGeom>
                <a:avLst/>
                <a:gdLst>
                  <a:gd name="T0" fmla="*/ 16 w 35"/>
                  <a:gd name="T1" fmla="*/ 15 h 57"/>
                  <a:gd name="T2" fmla="*/ 7 w 35"/>
                  <a:gd name="T3" fmla="*/ 22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8 h 57"/>
                  <a:gd name="T12" fmla="*/ 35 w 35"/>
                  <a:gd name="T13" fmla="*/ 48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8 h 57"/>
                  <a:gd name="T20" fmla="*/ 16 w 35"/>
                  <a:gd name="T21" fmla="*/ 48 h 57"/>
                  <a:gd name="T22" fmla="*/ 16 w 35"/>
                  <a:gd name="T23" fmla="*/ 1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5"/>
                    </a:moveTo>
                    <a:lnTo>
                      <a:pt x="7" y="22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5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70" name="Freeform 100">
                <a:extLst>
                  <a:ext uri="{FF2B5EF4-FFF2-40B4-BE49-F238E27FC236}">
                    <a16:creationId xmlns:a16="http://schemas.microsoft.com/office/drawing/2014/main" id="{2B4B1E3E-BAA8-44BE-4DD3-B6EDE08D9DF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67464" y="6186614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71" name="Freeform 101">
                <a:extLst>
                  <a:ext uri="{FF2B5EF4-FFF2-40B4-BE49-F238E27FC236}">
                    <a16:creationId xmlns:a16="http://schemas.microsoft.com/office/drawing/2014/main" id="{42934CDF-8602-2192-4427-70696FBD9B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1996" y="6333156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72" name="Freeform 102">
                <a:extLst>
                  <a:ext uri="{FF2B5EF4-FFF2-40B4-BE49-F238E27FC236}">
                    <a16:creationId xmlns:a16="http://schemas.microsoft.com/office/drawing/2014/main" id="{417E632B-D8F0-AAB9-F7E6-193DDCF1C3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1996" y="6479698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73" name="Freeform 103">
                <a:extLst>
                  <a:ext uri="{FF2B5EF4-FFF2-40B4-BE49-F238E27FC236}">
                    <a16:creationId xmlns:a16="http://schemas.microsoft.com/office/drawing/2014/main" id="{0EF76F91-0565-839B-46DD-641210B274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1996" y="6629262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5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5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74" name="Freeform 104">
                <a:extLst>
                  <a:ext uri="{FF2B5EF4-FFF2-40B4-BE49-F238E27FC236}">
                    <a16:creationId xmlns:a16="http://schemas.microsoft.com/office/drawing/2014/main" id="{26B26823-6718-D9EA-5665-62023D10D8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67464" y="6772782"/>
                <a:ext cx="67984" cy="89134"/>
              </a:xfrm>
              <a:custGeom>
                <a:avLst/>
                <a:gdLst>
                  <a:gd name="T0" fmla="*/ 17 w 19"/>
                  <a:gd name="T1" fmla="*/ 4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4 h 25"/>
                  <a:gd name="T16" fmla="*/ 6 w 19"/>
                  <a:gd name="T17" fmla="*/ 12 h 25"/>
                  <a:gd name="T18" fmla="*/ 10 w 19"/>
                  <a:gd name="T19" fmla="*/ 20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3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75" name="Freeform 105">
                <a:extLst>
                  <a:ext uri="{FF2B5EF4-FFF2-40B4-BE49-F238E27FC236}">
                    <a16:creationId xmlns:a16="http://schemas.microsoft.com/office/drawing/2014/main" id="{A04252E3-DDAC-72F3-8A45-CCC8A12808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1996" y="6922346"/>
                <a:ext cx="52876" cy="81580"/>
              </a:xfrm>
              <a:custGeom>
                <a:avLst/>
                <a:gdLst>
                  <a:gd name="T0" fmla="*/ 16 w 35"/>
                  <a:gd name="T1" fmla="*/ 12 h 54"/>
                  <a:gd name="T2" fmla="*/ 7 w 35"/>
                  <a:gd name="T3" fmla="*/ 19 h 54"/>
                  <a:gd name="T4" fmla="*/ 0 w 35"/>
                  <a:gd name="T5" fmla="*/ 9 h 54"/>
                  <a:gd name="T6" fmla="*/ 19 w 35"/>
                  <a:gd name="T7" fmla="*/ 0 h 54"/>
                  <a:gd name="T8" fmla="*/ 28 w 35"/>
                  <a:gd name="T9" fmla="*/ 0 h 54"/>
                  <a:gd name="T10" fmla="*/ 28 w 35"/>
                  <a:gd name="T11" fmla="*/ 45 h 54"/>
                  <a:gd name="T12" fmla="*/ 35 w 35"/>
                  <a:gd name="T13" fmla="*/ 45 h 54"/>
                  <a:gd name="T14" fmla="*/ 35 w 35"/>
                  <a:gd name="T15" fmla="*/ 54 h 54"/>
                  <a:gd name="T16" fmla="*/ 9 w 35"/>
                  <a:gd name="T17" fmla="*/ 54 h 54"/>
                  <a:gd name="T18" fmla="*/ 9 w 35"/>
                  <a:gd name="T19" fmla="*/ 45 h 54"/>
                  <a:gd name="T20" fmla="*/ 16 w 35"/>
                  <a:gd name="T21" fmla="*/ 45 h 54"/>
                  <a:gd name="T22" fmla="*/ 16 w 35"/>
                  <a:gd name="T23" fmla="*/ 1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4">
                    <a:moveTo>
                      <a:pt x="16" y="12"/>
                    </a:moveTo>
                    <a:lnTo>
                      <a:pt x="7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4"/>
                    </a:lnTo>
                    <a:lnTo>
                      <a:pt x="9" y="54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76" name="Freeform 135">
                <a:extLst>
                  <a:ext uri="{FF2B5EF4-FFF2-40B4-BE49-F238E27FC236}">
                    <a16:creationId xmlns:a16="http://schemas.microsoft.com/office/drawing/2014/main" id="{A48C4B03-EB05-FCDE-3C1B-6766257248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22085" y="5822526"/>
                <a:ext cx="60430" cy="111795"/>
              </a:xfrm>
              <a:custGeom>
                <a:avLst/>
                <a:gdLst>
                  <a:gd name="T0" fmla="*/ 19 w 40"/>
                  <a:gd name="T1" fmla="*/ 14 h 74"/>
                  <a:gd name="T2" fmla="*/ 4 w 40"/>
                  <a:gd name="T3" fmla="*/ 24 h 74"/>
                  <a:gd name="T4" fmla="*/ 0 w 40"/>
                  <a:gd name="T5" fmla="*/ 14 h 74"/>
                  <a:gd name="T6" fmla="*/ 21 w 40"/>
                  <a:gd name="T7" fmla="*/ 0 h 74"/>
                  <a:gd name="T8" fmla="*/ 30 w 40"/>
                  <a:gd name="T9" fmla="*/ 0 h 74"/>
                  <a:gd name="T10" fmla="*/ 30 w 40"/>
                  <a:gd name="T11" fmla="*/ 64 h 74"/>
                  <a:gd name="T12" fmla="*/ 40 w 40"/>
                  <a:gd name="T13" fmla="*/ 64 h 74"/>
                  <a:gd name="T14" fmla="*/ 40 w 40"/>
                  <a:gd name="T15" fmla="*/ 74 h 74"/>
                  <a:gd name="T16" fmla="*/ 9 w 40"/>
                  <a:gd name="T17" fmla="*/ 74 h 74"/>
                  <a:gd name="T18" fmla="*/ 9 w 40"/>
                  <a:gd name="T19" fmla="*/ 64 h 74"/>
                  <a:gd name="T20" fmla="*/ 19 w 40"/>
                  <a:gd name="T21" fmla="*/ 64 h 74"/>
                  <a:gd name="T22" fmla="*/ 19 w 40"/>
                  <a:gd name="T23" fmla="*/ 1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4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4"/>
                    </a:lnTo>
                    <a:lnTo>
                      <a:pt x="9" y="74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77" name="Freeform 136">
                <a:extLst>
                  <a:ext uri="{FF2B5EF4-FFF2-40B4-BE49-F238E27FC236}">
                    <a16:creationId xmlns:a16="http://schemas.microsoft.com/office/drawing/2014/main" id="{56E71FCD-6486-0B45-F366-A69A14D8B6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17554" y="6011368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8 h 32"/>
                  <a:gd name="T14" fmla="*/ 16 w 21"/>
                  <a:gd name="T15" fmla="*/ 16 h 32"/>
                  <a:gd name="T16" fmla="*/ 10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0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0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78" name="Freeform 137">
                <a:extLst>
                  <a:ext uri="{FF2B5EF4-FFF2-40B4-BE49-F238E27FC236}">
                    <a16:creationId xmlns:a16="http://schemas.microsoft.com/office/drawing/2014/main" id="{685072CD-62B3-59A1-13CD-DA96CDD5EA8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17554" y="6393586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6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79" name="Freeform 138">
                <a:extLst>
                  <a:ext uri="{FF2B5EF4-FFF2-40B4-BE49-F238E27FC236}">
                    <a16:creationId xmlns:a16="http://schemas.microsoft.com/office/drawing/2014/main" id="{CF9CF1A0-909A-2302-5900-044DB67034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22085" y="6586961"/>
                <a:ext cx="60430" cy="107263"/>
              </a:xfrm>
              <a:custGeom>
                <a:avLst/>
                <a:gdLst>
                  <a:gd name="T0" fmla="*/ 19 w 40"/>
                  <a:gd name="T1" fmla="*/ 12 h 71"/>
                  <a:gd name="T2" fmla="*/ 4 w 40"/>
                  <a:gd name="T3" fmla="*/ 21 h 71"/>
                  <a:gd name="T4" fmla="*/ 0 w 40"/>
                  <a:gd name="T5" fmla="*/ 12 h 71"/>
                  <a:gd name="T6" fmla="*/ 21 w 40"/>
                  <a:gd name="T7" fmla="*/ 0 h 71"/>
                  <a:gd name="T8" fmla="*/ 30 w 40"/>
                  <a:gd name="T9" fmla="*/ 0 h 71"/>
                  <a:gd name="T10" fmla="*/ 30 w 40"/>
                  <a:gd name="T11" fmla="*/ 64 h 71"/>
                  <a:gd name="T12" fmla="*/ 40 w 40"/>
                  <a:gd name="T13" fmla="*/ 64 h 71"/>
                  <a:gd name="T14" fmla="*/ 40 w 40"/>
                  <a:gd name="T15" fmla="*/ 71 h 71"/>
                  <a:gd name="T16" fmla="*/ 9 w 40"/>
                  <a:gd name="T17" fmla="*/ 71 h 71"/>
                  <a:gd name="T18" fmla="*/ 9 w 40"/>
                  <a:gd name="T19" fmla="*/ 64 h 71"/>
                  <a:gd name="T20" fmla="*/ 19 w 40"/>
                  <a:gd name="T21" fmla="*/ 64 h 71"/>
                  <a:gd name="T22" fmla="*/ 19 w 40"/>
                  <a:gd name="T23" fmla="*/ 1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1">
                    <a:moveTo>
                      <a:pt x="19" y="12"/>
                    </a:moveTo>
                    <a:lnTo>
                      <a:pt x="4" y="21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1"/>
                    </a:lnTo>
                    <a:lnTo>
                      <a:pt x="9" y="71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80" name="Freeform 139">
                <a:extLst>
                  <a:ext uri="{FF2B5EF4-FFF2-40B4-BE49-F238E27FC236}">
                    <a16:creationId xmlns:a16="http://schemas.microsoft.com/office/drawing/2014/main" id="{B914D8C5-DE5A-20DC-C405-968AF64D5A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22085" y="6775803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81" name="Freeform 149">
                <a:extLst>
                  <a:ext uri="{FF2B5EF4-FFF2-40B4-BE49-F238E27FC236}">
                    <a16:creationId xmlns:a16="http://schemas.microsoft.com/office/drawing/2014/main" id="{8999CFFA-0A83-3460-38F9-4955D4501C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78386" y="5465991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82" name="Freeform 150">
                <a:extLst>
                  <a:ext uri="{FF2B5EF4-FFF2-40B4-BE49-F238E27FC236}">
                    <a16:creationId xmlns:a16="http://schemas.microsoft.com/office/drawing/2014/main" id="{6237D83B-480C-04EF-8D13-9EC80786C89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470831" y="5748499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83" name="Freeform 151">
                <a:extLst>
                  <a:ext uri="{FF2B5EF4-FFF2-40B4-BE49-F238E27FC236}">
                    <a16:creationId xmlns:a16="http://schemas.microsoft.com/office/drawing/2014/main" id="{61D73812-8E15-9D3E-9211-B1B1E5366B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78386" y="6037051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84" name="Freeform 152">
                <a:extLst>
                  <a:ext uri="{FF2B5EF4-FFF2-40B4-BE49-F238E27FC236}">
                    <a16:creationId xmlns:a16="http://schemas.microsoft.com/office/drawing/2014/main" id="{31B600AB-29B9-9EBA-67DC-99B78C80B2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470831" y="6319559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85" name="Freeform 153">
                <a:extLst>
                  <a:ext uri="{FF2B5EF4-FFF2-40B4-BE49-F238E27FC236}">
                    <a16:creationId xmlns:a16="http://schemas.microsoft.com/office/drawing/2014/main" id="{A1150B77-B107-E7DA-62CB-8AF972D3F5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78386" y="6608111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86" name="Freeform 154">
                <a:extLst>
                  <a:ext uri="{FF2B5EF4-FFF2-40B4-BE49-F238E27FC236}">
                    <a16:creationId xmlns:a16="http://schemas.microsoft.com/office/drawing/2014/main" id="{2BEDD8E2-E8B8-0FF0-CB1B-E670B45603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78386" y="6893641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</p:grpSp>
        <p:sp>
          <p:nvSpPr>
            <p:cNvPr id="814" name="TextBox 813">
              <a:extLst>
                <a:ext uri="{FF2B5EF4-FFF2-40B4-BE49-F238E27FC236}">
                  <a16:creationId xmlns:a16="http://schemas.microsoft.com/office/drawing/2014/main" id="{73924273-0325-B9C3-FB09-B4AFA4249AE4}"/>
                </a:ext>
              </a:extLst>
            </p:cNvPr>
            <p:cNvSpPr txBox="1"/>
            <p:nvPr/>
          </p:nvSpPr>
          <p:spPr>
            <a:xfrm>
              <a:off x="713854" y="5637046"/>
              <a:ext cx="1229356" cy="26093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defTabSz="913486">
                <a:lnSpc>
                  <a:spcPct val="110000"/>
                </a:lnSpc>
                <a:defRPr/>
              </a:pPr>
              <a:r>
                <a:rPr lang="en-US" sz="800" b="1" dirty="0">
                  <a:solidFill>
                    <a:srgbClr val="00646E"/>
                  </a:solidFill>
                  <a:ea typeface="宋体" pitchFamily="2" charset="-122"/>
                  <a:cs typeface="Arial" charset="0"/>
                </a:rPr>
                <a:t>Data sources</a:t>
              </a:r>
            </a:p>
          </p:txBody>
        </p:sp>
        <p:sp>
          <p:nvSpPr>
            <p:cNvPr id="826" name="Rounded Rectangle 114">
              <a:extLst>
                <a:ext uri="{FF2B5EF4-FFF2-40B4-BE49-F238E27FC236}">
                  <a16:creationId xmlns:a16="http://schemas.microsoft.com/office/drawing/2014/main" id="{E6853CAE-9549-7BC2-F866-C26118605ED9}"/>
                </a:ext>
              </a:extLst>
            </p:cNvPr>
            <p:cNvSpPr/>
            <p:nvPr/>
          </p:nvSpPr>
          <p:spPr bwMode="auto">
            <a:xfrm>
              <a:off x="2451055" y="6334911"/>
              <a:ext cx="1379054" cy="454516"/>
            </a:xfrm>
            <a:prstGeom prst="roundRect">
              <a:avLst/>
            </a:prstGeom>
            <a:solidFill>
              <a:srgbClr val="FFFFFF"/>
            </a:solidFill>
            <a:ln w="25400" cap="flat" cmpd="sng" algn="ctr">
              <a:solidFill>
                <a:srgbClr val="32A0A0"/>
              </a:solidFill>
              <a:prstDash val="solid"/>
            </a:ln>
            <a:effectLst/>
          </p:spPr>
          <p:txBody>
            <a:bodyPr wrap="square" lIns="93357" tIns="46680" rIns="93357" bIns="46680" numCol="1" spcCol="143928" rtlCol="0" anchor="ctr">
              <a:noAutofit/>
            </a:bodyPr>
            <a:lstStyle/>
            <a:p>
              <a:pPr algn="ctr" defTabSz="790551">
                <a:lnSpc>
                  <a:spcPct val="110000"/>
                </a:lnSpc>
                <a:spcBef>
                  <a:spcPct val="0"/>
                </a:spcBef>
                <a:defRPr/>
              </a:pPr>
              <a:r>
                <a:rPr lang="en-US" sz="300" b="1" kern="0" dirty="0">
                  <a:solidFill>
                    <a:srgbClr val="000000"/>
                  </a:solidFill>
                </a:rPr>
                <a:t>Analytics and Optimization Systems</a:t>
              </a:r>
            </a:p>
          </p:txBody>
        </p:sp>
        <p:sp>
          <p:nvSpPr>
            <p:cNvPr id="827" name="Rounded Rectangle 115">
              <a:extLst>
                <a:ext uri="{FF2B5EF4-FFF2-40B4-BE49-F238E27FC236}">
                  <a16:creationId xmlns:a16="http://schemas.microsoft.com/office/drawing/2014/main" id="{B61FBA44-CEB2-3F25-EB34-316AC4049C05}"/>
                </a:ext>
              </a:extLst>
            </p:cNvPr>
            <p:cNvSpPr/>
            <p:nvPr/>
          </p:nvSpPr>
          <p:spPr bwMode="auto">
            <a:xfrm>
              <a:off x="4412381" y="6329529"/>
              <a:ext cx="1401414" cy="468290"/>
            </a:xfrm>
            <a:prstGeom prst="roundRect">
              <a:avLst/>
            </a:prstGeom>
            <a:solidFill>
              <a:srgbClr val="FFFFFF"/>
            </a:solidFill>
            <a:ln w="25400" cap="flat" cmpd="sng" algn="ctr">
              <a:solidFill>
                <a:srgbClr val="32A0A0"/>
              </a:solidFill>
              <a:prstDash val="solid"/>
            </a:ln>
            <a:effectLst/>
          </p:spPr>
          <p:txBody>
            <a:bodyPr wrap="square" lIns="93357" tIns="46680" rIns="93357" bIns="46680" numCol="1" spcCol="143928" rtlCol="0" anchor="ctr">
              <a:noAutofit/>
            </a:bodyPr>
            <a:lstStyle/>
            <a:p>
              <a:pPr algn="ctr" defTabSz="790551">
                <a:lnSpc>
                  <a:spcPct val="110000"/>
                </a:lnSpc>
                <a:spcBef>
                  <a:spcPct val="0"/>
                </a:spcBef>
                <a:defRPr/>
              </a:pPr>
              <a:r>
                <a:rPr lang="en-US" sz="300" b="1" kern="0" dirty="0">
                  <a:solidFill>
                    <a:srgbClr val="000000"/>
                  </a:solidFill>
                </a:rPr>
                <a:t>Business and Cross-Functional Systems</a:t>
              </a:r>
            </a:p>
          </p:txBody>
        </p:sp>
        <p:sp>
          <p:nvSpPr>
            <p:cNvPr id="828" name="Freihandform: Form 134">
              <a:extLst>
                <a:ext uri="{FF2B5EF4-FFF2-40B4-BE49-F238E27FC236}">
                  <a16:creationId xmlns:a16="http://schemas.microsoft.com/office/drawing/2014/main" id="{6BCB7E66-162D-A7A4-21F8-582B93E693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0580" y="5683748"/>
              <a:ext cx="214447" cy="290228"/>
            </a:xfrm>
            <a:custGeom>
              <a:avLst/>
              <a:gdLst>
                <a:gd name="connsiteX0" fmla="*/ 0 w 3200400"/>
                <a:gd name="connsiteY0" fmla="*/ 2746376 h 3870326"/>
                <a:gd name="connsiteX1" fmla="*/ 1609140 w 3200400"/>
                <a:gd name="connsiteY1" fmla="*/ 3121026 h 3870326"/>
                <a:gd name="connsiteX2" fmla="*/ 3200400 w 3200400"/>
                <a:gd name="connsiteY2" fmla="*/ 2746376 h 3870326"/>
                <a:gd name="connsiteX3" fmla="*/ 3200400 w 3200400"/>
                <a:gd name="connsiteY3" fmla="*/ 3495676 h 3870326"/>
                <a:gd name="connsiteX4" fmla="*/ 1609140 w 3200400"/>
                <a:gd name="connsiteY4" fmla="*/ 3870326 h 3870326"/>
                <a:gd name="connsiteX5" fmla="*/ 0 w 3200400"/>
                <a:gd name="connsiteY5" fmla="*/ 3495676 h 3870326"/>
                <a:gd name="connsiteX6" fmla="*/ 0 w 3200400"/>
                <a:gd name="connsiteY6" fmla="*/ 2746376 h 3870326"/>
                <a:gd name="connsiteX7" fmla="*/ 0 w 3200400"/>
                <a:gd name="connsiteY7" fmla="*/ 1717675 h 3870326"/>
                <a:gd name="connsiteX8" fmla="*/ 1609140 w 3200400"/>
                <a:gd name="connsiteY8" fmla="*/ 2092325 h 3870326"/>
                <a:gd name="connsiteX9" fmla="*/ 3200400 w 3200400"/>
                <a:gd name="connsiteY9" fmla="*/ 1717675 h 3870326"/>
                <a:gd name="connsiteX10" fmla="*/ 3200400 w 3200400"/>
                <a:gd name="connsiteY10" fmla="*/ 2466975 h 3870326"/>
                <a:gd name="connsiteX11" fmla="*/ 1609140 w 3200400"/>
                <a:gd name="connsiteY11" fmla="*/ 2841625 h 3870326"/>
                <a:gd name="connsiteX12" fmla="*/ 0 w 3200400"/>
                <a:gd name="connsiteY12" fmla="*/ 2466975 h 3870326"/>
                <a:gd name="connsiteX13" fmla="*/ 0 w 3200400"/>
                <a:gd name="connsiteY13" fmla="*/ 1717675 h 3870326"/>
                <a:gd name="connsiteX14" fmla="*/ 0 w 3200400"/>
                <a:gd name="connsiteY14" fmla="*/ 688975 h 3870326"/>
                <a:gd name="connsiteX15" fmla="*/ 1609140 w 3200400"/>
                <a:gd name="connsiteY15" fmla="*/ 1063625 h 3870326"/>
                <a:gd name="connsiteX16" fmla="*/ 3200400 w 3200400"/>
                <a:gd name="connsiteY16" fmla="*/ 688975 h 3870326"/>
                <a:gd name="connsiteX17" fmla="*/ 3200400 w 3200400"/>
                <a:gd name="connsiteY17" fmla="*/ 1438275 h 3870326"/>
                <a:gd name="connsiteX18" fmla="*/ 1609140 w 3200400"/>
                <a:gd name="connsiteY18" fmla="*/ 1812925 h 3870326"/>
                <a:gd name="connsiteX19" fmla="*/ 0 w 3200400"/>
                <a:gd name="connsiteY19" fmla="*/ 1438275 h 3870326"/>
                <a:gd name="connsiteX20" fmla="*/ 0 w 3200400"/>
                <a:gd name="connsiteY20" fmla="*/ 688975 h 3870326"/>
                <a:gd name="connsiteX21" fmla="*/ 1600200 w 3200400"/>
                <a:gd name="connsiteY21" fmla="*/ 0 h 3870326"/>
                <a:gd name="connsiteX22" fmla="*/ 3200400 w 3200400"/>
                <a:gd name="connsiteY22" fmla="*/ 392113 h 3870326"/>
                <a:gd name="connsiteX23" fmla="*/ 1600200 w 3200400"/>
                <a:gd name="connsiteY23" fmla="*/ 784226 h 3870326"/>
                <a:gd name="connsiteX24" fmla="*/ 0 w 3200400"/>
                <a:gd name="connsiteY24" fmla="*/ 392113 h 3870326"/>
                <a:gd name="connsiteX25" fmla="*/ 1600200 w 3200400"/>
                <a:gd name="connsiteY25" fmla="*/ 0 h 3870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200400" h="3870326">
                  <a:moveTo>
                    <a:pt x="0" y="2746376"/>
                  </a:moveTo>
                  <a:cubicBezTo>
                    <a:pt x="0" y="2960462"/>
                    <a:pt x="715173" y="3121026"/>
                    <a:pt x="1609140" y="3121026"/>
                  </a:cubicBezTo>
                  <a:cubicBezTo>
                    <a:pt x="2485227" y="3121026"/>
                    <a:pt x="3200400" y="2960462"/>
                    <a:pt x="3200400" y="2746376"/>
                  </a:cubicBezTo>
                  <a:cubicBezTo>
                    <a:pt x="3200400" y="2746376"/>
                    <a:pt x="3200400" y="2746376"/>
                    <a:pt x="3200400" y="3495676"/>
                  </a:cubicBezTo>
                  <a:cubicBezTo>
                    <a:pt x="3200400" y="3691921"/>
                    <a:pt x="2485227" y="3870326"/>
                    <a:pt x="1609140" y="3870326"/>
                  </a:cubicBezTo>
                  <a:cubicBezTo>
                    <a:pt x="715173" y="3870326"/>
                    <a:pt x="0" y="3691921"/>
                    <a:pt x="0" y="3495676"/>
                  </a:cubicBezTo>
                  <a:cubicBezTo>
                    <a:pt x="0" y="3495676"/>
                    <a:pt x="0" y="3495676"/>
                    <a:pt x="0" y="2746376"/>
                  </a:cubicBezTo>
                  <a:close/>
                  <a:moveTo>
                    <a:pt x="0" y="1717675"/>
                  </a:moveTo>
                  <a:cubicBezTo>
                    <a:pt x="0" y="1931761"/>
                    <a:pt x="715173" y="2092325"/>
                    <a:pt x="1609140" y="2092325"/>
                  </a:cubicBezTo>
                  <a:cubicBezTo>
                    <a:pt x="2485227" y="2092325"/>
                    <a:pt x="3200400" y="1931761"/>
                    <a:pt x="3200400" y="1717675"/>
                  </a:cubicBezTo>
                  <a:cubicBezTo>
                    <a:pt x="3200400" y="1717675"/>
                    <a:pt x="3200400" y="1717675"/>
                    <a:pt x="3200400" y="2466975"/>
                  </a:cubicBezTo>
                  <a:cubicBezTo>
                    <a:pt x="3200400" y="2663220"/>
                    <a:pt x="2485227" y="2841625"/>
                    <a:pt x="1609140" y="2841625"/>
                  </a:cubicBezTo>
                  <a:cubicBezTo>
                    <a:pt x="715173" y="2841625"/>
                    <a:pt x="0" y="2663220"/>
                    <a:pt x="0" y="2466975"/>
                  </a:cubicBezTo>
                  <a:cubicBezTo>
                    <a:pt x="0" y="2466975"/>
                    <a:pt x="0" y="2466975"/>
                    <a:pt x="0" y="1717675"/>
                  </a:cubicBezTo>
                  <a:close/>
                  <a:moveTo>
                    <a:pt x="0" y="688975"/>
                  </a:moveTo>
                  <a:cubicBezTo>
                    <a:pt x="0" y="903061"/>
                    <a:pt x="715173" y="1063625"/>
                    <a:pt x="1609140" y="1063625"/>
                  </a:cubicBezTo>
                  <a:cubicBezTo>
                    <a:pt x="2485227" y="1063625"/>
                    <a:pt x="3200400" y="903061"/>
                    <a:pt x="3200400" y="688975"/>
                  </a:cubicBezTo>
                  <a:cubicBezTo>
                    <a:pt x="3200400" y="688975"/>
                    <a:pt x="3200400" y="688975"/>
                    <a:pt x="3200400" y="1438275"/>
                  </a:cubicBezTo>
                  <a:cubicBezTo>
                    <a:pt x="3200400" y="1652361"/>
                    <a:pt x="2485227" y="1812925"/>
                    <a:pt x="1609140" y="1812925"/>
                  </a:cubicBezTo>
                  <a:cubicBezTo>
                    <a:pt x="715173" y="1812925"/>
                    <a:pt x="0" y="1652361"/>
                    <a:pt x="0" y="1438275"/>
                  </a:cubicBezTo>
                  <a:cubicBezTo>
                    <a:pt x="0" y="1438275"/>
                    <a:pt x="0" y="1438275"/>
                    <a:pt x="0" y="688975"/>
                  </a:cubicBezTo>
                  <a:close/>
                  <a:moveTo>
                    <a:pt x="1600200" y="0"/>
                  </a:moveTo>
                  <a:cubicBezTo>
                    <a:pt x="2483966" y="0"/>
                    <a:pt x="3200400" y="175555"/>
                    <a:pt x="3200400" y="392113"/>
                  </a:cubicBezTo>
                  <a:cubicBezTo>
                    <a:pt x="3200400" y="608671"/>
                    <a:pt x="2483966" y="784226"/>
                    <a:pt x="1600200" y="784226"/>
                  </a:cubicBezTo>
                  <a:cubicBezTo>
                    <a:pt x="716434" y="784226"/>
                    <a:pt x="0" y="608671"/>
                    <a:pt x="0" y="392113"/>
                  </a:cubicBezTo>
                  <a:cubicBezTo>
                    <a:pt x="0" y="175555"/>
                    <a:pt x="716434" y="0"/>
                    <a:pt x="1600200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  <p:txBody>
            <a:bodyPr vert="horz" wrap="square" lIns="91344" tIns="45672" rIns="91344" bIns="45672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400">
                <a:solidFill>
                  <a:srgbClr val="000000"/>
                </a:solidFill>
              </a:endParaRPr>
            </a:p>
          </p:txBody>
        </p:sp>
        <p:sp>
          <p:nvSpPr>
            <p:cNvPr id="829" name="Freihandform: Form 164">
              <a:extLst>
                <a:ext uri="{FF2B5EF4-FFF2-40B4-BE49-F238E27FC236}">
                  <a16:creationId xmlns:a16="http://schemas.microsoft.com/office/drawing/2014/main" id="{B3289B67-4D63-2FD4-09BC-1B4649B213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36480" y="5683748"/>
              <a:ext cx="214447" cy="290228"/>
            </a:xfrm>
            <a:custGeom>
              <a:avLst/>
              <a:gdLst>
                <a:gd name="connsiteX0" fmla="*/ 0 w 3200400"/>
                <a:gd name="connsiteY0" fmla="*/ 2746376 h 3870326"/>
                <a:gd name="connsiteX1" fmla="*/ 1609140 w 3200400"/>
                <a:gd name="connsiteY1" fmla="*/ 3121026 h 3870326"/>
                <a:gd name="connsiteX2" fmla="*/ 3200400 w 3200400"/>
                <a:gd name="connsiteY2" fmla="*/ 2746376 h 3870326"/>
                <a:gd name="connsiteX3" fmla="*/ 3200400 w 3200400"/>
                <a:gd name="connsiteY3" fmla="*/ 3495676 h 3870326"/>
                <a:gd name="connsiteX4" fmla="*/ 1609140 w 3200400"/>
                <a:gd name="connsiteY4" fmla="*/ 3870326 h 3870326"/>
                <a:gd name="connsiteX5" fmla="*/ 0 w 3200400"/>
                <a:gd name="connsiteY5" fmla="*/ 3495676 h 3870326"/>
                <a:gd name="connsiteX6" fmla="*/ 0 w 3200400"/>
                <a:gd name="connsiteY6" fmla="*/ 2746376 h 3870326"/>
                <a:gd name="connsiteX7" fmla="*/ 0 w 3200400"/>
                <a:gd name="connsiteY7" fmla="*/ 1717675 h 3870326"/>
                <a:gd name="connsiteX8" fmla="*/ 1609140 w 3200400"/>
                <a:gd name="connsiteY8" fmla="*/ 2092325 h 3870326"/>
                <a:gd name="connsiteX9" fmla="*/ 3200400 w 3200400"/>
                <a:gd name="connsiteY9" fmla="*/ 1717675 h 3870326"/>
                <a:gd name="connsiteX10" fmla="*/ 3200400 w 3200400"/>
                <a:gd name="connsiteY10" fmla="*/ 2466975 h 3870326"/>
                <a:gd name="connsiteX11" fmla="*/ 1609140 w 3200400"/>
                <a:gd name="connsiteY11" fmla="*/ 2841625 h 3870326"/>
                <a:gd name="connsiteX12" fmla="*/ 0 w 3200400"/>
                <a:gd name="connsiteY12" fmla="*/ 2466975 h 3870326"/>
                <a:gd name="connsiteX13" fmla="*/ 0 w 3200400"/>
                <a:gd name="connsiteY13" fmla="*/ 1717675 h 3870326"/>
                <a:gd name="connsiteX14" fmla="*/ 0 w 3200400"/>
                <a:gd name="connsiteY14" fmla="*/ 688975 h 3870326"/>
                <a:gd name="connsiteX15" fmla="*/ 1609140 w 3200400"/>
                <a:gd name="connsiteY15" fmla="*/ 1063625 h 3870326"/>
                <a:gd name="connsiteX16" fmla="*/ 3200400 w 3200400"/>
                <a:gd name="connsiteY16" fmla="*/ 688975 h 3870326"/>
                <a:gd name="connsiteX17" fmla="*/ 3200400 w 3200400"/>
                <a:gd name="connsiteY17" fmla="*/ 1438275 h 3870326"/>
                <a:gd name="connsiteX18" fmla="*/ 1609140 w 3200400"/>
                <a:gd name="connsiteY18" fmla="*/ 1812925 h 3870326"/>
                <a:gd name="connsiteX19" fmla="*/ 0 w 3200400"/>
                <a:gd name="connsiteY19" fmla="*/ 1438275 h 3870326"/>
                <a:gd name="connsiteX20" fmla="*/ 0 w 3200400"/>
                <a:gd name="connsiteY20" fmla="*/ 688975 h 3870326"/>
                <a:gd name="connsiteX21" fmla="*/ 1600200 w 3200400"/>
                <a:gd name="connsiteY21" fmla="*/ 0 h 3870326"/>
                <a:gd name="connsiteX22" fmla="*/ 3200400 w 3200400"/>
                <a:gd name="connsiteY22" fmla="*/ 392113 h 3870326"/>
                <a:gd name="connsiteX23" fmla="*/ 1600200 w 3200400"/>
                <a:gd name="connsiteY23" fmla="*/ 784226 h 3870326"/>
                <a:gd name="connsiteX24" fmla="*/ 0 w 3200400"/>
                <a:gd name="connsiteY24" fmla="*/ 392113 h 3870326"/>
                <a:gd name="connsiteX25" fmla="*/ 1600200 w 3200400"/>
                <a:gd name="connsiteY25" fmla="*/ 0 h 3870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200400" h="3870326">
                  <a:moveTo>
                    <a:pt x="0" y="2746376"/>
                  </a:moveTo>
                  <a:cubicBezTo>
                    <a:pt x="0" y="2960462"/>
                    <a:pt x="715173" y="3121026"/>
                    <a:pt x="1609140" y="3121026"/>
                  </a:cubicBezTo>
                  <a:cubicBezTo>
                    <a:pt x="2485227" y="3121026"/>
                    <a:pt x="3200400" y="2960462"/>
                    <a:pt x="3200400" y="2746376"/>
                  </a:cubicBezTo>
                  <a:cubicBezTo>
                    <a:pt x="3200400" y="2746376"/>
                    <a:pt x="3200400" y="2746376"/>
                    <a:pt x="3200400" y="3495676"/>
                  </a:cubicBezTo>
                  <a:cubicBezTo>
                    <a:pt x="3200400" y="3691921"/>
                    <a:pt x="2485227" y="3870326"/>
                    <a:pt x="1609140" y="3870326"/>
                  </a:cubicBezTo>
                  <a:cubicBezTo>
                    <a:pt x="715173" y="3870326"/>
                    <a:pt x="0" y="3691921"/>
                    <a:pt x="0" y="3495676"/>
                  </a:cubicBezTo>
                  <a:cubicBezTo>
                    <a:pt x="0" y="3495676"/>
                    <a:pt x="0" y="3495676"/>
                    <a:pt x="0" y="2746376"/>
                  </a:cubicBezTo>
                  <a:close/>
                  <a:moveTo>
                    <a:pt x="0" y="1717675"/>
                  </a:moveTo>
                  <a:cubicBezTo>
                    <a:pt x="0" y="1931761"/>
                    <a:pt x="715173" y="2092325"/>
                    <a:pt x="1609140" y="2092325"/>
                  </a:cubicBezTo>
                  <a:cubicBezTo>
                    <a:pt x="2485227" y="2092325"/>
                    <a:pt x="3200400" y="1931761"/>
                    <a:pt x="3200400" y="1717675"/>
                  </a:cubicBezTo>
                  <a:cubicBezTo>
                    <a:pt x="3200400" y="1717675"/>
                    <a:pt x="3200400" y="1717675"/>
                    <a:pt x="3200400" y="2466975"/>
                  </a:cubicBezTo>
                  <a:cubicBezTo>
                    <a:pt x="3200400" y="2663220"/>
                    <a:pt x="2485227" y="2841625"/>
                    <a:pt x="1609140" y="2841625"/>
                  </a:cubicBezTo>
                  <a:cubicBezTo>
                    <a:pt x="715173" y="2841625"/>
                    <a:pt x="0" y="2663220"/>
                    <a:pt x="0" y="2466975"/>
                  </a:cubicBezTo>
                  <a:cubicBezTo>
                    <a:pt x="0" y="2466975"/>
                    <a:pt x="0" y="2466975"/>
                    <a:pt x="0" y="1717675"/>
                  </a:cubicBezTo>
                  <a:close/>
                  <a:moveTo>
                    <a:pt x="0" y="688975"/>
                  </a:moveTo>
                  <a:cubicBezTo>
                    <a:pt x="0" y="903061"/>
                    <a:pt x="715173" y="1063625"/>
                    <a:pt x="1609140" y="1063625"/>
                  </a:cubicBezTo>
                  <a:cubicBezTo>
                    <a:pt x="2485227" y="1063625"/>
                    <a:pt x="3200400" y="903061"/>
                    <a:pt x="3200400" y="688975"/>
                  </a:cubicBezTo>
                  <a:cubicBezTo>
                    <a:pt x="3200400" y="688975"/>
                    <a:pt x="3200400" y="688975"/>
                    <a:pt x="3200400" y="1438275"/>
                  </a:cubicBezTo>
                  <a:cubicBezTo>
                    <a:pt x="3200400" y="1652361"/>
                    <a:pt x="2485227" y="1812925"/>
                    <a:pt x="1609140" y="1812925"/>
                  </a:cubicBezTo>
                  <a:cubicBezTo>
                    <a:pt x="715173" y="1812925"/>
                    <a:pt x="0" y="1652361"/>
                    <a:pt x="0" y="1438275"/>
                  </a:cubicBezTo>
                  <a:cubicBezTo>
                    <a:pt x="0" y="1438275"/>
                    <a:pt x="0" y="1438275"/>
                    <a:pt x="0" y="688975"/>
                  </a:cubicBezTo>
                  <a:close/>
                  <a:moveTo>
                    <a:pt x="1600200" y="0"/>
                  </a:moveTo>
                  <a:cubicBezTo>
                    <a:pt x="2483966" y="0"/>
                    <a:pt x="3200400" y="175555"/>
                    <a:pt x="3200400" y="392113"/>
                  </a:cubicBezTo>
                  <a:cubicBezTo>
                    <a:pt x="3200400" y="608671"/>
                    <a:pt x="2483966" y="784226"/>
                    <a:pt x="1600200" y="784226"/>
                  </a:cubicBezTo>
                  <a:cubicBezTo>
                    <a:pt x="716434" y="784226"/>
                    <a:pt x="0" y="608671"/>
                    <a:pt x="0" y="392113"/>
                  </a:cubicBezTo>
                  <a:cubicBezTo>
                    <a:pt x="0" y="175555"/>
                    <a:pt x="716434" y="0"/>
                    <a:pt x="1600200" y="0"/>
                  </a:cubicBezTo>
                  <a:close/>
                </a:path>
              </a:pathLst>
            </a:custGeom>
            <a:solidFill>
              <a:srgbClr val="AAB414"/>
            </a:solidFill>
            <a:ln>
              <a:noFill/>
            </a:ln>
          </p:spPr>
          <p:txBody>
            <a:bodyPr vert="horz" wrap="square" lIns="91344" tIns="45672" rIns="91344" bIns="45672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400">
                <a:solidFill>
                  <a:srgbClr val="000000"/>
                </a:solidFill>
              </a:endParaRPr>
            </a:p>
          </p:txBody>
        </p:sp>
        <p:sp>
          <p:nvSpPr>
            <p:cNvPr id="830" name="Freihandform: Form 161">
              <a:extLst>
                <a:ext uri="{FF2B5EF4-FFF2-40B4-BE49-F238E27FC236}">
                  <a16:creationId xmlns:a16="http://schemas.microsoft.com/office/drawing/2014/main" id="{E7669BA1-8D40-4A8B-5B4D-A6BAFFEABB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01556" y="5687406"/>
              <a:ext cx="214447" cy="290228"/>
            </a:xfrm>
            <a:custGeom>
              <a:avLst/>
              <a:gdLst>
                <a:gd name="connsiteX0" fmla="*/ 0 w 3200400"/>
                <a:gd name="connsiteY0" fmla="*/ 2746376 h 3870326"/>
                <a:gd name="connsiteX1" fmla="*/ 1609140 w 3200400"/>
                <a:gd name="connsiteY1" fmla="*/ 3121026 h 3870326"/>
                <a:gd name="connsiteX2" fmla="*/ 3200400 w 3200400"/>
                <a:gd name="connsiteY2" fmla="*/ 2746376 h 3870326"/>
                <a:gd name="connsiteX3" fmla="*/ 3200400 w 3200400"/>
                <a:gd name="connsiteY3" fmla="*/ 3495676 h 3870326"/>
                <a:gd name="connsiteX4" fmla="*/ 1609140 w 3200400"/>
                <a:gd name="connsiteY4" fmla="*/ 3870326 h 3870326"/>
                <a:gd name="connsiteX5" fmla="*/ 0 w 3200400"/>
                <a:gd name="connsiteY5" fmla="*/ 3495676 h 3870326"/>
                <a:gd name="connsiteX6" fmla="*/ 0 w 3200400"/>
                <a:gd name="connsiteY6" fmla="*/ 2746376 h 3870326"/>
                <a:gd name="connsiteX7" fmla="*/ 0 w 3200400"/>
                <a:gd name="connsiteY7" fmla="*/ 1717675 h 3870326"/>
                <a:gd name="connsiteX8" fmla="*/ 1609140 w 3200400"/>
                <a:gd name="connsiteY8" fmla="*/ 2092325 h 3870326"/>
                <a:gd name="connsiteX9" fmla="*/ 3200400 w 3200400"/>
                <a:gd name="connsiteY9" fmla="*/ 1717675 h 3870326"/>
                <a:gd name="connsiteX10" fmla="*/ 3200400 w 3200400"/>
                <a:gd name="connsiteY10" fmla="*/ 2466975 h 3870326"/>
                <a:gd name="connsiteX11" fmla="*/ 1609140 w 3200400"/>
                <a:gd name="connsiteY11" fmla="*/ 2841625 h 3870326"/>
                <a:gd name="connsiteX12" fmla="*/ 0 w 3200400"/>
                <a:gd name="connsiteY12" fmla="*/ 2466975 h 3870326"/>
                <a:gd name="connsiteX13" fmla="*/ 0 w 3200400"/>
                <a:gd name="connsiteY13" fmla="*/ 1717675 h 3870326"/>
                <a:gd name="connsiteX14" fmla="*/ 0 w 3200400"/>
                <a:gd name="connsiteY14" fmla="*/ 688975 h 3870326"/>
                <a:gd name="connsiteX15" fmla="*/ 1609140 w 3200400"/>
                <a:gd name="connsiteY15" fmla="*/ 1063625 h 3870326"/>
                <a:gd name="connsiteX16" fmla="*/ 3200400 w 3200400"/>
                <a:gd name="connsiteY16" fmla="*/ 688975 h 3870326"/>
                <a:gd name="connsiteX17" fmla="*/ 3200400 w 3200400"/>
                <a:gd name="connsiteY17" fmla="*/ 1438275 h 3870326"/>
                <a:gd name="connsiteX18" fmla="*/ 1609140 w 3200400"/>
                <a:gd name="connsiteY18" fmla="*/ 1812925 h 3870326"/>
                <a:gd name="connsiteX19" fmla="*/ 0 w 3200400"/>
                <a:gd name="connsiteY19" fmla="*/ 1438275 h 3870326"/>
                <a:gd name="connsiteX20" fmla="*/ 0 w 3200400"/>
                <a:gd name="connsiteY20" fmla="*/ 688975 h 3870326"/>
                <a:gd name="connsiteX21" fmla="*/ 1600200 w 3200400"/>
                <a:gd name="connsiteY21" fmla="*/ 0 h 3870326"/>
                <a:gd name="connsiteX22" fmla="*/ 3200400 w 3200400"/>
                <a:gd name="connsiteY22" fmla="*/ 392113 h 3870326"/>
                <a:gd name="connsiteX23" fmla="*/ 1600200 w 3200400"/>
                <a:gd name="connsiteY23" fmla="*/ 784226 h 3870326"/>
                <a:gd name="connsiteX24" fmla="*/ 0 w 3200400"/>
                <a:gd name="connsiteY24" fmla="*/ 392113 h 3870326"/>
                <a:gd name="connsiteX25" fmla="*/ 1600200 w 3200400"/>
                <a:gd name="connsiteY25" fmla="*/ 0 h 3870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200400" h="3870326">
                  <a:moveTo>
                    <a:pt x="0" y="2746376"/>
                  </a:moveTo>
                  <a:cubicBezTo>
                    <a:pt x="0" y="2960462"/>
                    <a:pt x="715173" y="3121026"/>
                    <a:pt x="1609140" y="3121026"/>
                  </a:cubicBezTo>
                  <a:cubicBezTo>
                    <a:pt x="2485227" y="3121026"/>
                    <a:pt x="3200400" y="2960462"/>
                    <a:pt x="3200400" y="2746376"/>
                  </a:cubicBezTo>
                  <a:cubicBezTo>
                    <a:pt x="3200400" y="2746376"/>
                    <a:pt x="3200400" y="2746376"/>
                    <a:pt x="3200400" y="3495676"/>
                  </a:cubicBezTo>
                  <a:cubicBezTo>
                    <a:pt x="3200400" y="3691921"/>
                    <a:pt x="2485227" y="3870326"/>
                    <a:pt x="1609140" y="3870326"/>
                  </a:cubicBezTo>
                  <a:cubicBezTo>
                    <a:pt x="715173" y="3870326"/>
                    <a:pt x="0" y="3691921"/>
                    <a:pt x="0" y="3495676"/>
                  </a:cubicBezTo>
                  <a:cubicBezTo>
                    <a:pt x="0" y="3495676"/>
                    <a:pt x="0" y="3495676"/>
                    <a:pt x="0" y="2746376"/>
                  </a:cubicBezTo>
                  <a:close/>
                  <a:moveTo>
                    <a:pt x="0" y="1717675"/>
                  </a:moveTo>
                  <a:cubicBezTo>
                    <a:pt x="0" y="1931761"/>
                    <a:pt x="715173" y="2092325"/>
                    <a:pt x="1609140" y="2092325"/>
                  </a:cubicBezTo>
                  <a:cubicBezTo>
                    <a:pt x="2485227" y="2092325"/>
                    <a:pt x="3200400" y="1931761"/>
                    <a:pt x="3200400" y="1717675"/>
                  </a:cubicBezTo>
                  <a:cubicBezTo>
                    <a:pt x="3200400" y="1717675"/>
                    <a:pt x="3200400" y="1717675"/>
                    <a:pt x="3200400" y="2466975"/>
                  </a:cubicBezTo>
                  <a:cubicBezTo>
                    <a:pt x="3200400" y="2663220"/>
                    <a:pt x="2485227" y="2841625"/>
                    <a:pt x="1609140" y="2841625"/>
                  </a:cubicBezTo>
                  <a:cubicBezTo>
                    <a:pt x="715173" y="2841625"/>
                    <a:pt x="0" y="2663220"/>
                    <a:pt x="0" y="2466975"/>
                  </a:cubicBezTo>
                  <a:cubicBezTo>
                    <a:pt x="0" y="2466975"/>
                    <a:pt x="0" y="2466975"/>
                    <a:pt x="0" y="1717675"/>
                  </a:cubicBezTo>
                  <a:close/>
                  <a:moveTo>
                    <a:pt x="0" y="688975"/>
                  </a:moveTo>
                  <a:cubicBezTo>
                    <a:pt x="0" y="903061"/>
                    <a:pt x="715173" y="1063625"/>
                    <a:pt x="1609140" y="1063625"/>
                  </a:cubicBezTo>
                  <a:cubicBezTo>
                    <a:pt x="2485227" y="1063625"/>
                    <a:pt x="3200400" y="903061"/>
                    <a:pt x="3200400" y="688975"/>
                  </a:cubicBezTo>
                  <a:cubicBezTo>
                    <a:pt x="3200400" y="688975"/>
                    <a:pt x="3200400" y="688975"/>
                    <a:pt x="3200400" y="1438275"/>
                  </a:cubicBezTo>
                  <a:cubicBezTo>
                    <a:pt x="3200400" y="1652361"/>
                    <a:pt x="2485227" y="1812925"/>
                    <a:pt x="1609140" y="1812925"/>
                  </a:cubicBezTo>
                  <a:cubicBezTo>
                    <a:pt x="715173" y="1812925"/>
                    <a:pt x="0" y="1652361"/>
                    <a:pt x="0" y="1438275"/>
                  </a:cubicBezTo>
                  <a:cubicBezTo>
                    <a:pt x="0" y="1438275"/>
                    <a:pt x="0" y="1438275"/>
                    <a:pt x="0" y="688975"/>
                  </a:cubicBezTo>
                  <a:close/>
                  <a:moveTo>
                    <a:pt x="1600200" y="0"/>
                  </a:moveTo>
                  <a:cubicBezTo>
                    <a:pt x="2483966" y="0"/>
                    <a:pt x="3200400" y="175555"/>
                    <a:pt x="3200400" y="392113"/>
                  </a:cubicBezTo>
                  <a:cubicBezTo>
                    <a:pt x="3200400" y="608671"/>
                    <a:pt x="2483966" y="784226"/>
                    <a:pt x="1600200" y="784226"/>
                  </a:cubicBezTo>
                  <a:cubicBezTo>
                    <a:pt x="716434" y="784226"/>
                    <a:pt x="0" y="608671"/>
                    <a:pt x="0" y="392113"/>
                  </a:cubicBezTo>
                  <a:cubicBezTo>
                    <a:pt x="0" y="175555"/>
                    <a:pt x="716434" y="0"/>
                    <a:pt x="1600200" y="0"/>
                  </a:cubicBez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</p:spPr>
          <p:txBody>
            <a:bodyPr vert="horz" wrap="square" lIns="91344" tIns="45672" rIns="91344" bIns="45672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400">
                <a:solidFill>
                  <a:srgbClr val="000000"/>
                </a:solidFill>
              </a:endParaRPr>
            </a:p>
          </p:txBody>
        </p:sp>
        <p:sp>
          <p:nvSpPr>
            <p:cNvPr id="837" name="Rounded Rectangle 115">
              <a:extLst>
                <a:ext uri="{FF2B5EF4-FFF2-40B4-BE49-F238E27FC236}">
                  <a16:creationId xmlns:a16="http://schemas.microsoft.com/office/drawing/2014/main" id="{5226CF22-95D7-E4F1-88A3-5C5D081683E1}"/>
                </a:ext>
              </a:extLst>
            </p:cNvPr>
            <p:cNvSpPr/>
            <p:nvPr/>
          </p:nvSpPr>
          <p:spPr bwMode="auto">
            <a:xfrm>
              <a:off x="6409055" y="6337343"/>
              <a:ext cx="1401414" cy="468290"/>
            </a:xfrm>
            <a:prstGeom prst="roundRect">
              <a:avLst/>
            </a:prstGeom>
            <a:solidFill>
              <a:srgbClr val="FFFFFF"/>
            </a:solidFill>
            <a:ln w="25400" cap="flat" cmpd="sng" algn="ctr">
              <a:solidFill>
                <a:srgbClr val="32A0A0"/>
              </a:solidFill>
              <a:prstDash val="solid"/>
            </a:ln>
            <a:effectLst/>
          </p:spPr>
          <p:txBody>
            <a:bodyPr wrap="square" lIns="93357" tIns="46680" rIns="93357" bIns="46680" numCol="1" spcCol="143928" rtlCol="0" anchor="ctr">
              <a:noAutofit/>
            </a:bodyPr>
            <a:lstStyle/>
            <a:p>
              <a:pPr algn="ctr" defTabSz="790551">
                <a:lnSpc>
                  <a:spcPct val="110000"/>
                </a:lnSpc>
                <a:spcBef>
                  <a:spcPct val="0"/>
                </a:spcBef>
                <a:defRPr/>
              </a:pPr>
              <a:r>
                <a:rPr lang="en-US" sz="300" b="1" kern="0" dirty="0">
                  <a:solidFill>
                    <a:srgbClr val="000000"/>
                  </a:solidFill>
                </a:rPr>
                <a:t>Plant Systems</a:t>
              </a:r>
            </a:p>
          </p:txBody>
        </p:sp>
        <p:sp>
          <p:nvSpPr>
            <p:cNvPr id="838" name="Rounded Rectangle 115">
              <a:extLst>
                <a:ext uri="{FF2B5EF4-FFF2-40B4-BE49-F238E27FC236}">
                  <a16:creationId xmlns:a16="http://schemas.microsoft.com/office/drawing/2014/main" id="{FC68AFFF-CE30-FC76-E234-250BB4132D81}"/>
                </a:ext>
              </a:extLst>
            </p:cNvPr>
            <p:cNvSpPr/>
            <p:nvPr/>
          </p:nvSpPr>
          <p:spPr bwMode="auto">
            <a:xfrm>
              <a:off x="8346551" y="6334814"/>
              <a:ext cx="1401414" cy="468290"/>
            </a:xfrm>
            <a:prstGeom prst="roundRect">
              <a:avLst/>
            </a:prstGeom>
            <a:solidFill>
              <a:srgbClr val="FFFFFF"/>
            </a:solidFill>
            <a:ln w="25400" cap="flat" cmpd="sng" algn="ctr">
              <a:solidFill>
                <a:srgbClr val="32A0A0"/>
              </a:solidFill>
              <a:prstDash val="solid"/>
            </a:ln>
            <a:effectLst/>
          </p:spPr>
          <p:txBody>
            <a:bodyPr wrap="square" lIns="93357" tIns="46680" rIns="93357" bIns="46680" numCol="1" spcCol="143928" rtlCol="0" anchor="ctr">
              <a:noAutofit/>
            </a:bodyPr>
            <a:lstStyle/>
            <a:p>
              <a:pPr algn="ctr" defTabSz="790551">
                <a:lnSpc>
                  <a:spcPct val="110000"/>
                </a:lnSpc>
                <a:spcBef>
                  <a:spcPct val="0"/>
                </a:spcBef>
                <a:defRPr/>
              </a:pPr>
              <a:r>
                <a:rPr lang="en-US" sz="300" b="1" kern="0" dirty="0">
                  <a:solidFill>
                    <a:srgbClr val="000000"/>
                  </a:solidFill>
                </a:rPr>
                <a:t>Engineering Systems</a:t>
              </a:r>
            </a:p>
          </p:txBody>
        </p:sp>
        <p:sp>
          <p:nvSpPr>
            <p:cNvPr id="842" name="Freeform 85">
              <a:extLst>
                <a:ext uri="{FF2B5EF4-FFF2-40B4-BE49-F238E27FC236}">
                  <a16:creationId xmlns:a16="http://schemas.microsoft.com/office/drawing/2014/main" id="{4E0F8F1E-7A90-A324-65EC-7E6390C50B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09961" y="5695820"/>
              <a:ext cx="394515" cy="254682"/>
            </a:xfrm>
            <a:custGeom>
              <a:avLst/>
              <a:gdLst>
                <a:gd name="T0" fmla="*/ 805 w 996"/>
                <a:gd name="T1" fmla="*/ 240 h 643"/>
                <a:gd name="T2" fmla="*/ 555 w 996"/>
                <a:gd name="T3" fmla="*/ 8 h 643"/>
                <a:gd name="T4" fmla="*/ 307 w 996"/>
                <a:gd name="T5" fmla="*/ 178 h 643"/>
                <a:gd name="T6" fmla="*/ 117 w 996"/>
                <a:gd name="T7" fmla="*/ 361 h 643"/>
                <a:gd name="T8" fmla="*/ 0 w 996"/>
                <a:gd name="T9" fmla="*/ 490 h 643"/>
                <a:gd name="T10" fmla="*/ 134 w 996"/>
                <a:gd name="T11" fmla="*/ 643 h 643"/>
                <a:gd name="T12" fmla="*/ 793 w 996"/>
                <a:gd name="T13" fmla="*/ 643 h 643"/>
                <a:gd name="T14" fmla="*/ 989 w 996"/>
                <a:gd name="T15" fmla="*/ 455 h 643"/>
                <a:gd name="T16" fmla="*/ 805 w 996"/>
                <a:gd name="T17" fmla="*/ 240 h 643"/>
                <a:gd name="T18" fmla="*/ 330 w 996"/>
                <a:gd name="T19" fmla="*/ 598 h 643"/>
                <a:gd name="T20" fmla="*/ 286 w 996"/>
                <a:gd name="T21" fmla="*/ 598 h 643"/>
                <a:gd name="T22" fmla="*/ 286 w 996"/>
                <a:gd name="T23" fmla="*/ 510 h 643"/>
                <a:gd name="T24" fmla="*/ 243 w 996"/>
                <a:gd name="T25" fmla="*/ 468 h 643"/>
                <a:gd name="T26" fmla="*/ 223 w 996"/>
                <a:gd name="T27" fmla="*/ 473 h 643"/>
                <a:gd name="T28" fmla="*/ 172 w 996"/>
                <a:gd name="T29" fmla="*/ 422 h 643"/>
                <a:gd name="T30" fmla="*/ 223 w 996"/>
                <a:gd name="T31" fmla="*/ 371 h 643"/>
                <a:gd name="T32" fmla="*/ 274 w 996"/>
                <a:gd name="T33" fmla="*/ 422 h 643"/>
                <a:gd name="T34" fmla="*/ 271 w 996"/>
                <a:gd name="T35" fmla="*/ 437 h 643"/>
                <a:gd name="T36" fmla="*/ 273 w 996"/>
                <a:gd name="T37" fmla="*/ 436 h 643"/>
                <a:gd name="T38" fmla="*/ 330 w 996"/>
                <a:gd name="T39" fmla="*/ 491 h 643"/>
                <a:gd name="T40" fmla="*/ 330 w 996"/>
                <a:gd name="T41" fmla="*/ 598 h 643"/>
                <a:gd name="T42" fmla="*/ 421 w 996"/>
                <a:gd name="T43" fmla="*/ 434 h 643"/>
                <a:gd name="T44" fmla="*/ 421 w 996"/>
                <a:gd name="T45" fmla="*/ 598 h 643"/>
                <a:gd name="T46" fmla="*/ 377 w 996"/>
                <a:gd name="T47" fmla="*/ 598 h 643"/>
                <a:gd name="T48" fmla="*/ 377 w 996"/>
                <a:gd name="T49" fmla="*/ 434 h 643"/>
                <a:gd name="T50" fmla="*/ 348 w 996"/>
                <a:gd name="T51" fmla="*/ 388 h 643"/>
                <a:gd name="T52" fmla="*/ 399 w 996"/>
                <a:gd name="T53" fmla="*/ 338 h 643"/>
                <a:gd name="T54" fmla="*/ 450 w 996"/>
                <a:gd name="T55" fmla="*/ 388 h 643"/>
                <a:gd name="T56" fmla="*/ 421 w 996"/>
                <a:gd name="T57" fmla="*/ 434 h 643"/>
                <a:gd name="T58" fmla="*/ 534 w 996"/>
                <a:gd name="T59" fmla="*/ 598 h 643"/>
                <a:gd name="T60" fmla="*/ 490 w 996"/>
                <a:gd name="T61" fmla="*/ 598 h 643"/>
                <a:gd name="T62" fmla="*/ 490 w 996"/>
                <a:gd name="T63" fmla="*/ 326 h 643"/>
                <a:gd name="T64" fmla="*/ 566 w 996"/>
                <a:gd name="T65" fmla="*/ 255 h 643"/>
                <a:gd name="T66" fmla="*/ 563 w 996"/>
                <a:gd name="T67" fmla="*/ 240 h 643"/>
                <a:gd name="T68" fmla="*/ 614 w 996"/>
                <a:gd name="T69" fmla="*/ 189 h 643"/>
                <a:gd name="T70" fmla="*/ 665 w 996"/>
                <a:gd name="T71" fmla="*/ 240 h 643"/>
                <a:gd name="T72" fmla="*/ 614 w 996"/>
                <a:gd name="T73" fmla="*/ 291 h 643"/>
                <a:gd name="T74" fmla="*/ 596 w 996"/>
                <a:gd name="T75" fmla="*/ 287 h 643"/>
                <a:gd name="T76" fmla="*/ 534 w 996"/>
                <a:gd name="T77" fmla="*/ 345 h 643"/>
                <a:gd name="T78" fmla="*/ 534 w 996"/>
                <a:gd name="T79" fmla="*/ 598 h 643"/>
                <a:gd name="T80" fmla="*/ 635 w 996"/>
                <a:gd name="T81" fmla="*/ 480 h 643"/>
                <a:gd name="T82" fmla="*/ 635 w 996"/>
                <a:gd name="T83" fmla="*/ 598 h 643"/>
                <a:gd name="T84" fmla="*/ 591 w 996"/>
                <a:gd name="T85" fmla="*/ 598 h 643"/>
                <a:gd name="T86" fmla="*/ 591 w 996"/>
                <a:gd name="T87" fmla="*/ 472 h 643"/>
                <a:gd name="T88" fmla="*/ 615 w 996"/>
                <a:gd name="T89" fmla="*/ 409 h 643"/>
                <a:gd name="T90" fmla="*/ 603 w 996"/>
                <a:gd name="T91" fmla="*/ 376 h 643"/>
                <a:gd name="T92" fmla="*/ 654 w 996"/>
                <a:gd name="T93" fmla="*/ 326 h 643"/>
                <a:gd name="T94" fmla="*/ 705 w 996"/>
                <a:gd name="T95" fmla="*/ 376 h 643"/>
                <a:gd name="T96" fmla="*/ 655 w 996"/>
                <a:gd name="T97" fmla="*/ 427 h 643"/>
                <a:gd name="T98" fmla="*/ 635 w 996"/>
                <a:gd name="T99" fmla="*/ 480 h 643"/>
                <a:gd name="T100" fmla="*/ 761 w 996"/>
                <a:gd name="T101" fmla="*/ 536 h 643"/>
                <a:gd name="T102" fmla="*/ 761 w 996"/>
                <a:gd name="T103" fmla="*/ 598 h 643"/>
                <a:gd name="T104" fmla="*/ 717 w 996"/>
                <a:gd name="T105" fmla="*/ 598 h 643"/>
                <a:gd name="T106" fmla="*/ 717 w 996"/>
                <a:gd name="T107" fmla="*/ 536 h 643"/>
                <a:gd name="T108" fmla="*/ 688 w 996"/>
                <a:gd name="T109" fmla="*/ 490 h 643"/>
                <a:gd name="T110" fmla="*/ 739 w 996"/>
                <a:gd name="T111" fmla="*/ 440 h 643"/>
                <a:gd name="T112" fmla="*/ 790 w 996"/>
                <a:gd name="T113" fmla="*/ 490 h 643"/>
                <a:gd name="T114" fmla="*/ 761 w 996"/>
                <a:gd name="T115" fmla="*/ 536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96" h="643">
                  <a:moveTo>
                    <a:pt x="805" y="240"/>
                  </a:moveTo>
                  <a:cubicBezTo>
                    <a:pt x="761" y="0"/>
                    <a:pt x="555" y="8"/>
                    <a:pt x="555" y="8"/>
                  </a:cubicBezTo>
                  <a:cubicBezTo>
                    <a:pt x="363" y="8"/>
                    <a:pt x="307" y="178"/>
                    <a:pt x="307" y="178"/>
                  </a:cubicBezTo>
                  <a:cubicBezTo>
                    <a:pt x="108" y="178"/>
                    <a:pt x="117" y="361"/>
                    <a:pt x="117" y="361"/>
                  </a:cubicBezTo>
                  <a:cubicBezTo>
                    <a:pt x="0" y="380"/>
                    <a:pt x="0" y="490"/>
                    <a:pt x="0" y="490"/>
                  </a:cubicBezTo>
                  <a:cubicBezTo>
                    <a:pt x="0" y="636"/>
                    <a:pt x="134" y="643"/>
                    <a:pt x="134" y="643"/>
                  </a:cubicBezTo>
                  <a:cubicBezTo>
                    <a:pt x="793" y="643"/>
                    <a:pt x="793" y="643"/>
                    <a:pt x="793" y="643"/>
                  </a:cubicBezTo>
                  <a:cubicBezTo>
                    <a:pt x="989" y="637"/>
                    <a:pt x="989" y="455"/>
                    <a:pt x="989" y="455"/>
                  </a:cubicBezTo>
                  <a:cubicBezTo>
                    <a:pt x="996" y="248"/>
                    <a:pt x="805" y="240"/>
                    <a:pt x="805" y="240"/>
                  </a:cubicBezTo>
                  <a:close/>
                  <a:moveTo>
                    <a:pt x="330" y="598"/>
                  </a:moveTo>
                  <a:cubicBezTo>
                    <a:pt x="286" y="598"/>
                    <a:pt x="286" y="598"/>
                    <a:pt x="286" y="598"/>
                  </a:cubicBezTo>
                  <a:cubicBezTo>
                    <a:pt x="286" y="510"/>
                    <a:pt x="286" y="510"/>
                    <a:pt x="286" y="510"/>
                  </a:cubicBezTo>
                  <a:cubicBezTo>
                    <a:pt x="243" y="468"/>
                    <a:pt x="243" y="468"/>
                    <a:pt x="243" y="468"/>
                  </a:cubicBezTo>
                  <a:cubicBezTo>
                    <a:pt x="237" y="471"/>
                    <a:pt x="230" y="473"/>
                    <a:pt x="223" y="473"/>
                  </a:cubicBezTo>
                  <a:cubicBezTo>
                    <a:pt x="195" y="473"/>
                    <a:pt x="172" y="450"/>
                    <a:pt x="172" y="422"/>
                  </a:cubicBezTo>
                  <a:cubicBezTo>
                    <a:pt x="172" y="394"/>
                    <a:pt x="195" y="371"/>
                    <a:pt x="223" y="371"/>
                  </a:cubicBezTo>
                  <a:cubicBezTo>
                    <a:pt x="251" y="371"/>
                    <a:pt x="274" y="394"/>
                    <a:pt x="274" y="422"/>
                  </a:cubicBezTo>
                  <a:cubicBezTo>
                    <a:pt x="274" y="427"/>
                    <a:pt x="273" y="432"/>
                    <a:pt x="271" y="437"/>
                  </a:cubicBezTo>
                  <a:cubicBezTo>
                    <a:pt x="273" y="436"/>
                    <a:pt x="273" y="436"/>
                    <a:pt x="273" y="436"/>
                  </a:cubicBezTo>
                  <a:cubicBezTo>
                    <a:pt x="330" y="491"/>
                    <a:pt x="330" y="491"/>
                    <a:pt x="330" y="491"/>
                  </a:cubicBezTo>
                  <a:lnTo>
                    <a:pt x="330" y="598"/>
                  </a:lnTo>
                  <a:close/>
                  <a:moveTo>
                    <a:pt x="421" y="434"/>
                  </a:moveTo>
                  <a:cubicBezTo>
                    <a:pt x="421" y="598"/>
                    <a:pt x="421" y="598"/>
                    <a:pt x="421" y="598"/>
                  </a:cubicBezTo>
                  <a:cubicBezTo>
                    <a:pt x="377" y="598"/>
                    <a:pt x="377" y="598"/>
                    <a:pt x="377" y="598"/>
                  </a:cubicBezTo>
                  <a:cubicBezTo>
                    <a:pt x="377" y="434"/>
                    <a:pt x="377" y="434"/>
                    <a:pt x="377" y="434"/>
                  </a:cubicBezTo>
                  <a:cubicBezTo>
                    <a:pt x="360" y="426"/>
                    <a:pt x="348" y="408"/>
                    <a:pt x="348" y="388"/>
                  </a:cubicBezTo>
                  <a:cubicBezTo>
                    <a:pt x="348" y="360"/>
                    <a:pt x="371" y="338"/>
                    <a:pt x="399" y="338"/>
                  </a:cubicBezTo>
                  <a:cubicBezTo>
                    <a:pt x="427" y="338"/>
                    <a:pt x="450" y="360"/>
                    <a:pt x="450" y="388"/>
                  </a:cubicBezTo>
                  <a:cubicBezTo>
                    <a:pt x="450" y="408"/>
                    <a:pt x="438" y="426"/>
                    <a:pt x="421" y="434"/>
                  </a:cubicBezTo>
                  <a:close/>
                  <a:moveTo>
                    <a:pt x="534" y="598"/>
                  </a:moveTo>
                  <a:cubicBezTo>
                    <a:pt x="490" y="598"/>
                    <a:pt x="490" y="598"/>
                    <a:pt x="490" y="598"/>
                  </a:cubicBezTo>
                  <a:cubicBezTo>
                    <a:pt x="490" y="326"/>
                    <a:pt x="490" y="326"/>
                    <a:pt x="490" y="326"/>
                  </a:cubicBezTo>
                  <a:cubicBezTo>
                    <a:pt x="566" y="255"/>
                    <a:pt x="566" y="255"/>
                    <a:pt x="566" y="255"/>
                  </a:cubicBezTo>
                  <a:cubicBezTo>
                    <a:pt x="564" y="250"/>
                    <a:pt x="563" y="245"/>
                    <a:pt x="563" y="240"/>
                  </a:cubicBezTo>
                  <a:cubicBezTo>
                    <a:pt x="563" y="212"/>
                    <a:pt x="586" y="189"/>
                    <a:pt x="614" y="189"/>
                  </a:cubicBezTo>
                  <a:cubicBezTo>
                    <a:pt x="642" y="189"/>
                    <a:pt x="665" y="212"/>
                    <a:pt x="665" y="240"/>
                  </a:cubicBezTo>
                  <a:cubicBezTo>
                    <a:pt x="665" y="268"/>
                    <a:pt x="642" y="291"/>
                    <a:pt x="614" y="291"/>
                  </a:cubicBezTo>
                  <a:cubicBezTo>
                    <a:pt x="608" y="291"/>
                    <a:pt x="601" y="289"/>
                    <a:pt x="596" y="287"/>
                  </a:cubicBezTo>
                  <a:cubicBezTo>
                    <a:pt x="534" y="345"/>
                    <a:pt x="534" y="345"/>
                    <a:pt x="534" y="345"/>
                  </a:cubicBezTo>
                  <a:lnTo>
                    <a:pt x="534" y="598"/>
                  </a:lnTo>
                  <a:close/>
                  <a:moveTo>
                    <a:pt x="635" y="480"/>
                  </a:moveTo>
                  <a:cubicBezTo>
                    <a:pt x="635" y="598"/>
                    <a:pt x="635" y="598"/>
                    <a:pt x="635" y="598"/>
                  </a:cubicBezTo>
                  <a:cubicBezTo>
                    <a:pt x="591" y="598"/>
                    <a:pt x="591" y="598"/>
                    <a:pt x="591" y="598"/>
                  </a:cubicBezTo>
                  <a:cubicBezTo>
                    <a:pt x="591" y="472"/>
                    <a:pt x="591" y="472"/>
                    <a:pt x="591" y="472"/>
                  </a:cubicBezTo>
                  <a:cubicBezTo>
                    <a:pt x="615" y="409"/>
                    <a:pt x="615" y="409"/>
                    <a:pt x="615" y="409"/>
                  </a:cubicBezTo>
                  <a:cubicBezTo>
                    <a:pt x="607" y="400"/>
                    <a:pt x="603" y="389"/>
                    <a:pt x="603" y="376"/>
                  </a:cubicBezTo>
                  <a:cubicBezTo>
                    <a:pt x="603" y="348"/>
                    <a:pt x="626" y="326"/>
                    <a:pt x="654" y="326"/>
                  </a:cubicBezTo>
                  <a:cubicBezTo>
                    <a:pt x="682" y="326"/>
                    <a:pt x="705" y="348"/>
                    <a:pt x="705" y="376"/>
                  </a:cubicBezTo>
                  <a:cubicBezTo>
                    <a:pt x="705" y="404"/>
                    <a:pt x="682" y="427"/>
                    <a:pt x="655" y="427"/>
                  </a:cubicBezTo>
                  <a:lnTo>
                    <a:pt x="635" y="480"/>
                  </a:lnTo>
                  <a:close/>
                  <a:moveTo>
                    <a:pt x="761" y="536"/>
                  </a:moveTo>
                  <a:cubicBezTo>
                    <a:pt x="761" y="598"/>
                    <a:pt x="761" y="598"/>
                    <a:pt x="761" y="598"/>
                  </a:cubicBezTo>
                  <a:cubicBezTo>
                    <a:pt x="717" y="598"/>
                    <a:pt x="717" y="598"/>
                    <a:pt x="717" y="598"/>
                  </a:cubicBezTo>
                  <a:cubicBezTo>
                    <a:pt x="717" y="536"/>
                    <a:pt x="717" y="536"/>
                    <a:pt x="717" y="536"/>
                  </a:cubicBezTo>
                  <a:cubicBezTo>
                    <a:pt x="700" y="528"/>
                    <a:pt x="688" y="511"/>
                    <a:pt x="688" y="490"/>
                  </a:cubicBezTo>
                  <a:cubicBezTo>
                    <a:pt x="688" y="462"/>
                    <a:pt x="711" y="440"/>
                    <a:pt x="739" y="440"/>
                  </a:cubicBezTo>
                  <a:cubicBezTo>
                    <a:pt x="767" y="440"/>
                    <a:pt x="790" y="462"/>
                    <a:pt x="790" y="490"/>
                  </a:cubicBezTo>
                  <a:cubicBezTo>
                    <a:pt x="790" y="511"/>
                    <a:pt x="778" y="528"/>
                    <a:pt x="761" y="536"/>
                  </a:cubicBezTo>
                  <a:close/>
                </a:path>
              </a:pathLst>
            </a:custGeom>
            <a:solidFill>
              <a:srgbClr val="0F8287"/>
            </a:solidFill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43" name="Freeform 51">
              <a:extLst>
                <a:ext uri="{FF2B5EF4-FFF2-40B4-BE49-F238E27FC236}">
                  <a16:creationId xmlns:a16="http://schemas.microsoft.com/office/drawing/2014/main" id="{A549AA80-C83E-586D-055D-E0EF3781A5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61482" y="5684015"/>
              <a:ext cx="214447" cy="279208"/>
            </a:xfrm>
            <a:custGeom>
              <a:avLst/>
              <a:gdLst>
                <a:gd name="T0" fmla="*/ 1285 w 1606"/>
                <a:gd name="T1" fmla="*/ 2091 h 2091"/>
                <a:gd name="T2" fmla="*/ 0 w 1606"/>
                <a:gd name="T3" fmla="*/ 2091 h 2091"/>
                <a:gd name="T4" fmla="*/ 0 w 1606"/>
                <a:gd name="T5" fmla="*/ 215 h 2091"/>
                <a:gd name="T6" fmla="*/ 106 w 1606"/>
                <a:gd name="T7" fmla="*/ 215 h 2091"/>
                <a:gd name="T8" fmla="*/ 106 w 1606"/>
                <a:gd name="T9" fmla="*/ 1983 h 2091"/>
                <a:gd name="T10" fmla="*/ 1285 w 1606"/>
                <a:gd name="T11" fmla="*/ 1983 h 2091"/>
                <a:gd name="T12" fmla="*/ 1285 w 1606"/>
                <a:gd name="T13" fmla="*/ 2091 h 2091"/>
                <a:gd name="T14" fmla="*/ 1231 w 1606"/>
                <a:gd name="T15" fmla="*/ 0 h 2091"/>
                <a:gd name="T16" fmla="*/ 1231 w 1606"/>
                <a:gd name="T17" fmla="*/ 376 h 2091"/>
                <a:gd name="T18" fmla="*/ 1606 w 1606"/>
                <a:gd name="T19" fmla="*/ 376 h 2091"/>
                <a:gd name="T20" fmla="*/ 1231 w 1606"/>
                <a:gd name="T21" fmla="*/ 0 h 2091"/>
                <a:gd name="T22" fmla="*/ 1606 w 1606"/>
                <a:gd name="T23" fmla="*/ 482 h 2091"/>
                <a:gd name="T24" fmla="*/ 1606 w 1606"/>
                <a:gd name="T25" fmla="*/ 1874 h 2091"/>
                <a:gd name="T26" fmla="*/ 215 w 1606"/>
                <a:gd name="T27" fmla="*/ 1874 h 2091"/>
                <a:gd name="T28" fmla="*/ 215 w 1606"/>
                <a:gd name="T29" fmla="*/ 0 h 2091"/>
                <a:gd name="T30" fmla="*/ 1124 w 1606"/>
                <a:gd name="T31" fmla="*/ 0 h 2091"/>
                <a:gd name="T32" fmla="*/ 1124 w 1606"/>
                <a:gd name="T33" fmla="*/ 482 h 2091"/>
                <a:gd name="T34" fmla="*/ 1606 w 1606"/>
                <a:gd name="T35" fmla="*/ 482 h 2091"/>
                <a:gd name="T36" fmla="*/ 321 w 1606"/>
                <a:gd name="T37" fmla="*/ 643 h 2091"/>
                <a:gd name="T38" fmla="*/ 321 w 1606"/>
                <a:gd name="T39" fmla="*/ 752 h 2091"/>
                <a:gd name="T40" fmla="*/ 1339 w 1606"/>
                <a:gd name="T41" fmla="*/ 752 h 2091"/>
                <a:gd name="T42" fmla="*/ 1339 w 1606"/>
                <a:gd name="T43" fmla="*/ 643 h 2091"/>
                <a:gd name="T44" fmla="*/ 321 w 1606"/>
                <a:gd name="T45" fmla="*/ 643 h 2091"/>
                <a:gd name="T46" fmla="*/ 321 w 1606"/>
                <a:gd name="T47" fmla="*/ 376 h 2091"/>
                <a:gd name="T48" fmla="*/ 1018 w 1606"/>
                <a:gd name="T49" fmla="*/ 376 h 2091"/>
                <a:gd name="T50" fmla="*/ 1018 w 1606"/>
                <a:gd name="T51" fmla="*/ 161 h 2091"/>
                <a:gd name="T52" fmla="*/ 321 w 1606"/>
                <a:gd name="T53" fmla="*/ 161 h 2091"/>
                <a:gd name="T54" fmla="*/ 321 w 1606"/>
                <a:gd name="T55" fmla="*/ 376 h 2091"/>
                <a:gd name="T56" fmla="*/ 803 w 1606"/>
                <a:gd name="T57" fmla="*/ 1340 h 2091"/>
                <a:gd name="T58" fmla="*/ 321 w 1606"/>
                <a:gd name="T59" fmla="*/ 1340 h 2091"/>
                <a:gd name="T60" fmla="*/ 321 w 1606"/>
                <a:gd name="T61" fmla="*/ 1446 h 2091"/>
                <a:gd name="T62" fmla="*/ 803 w 1606"/>
                <a:gd name="T63" fmla="*/ 1446 h 2091"/>
                <a:gd name="T64" fmla="*/ 803 w 1606"/>
                <a:gd name="T65" fmla="*/ 1340 h 2091"/>
                <a:gd name="T66" fmla="*/ 964 w 1606"/>
                <a:gd name="T67" fmla="*/ 1125 h 2091"/>
                <a:gd name="T68" fmla="*/ 321 w 1606"/>
                <a:gd name="T69" fmla="*/ 1125 h 2091"/>
                <a:gd name="T70" fmla="*/ 321 w 1606"/>
                <a:gd name="T71" fmla="*/ 1234 h 2091"/>
                <a:gd name="T72" fmla="*/ 964 w 1606"/>
                <a:gd name="T73" fmla="*/ 1234 h 2091"/>
                <a:gd name="T74" fmla="*/ 964 w 1606"/>
                <a:gd name="T75" fmla="*/ 1125 h 2091"/>
                <a:gd name="T76" fmla="*/ 1500 w 1606"/>
                <a:gd name="T77" fmla="*/ 1125 h 2091"/>
                <a:gd name="T78" fmla="*/ 1124 w 1606"/>
                <a:gd name="T79" fmla="*/ 1125 h 2091"/>
                <a:gd name="T80" fmla="*/ 1124 w 1606"/>
                <a:gd name="T81" fmla="*/ 1501 h 2091"/>
                <a:gd name="T82" fmla="*/ 1500 w 1606"/>
                <a:gd name="T83" fmla="*/ 1501 h 2091"/>
                <a:gd name="T84" fmla="*/ 1500 w 1606"/>
                <a:gd name="T85" fmla="*/ 1125 h 2091"/>
                <a:gd name="T86" fmla="*/ 1500 w 1606"/>
                <a:gd name="T87" fmla="*/ 858 h 2091"/>
                <a:gd name="T88" fmla="*/ 321 w 1606"/>
                <a:gd name="T89" fmla="*/ 858 h 2091"/>
                <a:gd name="T90" fmla="*/ 321 w 1606"/>
                <a:gd name="T91" fmla="*/ 964 h 2091"/>
                <a:gd name="T92" fmla="*/ 1500 w 1606"/>
                <a:gd name="T93" fmla="*/ 964 h 2091"/>
                <a:gd name="T94" fmla="*/ 1500 w 1606"/>
                <a:gd name="T95" fmla="*/ 858 h 2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606" h="2091">
                  <a:moveTo>
                    <a:pt x="1285" y="2091"/>
                  </a:moveTo>
                  <a:lnTo>
                    <a:pt x="0" y="2091"/>
                  </a:lnTo>
                  <a:lnTo>
                    <a:pt x="0" y="215"/>
                  </a:lnTo>
                  <a:lnTo>
                    <a:pt x="106" y="215"/>
                  </a:lnTo>
                  <a:lnTo>
                    <a:pt x="106" y="1983"/>
                  </a:lnTo>
                  <a:lnTo>
                    <a:pt x="1285" y="1983"/>
                  </a:lnTo>
                  <a:lnTo>
                    <a:pt x="1285" y="2091"/>
                  </a:lnTo>
                  <a:close/>
                  <a:moveTo>
                    <a:pt x="1231" y="0"/>
                  </a:moveTo>
                  <a:lnTo>
                    <a:pt x="1231" y="376"/>
                  </a:lnTo>
                  <a:lnTo>
                    <a:pt x="1606" y="376"/>
                  </a:lnTo>
                  <a:lnTo>
                    <a:pt x="1231" y="0"/>
                  </a:lnTo>
                  <a:close/>
                  <a:moveTo>
                    <a:pt x="1606" y="482"/>
                  </a:moveTo>
                  <a:lnTo>
                    <a:pt x="1606" y="1874"/>
                  </a:lnTo>
                  <a:lnTo>
                    <a:pt x="215" y="1874"/>
                  </a:lnTo>
                  <a:lnTo>
                    <a:pt x="215" y="0"/>
                  </a:lnTo>
                  <a:lnTo>
                    <a:pt x="1124" y="0"/>
                  </a:lnTo>
                  <a:lnTo>
                    <a:pt x="1124" y="482"/>
                  </a:lnTo>
                  <a:lnTo>
                    <a:pt x="1606" y="482"/>
                  </a:lnTo>
                  <a:close/>
                  <a:moveTo>
                    <a:pt x="321" y="643"/>
                  </a:moveTo>
                  <a:lnTo>
                    <a:pt x="321" y="752"/>
                  </a:lnTo>
                  <a:lnTo>
                    <a:pt x="1339" y="752"/>
                  </a:lnTo>
                  <a:lnTo>
                    <a:pt x="1339" y="643"/>
                  </a:lnTo>
                  <a:lnTo>
                    <a:pt x="321" y="643"/>
                  </a:lnTo>
                  <a:close/>
                  <a:moveTo>
                    <a:pt x="321" y="376"/>
                  </a:moveTo>
                  <a:lnTo>
                    <a:pt x="1018" y="376"/>
                  </a:lnTo>
                  <a:lnTo>
                    <a:pt x="1018" y="161"/>
                  </a:lnTo>
                  <a:lnTo>
                    <a:pt x="321" y="161"/>
                  </a:lnTo>
                  <a:lnTo>
                    <a:pt x="321" y="376"/>
                  </a:lnTo>
                  <a:close/>
                  <a:moveTo>
                    <a:pt x="803" y="1340"/>
                  </a:moveTo>
                  <a:lnTo>
                    <a:pt x="321" y="1340"/>
                  </a:lnTo>
                  <a:lnTo>
                    <a:pt x="321" y="1446"/>
                  </a:lnTo>
                  <a:lnTo>
                    <a:pt x="803" y="1446"/>
                  </a:lnTo>
                  <a:lnTo>
                    <a:pt x="803" y="1340"/>
                  </a:lnTo>
                  <a:close/>
                  <a:moveTo>
                    <a:pt x="964" y="1125"/>
                  </a:moveTo>
                  <a:lnTo>
                    <a:pt x="321" y="1125"/>
                  </a:lnTo>
                  <a:lnTo>
                    <a:pt x="321" y="1234"/>
                  </a:lnTo>
                  <a:lnTo>
                    <a:pt x="964" y="1234"/>
                  </a:lnTo>
                  <a:lnTo>
                    <a:pt x="964" y="1125"/>
                  </a:lnTo>
                  <a:close/>
                  <a:moveTo>
                    <a:pt x="1500" y="1125"/>
                  </a:moveTo>
                  <a:lnTo>
                    <a:pt x="1124" y="1125"/>
                  </a:lnTo>
                  <a:lnTo>
                    <a:pt x="1124" y="1501"/>
                  </a:lnTo>
                  <a:lnTo>
                    <a:pt x="1500" y="1501"/>
                  </a:lnTo>
                  <a:lnTo>
                    <a:pt x="1500" y="1125"/>
                  </a:lnTo>
                  <a:close/>
                  <a:moveTo>
                    <a:pt x="1500" y="858"/>
                  </a:moveTo>
                  <a:lnTo>
                    <a:pt x="321" y="858"/>
                  </a:lnTo>
                  <a:lnTo>
                    <a:pt x="321" y="964"/>
                  </a:lnTo>
                  <a:lnTo>
                    <a:pt x="1500" y="964"/>
                  </a:lnTo>
                  <a:lnTo>
                    <a:pt x="1500" y="858"/>
                  </a:lnTo>
                  <a:close/>
                </a:path>
              </a:pathLst>
            </a:custGeom>
            <a:solidFill>
              <a:srgbClr val="0F8287"/>
            </a:solidFill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54" name="Rectangle 3">
              <a:extLst>
                <a:ext uri="{FF2B5EF4-FFF2-40B4-BE49-F238E27FC236}">
                  <a16:creationId xmlns:a16="http://schemas.microsoft.com/office/drawing/2014/main" id="{5503FF42-0306-CFFF-F4FD-513A9DD20B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5443" y="5602907"/>
              <a:ext cx="10820892" cy="1233599"/>
            </a:xfrm>
            <a:prstGeom prst="rect">
              <a:avLst/>
            </a:prstGeom>
            <a:noFill/>
            <a:ln w="19050">
              <a:solidFill>
                <a:srgbClr val="AAB414"/>
              </a:solidFill>
            </a:ln>
            <a:effectLst/>
          </p:spPr>
          <p:txBody>
            <a:bodyPr lIns="0" tIns="71926" rIns="182690" bIns="71926" rtlCol="0" anchor="t" anchorCtr="0"/>
            <a:lstStyle/>
            <a:p>
              <a:pPr>
                <a:buClr>
                  <a:srgbClr val="FFFFFF"/>
                </a:buClr>
              </a:pPr>
              <a:endParaRPr lang="en-US" sz="300" dirty="0">
                <a:solidFill>
                  <a:srgbClr val="FFFFFF"/>
                </a:solidFill>
              </a:endParaRPr>
            </a:p>
          </p:txBody>
        </p:sp>
        <p:sp>
          <p:nvSpPr>
            <p:cNvPr id="869" name="Freihandform: Form 161">
              <a:extLst>
                <a:ext uri="{FF2B5EF4-FFF2-40B4-BE49-F238E27FC236}">
                  <a16:creationId xmlns:a16="http://schemas.microsoft.com/office/drawing/2014/main" id="{77453578-677F-C70D-6BD1-3BD0383209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44221" y="5672996"/>
              <a:ext cx="214447" cy="290228"/>
            </a:xfrm>
            <a:custGeom>
              <a:avLst/>
              <a:gdLst>
                <a:gd name="connsiteX0" fmla="*/ 0 w 3200400"/>
                <a:gd name="connsiteY0" fmla="*/ 2746376 h 3870326"/>
                <a:gd name="connsiteX1" fmla="*/ 1609140 w 3200400"/>
                <a:gd name="connsiteY1" fmla="*/ 3121026 h 3870326"/>
                <a:gd name="connsiteX2" fmla="*/ 3200400 w 3200400"/>
                <a:gd name="connsiteY2" fmla="*/ 2746376 h 3870326"/>
                <a:gd name="connsiteX3" fmla="*/ 3200400 w 3200400"/>
                <a:gd name="connsiteY3" fmla="*/ 3495676 h 3870326"/>
                <a:gd name="connsiteX4" fmla="*/ 1609140 w 3200400"/>
                <a:gd name="connsiteY4" fmla="*/ 3870326 h 3870326"/>
                <a:gd name="connsiteX5" fmla="*/ 0 w 3200400"/>
                <a:gd name="connsiteY5" fmla="*/ 3495676 h 3870326"/>
                <a:gd name="connsiteX6" fmla="*/ 0 w 3200400"/>
                <a:gd name="connsiteY6" fmla="*/ 2746376 h 3870326"/>
                <a:gd name="connsiteX7" fmla="*/ 0 w 3200400"/>
                <a:gd name="connsiteY7" fmla="*/ 1717675 h 3870326"/>
                <a:gd name="connsiteX8" fmla="*/ 1609140 w 3200400"/>
                <a:gd name="connsiteY8" fmla="*/ 2092325 h 3870326"/>
                <a:gd name="connsiteX9" fmla="*/ 3200400 w 3200400"/>
                <a:gd name="connsiteY9" fmla="*/ 1717675 h 3870326"/>
                <a:gd name="connsiteX10" fmla="*/ 3200400 w 3200400"/>
                <a:gd name="connsiteY10" fmla="*/ 2466975 h 3870326"/>
                <a:gd name="connsiteX11" fmla="*/ 1609140 w 3200400"/>
                <a:gd name="connsiteY11" fmla="*/ 2841625 h 3870326"/>
                <a:gd name="connsiteX12" fmla="*/ 0 w 3200400"/>
                <a:gd name="connsiteY12" fmla="*/ 2466975 h 3870326"/>
                <a:gd name="connsiteX13" fmla="*/ 0 w 3200400"/>
                <a:gd name="connsiteY13" fmla="*/ 1717675 h 3870326"/>
                <a:gd name="connsiteX14" fmla="*/ 0 w 3200400"/>
                <a:gd name="connsiteY14" fmla="*/ 688975 h 3870326"/>
                <a:gd name="connsiteX15" fmla="*/ 1609140 w 3200400"/>
                <a:gd name="connsiteY15" fmla="*/ 1063625 h 3870326"/>
                <a:gd name="connsiteX16" fmla="*/ 3200400 w 3200400"/>
                <a:gd name="connsiteY16" fmla="*/ 688975 h 3870326"/>
                <a:gd name="connsiteX17" fmla="*/ 3200400 w 3200400"/>
                <a:gd name="connsiteY17" fmla="*/ 1438275 h 3870326"/>
                <a:gd name="connsiteX18" fmla="*/ 1609140 w 3200400"/>
                <a:gd name="connsiteY18" fmla="*/ 1812925 h 3870326"/>
                <a:gd name="connsiteX19" fmla="*/ 0 w 3200400"/>
                <a:gd name="connsiteY19" fmla="*/ 1438275 h 3870326"/>
                <a:gd name="connsiteX20" fmla="*/ 0 w 3200400"/>
                <a:gd name="connsiteY20" fmla="*/ 688975 h 3870326"/>
                <a:gd name="connsiteX21" fmla="*/ 1600200 w 3200400"/>
                <a:gd name="connsiteY21" fmla="*/ 0 h 3870326"/>
                <a:gd name="connsiteX22" fmla="*/ 3200400 w 3200400"/>
                <a:gd name="connsiteY22" fmla="*/ 392113 h 3870326"/>
                <a:gd name="connsiteX23" fmla="*/ 1600200 w 3200400"/>
                <a:gd name="connsiteY23" fmla="*/ 784226 h 3870326"/>
                <a:gd name="connsiteX24" fmla="*/ 0 w 3200400"/>
                <a:gd name="connsiteY24" fmla="*/ 392113 h 3870326"/>
                <a:gd name="connsiteX25" fmla="*/ 1600200 w 3200400"/>
                <a:gd name="connsiteY25" fmla="*/ 0 h 3870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200400" h="3870326">
                  <a:moveTo>
                    <a:pt x="0" y="2746376"/>
                  </a:moveTo>
                  <a:cubicBezTo>
                    <a:pt x="0" y="2960462"/>
                    <a:pt x="715173" y="3121026"/>
                    <a:pt x="1609140" y="3121026"/>
                  </a:cubicBezTo>
                  <a:cubicBezTo>
                    <a:pt x="2485227" y="3121026"/>
                    <a:pt x="3200400" y="2960462"/>
                    <a:pt x="3200400" y="2746376"/>
                  </a:cubicBezTo>
                  <a:cubicBezTo>
                    <a:pt x="3200400" y="2746376"/>
                    <a:pt x="3200400" y="2746376"/>
                    <a:pt x="3200400" y="3495676"/>
                  </a:cubicBezTo>
                  <a:cubicBezTo>
                    <a:pt x="3200400" y="3691921"/>
                    <a:pt x="2485227" y="3870326"/>
                    <a:pt x="1609140" y="3870326"/>
                  </a:cubicBezTo>
                  <a:cubicBezTo>
                    <a:pt x="715173" y="3870326"/>
                    <a:pt x="0" y="3691921"/>
                    <a:pt x="0" y="3495676"/>
                  </a:cubicBezTo>
                  <a:cubicBezTo>
                    <a:pt x="0" y="3495676"/>
                    <a:pt x="0" y="3495676"/>
                    <a:pt x="0" y="2746376"/>
                  </a:cubicBezTo>
                  <a:close/>
                  <a:moveTo>
                    <a:pt x="0" y="1717675"/>
                  </a:moveTo>
                  <a:cubicBezTo>
                    <a:pt x="0" y="1931761"/>
                    <a:pt x="715173" y="2092325"/>
                    <a:pt x="1609140" y="2092325"/>
                  </a:cubicBezTo>
                  <a:cubicBezTo>
                    <a:pt x="2485227" y="2092325"/>
                    <a:pt x="3200400" y="1931761"/>
                    <a:pt x="3200400" y="1717675"/>
                  </a:cubicBezTo>
                  <a:cubicBezTo>
                    <a:pt x="3200400" y="1717675"/>
                    <a:pt x="3200400" y="1717675"/>
                    <a:pt x="3200400" y="2466975"/>
                  </a:cubicBezTo>
                  <a:cubicBezTo>
                    <a:pt x="3200400" y="2663220"/>
                    <a:pt x="2485227" y="2841625"/>
                    <a:pt x="1609140" y="2841625"/>
                  </a:cubicBezTo>
                  <a:cubicBezTo>
                    <a:pt x="715173" y="2841625"/>
                    <a:pt x="0" y="2663220"/>
                    <a:pt x="0" y="2466975"/>
                  </a:cubicBezTo>
                  <a:cubicBezTo>
                    <a:pt x="0" y="2466975"/>
                    <a:pt x="0" y="2466975"/>
                    <a:pt x="0" y="1717675"/>
                  </a:cubicBezTo>
                  <a:close/>
                  <a:moveTo>
                    <a:pt x="0" y="688975"/>
                  </a:moveTo>
                  <a:cubicBezTo>
                    <a:pt x="0" y="903061"/>
                    <a:pt x="715173" y="1063625"/>
                    <a:pt x="1609140" y="1063625"/>
                  </a:cubicBezTo>
                  <a:cubicBezTo>
                    <a:pt x="2485227" y="1063625"/>
                    <a:pt x="3200400" y="903061"/>
                    <a:pt x="3200400" y="688975"/>
                  </a:cubicBezTo>
                  <a:cubicBezTo>
                    <a:pt x="3200400" y="688975"/>
                    <a:pt x="3200400" y="688975"/>
                    <a:pt x="3200400" y="1438275"/>
                  </a:cubicBezTo>
                  <a:cubicBezTo>
                    <a:pt x="3200400" y="1652361"/>
                    <a:pt x="2485227" y="1812925"/>
                    <a:pt x="1609140" y="1812925"/>
                  </a:cubicBezTo>
                  <a:cubicBezTo>
                    <a:pt x="715173" y="1812925"/>
                    <a:pt x="0" y="1652361"/>
                    <a:pt x="0" y="1438275"/>
                  </a:cubicBezTo>
                  <a:cubicBezTo>
                    <a:pt x="0" y="1438275"/>
                    <a:pt x="0" y="1438275"/>
                    <a:pt x="0" y="688975"/>
                  </a:cubicBezTo>
                  <a:close/>
                  <a:moveTo>
                    <a:pt x="1600200" y="0"/>
                  </a:moveTo>
                  <a:cubicBezTo>
                    <a:pt x="2483966" y="0"/>
                    <a:pt x="3200400" y="175555"/>
                    <a:pt x="3200400" y="392113"/>
                  </a:cubicBezTo>
                  <a:cubicBezTo>
                    <a:pt x="3200400" y="608671"/>
                    <a:pt x="2483966" y="784226"/>
                    <a:pt x="1600200" y="784226"/>
                  </a:cubicBezTo>
                  <a:cubicBezTo>
                    <a:pt x="716434" y="784226"/>
                    <a:pt x="0" y="608671"/>
                    <a:pt x="0" y="392113"/>
                  </a:cubicBezTo>
                  <a:cubicBezTo>
                    <a:pt x="0" y="175555"/>
                    <a:pt x="716434" y="0"/>
                    <a:pt x="1600200" y="0"/>
                  </a:cubicBezTo>
                  <a:close/>
                </a:path>
              </a:pathLst>
            </a:custGeom>
            <a:solidFill>
              <a:srgbClr val="EB780A"/>
            </a:solidFill>
            <a:ln>
              <a:noFill/>
            </a:ln>
          </p:spPr>
          <p:txBody>
            <a:bodyPr vert="horz" wrap="square" lIns="91344" tIns="45672" rIns="91344" bIns="45672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400">
                <a:solidFill>
                  <a:srgbClr val="000000"/>
                </a:solidFill>
              </a:endParaRPr>
            </a:p>
          </p:txBody>
        </p:sp>
        <p:sp>
          <p:nvSpPr>
            <p:cNvPr id="870" name="Rectangle: Rounded Corners 869">
              <a:extLst>
                <a:ext uri="{FF2B5EF4-FFF2-40B4-BE49-F238E27FC236}">
                  <a16:creationId xmlns:a16="http://schemas.microsoft.com/office/drawing/2014/main" id="{5705A912-E528-FEDA-AEC6-4EE431A56C3D}"/>
                </a:ext>
              </a:extLst>
            </p:cNvPr>
            <p:cNvSpPr/>
            <p:nvPr/>
          </p:nvSpPr>
          <p:spPr bwMode="auto">
            <a:xfrm>
              <a:off x="7145119" y="6029971"/>
              <a:ext cx="991094" cy="220521"/>
            </a:xfrm>
            <a:prstGeom prst="roundRect">
              <a:avLst/>
            </a:prstGeom>
            <a:solidFill>
              <a:srgbClr val="DFE6ED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0" tIns="45696" rIns="0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pt-BR" sz="200" b="1" dirty="0">
                  <a:solidFill>
                    <a:srgbClr val="000000"/>
                  </a:solidFill>
                </a:rPr>
                <a:t>Web Services / API</a:t>
              </a:r>
              <a:endParaRPr lang="en-US" sz="200" b="1" dirty="0" err="1">
                <a:solidFill>
                  <a:srgbClr val="000000"/>
                </a:solidFill>
              </a:endParaRPr>
            </a:p>
          </p:txBody>
        </p:sp>
        <p:sp>
          <p:nvSpPr>
            <p:cNvPr id="876" name="Rectangle: Rounded Corners 875">
              <a:extLst>
                <a:ext uri="{FF2B5EF4-FFF2-40B4-BE49-F238E27FC236}">
                  <a16:creationId xmlns:a16="http://schemas.microsoft.com/office/drawing/2014/main" id="{D3DE495B-B937-874F-4B18-38F284DD49BF}"/>
                </a:ext>
              </a:extLst>
            </p:cNvPr>
            <p:cNvSpPr/>
            <p:nvPr/>
          </p:nvSpPr>
          <p:spPr bwMode="auto">
            <a:xfrm>
              <a:off x="5065295" y="6026664"/>
              <a:ext cx="991094" cy="220521"/>
            </a:xfrm>
            <a:prstGeom prst="roundRect">
              <a:avLst/>
            </a:prstGeom>
            <a:solidFill>
              <a:srgbClr val="DFE6ED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0" tIns="45696" rIns="0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pt-BR" sz="200" b="1" dirty="0">
                  <a:solidFill>
                    <a:srgbClr val="000000"/>
                  </a:solidFill>
                </a:rPr>
                <a:t>BATCH</a:t>
              </a:r>
              <a:endParaRPr lang="en-US" sz="200" b="1" dirty="0" err="1">
                <a:solidFill>
                  <a:srgbClr val="000000"/>
                </a:solidFill>
              </a:endParaRPr>
            </a:p>
          </p:txBody>
        </p:sp>
        <p:sp>
          <p:nvSpPr>
            <p:cNvPr id="877" name="Rectangle: Rounded Corners 876">
              <a:extLst>
                <a:ext uri="{FF2B5EF4-FFF2-40B4-BE49-F238E27FC236}">
                  <a16:creationId xmlns:a16="http://schemas.microsoft.com/office/drawing/2014/main" id="{C9883E1E-7FA3-856D-33DA-EB6405C791CC}"/>
                </a:ext>
              </a:extLst>
            </p:cNvPr>
            <p:cNvSpPr/>
            <p:nvPr/>
          </p:nvSpPr>
          <p:spPr bwMode="auto">
            <a:xfrm>
              <a:off x="6109790" y="6026460"/>
              <a:ext cx="991094" cy="220521"/>
            </a:xfrm>
            <a:prstGeom prst="roundRect">
              <a:avLst/>
            </a:prstGeom>
            <a:solidFill>
              <a:srgbClr val="DFE6ED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0" tIns="45696" rIns="0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pt-BR" sz="200" b="1" dirty="0">
                  <a:solidFill>
                    <a:srgbClr val="000000"/>
                  </a:solidFill>
                </a:rPr>
                <a:t>MindSphere IoT</a:t>
              </a:r>
              <a:endParaRPr lang="en-US" sz="200" b="1" dirty="0" err="1">
                <a:solidFill>
                  <a:srgbClr val="000000"/>
                </a:solidFill>
              </a:endParaRPr>
            </a:p>
          </p:txBody>
        </p:sp>
        <p:sp>
          <p:nvSpPr>
            <p:cNvPr id="878" name="Rectangle: Rounded Corners 877">
              <a:extLst>
                <a:ext uri="{FF2B5EF4-FFF2-40B4-BE49-F238E27FC236}">
                  <a16:creationId xmlns:a16="http://schemas.microsoft.com/office/drawing/2014/main" id="{9F4949C9-4F18-4032-4001-146ABB1E36B6}"/>
                </a:ext>
              </a:extLst>
            </p:cNvPr>
            <p:cNvSpPr/>
            <p:nvPr/>
          </p:nvSpPr>
          <p:spPr bwMode="auto">
            <a:xfrm>
              <a:off x="4025382" y="6026664"/>
              <a:ext cx="991094" cy="220521"/>
            </a:xfrm>
            <a:prstGeom prst="roundRect">
              <a:avLst/>
            </a:prstGeom>
            <a:solidFill>
              <a:srgbClr val="DFE6ED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0" tIns="45696" rIns="0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pt-BR" sz="200" b="1" dirty="0">
                  <a:solidFill>
                    <a:srgbClr val="000000"/>
                  </a:solidFill>
                </a:rPr>
                <a:t>SAP</a:t>
              </a:r>
              <a:endParaRPr lang="en-US" sz="200" b="1" dirty="0" err="1">
                <a:solidFill>
                  <a:srgbClr val="000000"/>
                </a:solidFill>
              </a:endParaRPr>
            </a:p>
          </p:txBody>
        </p:sp>
        <p:sp>
          <p:nvSpPr>
            <p:cNvPr id="879" name="Rectangle: Rounded Corners 878">
              <a:extLst>
                <a:ext uri="{FF2B5EF4-FFF2-40B4-BE49-F238E27FC236}">
                  <a16:creationId xmlns:a16="http://schemas.microsoft.com/office/drawing/2014/main" id="{8E29BD90-F4DE-B084-01E3-B6413BEDF215}"/>
                </a:ext>
              </a:extLst>
            </p:cNvPr>
            <p:cNvSpPr/>
            <p:nvPr/>
          </p:nvSpPr>
          <p:spPr bwMode="auto">
            <a:xfrm>
              <a:off x="2985470" y="6024055"/>
              <a:ext cx="991094" cy="220521"/>
            </a:xfrm>
            <a:prstGeom prst="roundRect">
              <a:avLst/>
            </a:prstGeom>
            <a:solidFill>
              <a:srgbClr val="DFE6ED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0" tIns="45696" rIns="0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pt-BR" sz="200" b="1" dirty="0">
                  <a:solidFill>
                    <a:srgbClr val="000000"/>
                  </a:solidFill>
                </a:rPr>
                <a:t>Relational</a:t>
              </a:r>
              <a:endParaRPr lang="en-US" sz="200" b="1" dirty="0" err="1">
                <a:solidFill>
                  <a:srgbClr val="000000"/>
                </a:solidFill>
              </a:endParaRPr>
            </a:p>
          </p:txBody>
        </p:sp>
        <p:sp>
          <p:nvSpPr>
            <p:cNvPr id="880" name="Rectangle: Rounded Corners 879">
              <a:extLst>
                <a:ext uri="{FF2B5EF4-FFF2-40B4-BE49-F238E27FC236}">
                  <a16:creationId xmlns:a16="http://schemas.microsoft.com/office/drawing/2014/main" id="{1C4F0C97-E18B-1CF0-7E74-3D481FDA6D9F}"/>
                </a:ext>
              </a:extLst>
            </p:cNvPr>
            <p:cNvSpPr/>
            <p:nvPr/>
          </p:nvSpPr>
          <p:spPr bwMode="auto">
            <a:xfrm>
              <a:off x="1943210" y="6024055"/>
              <a:ext cx="991094" cy="220521"/>
            </a:xfrm>
            <a:prstGeom prst="roundRect">
              <a:avLst/>
            </a:prstGeom>
            <a:solidFill>
              <a:srgbClr val="DFE6ED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0" tIns="45696" rIns="0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pt-BR" sz="200" b="1" dirty="0">
                  <a:solidFill>
                    <a:srgbClr val="000000"/>
                  </a:solidFill>
                </a:rPr>
                <a:t>Historian</a:t>
              </a:r>
              <a:endParaRPr lang="en-US" sz="200" b="1" dirty="0" err="1">
                <a:solidFill>
                  <a:srgbClr val="000000"/>
                </a:solidFill>
              </a:endParaRPr>
            </a:p>
          </p:txBody>
        </p:sp>
        <p:sp>
          <p:nvSpPr>
            <p:cNvPr id="881" name="Rectangle: Rounded Corners 880">
              <a:extLst>
                <a:ext uri="{FF2B5EF4-FFF2-40B4-BE49-F238E27FC236}">
                  <a16:creationId xmlns:a16="http://schemas.microsoft.com/office/drawing/2014/main" id="{63CC05EE-00C4-F3C5-7561-126A27CDCD6A}"/>
                </a:ext>
              </a:extLst>
            </p:cNvPr>
            <p:cNvSpPr/>
            <p:nvPr/>
          </p:nvSpPr>
          <p:spPr bwMode="auto">
            <a:xfrm>
              <a:off x="8185032" y="6031696"/>
              <a:ext cx="991094" cy="220521"/>
            </a:xfrm>
            <a:prstGeom prst="roundRect">
              <a:avLst/>
            </a:prstGeom>
            <a:solidFill>
              <a:srgbClr val="DFE6ED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0" tIns="45696" rIns="0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pt-BR" sz="200" b="1" dirty="0">
                  <a:solidFill>
                    <a:srgbClr val="000000"/>
                  </a:solidFill>
                </a:rPr>
                <a:t>Documents</a:t>
              </a:r>
              <a:endParaRPr lang="en-US" sz="200" b="1" dirty="0" err="1">
                <a:solidFill>
                  <a:srgbClr val="000000"/>
                </a:solidFill>
              </a:endParaRPr>
            </a:p>
          </p:txBody>
        </p:sp>
        <p:sp>
          <p:nvSpPr>
            <p:cNvPr id="882" name="Rectangle: Rounded Corners 881">
              <a:extLst>
                <a:ext uri="{FF2B5EF4-FFF2-40B4-BE49-F238E27FC236}">
                  <a16:creationId xmlns:a16="http://schemas.microsoft.com/office/drawing/2014/main" id="{7A422FC4-B588-8FC6-04D1-628EE6208227}"/>
                </a:ext>
              </a:extLst>
            </p:cNvPr>
            <p:cNvSpPr/>
            <p:nvPr/>
          </p:nvSpPr>
          <p:spPr bwMode="auto">
            <a:xfrm>
              <a:off x="9224944" y="6029971"/>
              <a:ext cx="991094" cy="220521"/>
            </a:xfrm>
            <a:prstGeom prst="roundRect">
              <a:avLst/>
            </a:prstGeom>
            <a:solidFill>
              <a:srgbClr val="DFE6ED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0" tIns="45696" rIns="0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pt-BR" sz="200" b="1" dirty="0">
                  <a:solidFill>
                    <a:srgbClr val="000000"/>
                  </a:solidFill>
                </a:rPr>
                <a:t>Restful</a:t>
              </a:r>
              <a:endParaRPr lang="en-US" sz="200" b="1" dirty="0" err="1">
                <a:solidFill>
                  <a:srgbClr val="000000"/>
                </a:solidFill>
              </a:endParaRPr>
            </a:p>
          </p:txBody>
        </p:sp>
        <p:sp>
          <p:nvSpPr>
            <p:cNvPr id="883" name="Freeform 169">
              <a:extLst>
                <a:ext uri="{FF2B5EF4-FFF2-40B4-BE49-F238E27FC236}">
                  <a16:creationId xmlns:a16="http://schemas.microsoft.com/office/drawing/2014/main" id="{CBEC5BF9-CCB6-E323-E034-9F12A87066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70815" y="5687406"/>
              <a:ext cx="274447" cy="280501"/>
            </a:xfrm>
            <a:custGeom>
              <a:avLst/>
              <a:gdLst>
                <a:gd name="T0" fmla="*/ 748 w 998"/>
                <a:gd name="T1" fmla="*/ 839 h 1020"/>
                <a:gd name="T2" fmla="*/ 794 w 998"/>
                <a:gd name="T3" fmla="*/ 453 h 1020"/>
                <a:gd name="T4" fmla="*/ 975 w 998"/>
                <a:gd name="T5" fmla="*/ 294 h 1020"/>
                <a:gd name="T6" fmla="*/ 794 w 998"/>
                <a:gd name="T7" fmla="*/ 223 h 1020"/>
                <a:gd name="T8" fmla="*/ 748 w 998"/>
                <a:gd name="T9" fmla="*/ 223 h 1020"/>
                <a:gd name="T10" fmla="*/ 612 w 998"/>
                <a:gd name="T11" fmla="*/ 476 h 1020"/>
                <a:gd name="T12" fmla="*/ 635 w 998"/>
                <a:gd name="T13" fmla="*/ 771 h 1020"/>
                <a:gd name="T14" fmla="*/ 453 w 998"/>
                <a:gd name="T15" fmla="*/ 431 h 1020"/>
                <a:gd name="T16" fmla="*/ 567 w 998"/>
                <a:gd name="T17" fmla="*/ 0 h 1020"/>
                <a:gd name="T18" fmla="*/ 453 w 998"/>
                <a:gd name="T19" fmla="*/ 385 h 1020"/>
                <a:gd name="T20" fmla="*/ 351 w 998"/>
                <a:gd name="T21" fmla="*/ 238 h 1020"/>
                <a:gd name="T22" fmla="*/ 272 w 998"/>
                <a:gd name="T23" fmla="*/ 158 h 1020"/>
                <a:gd name="T24" fmla="*/ 363 w 998"/>
                <a:gd name="T25" fmla="*/ 90 h 1020"/>
                <a:gd name="T26" fmla="*/ 227 w 998"/>
                <a:gd name="T27" fmla="*/ 22 h 1020"/>
                <a:gd name="T28" fmla="*/ 34 w 998"/>
                <a:gd name="T29" fmla="*/ 181 h 1020"/>
                <a:gd name="T30" fmla="*/ 227 w 998"/>
                <a:gd name="T31" fmla="*/ 249 h 1020"/>
                <a:gd name="T32" fmla="*/ 50 w 998"/>
                <a:gd name="T33" fmla="*/ 308 h 1020"/>
                <a:gd name="T34" fmla="*/ 227 w 998"/>
                <a:gd name="T35" fmla="*/ 385 h 1020"/>
                <a:gd name="T36" fmla="*/ 0 w 998"/>
                <a:gd name="T37" fmla="*/ 544 h 1020"/>
                <a:gd name="T38" fmla="*/ 227 w 998"/>
                <a:gd name="T39" fmla="*/ 604 h 1020"/>
                <a:gd name="T40" fmla="*/ 204 w 998"/>
                <a:gd name="T41" fmla="*/ 839 h 1020"/>
                <a:gd name="T42" fmla="*/ 272 w 998"/>
                <a:gd name="T43" fmla="*/ 756 h 1020"/>
                <a:gd name="T44" fmla="*/ 521 w 998"/>
                <a:gd name="T45" fmla="*/ 567 h 1020"/>
                <a:gd name="T46" fmla="*/ 306 w 998"/>
                <a:gd name="T47" fmla="*/ 941 h 1020"/>
                <a:gd name="T48" fmla="*/ 408 w 998"/>
                <a:gd name="T49" fmla="*/ 816 h 1020"/>
                <a:gd name="T50" fmla="*/ 544 w 998"/>
                <a:gd name="T51" fmla="*/ 939 h 1020"/>
                <a:gd name="T52" fmla="*/ 635 w 998"/>
                <a:gd name="T53" fmla="*/ 816 h 1020"/>
                <a:gd name="T54" fmla="*/ 975 w 998"/>
                <a:gd name="T55" fmla="*/ 929 h 1020"/>
                <a:gd name="T56" fmla="*/ 680 w 998"/>
                <a:gd name="T57" fmla="*/ 657 h 1020"/>
                <a:gd name="T58" fmla="*/ 828 w 998"/>
                <a:gd name="T59" fmla="*/ 555 h 1020"/>
                <a:gd name="T60" fmla="*/ 703 w 998"/>
                <a:gd name="T61" fmla="*/ 476 h 1020"/>
                <a:gd name="T62" fmla="*/ 748 w 998"/>
                <a:gd name="T63" fmla="*/ 499 h 1020"/>
                <a:gd name="T64" fmla="*/ 737 w 998"/>
                <a:gd name="T65" fmla="*/ 147 h 1020"/>
                <a:gd name="T66" fmla="*/ 771 w 998"/>
                <a:gd name="T67" fmla="*/ 181 h 1020"/>
                <a:gd name="T68" fmla="*/ 465 w 998"/>
                <a:gd name="T69" fmla="*/ 238 h 1020"/>
                <a:gd name="T70" fmla="*/ 113 w 998"/>
                <a:gd name="T71" fmla="*/ 215 h 1020"/>
                <a:gd name="T72" fmla="*/ 113 w 998"/>
                <a:gd name="T73" fmla="*/ 215 h 1020"/>
                <a:gd name="T74" fmla="*/ 45 w 998"/>
                <a:gd name="T75" fmla="*/ 544 h 1020"/>
                <a:gd name="T76" fmla="*/ 272 w 998"/>
                <a:gd name="T77" fmla="*/ 431 h 1020"/>
                <a:gd name="T78" fmla="*/ 272 w 998"/>
                <a:gd name="T79" fmla="*/ 431 h 1020"/>
                <a:gd name="T80" fmla="*/ 272 w 998"/>
                <a:gd name="T81" fmla="*/ 705 h 1020"/>
                <a:gd name="T82" fmla="*/ 227 w 998"/>
                <a:gd name="T83" fmla="*/ 655 h 1020"/>
                <a:gd name="T84" fmla="*/ 275 w 998"/>
                <a:gd name="T85" fmla="*/ 657 h 1020"/>
                <a:gd name="T86" fmla="*/ 272 w 998"/>
                <a:gd name="T87" fmla="*/ 604 h 1020"/>
                <a:gd name="T88" fmla="*/ 419 w 998"/>
                <a:gd name="T89" fmla="*/ 941 h 1020"/>
                <a:gd name="T90" fmla="*/ 351 w 998"/>
                <a:gd name="T91" fmla="*/ 941 h 1020"/>
                <a:gd name="T92" fmla="*/ 419 w 998"/>
                <a:gd name="T93" fmla="*/ 941 h 1020"/>
                <a:gd name="T94" fmla="*/ 930 w 998"/>
                <a:gd name="T95" fmla="*/ 929 h 1020"/>
                <a:gd name="T96" fmla="*/ 794 w 998"/>
                <a:gd name="T97" fmla="*/ 635 h 1020"/>
                <a:gd name="T98" fmla="*/ 862 w 998"/>
                <a:gd name="T99" fmla="*/ 635 h 1020"/>
                <a:gd name="T100" fmla="*/ 794 w 998"/>
                <a:gd name="T101" fmla="*/ 635 h 10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98" h="1020">
                  <a:moveTo>
                    <a:pt x="787" y="771"/>
                  </a:moveTo>
                  <a:cubicBezTo>
                    <a:pt x="780" y="757"/>
                    <a:pt x="765" y="748"/>
                    <a:pt x="748" y="748"/>
                  </a:cubicBezTo>
                  <a:cubicBezTo>
                    <a:pt x="723" y="748"/>
                    <a:pt x="703" y="768"/>
                    <a:pt x="703" y="793"/>
                  </a:cubicBezTo>
                  <a:cubicBezTo>
                    <a:pt x="703" y="818"/>
                    <a:pt x="723" y="839"/>
                    <a:pt x="748" y="839"/>
                  </a:cubicBezTo>
                  <a:cubicBezTo>
                    <a:pt x="765" y="839"/>
                    <a:pt x="780" y="830"/>
                    <a:pt x="787" y="816"/>
                  </a:cubicBezTo>
                  <a:cubicBezTo>
                    <a:pt x="998" y="816"/>
                    <a:pt x="998" y="816"/>
                    <a:pt x="998" y="816"/>
                  </a:cubicBezTo>
                  <a:cubicBezTo>
                    <a:pt x="998" y="453"/>
                    <a:pt x="998" y="453"/>
                    <a:pt x="998" y="453"/>
                  </a:cubicBezTo>
                  <a:cubicBezTo>
                    <a:pt x="794" y="453"/>
                    <a:pt x="794" y="453"/>
                    <a:pt x="794" y="453"/>
                  </a:cubicBezTo>
                  <a:cubicBezTo>
                    <a:pt x="794" y="317"/>
                    <a:pt x="794" y="317"/>
                    <a:pt x="794" y="317"/>
                  </a:cubicBezTo>
                  <a:cubicBezTo>
                    <a:pt x="890" y="317"/>
                    <a:pt x="890" y="317"/>
                    <a:pt x="890" y="317"/>
                  </a:cubicBezTo>
                  <a:cubicBezTo>
                    <a:pt x="898" y="331"/>
                    <a:pt x="913" y="340"/>
                    <a:pt x="930" y="340"/>
                  </a:cubicBezTo>
                  <a:cubicBezTo>
                    <a:pt x="955" y="340"/>
                    <a:pt x="975" y="320"/>
                    <a:pt x="975" y="294"/>
                  </a:cubicBezTo>
                  <a:cubicBezTo>
                    <a:pt x="975" y="269"/>
                    <a:pt x="955" y="249"/>
                    <a:pt x="930" y="249"/>
                  </a:cubicBezTo>
                  <a:cubicBezTo>
                    <a:pt x="913" y="249"/>
                    <a:pt x="898" y="258"/>
                    <a:pt x="890" y="272"/>
                  </a:cubicBezTo>
                  <a:cubicBezTo>
                    <a:pt x="794" y="272"/>
                    <a:pt x="794" y="272"/>
                    <a:pt x="794" y="272"/>
                  </a:cubicBezTo>
                  <a:cubicBezTo>
                    <a:pt x="794" y="223"/>
                    <a:pt x="794" y="223"/>
                    <a:pt x="794" y="223"/>
                  </a:cubicBezTo>
                  <a:cubicBezTo>
                    <a:pt x="826" y="213"/>
                    <a:pt x="850" y="183"/>
                    <a:pt x="850" y="147"/>
                  </a:cubicBezTo>
                  <a:cubicBezTo>
                    <a:pt x="850" y="103"/>
                    <a:pt x="815" y="68"/>
                    <a:pt x="771" y="68"/>
                  </a:cubicBezTo>
                  <a:cubicBezTo>
                    <a:pt x="727" y="68"/>
                    <a:pt x="691" y="103"/>
                    <a:pt x="691" y="147"/>
                  </a:cubicBezTo>
                  <a:cubicBezTo>
                    <a:pt x="691" y="183"/>
                    <a:pt x="715" y="213"/>
                    <a:pt x="748" y="223"/>
                  </a:cubicBezTo>
                  <a:cubicBezTo>
                    <a:pt x="748" y="272"/>
                    <a:pt x="748" y="272"/>
                    <a:pt x="748" y="272"/>
                  </a:cubicBezTo>
                  <a:cubicBezTo>
                    <a:pt x="635" y="272"/>
                    <a:pt x="635" y="272"/>
                    <a:pt x="635" y="272"/>
                  </a:cubicBezTo>
                  <a:cubicBezTo>
                    <a:pt x="635" y="437"/>
                    <a:pt x="635" y="437"/>
                    <a:pt x="635" y="437"/>
                  </a:cubicBezTo>
                  <a:cubicBezTo>
                    <a:pt x="621" y="445"/>
                    <a:pt x="612" y="459"/>
                    <a:pt x="612" y="476"/>
                  </a:cubicBezTo>
                  <a:cubicBezTo>
                    <a:pt x="612" y="493"/>
                    <a:pt x="621" y="507"/>
                    <a:pt x="635" y="515"/>
                  </a:cubicBezTo>
                  <a:cubicBezTo>
                    <a:pt x="635" y="635"/>
                    <a:pt x="635" y="635"/>
                    <a:pt x="635" y="635"/>
                  </a:cubicBezTo>
                  <a:cubicBezTo>
                    <a:pt x="635" y="657"/>
                    <a:pt x="635" y="657"/>
                    <a:pt x="635" y="657"/>
                  </a:cubicBezTo>
                  <a:cubicBezTo>
                    <a:pt x="635" y="771"/>
                    <a:pt x="635" y="771"/>
                    <a:pt x="635" y="771"/>
                  </a:cubicBezTo>
                  <a:cubicBezTo>
                    <a:pt x="567" y="771"/>
                    <a:pt x="567" y="771"/>
                    <a:pt x="567" y="771"/>
                  </a:cubicBezTo>
                  <a:cubicBezTo>
                    <a:pt x="567" y="521"/>
                    <a:pt x="567" y="521"/>
                    <a:pt x="567" y="521"/>
                  </a:cubicBezTo>
                  <a:cubicBezTo>
                    <a:pt x="453" y="521"/>
                    <a:pt x="453" y="521"/>
                    <a:pt x="453" y="521"/>
                  </a:cubicBezTo>
                  <a:cubicBezTo>
                    <a:pt x="453" y="431"/>
                    <a:pt x="453" y="431"/>
                    <a:pt x="453" y="431"/>
                  </a:cubicBezTo>
                  <a:cubicBezTo>
                    <a:pt x="589" y="431"/>
                    <a:pt x="589" y="431"/>
                    <a:pt x="589" y="431"/>
                  </a:cubicBezTo>
                  <a:cubicBezTo>
                    <a:pt x="589" y="84"/>
                    <a:pt x="589" y="84"/>
                    <a:pt x="589" y="84"/>
                  </a:cubicBezTo>
                  <a:cubicBezTo>
                    <a:pt x="603" y="76"/>
                    <a:pt x="612" y="62"/>
                    <a:pt x="612" y="45"/>
                  </a:cubicBezTo>
                  <a:cubicBezTo>
                    <a:pt x="612" y="20"/>
                    <a:pt x="592" y="0"/>
                    <a:pt x="567" y="0"/>
                  </a:cubicBezTo>
                  <a:cubicBezTo>
                    <a:pt x="542" y="0"/>
                    <a:pt x="521" y="20"/>
                    <a:pt x="521" y="45"/>
                  </a:cubicBezTo>
                  <a:cubicBezTo>
                    <a:pt x="521" y="62"/>
                    <a:pt x="531" y="76"/>
                    <a:pt x="544" y="84"/>
                  </a:cubicBezTo>
                  <a:cubicBezTo>
                    <a:pt x="544" y="385"/>
                    <a:pt x="544" y="385"/>
                    <a:pt x="544" y="385"/>
                  </a:cubicBezTo>
                  <a:cubicBezTo>
                    <a:pt x="453" y="385"/>
                    <a:pt x="453" y="385"/>
                    <a:pt x="453" y="385"/>
                  </a:cubicBezTo>
                  <a:cubicBezTo>
                    <a:pt x="453" y="314"/>
                    <a:pt x="453" y="314"/>
                    <a:pt x="453" y="314"/>
                  </a:cubicBezTo>
                  <a:cubicBezTo>
                    <a:pt x="486" y="304"/>
                    <a:pt x="510" y="274"/>
                    <a:pt x="510" y="238"/>
                  </a:cubicBezTo>
                  <a:cubicBezTo>
                    <a:pt x="510" y="194"/>
                    <a:pt x="474" y="158"/>
                    <a:pt x="431" y="158"/>
                  </a:cubicBezTo>
                  <a:cubicBezTo>
                    <a:pt x="387" y="158"/>
                    <a:pt x="351" y="194"/>
                    <a:pt x="351" y="238"/>
                  </a:cubicBezTo>
                  <a:cubicBezTo>
                    <a:pt x="351" y="274"/>
                    <a:pt x="375" y="304"/>
                    <a:pt x="408" y="314"/>
                  </a:cubicBezTo>
                  <a:cubicBezTo>
                    <a:pt x="408" y="385"/>
                    <a:pt x="408" y="385"/>
                    <a:pt x="408" y="385"/>
                  </a:cubicBezTo>
                  <a:cubicBezTo>
                    <a:pt x="272" y="385"/>
                    <a:pt x="272" y="385"/>
                    <a:pt x="272" y="385"/>
                  </a:cubicBezTo>
                  <a:cubicBezTo>
                    <a:pt x="272" y="158"/>
                    <a:pt x="272" y="158"/>
                    <a:pt x="272" y="158"/>
                  </a:cubicBezTo>
                  <a:cubicBezTo>
                    <a:pt x="272" y="158"/>
                    <a:pt x="272" y="158"/>
                    <a:pt x="272" y="158"/>
                  </a:cubicBezTo>
                  <a:cubicBezTo>
                    <a:pt x="272" y="68"/>
                    <a:pt x="272" y="68"/>
                    <a:pt x="272" y="68"/>
                  </a:cubicBezTo>
                  <a:cubicBezTo>
                    <a:pt x="323" y="68"/>
                    <a:pt x="323" y="68"/>
                    <a:pt x="323" y="68"/>
                  </a:cubicBezTo>
                  <a:cubicBezTo>
                    <a:pt x="331" y="81"/>
                    <a:pt x="346" y="90"/>
                    <a:pt x="363" y="90"/>
                  </a:cubicBezTo>
                  <a:cubicBezTo>
                    <a:pt x="388" y="90"/>
                    <a:pt x="408" y="70"/>
                    <a:pt x="408" y="45"/>
                  </a:cubicBezTo>
                  <a:cubicBezTo>
                    <a:pt x="408" y="20"/>
                    <a:pt x="388" y="0"/>
                    <a:pt x="363" y="0"/>
                  </a:cubicBezTo>
                  <a:cubicBezTo>
                    <a:pt x="346" y="0"/>
                    <a:pt x="331" y="9"/>
                    <a:pt x="323" y="22"/>
                  </a:cubicBezTo>
                  <a:cubicBezTo>
                    <a:pt x="227" y="22"/>
                    <a:pt x="227" y="22"/>
                    <a:pt x="227" y="22"/>
                  </a:cubicBezTo>
                  <a:cubicBezTo>
                    <a:pt x="227" y="158"/>
                    <a:pt x="227" y="158"/>
                    <a:pt x="227" y="158"/>
                  </a:cubicBezTo>
                  <a:cubicBezTo>
                    <a:pt x="189" y="158"/>
                    <a:pt x="189" y="158"/>
                    <a:pt x="189" y="158"/>
                  </a:cubicBezTo>
                  <a:cubicBezTo>
                    <a:pt x="180" y="126"/>
                    <a:pt x="149" y="102"/>
                    <a:pt x="113" y="102"/>
                  </a:cubicBezTo>
                  <a:cubicBezTo>
                    <a:pt x="69" y="102"/>
                    <a:pt x="34" y="137"/>
                    <a:pt x="34" y="181"/>
                  </a:cubicBezTo>
                  <a:cubicBezTo>
                    <a:pt x="34" y="225"/>
                    <a:pt x="69" y="260"/>
                    <a:pt x="113" y="260"/>
                  </a:cubicBezTo>
                  <a:cubicBezTo>
                    <a:pt x="149" y="260"/>
                    <a:pt x="179" y="237"/>
                    <a:pt x="189" y="204"/>
                  </a:cubicBezTo>
                  <a:cubicBezTo>
                    <a:pt x="227" y="204"/>
                    <a:pt x="227" y="204"/>
                    <a:pt x="227" y="204"/>
                  </a:cubicBezTo>
                  <a:cubicBezTo>
                    <a:pt x="227" y="249"/>
                    <a:pt x="227" y="249"/>
                    <a:pt x="227" y="249"/>
                  </a:cubicBezTo>
                  <a:cubicBezTo>
                    <a:pt x="227" y="249"/>
                    <a:pt x="227" y="249"/>
                    <a:pt x="227" y="249"/>
                  </a:cubicBezTo>
                  <a:cubicBezTo>
                    <a:pt x="227" y="340"/>
                    <a:pt x="227" y="340"/>
                    <a:pt x="227" y="340"/>
                  </a:cubicBezTo>
                  <a:cubicBezTo>
                    <a:pt x="96" y="340"/>
                    <a:pt x="96" y="340"/>
                    <a:pt x="96" y="340"/>
                  </a:cubicBezTo>
                  <a:cubicBezTo>
                    <a:pt x="89" y="321"/>
                    <a:pt x="71" y="308"/>
                    <a:pt x="50" y="308"/>
                  </a:cubicBezTo>
                  <a:cubicBezTo>
                    <a:pt x="22" y="308"/>
                    <a:pt x="0" y="330"/>
                    <a:pt x="0" y="358"/>
                  </a:cubicBezTo>
                  <a:cubicBezTo>
                    <a:pt x="0" y="386"/>
                    <a:pt x="22" y="408"/>
                    <a:pt x="50" y="408"/>
                  </a:cubicBezTo>
                  <a:cubicBezTo>
                    <a:pt x="67" y="408"/>
                    <a:pt x="83" y="399"/>
                    <a:pt x="91" y="385"/>
                  </a:cubicBezTo>
                  <a:cubicBezTo>
                    <a:pt x="227" y="385"/>
                    <a:pt x="227" y="385"/>
                    <a:pt x="227" y="385"/>
                  </a:cubicBezTo>
                  <a:cubicBezTo>
                    <a:pt x="227" y="521"/>
                    <a:pt x="227" y="521"/>
                    <a:pt x="227" y="521"/>
                  </a:cubicBezTo>
                  <a:cubicBezTo>
                    <a:pt x="155" y="521"/>
                    <a:pt x="155" y="521"/>
                    <a:pt x="155" y="521"/>
                  </a:cubicBezTo>
                  <a:cubicBezTo>
                    <a:pt x="145" y="488"/>
                    <a:pt x="115" y="465"/>
                    <a:pt x="79" y="465"/>
                  </a:cubicBezTo>
                  <a:cubicBezTo>
                    <a:pt x="35" y="465"/>
                    <a:pt x="0" y="500"/>
                    <a:pt x="0" y="544"/>
                  </a:cubicBezTo>
                  <a:cubicBezTo>
                    <a:pt x="0" y="588"/>
                    <a:pt x="35" y="623"/>
                    <a:pt x="79" y="623"/>
                  </a:cubicBezTo>
                  <a:cubicBezTo>
                    <a:pt x="115" y="623"/>
                    <a:pt x="145" y="599"/>
                    <a:pt x="155" y="567"/>
                  </a:cubicBezTo>
                  <a:cubicBezTo>
                    <a:pt x="227" y="567"/>
                    <a:pt x="227" y="567"/>
                    <a:pt x="227" y="567"/>
                  </a:cubicBezTo>
                  <a:cubicBezTo>
                    <a:pt x="227" y="604"/>
                    <a:pt x="227" y="604"/>
                    <a:pt x="227" y="604"/>
                  </a:cubicBezTo>
                  <a:cubicBezTo>
                    <a:pt x="194" y="614"/>
                    <a:pt x="170" y="644"/>
                    <a:pt x="170" y="680"/>
                  </a:cubicBezTo>
                  <a:cubicBezTo>
                    <a:pt x="170" y="716"/>
                    <a:pt x="194" y="746"/>
                    <a:pt x="227" y="756"/>
                  </a:cubicBezTo>
                  <a:cubicBezTo>
                    <a:pt x="227" y="800"/>
                    <a:pt x="227" y="800"/>
                    <a:pt x="227" y="800"/>
                  </a:cubicBezTo>
                  <a:cubicBezTo>
                    <a:pt x="213" y="807"/>
                    <a:pt x="204" y="822"/>
                    <a:pt x="204" y="839"/>
                  </a:cubicBezTo>
                  <a:cubicBezTo>
                    <a:pt x="204" y="864"/>
                    <a:pt x="224" y="884"/>
                    <a:pt x="249" y="884"/>
                  </a:cubicBezTo>
                  <a:cubicBezTo>
                    <a:pt x="274" y="884"/>
                    <a:pt x="295" y="864"/>
                    <a:pt x="295" y="839"/>
                  </a:cubicBezTo>
                  <a:cubicBezTo>
                    <a:pt x="295" y="822"/>
                    <a:pt x="285" y="807"/>
                    <a:pt x="272" y="800"/>
                  </a:cubicBezTo>
                  <a:cubicBezTo>
                    <a:pt x="272" y="756"/>
                    <a:pt x="272" y="756"/>
                    <a:pt x="272" y="756"/>
                  </a:cubicBezTo>
                  <a:cubicBezTo>
                    <a:pt x="298" y="748"/>
                    <a:pt x="318" y="728"/>
                    <a:pt x="325" y="703"/>
                  </a:cubicBezTo>
                  <a:cubicBezTo>
                    <a:pt x="453" y="703"/>
                    <a:pt x="453" y="703"/>
                    <a:pt x="453" y="703"/>
                  </a:cubicBezTo>
                  <a:cubicBezTo>
                    <a:pt x="453" y="567"/>
                    <a:pt x="453" y="567"/>
                    <a:pt x="453" y="567"/>
                  </a:cubicBezTo>
                  <a:cubicBezTo>
                    <a:pt x="521" y="567"/>
                    <a:pt x="521" y="567"/>
                    <a:pt x="521" y="567"/>
                  </a:cubicBezTo>
                  <a:cubicBezTo>
                    <a:pt x="521" y="771"/>
                    <a:pt x="521" y="771"/>
                    <a:pt x="521" y="771"/>
                  </a:cubicBezTo>
                  <a:cubicBezTo>
                    <a:pt x="363" y="771"/>
                    <a:pt x="363" y="771"/>
                    <a:pt x="363" y="771"/>
                  </a:cubicBezTo>
                  <a:cubicBezTo>
                    <a:pt x="363" y="865"/>
                    <a:pt x="363" y="865"/>
                    <a:pt x="363" y="865"/>
                  </a:cubicBezTo>
                  <a:cubicBezTo>
                    <a:pt x="330" y="874"/>
                    <a:pt x="306" y="905"/>
                    <a:pt x="306" y="941"/>
                  </a:cubicBezTo>
                  <a:cubicBezTo>
                    <a:pt x="306" y="985"/>
                    <a:pt x="342" y="1020"/>
                    <a:pt x="385" y="1020"/>
                  </a:cubicBezTo>
                  <a:cubicBezTo>
                    <a:pt x="429" y="1020"/>
                    <a:pt x="465" y="985"/>
                    <a:pt x="465" y="941"/>
                  </a:cubicBezTo>
                  <a:cubicBezTo>
                    <a:pt x="465" y="905"/>
                    <a:pt x="441" y="874"/>
                    <a:pt x="408" y="865"/>
                  </a:cubicBezTo>
                  <a:cubicBezTo>
                    <a:pt x="408" y="816"/>
                    <a:pt x="408" y="816"/>
                    <a:pt x="408" y="816"/>
                  </a:cubicBezTo>
                  <a:cubicBezTo>
                    <a:pt x="521" y="816"/>
                    <a:pt x="521" y="816"/>
                    <a:pt x="521" y="816"/>
                  </a:cubicBezTo>
                  <a:cubicBezTo>
                    <a:pt x="521" y="844"/>
                    <a:pt x="521" y="844"/>
                    <a:pt x="521" y="844"/>
                  </a:cubicBezTo>
                  <a:cubicBezTo>
                    <a:pt x="505" y="852"/>
                    <a:pt x="494" y="869"/>
                    <a:pt x="494" y="889"/>
                  </a:cubicBezTo>
                  <a:cubicBezTo>
                    <a:pt x="494" y="916"/>
                    <a:pt x="517" y="939"/>
                    <a:pt x="544" y="939"/>
                  </a:cubicBezTo>
                  <a:cubicBezTo>
                    <a:pt x="572" y="939"/>
                    <a:pt x="594" y="916"/>
                    <a:pt x="594" y="889"/>
                  </a:cubicBezTo>
                  <a:cubicBezTo>
                    <a:pt x="594" y="869"/>
                    <a:pt x="583" y="852"/>
                    <a:pt x="567" y="844"/>
                  </a:cubicBezTo>
                  <a:cubicBezTo>
                    <a:pt x="567" y="816"/>
                    <a:pt x="567" y="816"/>
                    <a:pt x="567" y="816"/>
                  </a:cubicBezTo>
                  <a:cubicBezTo>
                    <a:pt x="635" y="816"/>
                    <a:pt x="635" y="816"/>
                    <a:pt x="635" y="816"/>
                  </a:cubicBezTo>
                  <a:cubicBezTo>
                    <a:pt x="635" y="952"/>
                    <a:pt x="635" y="952"/>
                    <a:pt x="635" y="952"/>
                  </a:cubicBezTo>
                  <a:cubicBezTo>
                    <a:pt x="820" y="952"/>
                    <a:pt x="820" y="952"/>
                    <a:pt x="820" y="952"/>
                  </a:cubicBezTo>
                  <a:cubicBezTo>
                    <a:pt x="829" y="985"/>
                    <a:pt x="860" y="1009"/>
                    <a:pt x="896" y="1009"/>
                  </a:cubicBezTo>
                  <a:cubicBezTo>
                    <a:pt x="939" y="1009"/>
                    <a:pt x="975" y="973"/>
                    <a:pt x="975" y="929"/>
                  </a:cubicBezTo>
                  <a:cubicBezTo>
                    <a:pt x="975" y="886"/>
                    <a:pt x="939" y="850"/>
                    <a:pt x="896" y="850"/>
                  </a:cubicBezTo>
                  <a:cubicBezTo>
                    <a:pt x="860" y="850"/>
                    <a:pt x="829" y="874"/>
                    <a:pt x="820" y="907"/>
                  </a:cubicBezTo>
                  <a:cubicBezTo>
                    <a:pt x="680" y="907"/>
                    <a:pt x="680" y="907"/>
                    <a:pt x="680" y="907"/>
                  </a:cubicBezTo>
                  <a:cubicBezTo>
                    <a:pt x="680" y="657"/>
                    <a:pt x="680" y="657"/>
                    <a:pt x="680" y="657"/>
                  </a:cubicBezTo>
                  <a:cubicBezTo>
                    <a:pt x="751" y="657"/>
                    <a:pt x="751" y="657"/>
                    <a:pt x="751" y="657"/>
                  </a:cubicBezTo>
                  <a:cubicBezTo>
                    <a:pt x="761" y="690"/>
                    <a:pt x="792" y="714"/>
                    <a:pt x="828" y="714"/>
                  </a:cubicBezTo>
                  <a:cubicBezTo>
                    <a:pt x="871" y="714"/>
                    <a:pt x="907" y="678"/>
                    <a:pt x="907" y="635"/>
                  </a:cubicBezTo>
                  <a:cubicBezTo>
                    <a:pt x="907" y="591"/>
                    <a:pt x="871" y="555"/>
                    <a:pt x="828" y="555"/>
                  </a:cubicBezTo>
                  <a:cubicBezTo>
                    <a:pt x="792" y="555"/>
                    <a:pt x="761" y="579"/>
                    <a:pt x="751" y="612"/>
                  </a:cubicBezTo>
                  <a:cubicBezTo>
                    <a:pt x="680" y="612"/>
                    <a:pt x="680" y="612"/>
                    <a:pt x="680" y="612"/>
                  </a:cubicBezTo>
                  <a:cubicBezTo>
                    <a:pt x="680" y="515"/>
                    <a:pt x="680" y="515"/>
                    <a:pt x="680" y="515"/>
                  </a:cubicBezTo>
                  <a:cubicBezTo>
                    <a:pt x="694" y="507"/>
                    <a:pt x="703" y="493"/>
                    <a:pt x="703" y="476"/>
                  </a:cubicBezTo>
                  <a:cubicBezTo>
                    <a:pt x="703" y="459"/>
                    <a:pt x="694" y="445"/>
                    <a:pt x="680" y="437"/>
                  </a:cubicBezTo>
                  <a:cubicBezTo>
                    <a:pt x="680" y="317"/>
                    <a:pt x="680" y="317"/>
                    <a:pt x="680" y="317"/>
                  </a:cubicBezTo>
                  <a:cubicBezTo>
                    <a:pt x="748" y="317"/>
                    <a:pt x="748" y="317"/>
                    <a:pt x="748" y="317"/>
                  </a:cubicBezTo>
                  <a:cubicBezTo>
                    <a:pt x="748" y="499"/>
                    <a:pt x="748" y="499"/>
                    <a:pt x="748" y="499"/>
                  </a:cubicBezTo>
                  <a:cubicBezTo>
                    <a:pt x="952" y="499"/>
                    <a:pt x="952" y="499"/>
                    <a:pt x="952" y="499"/>
                  </a:cubicBezTo>
                  <a:cubicBezTo>
                    <a:pt x="952" y="771"/>
                    <a:pt x="952" y="771"/>
                    <a:pt x="952" y="771"/>
                  </a:cubicBezTo>
                  <a:lnTo>
                    <a:pt x="787" y="771"/>
                  </a:lnTo>
                  <a:close/>
                  <a:moveTo>
                    <a:pt x="737" y="147"/>
                  </a:moveTo>
                  <a:cubicBezTo>
                    <a:pt x="737" y="128"/>
                    <a:pt x="752" y="113"/>
                    <a:pt x="771" y="113"/>
                  </a:cubicBezTo>
                  <a:cubicBezTo>
                    <a:pt x="790" y="113"/>
                    <a:pt x="805" y="128"/>
                    <a:pt x="805" y="147"/>
                  </a:cubicBezTo>
                  <a:cubicBezTo>
                    <a:pt x="805" y="157"/>
                    <a:pt x="800" y="166"/>
                    <a:pt x="794" y="172"/>
                  </a:cubicBezTo>
                  <a:cubicBezTo>
                    <a:pt x="788" y="178"/>
                    <a:pt x="780" y="181"/>
                    <a:pt x="771" y="181"/>
                  </a:cubicBezTo>
                  <a:cubicBezTo>
                    <a:pt x="762" y="181"/>
                    <a:pt x="754" y="178"/>
                    <a:pt x="748" y="172"/>
                  </a:cubicBezTo>
                  <a:cubicBezTo>
                    <a:pt x="741" y="166"/>
                    <a:pt x="737" y="157"/>
                    <a:pt x="737" y="147"/>
                  </a:cubicBezTo>
                  <a:close/>
                  <a:moveTo>
                    <a:pt x="431" y="204"/>
                  </a:moveTo>
                  <a:cubicBezTo>
                    <a:pt x="449" y="204"/>
                    <a:pt x="465" y="219"/>
                    <a:pt x="465" y="238"/>
                  </a:cubicBezTo>
                  <a:cubicBezTo>
                    <a:pt x="465" y="257"/>
                    <a:pt x="449" y="272"/>
                    <a:pt x="431" y="272"/>
                  </a:cubicBezTo>
                  <a:cubicBezTo>
                    <a:pt x="412" y="272"/>
                    <a:pt x="397" y="257"/>
                    <a:pt x="397" y="238"/>
                  </a:cubicBezTo>
                  <a:cubicBezTo>
                    <a:pt x="397" y="219"/>
                    <a:pt x="412" y="204"/>
                    <a:pt x="431" y="204"/>
                  </a:cubicBezTo>
                  <a:close/>
                  <a:moveTo>
                    <a:pt x="113" y="215"/>
                  </a:moveTo>
                  <a:cubicBezTo>
                    <a:pt x="94" y="215"/>
                    <a:pt x="79" y="200"/>
                    <a:pt x="79" y="181"/>
                  </a:cubicBezTo>
                  <a:cubicBezTo>
                    <a:pt x="79" y="162"/>
                    <a:pt x="94" y="147"/>
                    <a:pt x="113" y="147"/>
                  </a:cubicBezTo>
                  <a:cubicBezTo>
                    <a:pt x="132" y="147"/>
                    <a:pt x="147" y="162"/>
                    <a:pt x="147" y="181"/>
                  </a:cubicBezTo>
                  <a:cubicBezTo>
                    <a:pt x="147" y="200"/>
                    <a:pt x="132" y="215"/>
                    <a:pt x="113" y="215"/>
                  </a:cubicBezTo>
                  <a:close/>
                  <a:moveTo>
                    <a:pt x="113" y="544"/>
                  </a:moveTo>
                  <a:cubicBezTo>
                    <a:pt x="113" y="553"/>
                    <a:pt x="110" y="561"/>
                    <a:pt x="105" y="567"/>
                  </a:cubicBezTo>
                  <a:cubicBezTo>
                    <a:pt x="98" y="574"/>
                    <a:pt x="89" y="578"/>
                    <a:pt x="79" y="578"/>
                  </a:cubicBezTo>
                  <a:cubicBezTo>
                    <a:pt x="60" y="578"/>
                    <a:pt x="45" y="563"/>
                    <a:pt x="45" y="544"/>
                  </a:cubicBezTo>
                  <a:cubicBezTo>
                    <a:pt x="45" y="525"/>
                    <a:pt x="60" y="510"/>
                    <a:pt x="79" y="510"/>
                  </a:cubicBezTo>
                  <a:cubicBezTo>
                    <a:pt x="89" y="510"/>
                    <a:pt x="98" y="514"/>
                    <a:pt x="105" y="521"/>
                  </a:cubicBezTo>
                  <a:cubicBezTo>
                    <a:pt x="110" y="527"/>
                    <a:pt x="113" y="535"/>
                    <a:pt x="113" y="544"/>
                  </a:cubicBezTo>
                  <a:close/>
                  <a:moveTo>
                    <a:pt x="272" y="431"/>
                  </a:moveTo>
                  <a:cubicBezTo>
                    <a:pt x="408" y="431"/>
                    <a:pt x="408" y="431"/>
                    <a:pt x="408" y="431"/>
                  </a:cubicBezTo>
                  <a:cubicBezTo>
                    <a:pt x="408" y="521"/>
                    <a:pt x="408" y="521"/>
                    <a:pt x="408" y="521"/>
                  </a:cubicBezTo>
                  <a:cubicBezTo>
                    <a:pt x="272" y="521"/>
                    <a:pt x="272" y="521"/>
                    <a:pt x="272" y="521"/>
                  </a:cubicBezTo>
                  <a:lnTo>
                    <a:pt x="272" y="431"/>
                  </a:lnTo>
                  <a:close/>
                  <a:moveTo>
                    <a:pt x="283" y="680"/>
                  </a:moveTo>
                  <a:cubicBezTo>
                    <a:pt x="283" y="689"/>
                    <a:pt x="280" y="697"/>
                    <a:pt x="275" y="703"/>
                  </a:cubicBezTo>
                  <a:cubicBezTo>
                    <a:pt x="272" y="703"/>
                    <a:pt x="272" y="703"/>
                    <a:pt x="272" y="703"/>
                  </a:cubicBezTo>
                  <a:cubicBezTo>
                    <a:pt x="272" y="705"/>
                    <a:pt x="272" y="705"/>
                    <a:pt x="272" y="705"/>
                  </a:cubicBezTo>
                  <a:cubicBezTo>
                    <a:pt x="266" y="711"/>
                    <a:pt x="258" y="714"/>
                    <a:pt x="249" y="714"/>
                  </a:cubicBezTo>
                  <a:cubicBezTo>
                    <a:pt x="241" y="714"/>
                    <a:pt x="233" y="711"/>
                    <a:pt x="227" y="705"/>
                  </a:cubicBezTo>
                  <a:cubicBezTo>
                    <a:pt x="220" y="699"/>
                    <a:pt x="215" y="690"/>
                    <a:pt x="215" y="680"/>
                  </a:cubicBezTo>
                  <a:cubicBezTo>
                    <a:pt x="215" y="670"/>
                    <a:pt x="220" y="661"/>
                    <a:pt x="227" y="655"/>
                  </a:cubicBezTo>
                  <a:cubicBezTo>
                    <a:pt x="233" y="649"/>
                    <a:pt x="241" y="646"/>
                    <a:pt x="249" y="646"/>
                  </a:cubicBezTo>
                  <a:cubicBezTo>
                    <a:pt x="258" y="646"/>
                    <a:pt x="266" y="649"/>
                    <a:pt x="272" y="655"/>
                  </a:cubicBezTo>
                  <a:cubicBezTo>
                    <a:pt x="272" y="657"/>
                    <a:pt x="272" y="657"/>
                    <a:pt x="272" y="657"/>
                  </a:cubicBezTo>
                  <a:cubicBezTo>
                    <a:pt x="275" y="657"/>
                    <a:pt x="275" y="657"/>
                    <a:pt x="275" y="657"/>
                  </a:cubicBezTo>
                  <a:cubicBezTo>
                    <a:pt x="280" y="663"/>
                    <a:pt x="283" y="671"/>
                    <a:pt x="283" y="680"/>
                  </a:cubicBezTo>
                  <a:close/>
                  <a:moveTo>
                    <a:pt x="408" y="657"/>
                  </a:moveTo>
                  <a:cubicBezTo>
                    <a:pt x="325" y="657"/>
                    <a:pt x="325" y="657"/>
                    <a:pt x="325" y="657"/>
                  </a:cubicBezTo>
                  <a:cubicBezTo>
                    <a:pt x="318" y="632"/>
                    <a:pt x="298" y="612"/>
                    <a:pt x="272" y="604"/>
                  </a:cubicBezTo>
                  <a:cubicBezTo>
                    <a:pt x="272" y="567"/>
                    <a:pt x="272" y="567"/>
                    <a:pt x="272" y="567"/>
                  </a:cubicBezTo>
                  <a:cubicBezTo>
                    <a:pt x="408" y="567"/>
                    <a:pt x="408" y="567"/>
                    <a:pt x="408" y="567"/>
                  </a:cubicBezTo>
                  <a:lnTo>
                    <a:pt x="408" y="657"/>
                  </a:lnTo>
                  <a:close/>
                  <a:moveTo>
                    <a:pt x="419" y="941"/>
                  </a:moveTo>
                  <a:cubicBezTo>
                    <a:pt x="419" y="951"/>
                    <a:pt x="415" y="960"/>
                    <a:pt x="408" y="966"/>
                  </a:cubicBezTo>
                  <a:cubicBezTo>
                    <a:pt x="402" y="972"/>
                    <a:pt x="394" y="975"/>
                    <a:pt x="385" y="975"/>
                  </a:cubicBezTo>
                  <a:cubicBezTo>
                    <a:pt x="377" y="975"/>
                    <a:pt x="369" y="972"/>
                    <a:pt x="363" y="966"/>
                  </a:cubicBezTo>
                  <a:cubicBezTo>
                    <a:pt x="356" y="960"/>
                    <a:pt x="351" y="951"/>
                    <a:pt x="351" y="941"/>
                  </a:cubicBezTo>
                  <a:cubicBezTo>
                    <a:pt x="351" y="931"/>
                    <a:pt x="356" y="922"/>
                    <a:pt x="363" y="916"/>
                  </a:cubicBezTo>
                  <a:cubicBezTo>
                    <a:pt x="369" y="910"/>
                    <a:pt x="377" y="907"/>
                    <a:pt x="385" y="907"/>
                  </a:cubicBezTo>
                  <a:cubicBezTo>
                    <a:pt x="394" y="907"/>
                    <a:pt x="402" y="910"/>
                    <a:pt x="408" y="915"/>
                  </a:cubicBezTo>
                  <a:cubicBezTo>
                    <a:pt x="415" y="922"/>
                    <a:pt x="419" y="931"/>
                    <a:pt x="419" y="941"/>
                  </a:cubicBezTo>
                  <a:close/>
                  <a:moveTo>
                    <a:pt x="862" y="929"/>
                  </a:moveTo>
                  <a:cubicBezTo>
                    <a:pt x="862" y="921"/>
                    <a:pt x="865" y="913"/>
                    <a:pt x="870" y="907"/>
                  </a:cubicBezTo>
                  <a:cubicBezTo>
                    <a:pt x="876" y="900"/>
                    <a:pt x="886" y="895"/>
                    <a:pt x="896" y="895"/>
                  </a:cubicBezTo>
                  <a:cubicBezTo>
                    <a:pt x="914" y="895"/>
                    <a:pt x="930" y="911"/>
                    <a:pt x="930" y="929"/>
                  </a:cubicBezTo>
                  <a:cubicBezTo>
                    <a:pt x="930" y="948"/>
                    <a:pt x="914" y="963"/>
                    <a:pt x="896" y="963"/>
                  </a:cubicBezTo>
                  <a:cubicBezTo>
                    <a:pt x="886" y="963"/>
                    <a:pt x="876" y="959"/>
                    <a:pt x="870" y="952"/>
                  </a:cubicBezTo>
                  <a:cubicBezTo>
                    <a:pt x="865" y="946"/>
                    <a:pt x="862" y="938"/>
                    <a:pt x="862" y="929"/>
                  </a:cubicBezTo>
                  <a:close/>
                  <a:moveTo>
                    <a:pt x="794" y="635"/>
                  </a:moveTo>
                  <a:cubicBezTo>
                    <a:pt x="794" y="626"/>
                    <a:pt x="797" y="618"/>
                    <a:pt x="802" y="612"/>
                  </a:cubicBezTo>
                  <a:cubicBezTo>
                    <a:pt x="808" y="605"/>
                    <a:pt x="818" y="601"/>
                    <a:pt x="828" y="601"/>
                  </a:cubicBezTo>
                  <a:cubicBezTo>
                    <a:pt x="838" y="601"/>
                    <a:pt x="847" y="605"/>
                    <a:pt x="853" y="612"/>
                  </a:cubicBezTo>
                  <a:cubicBezTo>
                    <a:pt x="858" y="618"/>
                    <a:pt x="862" y="626"/>
                    <a:pt x="862" y="635"/>
                  </a:cubicBezTo>
                  <a:cubicBezTo>
                    <a:pt x="862" y="643"/>
                    <a:pt x="858" y="651"/>
                    <a:pt x="853" y="657"/>
                  </a:cubicBezTo>
                  <a:cubicBezTo>
                    <a:pt x="847" y="664"/>
                    <a:pt x="838" y="669"/>
                    <a:pt x="828" y="669"/>
                  </a:cubicBezTo>
                  <a:cubicBezTo>
                    <a:pt x="818" y="669"/>
                    <a:pt x="808" y="664"/>
                    <a:pt x="802" y="657"/>
                  </a:cubicBezTo>
                  <a:cubicBezTo>
                    <a:pt x="797" y="651"/>
                    <a:pt x="794" y="643"/>
                    <a:pt x="794" y="635"/>
                  </a:cubicBezTo>
                  <a:close/>
                </a:path>
              </a:pathLst>
            </a:custGeom>
            <a:solidFill>
              <a:srgbClr val="0F8287"/>
            </a:solidFill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000">
                <a:solidFill>
                  <a:srgbClr val="000000"/>
                </a:solidFill>
              </a:endParaRPr>
            </a:p>
          </p:txBody>
        </p:sp>
        <p:grpSp>
          <p:nvGrpSpPr>
            <p:cNvPr id="884" name="Group 883">
              <a:extLst>
                <a:ext uri="{FF2B5EF4-FFF2-40B4-BE49-F238E27FC236}">
                  <a16:creationId xmlns:a16="http://schemas.microsoft.com/office/drawing/2014/main" id="{1F295532-965B-9484-0A9B-29274579D021}"/>
                </a:ext>
              </a:extLst>
            </p:cNvPr>
            <p:cNvGrpSpPr/>
            <p:nvPr/>
          </p:nvGrpSpPr>
          <p:grpSpPr>
            <a:xfrm>
              <a:off x="7415315" y="5707614"/>
              <a:ext cx="395155" cy="274521"/>
              <a:chOff x="7794093" y="5609501"/>
              <a:chExt cx="378039" cy="259077"/>
            </a:xfrm>
          </p:grpSpPr>
          <p:sp>
            <p:nvSpPr>
              <p:cNvPr id="885" name="Freeform 62">
                <a:extLst>
                  <a:ext uri="{FF2B5EF4-FFF2-40B4-BE49-F238E27FC236}">
                    <a16:creationId xmlns:a16="http://schemas.microsoft.com/office/drawing/2014/main" id="{2921A665-FEDF-7E65-D010-45A08C0788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94093" y="5609501"/>
                <a:ext cx="378039" cy="244233"/>
              </a:xfrm>
              <a:custGeom>
                <a:avLst/>
                <a:gdLst>
                  <a:gd name="T0" fmla="*/ 121 w 890"/>
                  <a:gd name="T1" fmla="*/ 575 h 575"/>
                  <a:gd name="T2" fmla="*/ 709 w 890"/>
                  <a:gd name="T3" fmla="*/ 575 h 575"/>
                  <a:gd name="T4" fmla="*/ 884 w 890"/>
                  <a:gd name="T5" fmla="*/ 407 h 575"/>
                  <a:gd name="T6" fmla="*/ 720 w 890"/>
                  <a:gd name="T7" fmla="*/ 214 h 575"/>
                  <a:gd name="T8" fmla="*/ 497 w 890"/>
                  <a:gd name="T9" fmla="*/ 8 h 575"/>
                  <a:gd name="T10" fmla="*/ 275 w 890"/>
                  <a:gd name="T11" fmla="*/ 160 h 575"/>
                  <a:gd name="T12" fmla="*/ 105 w 890"/>
                  <a:gd name="T13" fmla="*/ 323 h 575"/>
                  <a:gd name="T14" fmla="*/ 0 w 890"/>
                  <a:gd name="T15" fmla="*/ 438 h 575"/>
                  <a:gd name="T16" fmla="*/ 121 w 890"/>
                  <a:gd name="T17" fmla="*/ 575 h 5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90" h="575">
                    <a:moveTo>
                      <a:pt x="121" y="575"/>
                    </a:moveTo>
                    <a:cubicBezTo>
                      <a:pt x="709" y="575"/>
                      <a:pt x="709" y="575"/>
                      <a:pt x="709" y="575"/>
                    </a:cubicBezTo>
                    <a:cubicBezTo>
                      <a:pt x="884" y="570"/>
                      <a:pt x="884" y="407"/>
                      <a:pt x="884" y="407"/>
                    </a:cubicBezTo>
                    <a:cubicBezTo>
                      <a:pt x="890" y="222"/>
                      <a:pt x="720" y="214"/>
                      <a:pt x="720" y="214"/>
                    </a:cubicBezTo>
                    <a:cubicBezTo>
                      <a:pt x="681" y="0"/>
                      <a:pt x="497" y="8"/>
                      <a:pt x="497" y="8"/>
                    </a:cubicBezTo>
                    <a:cubicBezTo>
                      <a:pt x="325" y="8"/>
                      <a:pt x="275" y="160"/>
                      <a:pt x="275" y="160"/>
                    </a:cubicBezTo>
                    <a:cubicBezTo>
                      <a:pt x="97" y="160"/>
                      <a:pt x="105" y="323"/>
                      <a:pt x="105" y="323"/>
                    </a:cubicBezTo>
                    <a:cubicBezTo>
                      <a:pt x="0" y="340"/>
                      <a:pt x="0" y="438"/>
                      <a:pt x="0" y="438"/>
                    </a:cubicBezTo>
                    <a:cubicBezTo>
                      <a:pt x="0" y="568"/>
                      <a:pt x="121" y="575"/>
                      <a:pt x="121" y="575"/>
                    </a:cubicBezTo>
                    <a:close/>
                  </a:path>
                </a:pathLst>
              </a:custGeom>
              <a:solidFill>
                <a:srgbClr val="0F8287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>
                  <a:solidFill>
                    <a:srgbClr val="000000"/>
                  </a:solidFill>
                </a:endParaRPr>
              </a:p>
            </p:txBody>
          </p:sp>
          <p:pic>
            <p:nvPicPr>
              <p:cNvPr id="886" name="Graphic 885" descr="Single gear">
                <a:extLst>
                  <a:ext uri="{FF2B5EF4-FFF2-40B4-BE49-F238E27FC236}">
                    <a16:creationId xmlns:a16="http://schemas.microsoft.com/office/drawing/2014/main" id="{1A41FFFE-0722-B7E4-5DDB-490E1FD41C9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7872121" y="5631527"/>
                <a:ext cx="237051" cy="237051"/>
              </a:xfrm>
              <a:prstGeom prst="rect">
                <a:avLst/>
              </a:prstGeom>
            </p:spPr>
          </p:pic>
        </p:grpSp>
      </p:grpSp>
      <p:sp>
        <p:nvSpPr>
          <p:cNvPr id="888" name="Rectangle 887">
            <a:extLst>
              <a:ext uri="{FF2B5EF4-FFF2-40B4-BE49-F238E27FC236}">
                <a16:creationId xmlns:a16="http://schemas.microsoft.com/office/drawing/2014/main" id="{EE89D401-FBFC-B801-C7EC-1AAF9EF591B9}"/>
              </a:ext>
            </a:extLst>
          </p:cNvPr>
          <p:cNvSpPr/>
          <p:nvPr/>
        </p:nvSpPr>
        <p:spPr>
          <a:xfrm>
            <a:off x="4027082" y="3796969"/>
            <a:ext cx="998648" cy="293448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0" h="0"/>
          </a:sp3d>
        </p:spPr>
        <p:txBody>
          <a:bodyPr anchor="ctr"/>
          <a:lstStyle/>
          <a:p>
            <a:pPr algn="ctr" defTabSz="913486">
              <a:defRPr/>
            </a:pPr>
            <a:r>
              <a:rPr lang="en-US" sz="999" kern="0" dirty="0">
                <a:solidFill>
                  <a:srgbClr val="FFFFFF"/>
                </a:solidFill>
                <a:cs typeface="Arial" charset="0"/>
              </a:rPr>
              <a:t>Validation</a:t>
            </a:r>
          </a:p>
        </p:txBody>
      </p:sp>
      <p:sp>
        <p:nvSpPr>
          <p:cNvPr id="890" name="Rectangle 889">
            <a:extLst>
              <a:ext uri="{FF2B5EF4-FFF2-40B4-BE49-F238E27FC236}">
                <a16:creationId xmlns:a16="http://schemas.microsoft.com/office/drawing/2014/main" id="{48BAB790-C043-5B26-C10B-2B190CA22D83}"/>
              </a:ext>
            </a:extLst>
          </p:cNvPr>
          <p:cNvSpPr/>
          <p:nvPr/>
        </p:nvSpPr>
        <p:spPr bwMode="auto">
          <a:xfrm>
            <a:off x="1695356" y="1556792"/>
            <a:ext cx="4152689" cy="1307018"/>
          </a:xfrm>
          <a:prstGeom prst="rect">
            <a:avLst/>
          </a:prstGeom>
          <a:noFill/>
          <a:ln w="69850" cap="flat" cmpd="sng" algn="ctr">
            <a:solidFill>
              <a:srgbClr val="9933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endParaRPr lang="en-US" sz="1399" b="1" i="1">
              <a:latin typeface="Times New Roman" pitchFamily="18" charset="0"/>
            </a:endParaRPr>
          </a:p>
        </p:txBody>
      </p:sp>
      <p:sp>
        <p:nvSpPr>
          <p:cNvPr id="825" name="Arrow: Right 824">
            <a:extLst>
              <a:ext uri="{FF2B5EF4-FFF2-40B4-BE49-F238E27FC236}">
                <a16:creationId xmlns:a16="http://schemas.microsoft.com/office/drawing/2014/main" id="{6CFE0EF7-6B6C-AAF5-A017-29D419227DB5}"/>
              </a:ext>
            </a:extLst>
          </p:cNvPr>
          <p:cNvSpPr/>
          <p:nvPr/>
        </p:nvSpPr>
        <p:spPr bwMode="auto">
          <a:xfrm rot="5400000" flipH="1">
            <a:off x="3537068" y="2579001"/>
            <a:ext cx="345380" cy="611035"/>
          </a:xfrm>
          <a:prstGeom prst="rightArrow">
            <a:avLst>
              <a:gd name="adj1" fmla="val 50000"/>
              <a:gd name="adj2" fmla="val 46765"/>
            </a:avLst>
          </a:prstGeom>
          <a:solidFill>
            <a:srgbClr val="FF0000"/>
          </a:solidFill>
          <a:ln w="698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endParaRPr lang="en-US" sz="1399" b="1" i="1">
              <a:latin typeface="Times New Roman" pitchFamily="18" charset="0"/>
            </a:endParaRPr>
          </a:p>
        </p:txBody>
      </p:sp>
      <p:sp>
        <p:nvSpPr>
          <p:cNvPr id="836" name="Arrow: Right 835">
            <a:extLst>
              <a:ext uri="{FF2B5EF4-FFF2-40B4-BE49-F238E27FC236}">
                <a16:creationId xmlns:a16="http://schemas.microsoft.com/office/drawing/2014/main" id="{2EB031CF-C0FA-561E-918B-4DA723F9FF9C}"/>
              </a:ext>
            </a:extLst>
          </p:cNvPr>
          <p:cNvSpPr/>
          <p:nvPr/>
        </p:nvSpPr>
        <p:spPr bwMode="auto">
          <a:xfrm rot="10800000" flipH="1">
            <a:off x="1498250" y="1901294"/>
            <a:ext cx="345380" cy="611035"/>
          </a:xfrm>
          <a:prstGeom prst="rightArrow">
            <a:avLst>
              <a:gd name="adj1" fmla="val 50000"/>
              <a:gd name="adj2" fmla="val 46765"/>
            </a:avLst>
          </a:prstGeom>
          <a:solidFill>
            <a:srgbClr val="FF0000"/>
          </a:solidFill>
          <a:ln w="698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endParaRPr lang="en-US" sz="1399" b="1" i="1">
              <a:latin typeface="Times New Roman" pitchFamily="18" charset="0"/>
            </a:endParaRPr>
          </a:p>
        </p:txBody>
      </p:sp>
      <p:sp>
        <p:nvSpPr>
          <p:cNvPr id="839" name="TextBox 838">
            <a:extLst>
              <a:ext uri="{FF2B5EF4-FFF2-40B4-BE49-F238E27FC236}">
                <a16:creationId xmlns:a16="http://schemas.microsoft.com/office/drawing/2014/main" id="{5FB65907-7122-4563-1E99-7B86463E2165}"/>
              </a:ext>
            </a:extLst>
          </p:cNvPr>
          <p:cNvSpPr txBox="1"/>
          <p:nvPr/>
        </p:nvSpPr>
        <p:spPr>
          <a:xfrm>
            <a:off x="5918909" y="1573235"/>
            <a:ext cx="2380967" cy="2569934"/>
          </a:xfrm>
          <a:prstGeom prst="rect">
            <a:avLst/>
          </a:prstGeom>
          <a:noFill/>
          <a:ln>
            <a:solidFill>
              <a:schemeClr val="accent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marL="285750" indent="-285750" defTabSz="913943" eaLnBrk="0" hangingPunct="0">
              <a:buFont typeface="Wingdings" panose="05000000000000000000" pitchFamily="2" charset="2"/>
              <a:buChar char="§"/>
            </a:pPr>
            <a:r>
              <a:rPr lang="en-US" sz="1400" b="1" i="1" dirty="0">
                <a:solidFill>
                  <a:schemeClr val="tx1"/>
                </a:solidFill>
                <a:latin typeface="Times New Roman" pitchFamily="18" charset="0"/>
              </a:rPr>
              <a:t>User Research</a:t>
            </a:r>
          </a:p>
          <a:p>
            <a:pPr marL="285750" indent="-285750" defTabSz="913943" eaLnBrk="0" hangingPunct="0">
              <a:buFont typeface="Wingdings" panose="05000000000000000000" pitchFamily="2" charset="2"/>
              <a:buChar char="§"/>
            </a:pPr>
            <a:r>
              <a:rPr lang="en-US" sz="1400" b="1" i="1" dirty="0">
                <a:solidFill>
                  <a:schemeClr val="tx1"/>
                </a:solidFill>
                <a:latin typeface="Times New Roman" pitchFamily="18" charset="0"/>
              </a:rPr>
              <a:t>Usability Testing</a:t>
            </a:r>
          </a:p>
          <a:p>
            <a:pPr marL="285750" indent="-285750" defTabSz="913943" eaLnBrk="0" hangingPunct="0">
              <a:buFont typeface="Wingdings" panose="05000000000000000000" pitchFamily="2" charset="2"/>
              <a:buChar char="§"/>
            </a:pPr>
            <a:r>
              <a:rPr lang="en-US" sz="1400" b="1" i="1" dirty="0">
                <a:solidFill>
                  <a:schemeClr val="tx1"/>
                </a:solidFill>
                <a:latin typeface="Times New Roman" pitchFamily="18" charset="0"/>
              </a:rPr>
              <a:t>Personas</a:t>
            </a:r>
          </a:p>
          <a:p>
            <a:pPr marL="285750" indent="-285750" defTabSz="913943" eaLnBrk="0" hangingPunct="0">
              <a:buFont typeface="Wingdings" panose="05000000000000000000" pitchFamily="2" charset="2"/>
              <a:buChar char="§"/>
            </a:pPr>
            <a:r>
              <a:rPr lang="en-US" sz="1400" b="1" i="1" dirty="0">
                <a:solidFill>
                  <a:schemeClr val="tx1"/>
                </a:solidFill>
                <a:latin typeface="Times New Roman" pitchFamily="18" charset="0"/>
              </a:rPr>
              <a:t>Low-fidelity</a:t>
            </a:r>
          </a:p>
          <a:p>
            <a:pPr marL="285750" indent="-285750" defTabSz="913943" eaLnBrk="0" hangingPunct="0">
              <a:buFont typeface="Wingdings" panose="05000000000000000000" pitchFamily="2" charset="2"/>
              <a:buChar char="§"/>
            </a:pPr>
            <a:r>
              <a:rPr lang="en-US" sz="1400" b="1" i="1" dirty="0">
                <a:solidFill>
                  <a:schemeClr val="tx1"/>
                </a:solidFill>
                <a:latin typeface="Times New Roman" pitchFamily="18" charset="0"/>
              </a:rPr>
              <a:t>Workflow</a:t>
            </a:r>
          </a:p>
          <a:p>
            <a:pPr marL="285750" indent="-285750" defTabSz="913943" eaLnBrk="0" hangingPunct="0">
              <a:buFont typeface="Wingdings" panose="05000000000000000000" pitchFamily="2" charset="2"/>
              <a:buChar char="§"/>
            </a:pPr>
            <a:r>
              <a:rPr lang="en-US" sz="1400" b="1" i="1" dirty="0">
                <a:solidFill>
                  <a:schemeClr val="tx1"/>
                </a:solidFill>
                <a:latin typeface="Times New Roman" pitchFamily="18" charset="0"/>
              </a:rPr>
              <a:t>Copywriting</a:t>
            </a:r>
          </a:p>
          <a:p>
            <a:pPr marL="285750" indent="-285750" defTabSz="913943" eaLnBrk="0" hangingPunct="0">
              <a:buFont typeface="Wingdings" panose="05000000000000000000" pitchFamily="2" charset="2"/>
              <a:buChar char="§"/>
            </a:pPr>
            <a:r>
              <a:rPr lang="en-US" sz="1400" b="1" i="1" dirty="0">
                <a:solidFill>
                  <a:schemeClr val="tx1"/>
                </a:solidFill>
                <a:latin typeface="Times New Roman" pitchFamily="18" charset="0"/>
              </a:rPr>
              <a:t>Interaction Design</a:t>
            </a:r>
          </a:p>
          <a:p>
            <a:pPr marL="285750" indent="-285750" defTabSz="913943" eaLnBrk="0" hangingPunct="0">
              <a:buFont typeface="Wingdings" panose="05000000000000000000" pitchFamily="2" charset="2"/>
              <a:buChar char="§"/>
            </a:pPr>
            <a:r>
              <a:rPr lang="en-US" sz="1400" b="1" i="1" dirty="0">
                <a:solidFill>
                  <a:schemeClr val="tx1"/>
                </a:solidFill>
                <a:latin typeface="Times New Roman" pitchFamily="18" charset="0"/>
              </a:rPr>
              <a:t>Information Architecture</a:t>
            </a:r>
          </a:p>
        </p:txBody>
      </p:sp>
      <p:sp>
        <p:nvSpPr>
          <p:cNvPr id="844" name="Rectangle 843">
            <a:extLst>
              <a:ext uri="{FF2B5EF4-FFF2-40B4-BE49-F238E27FC236}">
                <a16:creationId xmlns:a16="http://schemas.microsoft.com/office/drawing/2014/main" id="{4DBDD7D8-9309-4480-CEC4-3465A37ACB0C}"/>
              </a:ext>
            </a:extLst>
          </p:cNvPr>
          <p:cNvSpPr/>
          <p:nvPr/>
        </p:nvSpPr>
        <p:spPr bwMode="auto">
          <a:xfrm>
            <a:off x="9773025" y="3523267"/>
            <a:ext cx="2343844" cy="2569886"/>
          </a:xfrm>
          <a:prstGeom prst="rect">
            <a:avLst/>
          </a:prstGeom>
          <a:noFill/>
          <a:ln w="12700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913943" eaLnBrk="0" hangingPunct="0">
              <a:buFont typeface="Wingdings" panose="05000000000000000000" pitchFamily="2" charset="2"/>
              <a:buChar char="§"/>
            </a:pPr>
            <a:r>
              <a:rPr lang="en-US" sz="1400" b="1" i="1" dirty="0">
                <a:solidFill>
                  <a:schemeClr val="tx1"/>
                </a:solidFill>
                <a:latin typeface="Times New Roman" pitchFamily="18" charset="0"/>
              </a:rPr>
              <a:t>Visual Design</a:t>
            </a:r>
          </a:p>
          <a:p>
            <a:pPr marL="285750" indent="-285750" defTabSz="913943" eaLnBrk="0" hangingPunct="0">
              <a:buFont typeface="Wingdings" panose="05000000000000000000" pitchFamily="2" charset="2"/>
              <a:buChar char="§"/>
            </a:pPr>
            <a:r>
              <a:rPr lang="en-US" sz="1400" b="1" i="1" dirty="0">
                <a:solidFill>
                  <a:schemeClr val="tx1"/>
                </a:solidFill>
                <a:latin typeface="Times New Roman" pitchFamily="18" charset="0"/>
              </a:rPr>
              <a:t>Interface Design</a:t>
            </a:r>
          </a:p>
          <a:p>
            <a:pPr marL="285750" indent="-285750" defTabSz="913943" eaLnBrk="0" hangingPunct="0">
              <a:buFont typeface="Wingdings" panose="05000000000000000000" pitchFamily="2" charset="2"/>
              <a:buChar char="§"/>
            </a:pPr>
            <a:r>
              <a:rPr lang="en-US" sz="1400" b="1" i="1" dirty="0">
                <a:solidFill>
                  <a:schemeClr val="tx1"/>
                </a:solidFill>
                <a:latin typeface="Times New Roman" pitchFamily="18" charset="0"/>
              </a:rPr>
              <a:t>Color</a:t>
            </a:r>
          </a:p>
          <a:p>
            <a:pPr marL="285750" indent="-285750" defTabSz="913943" eaLnBrk="0" hangingPunct="0">
              <a:buFont typeface="Wingdings" panose="05000000000000000000" pitchFamily="2" charset="2"/>
              <a:buChar char="§"/>
            </a:pPr>
            <a:r>
              <a:rPr lang="en-US" sz="1400" b="1" i="1" dirty="0">
                <a:solidFill>
                  <a:schemeClr val="tx1"/>
                </a:solidFill>
                <a:latin typeface="Times New Roman" pitchFamily="18" charset="0"/>
              </a:rPr>
              <a:t>Layout</a:t>
            </a:r>
          </a:p>
          <a:p>
            <a:pPr marL="285750" indent="-285750" defTabSz="913943" eaLnBrk="0" hangingPunct="0">
              <a:buFont typeface="Wingdings" panose="05000000000000000000" pitchFamily="2" charset="2"/>
              <a:buChar char="§"/>
            </a:pPr>
            <a:r>
              <a:rPr lang="en-US" sz="1400" b="1" i="1" dirty="0">
                <a:solidFill>
                  <a:schemeClr val="tx1"/>
                </a:solidFill>
                <a:latin typeface="Times New Roman" pitchFamily="18" charset="0"/>
              </a:rPr>
              <a:t>Typography</a:t>
            </a:r>
          </a:p>
          <a:p>
            <a:pPr marL="285750" indent="-285750" defTabSz="913943" eaLnBrk="0" hangingPunct="0">
              <a:buFont typeface="Wingdings" panose="05000000000000000000" pitchFamily="2" charset="2"/>
              <a:buChar char="§"/>
            </a:pPr>
            <a:r>
              <a:rPr lang="en-US" sz="1400" b="1" i="1" dirty="0">
                <a:solidFill>
                  <a:schemeClr val="tx1"/>
                </a:solidFill>
                <a:latin typeface="Times New Roman" pitchFamily="18" charset="0"/>
              </a:rPr>
              <a:t>Graphic</a:t>
            </a:r>
          </a:p>
          <a:p>
            <a:pPr marL="285750" indent="-285750" defTabSz="913943" eaLnBrk="0" hangingPunct="0">
              <a:buFont typeface="Wingdings" panose="05000000000000000000" pitchFamily="2" charset="2"/>
              <a:buChar char="§"/>
            </a:pPr>
            <a:r>
              <a:rPr lang="en-US" sz="1400" b="1" i="1" dirty="0">
                <a:solidFill>
                  <a:schemeClr val="tx1"/>
                </a:solidFill>
                <a:latin typeface="Times New Roman" pitchFamily="18" charset="0"/>
              </a:rPr>
              <a:t>Branding</a:t>
            </a:r>
          </a:p>
          <a:p>
            <a:pPr marL="285750" indent="-285750" defTabSz="913943" eaLnBrk="0" hangingPunct="0">
              <a:buFont typeface="Wingdings" panose="05000000000000000000" pitchFamily="2" charset="2"/>
              <a:buChar char="§"/>
            </a:pPr>
            <a:r>
              <a:rPr lang="en-US" sz="1400" b="1" i="1" dirty="0">
                <a:solidFill>
                  <a:schemeClr val="tx1"/>
                </a:solidFill>
                <a:latin typeface="Times New Roman" pitchFamily="18" charset="0"/>
              </a:rPr>
              <a:t>High-fidelity</a:t>
            </a:r>
          </a:p>
        </p:txBody>
      </p:sp>
      <p:sp>
        <p:nvSpPr>
          <p:cNvPr id="845" name="Rectangle 844">
            <a:extLst>
              <a:ext uri="{FF2B5EF4-FFF2-40B4-BE49-F238E27FC236}">
                <a16:creationId xmlns:a16="http://schemas.microsoft.com/office/drawing/2014/main" id="{736624DF-590A-404C-8D20-C5BECC49127D}"/>
              </a:ext>
            </a:extLst>
          </p:cNvPr>
          <p:cNvSpPr/>
          <p:nvPr/>
        </p:nvSpPr>
        <p:spPr bwMode="auto">
          <a:xfrm>
            <a:off x="9286791" y="1691436"/>
            <a:ext cx="1882345" cy="120028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698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r>
              <a:rPr lang="en-US" sz="7200" b="1" i="1" dirty="0">
                <a:solidFill>
                  <a:schemeClr val="bg1"/>
                </a:solidFill>
                <a:latin typeface="Times New Roman" pitchFamily="18" charset="0"/>
              </a:rPr>
              <a:t>UX</a:t>
            </a:r>
          </a:p>
        </p:txBody>
      </p:sp>
      <p:sp>
        <p:nvSpPr>
          <p:cNvPr id="846" name="Rectangle 845">
            <a:extLst>
              <a:ext uri="{FF2B5EF4-FFF2-40B4-BE49-F238E27FC236}">
                <a16:creationId xmlns:a16="http://schemas.microsoft.com/office/drawing/2014/main" id="{0498D42F-2DCE-A046-9291-7D7FD695C07D}"/>
              </a:ext>
            </a:extLst>
          </p:cNvPr>
          <p:cNvSpPr/>
          <p:nvPr/>
        </p:nvSpPr>
        <p:spPr bwMode="auto">
          <a:xfrm>
            <a:off x="7443770" y="4254320"/>
            <a:ext cx="1672820" cy="120028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698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r>
              <a:rPr lang="en-US" sz="7200" b="1" i="1" dirty="0">
                <a:solidFill>
                  <a:schemeClr val="bg1"/>
                </a:solidFill>
                <a:latin typeface="Times New Roman" pitchFamily="18" charset="0"/>
              </a:rPr>
              <a:t>UI</a:t>
            </a:r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id="{3682F9B3-8543-547F-3701-C262EEC25A89}"/>
              </a:ext>
            </a:extLst>
          </p:cNvPr>
          <p:cNvSpPr/>
          <p:nvPr/>
        </p:nvSpPr>
        <p:spPr bwMode="auto">
          <a:xfrm flipH="1">
            <a:off x="8559991" y="2014240"/>
            <a:ext cx="741928" cy="611035"/>
          </a:xfrm>
          <a:prstGeom prst="rightArrow">
            <a:avLst/>
          </a:prstGeom>
          <a:solidFill>
            <a:schemeClr val="accent1">
              <a:lumMod val="50000"/>
            </a:schemeClr>
          </a:solidFill>
          <a:ln w="698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endParaRPr lang="en-US" sz="1399" b="1" i="1">
              <a:latin typeface="Times New Roman" pitchFamily="18" charset="0"/>
            </a:endParaRPr>
          </a:p>
        </p:txBody>
      </p:sp>
      <p:sp>
        <p:nvSpPr>
          <p:cNvPr id="847" name="Arrow: Right 846">
            <a:extLst>
              <a:ext uri="{FF2B5EF4-FFF2-40B4-BE49-F238E27FC236}">
                <a16:creationId xmlns:a16="http://schemas.microsoft.com/office/drawing/2014/main" id="{C8BA6705-1337-2C16-5433-474C20FEF059}"/>
              </a:ext>
            </a:extLst>
          </p:cNvPr>
          <p:cNvSpPr/>
          <p:nvPr/>
        </p:nvSpPr>
        <p:spPr bwMode="auto">
          <a:xfrm>
            <a:off x="9116591" y="4526629"/>
            <a:ext cx="594815" cy="611035"/>
          </a:xfrm>
          <a:prstGeom prst="rightArrow">
            <a:avLst/>
          </a:prstGeom>
          <a:solidFill>
            <a:schemeClr val="accent1">
              <a:lumMod val="50000"/>
            </a:schemeClr>
          </a:solidFill>
          <a:ln w="698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endParaRPr lang="en-US" sz="1399" b="1" i="1">
              <a:latin typeface="Times New Roman" pitchFamily="18" charset="0"/>
            </a:endParaRPr>
          </a:p>
        </p:txBody>
      </p:sp>
      <p:sp>
        <p:nvSpPr>
          <p:cNvPr id="848" name="Rectangle 847">
            <a:extLst>
              <a:ext uri="{FF2B5EF4-FFF2-40B4-BE49-F238E27FC236}">
                <a16:creationId xmlns:a16="http://schemas.microsoft.com/office/drawing/2014/main" id="{975D4FDB-4D9E-19D6-D954-5C1AFEB342EF}"/>
              </a:ext>
            </a:extLst>
          </p:cNvPr>
          <p:cNvSpPr/>
          <p:nvPr/>
        </p:nvSpPr>
        <p:spPr bwMode="auto">
          <a:xfrm>
            <a:off x="8299876" y="2960719"/>
            <a:ext cx="1473149" cy="1277224"/>
          </a:xfrm>
          <a:prstGeom prst="rect">
            <a:avLst/>
          </a:prstGeom>
          <a:noFill/>
          <a:ln w="1270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913943" eaLnBrk="0" hangingPunct="0">
              <a:buFont typeface="Wingdings" panose="05000000000000000000" pitchFamily="2" charset="2"/>
              <a:buChar char="§"/>
            </a:pPr>
            <a:r>
              <a:rPr lang="en-US" sz="1400" b="1" i="1" dirty="0">
                <a:solidFill>
                  <a:schemeClr val="tx1"/>
                </a:solidFill>
                <a:latin typeface="Times New Roman" pitchFamily="18" charset="0"/>
              </a:rPr>
              <a:t>Wireframe</a:t>
            </a:r>
          </a:p>
          <a:p>
            <a:pPr marL="285750" indent="-285750" defTabSz="913943" eaLnBrk="0" hangingPunct="0">
              <a:buFont typeface="Wingdings" panose="05000000000000000000" pitchFamily="2" charset="2"/>
              <a:buChar char="§"/>
            </a:pPr>
            <a:r>
              <a:rPr lang="en-US" sz="1400" b="1" i="1" dirty="0">
                <a:solidFill>
                  <a:schemeClr val="tx1"/>
                </a:solidFill>
                <a:latin typeface="Times New Roman" pitchFamily="18" charset="0"/>
              </a:rPr>
              <a:t>Prototype</a:t>
            </a:r>
          </a:p>
          <a:p>
            <a:pPr marL="285750" indent="-285750" defTabSz="913943" eaLnBrk="0" hangingPunct="0">
              <a:buFont typeface="Wingdings" panose="05000000000000000000" pitchFamily="2" charset="2"/>
              <a:buChar char="§"/>
            </a:pPr>
            <a:r>
              <a:rPr lang="en-US" sz="1400" b="1" i="1" dirty="0">
                <a:solidFill>
                  <a:schemeClr val="tx1"/>
                </a:solidFill>
                <a:latin typeface="Times New Roman" pitchFamily="18" charset="0"/>
              </a:rPr>
              <a:t>Usability</a:t>
            </a:r>
          </a:p>
          <a:p>
            <a:pPr marL="285750" indent="-285750" defTabSz="913943" eaLnBrk="0" hangingPunct="0">
              <a:buFont typeface="Wingdings" panose="05000000000000000000" pitchFamily="2" charset="2"/>
              <a:buChar char="§"/>
            </a:pPr>
            <a:r>
              <a:rPr lang="en-US" sz="1400" b="1" i="1" dirty="0" err="1">
                <a:solidFill>
                  <a:schemeClr val="tx1"/>
                </a:solidFill>
                <a:latin typeface="Times New Roman" pitchFamily="18" charset="0"/>
              </a:rPr>
              <a:t>Acccessbility</a:t>
            </a:r>
            <a:endParaRPr lang="en-US" sz="1400" b="1" i="1" dirty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4E47E55-79F2-A9FD-07BC-8A63C06C223E}"/>
              </a:ext>
            </a:extLst>
          </p:cNvPr>
          <p:cNvSpPr txBox="1">
            <a:spLocks/>
          </p:cNvSpPr>
          <p:nvPr/>
        </p:nvSpPr>
        <p:spPr>
          <a:xfrm>
            <a:off x="2487295" y="14010"/>
            <a:ext cx="7223760" cy="108874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100" b="1" kern="1200">
                <a:solidFill>
                  <a:srgbClr val="002060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000" b="1" dirty="0"/>
              <a:t>UI/UX</a:t>
            </a:r>
            <a:endParaRPr lang="en-US" sz="2800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271879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25">
            <a:extLst>
              <a:ext uri="{FF2B5EF4-FFF2-40B4-BE49-F238E27FC236}">
                <a16:creationId xmlns:a16="http://schemas.microsoft.com/office/drawing/2014/main" id="{B3D1A60B-3678-406A-C641-FAAB08A753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6947" y="1560279"/>
            <a:ext cx="11020697" cy="4648414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787" name="Text Box 73">
            <a:extLst>
              <a:ext uri="{FF2B5EF4-FFF2-40B4-BE49-F238E27FC236}">
                <a16:creationId xmlns:a16="http://schemas.microsoft.com/office/drawing/2014/main" id="{9665CDBE-4993-2951-4073-A53518BB87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554" y="1448781"/>
            <a:ext cx="1560460" cy="1300999"/>
          </a:xfrm>
          <a:prstGeom prst="rect">
            <a:avLst/>
          </a:prstGeom>
          <a:solidFill>
            <a:srgbClr val="0F8287"/>
          </a:solidFill>
          <a:ln w="19050">
            <a:noFill/>
          </a:ln>
          <a:effectLst/>
        </p:spPr>
        <p:txBody>
          <a:bodyPr lIns="913448" tIns="71926" rIns="182690" bIns="71926" rtlCol="0" anchor="t" anchorCtr="0"/>
          <a:lstStyle>
            <a:defPPr>
              <a:defRPr lang="de-DE"/>
            </a:defPPr>
            <a:lvl1pPr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 sz="900" b="1">
                <a:solidFill>
                  <a:schemeClr val="bg1"/>
                </a:solidFill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defTabSz="913486">
              <a:buClr>
                <a:srgbClr val="FFFFFF"/>
              </a:buClr>
              <a:defRPr/>
            </a:pPr>
            <a:endParaRPr lang="en-US" altLang="en-US" dirty="0">
              <a:solidFill>
                <a:srgbClr val="FFFFFF"/>
              </a:solidFill>
            </a:endParaRPr>
          </a:p>
        </p:txBody>
      </p:sp>
      <p:sp>
        <p:nvSpPr>
          <p:cNvPr id="788" name="Rectangle 787">
            <a:extLst>
              <a:ext uri="{FF2B5EF4-FFF2-40B4-BE49-F238E27FC236}">
                <a16:creationId xmlns:a16="http://schemas.microsoft.com/office/drawing/2014/main" id="{934B2BE4-8BF6-4D16-DFE1-DAB3DE2201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17212" y="1448780"/>
            <a:ext cx="4152690" cy="1301782"/>
          </a:xfrm>
          <a:prstGeom prst="rect">
            <a:avLst/>
          </a:prstGeom>
          <a:solidFill>
            <a:srgbClr val="AAB414"/>
          </a:solidFill>
          <a:ln w="19050">
            <a:noFill/>
          </a:ln>
          <a:effectLst/>
        </p:spPr>
        <p:txBody>
          <a:bodyPr lIns="913448" tIns="71926" rIns="182690" bIns="71926" rtlCol="0" anchor="t" anchorCtr="0"/>
          <a:lstStyle/>
          <a:p>
            <a:pPr defTabSz="913486">
              <a:buClr>
                <a:srgbClr val="FFFFFF"/>
              </a:buClr>
              <a:defRPr/>
            </a:pPr>
            <a:endParaRPr lang="en-US" sz="1798" dirty="0">
              <a:solidFill>
                <a:srgbClr val="ADBECB"/>
              </a:solidFill>
            </a:endParaRPr>
          </a:p>
        </p:txBody>
      </p:sp>
      <p:sp>
        <p:nvSpPr>
          <p:cNvPr id="789" name="Rectangle 3">
            <a:extLst>
              <a:ext uri="{FF2B5EF4-FFF2-40B4-BE49-F238E27FC236}">
                <a16:creationId xmlns:a16="http://schemas.microsoft.com/office/drawing/2014/main" id="{31FD8E12-497D-5BA1-808A-EAD117273C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537" y="2788679"/>
            <a:ext cx="5755364" cy="1240541"/>
          </a:xfrm>
          <a:prstGeom prst="rect">
            <a:avLst/>
          </a:prstGeom>
          <a:solidFill>
            <a:srgbClr val="41AAC8"/>
          </a:solidFill>
          <a:ln w="19050">
            <a:noFill/>
          </a:ln>
          <a:effectLst/>
        </p:spPr>
        <p:txBody>
          <a:bodyPr lIns="913448" tIns="71926" rIns="182690" bIns="71926" rtlCol="0" anchor="t" anchorCtr="0"/>
          <a:lstStyle/>
          <a:p>
            <a:pPr defTabSz="913486">
              <a:buClr>
                <a:srgbClr val="FFFFFF"/>
              </a:buClr>
              <a:defRPr/>
            </a:pPr>
            <a:endParaRPr lang="en-US" sz="900" b="1" dirty="0">
              <a:solidFill>
                <a:srgbClr val="FFFFFF"/>
              </a:solidFill>
            </a:endParaRPr>
          </a:p>
        </p:txBody>
      </p:sp>
      <p:sp>
        <p:nvSpPr>
          <p:cNvPr id="795" name="Text Box 132">
            <a:extLst>
              <a:ext uri="{FF2B5EF4-FFF2-40B4-BE49-F238E27FC236}">
                <a16:creationId xmlns:a16="http://schemas.microsoft.com/office/drawing/2014/main" id="{8C610D4F-6208-6AD4-5B70-F0F4FFE286C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4539" y="4080089"/>
            <a:ext cx="5768327" cy="638518"/>
          </a:xfrm>
          <a:prstGeom prst="rect">
            <a:avLst/>
          </a:prstGeom>
          <a:solidFill>
            <a:srgbClr val="2387AA"/>
          </a:solidFill>
          <a:ln w="19050">
            <a:noFill/>
          </a:ln>
          <a:effectLst/>
        </p:spPr>
        <p:txBody>
          <a:bodyPr lIns="913448" tIns="71926" rIns="182690" bIns="71926" rtlCol="0" anchor="ctr" anchorCtr="0"/>
          <a:lstStyle>
            <a:defPPr>
              <a:defRPr lang="de-DE"/>
            </a:defPPr>
            <a:lvl1pPr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 sz="900" b="1">
                <a:solidFill>
                  <a:schemeClr val="bg1"/>
                </a:solidFill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ctr" defTabSz="913486">
              <a:spcAft>
                <a:spcPts val="600"/>
              </a:spcAft>
              <a:buClr>
                <a:srgbClr val="FFFFFF"/>
              </a:buClr>
              <a:defRPr/>
            </a:pPr>
            <a:endParaRPr lang="en-US" altLang="en-US" sz="1298" dirty="0">
              <a:solidFill>
                <a:srgbClr val="FFFFFF"/>
              </a:solidFill>
            </a:endParaRPr>
          </a:p>
        </p:txBody>
      </p:sp>
      <p:sp>
        <p:nvSpPr>
          <p:cNvPr id="798" name="TextBox 797">
            <a:extLst>
              <a:ext uri="{FF2B5EF4-FFF2-40B4-BE49-F238E27FC236}">
                <a16:creationId xmlns:a16="http://schemas.microsoft.com/office/drawing/2014/main" id="{CE78A131-0086-9871-A9FF-20A8BA61CD37}"/>
              </a:ext>
            </a:extLst>
          </p:cNvPr>
          <p:cNvSpPr txBox="1"/>
          <p:nvPr/>
        </p:nvSpPr>
        <p:spPr bwMode="auto">
          <a:xfrm>
            <a:off x="4586019" y="2008951"/>
            <a:ext cx="1464924" cy="35362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defTabSz="913449">
              <a:lnSpc>
                <a:spcPct val="90000"/>
              </a:lnSpc>
              <a:defRPr/>
            </a:pPr>
            <a:r>
              <a:rPr lang="en-US" sz="999" b="1" dirty="0">
                <a:solidFill>
                  <a:srgbClr val="FFFFFF"/>
                </a:solidFill>
                <a:ea typeface="Segoe UI" pitchFamily="34" charset="0"/>
                <a:cs typeface="Segoe UI" pitchFamily="34" charset="0"/>
              </a:rPr>
              <a:t>Visual Tile </a:t>
            </a:r>
          </a:p>
          <a:p>
            <a:pPr algn="ctr" defTabSz="913449">
              <a:lnSpc>
                <a:spcPct val="90000"/>
              </a:lnSpc>
              <a:defRPr/>
            </a:pPr>
            <a:r>
              <a:rPr lang="en-US" sz="999" b="1" dirty="0">
                <a:solidFill>
                  <a:srgbClr val="FFFFFF"/>
                </a:solidFill>
                <a:ea typeface="Segoe UI" pitchFamily="34" charset="0"/>
                <a:cs typeface="Segoe UI" pitchFamily="34" charset="0"/>
              </a:rPr>
              <a:t>Composer</a:t>
            </a:r>
          </a:p>
        </p:txBody>
      </p:sp>
      <p:sp>
        <p:nvSpPr>
          <p:cNvPr id="800" name="Rectangle 799">
            <a:extLst>
              <a:ext uri="{FF2B5EF4-FFF2-40B4-BE49-F238E27FC236}">
                <a16:creationId xmlns:a16="http://schemas.microsoft.com/office/drawing/2014/main" id="{B86D3638-97C9-81C1-7BF9-C4B4A0E5F004}"/>
              </a:ext>
            </a:extLst>
          </p:cNvPr>
          <p:cNvSpPr/>
          <p:nvPr/>
        </p:nvSpPr>
        <p:spPr>
          <a:xfrm>
            <a:off x="2495806" y="3683233"/>
            <a:ext cx="998648" cy="293448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0" h="0"/>
          </a:sp3d>
        </p:spPr>
        <p:txBody>
          <a:bodyPr anchor="ctr"/>
          <a:lstStyle/>
          <a:p>
            <a:pPr algn="ctr" defTabSz="913486">
              <a:defRPr/>
            </a:pPr>
            <a:r>
              <a:rPr lang="en-US" sz="999" kern="0" dirty="0">
                <a:solidFill>
                  <a:srgbClr val="FFFFFF"/>
                </a:solidFill>
                <a:cs typeface="Arial" charset="0"/>
              </a:rPr>
              <a:t>Caching</a:t>
            </a:r>
          </a:p>
        </p:txBody>
      </p:sp>
      <p:sp>
        <p:nvSpPr>
          <p:cNvPr id="801" name="Rectangle 800">
            <a:extLst>
              <a:ext uri="{FF2B5EF4-FFF2-40B4-BE49-F238E27FC236}">
                <a16:creationId xmlns:a16="http://schemas.microsoft.com/office/drawing/2014/main" id="{8771A6AE-5843-36AC-CDE7-EEC4938C9151}"/>
              </a:ext>
            </a:extLst>
          </p:cNvPr>
          <p:cNvSpPr/>
          <p:nvPr/>
        </p:nvSpPr>
        <p:spPr>
          <a:xfrm>
            <a:off x="3254565" y="3683233"/>
            <a:ext cx="998648" cy="293448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0" h="0"/>
          </a:sp3d>
        </p:spPr>
        <p:txBody>
          <a:bodyPr anchor="ctr"/>
          <a:lstStyle/>
          <a:p>
            <a:pPr algn="ctr" defTabSz="913486">
              <a:defRPr/>
            </a:pPr>
            <a:r>
              <a:rPr lang="en-US" sz="999" kern="0" dirty="0">
                <a:solidFill>
                  <a:srgbClr val="FFFFFF"/>
                </a:solidFill>
                <a:cs typeface="Arial" charset="0"/>
              </a:rPr>
              <a:t>Modeling</a:t>
            </a:r>
          </a:p>
        </p:txBody>
      </p:sp>
      <p:sp>
        <p:nvSpPr>
          <p:cNvPr id="805" name="TextBox 804">
            <a:extLst>
              <a:ext uri="{FF2B5EF4-FFF2-40B4-BE49-F238E27FC236}">
                <a16:creationId xmlns:a16="http://schemas.microsoft.com/office/drawing/2014/main" id="{4E22E77A-DA41-3223-61CA-94FC58D055F3}"/>
              </a:ext>
            </a:extLst>
          </p:cNvPr>
          <p:cNvSpPr txBox="1"/>
          <p:nvPr/>
        </p:nvSpPr>
        <p:spPr bwMode="auto">
          <a:xfrm>
            <a:off x="2921238" y="1873897"/>
            <a:ext cx="971653" cy="14154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defTabSz="913449">
              <a:lnSpc>
                <a:spcPct val="90000"/>
              </a:lnSpc>
              <a:defRPr/>
            </a:pPr>
            <a:r>
              <a:rPr lang="en-US" sz="999" b="1" dirty="0">
                <a:solidFill>
                  <a:srgbClr val="FFFFFF"/>
                </a:solidFill>
                <a:ea typeface="Segoe UI" pitchFamily="34" charset="0"/>
                <a:cs typeface="Segoe UI" pitchFamily="34" charset="0"/>
              </a:rPr>
              <a:t>Solution Viewer</a:t>
            </a:r>
          </a:p>
        </p:txBody>
      </p:sp>
      <p:pic>
        <p:nvPicPr>
          <p:cNvPr id="809" name="Graphic 808">
            <a:extLst>
              <a:ext uri="{FF2B5EF4-FFF2-40B4-BE49-F238E27FC236}">
                <a16:creationId xmlns:a16="http://schemas.microsoft.com/office/drawing/2014/main" id="{FC94B730-98D5-0AB8-FD10-BFD97ADFEC5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682545" y="3196928"/>
            <a:ext cx="414610" cy="386969"/>
          </a:xfrm>
          <a:prstGeom prst="rect">
            <a:avLst/>
          </a:prstGeom>
        </p:spPr>
      </p:pic>
      <p:pic>
        <p:nvPicPr>
          <p:cNvPr id="810" name="Graphic 809">
            <a:extLst>
              <a:ext uri="{FF2B5EF4-FFF2-40B4-BE49-F238E27FC236}">
                <a16:creationId xmlns:a16="http://schemas.microsoft.com/office/drawing/2014/main" id="{0598AE5D-EB46-ED2A-0D2E-7EFE7BC5ADBF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473904" y="3193392"/>
            <a:ext cx="339178" cy="399897"/>
          </a:xfrm>
          <a:prstGeom prst="rect">
            <a:avLst/>
          </a:prstGeom>
        </p:spPr>
      </p:pic>
      <p:pic>
        <p:nvPicPr>
          <p:cNvPr id="813" name="Graphic 812">
            <a:extLst>
              <a:ext uri="{FF2B5EF4-FFF2-40B4-BE49-F238E27FC236}">
                <a16:creationId xmlns:a16="http://schemas.microsoft.com/office/drawing/2014/main" id="{7B7BB071-F6B1-3B12-FD33-E617397689FB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226446" y="3218016"/>
            <a:ext cx="377969" cy="412034"/>
          </a:xfrm>
          <a:prstGeom prst="rect">
            <a:avLst/>
          </a:prstGeom>
        </p:spPr>
      </p:pic>
      <p:sp>
        <p:nvSpPr>
          <p:cNvPr id="831" name="Freeform 32">
            <a:extLst>
              <a:ext uri="{FF2B5EF4-FFF2-40B4-BE49-F238E27FC236}">
                <a16:creationId xmlns:a16="http://schemas.microsoft.com/office/drawing/2014/main" id="{71DAD95B-6A88-9B84-43F5-71A4429D2E9B}"/>
              </a:ext>
            </a:extLst>
          </p:cNvPr>
          <p:cNvSpPr>
            <a:spLocks noEditPoints="1"/>
          </p:cNvSpPr>
          <p:nvPr/>
        </p:nvSpPr>
        <p:spPr bwMode="auto">
          <a:xfrm>
            <a:off x="3518960" y="2193293"/>
            <a:ext cx="196996" cy="352386"/>
          </a:xfrm>
          <a:custGeom>
            <a:avLst/>
            <a:gdLst>
              <a:gd name="T0" fmla="*/ 385 w 431"/>
              <a:gd name="T1" fmla="*/ 0 h 771"/>
              <a:gd name="T2" fmla="*/ 45 w 431"/>
              <a:gd name="T3" fmla="*/ 0 h 771"/>
              <a:gd name="T4" fmla="*/ 0 w 431"/>
              <a:gd name="T5" fmla="*/ 46 h 771"/>
              <a:gd name="T6" fmla="*/ 0 w 431"/>
              <a:gd name="T7" fmla="*/ 726 h 771"/>
              <a:gd name="T8" fmla="*/ 45 w 431"/>
              <a:gd name="T9" fmla="*/ 771 h 771"/>
              <a:gd name="T10" fmla="*/ 385 w 431"/>
              <a:gd name="T11" fmla="*/ 771 h 771"/>
              <a:gd name="T12" fmla="*/ 431 w 431"/>
              <a:gd name="T13" fmla="*/ 726 h 771"/>
              <a:gd name="T14" fmla="*/ 431 w 431"/>
              <a:gd name="T15" fmla="*/ 46 h 771"/>
              <a:gd name="T16" fmla="*/ 385 w 431"/>
              <a:gd name="T17" fmla="*/ 0 h 771"/>
              <a:gd name="T18" fmla="*/ 159 w 431"/>
              <a:gd name="T19" fmla="*/ 45 h 771"/>
              <a:gd name="T20" fmla="*/ 272 w 431"/>
              <a:gd name="T21" fmla="*/ 45 h 771"/>
              <a:gd name="T22" fmla="*/ 272 w 431"/>
              <a:gd name="T23" fmla="*/ 92 h 771"/>
              <a:gd name="T24" fmla="*/ 159 w 431"/>
              <a:gd name="T25" fmla="*/ 92 h 771"/>
              <a:gd name="T26" fmla="*/ 159 w 431"/>
              <a:gd name="T27" fmla="*/ 45 h 771"/>
              <a:gd name="T28" fmla="*/ 215 w 431"/>
              <a:gd name="T29" fmla="*/ 727 h 771"/>
              <a:gd name="T30" fmla="*/ 181 w 431"/>
              <a:gd name="T31" fmla="*/ 692 h 771"/>
              <a:gd name="T32" fmla="*/ 215 w 431"/>
              <a:gd name="T33" fmla="*/ 658 h 771"/>
              <a:gd name="T34" fmla="*/ 250 w 431"/>
              <a:gd name="T35" fmla="*/ 692 h 771"/>
              <a:gd name="T36" fmla="*/ 215 w 431"/>
              <a:gd name="T37" fmla="*/ 727 h 771"/>
              <a:gd name="T38" fmla="*/ 385 w 431"/>
              <a:gd name="T39" fmla="*/ 613 h 771"/>
              <a:gd name="T40" fmla="*/ 45 w 431"/>
              <a:gd name="T41" fmla="*/ 613 h 771"/>
              <a:gd name="T42" fmla="*/ 45 w 431"/>
              <a:gd name="T43" fmla="*/ 136 h 771"/>
              <a:gd name="T44" fmla="*/ 385 w 431"/>
              <a:gd name="T45" fmla="*/ 136 h 771"/>
              <a:gd name="T46" fmla="*/ 385 w 431"/>
              <a:gd name="T47" fmla="*/ 613 h 7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431" h="771">
                <a:moveTo>
                  <a:pt x="385" y="0"/>
                </a:moveTo>
                <a:cubicBezTo>
                  <a:pt x="45" y="0"/>
                  <a:pt x="45" y="0"/>
                  <a:pt x="45" y="0"/>
                </a:cubicBezTo>
                <a:cubicBezTo>
                  <a:pt x="20" y="0"/>
                  <a:pt x="0" y="21"/>
                  <a:pt x="0" y="46"/>
                </a:cubicBezTo>
                <a:cubicBezTo>
                  <a:pt x="0" y="726"/>
                  <a:pt x="0" y="726"/>
                  <a:pt x="0" y="726"/>
                </a:cubicBezTo>
                <a:cubicBezTo>
                  <a:pt x="0" y="751"/>
                  <a:pt x="20" y="771"/>
                  <a:pt x="45" y="771"/>
                </a:cubicBezTo>
                <a:cubicBezTo>
                  <a:pt x="385" y="771"/>
                  <a:pt x="385" y="771"/>
                  <a:pt x="385" y="771"/>
                </a:cubicBezTo>
                <a:cubicBezTo>
                  <a:pt x="410" y="771"/>
                  <a:pt x="431" y="751"/>
                  <a:pt x="431" y="726"/>
                </a:cubicBezTo>
                <a:cubicBezTo>
                  <a:pt x="431" y="46"/>
                  <a:pt x="431" y="46"/>
                  <a:pt x="431" y="46"/>
                </a:cubicBezTo>
                <a:cubicBezTo>
                  <a:pt x="431" y="21"/>
                  <a:pt x="410" y="0"/>
                  <a:pt x="385" y="0"/>
                </a:cubicBezTo>
                <a:close/>
                <a:moveTo>
                  <a:pt x="159" y="45"/>
                </a:moveTo>
                <a:cubicBezTo>
                  <a:pt x="272" y="45"/>
                  <a:pt x="272" y="45"/>
                  <a:pt x="272" y="45"/>
                </a:cubicBezTo>
                <a:cubicBezTo>
                  <a:pt x="272" y="92"/>
                  <a:pt x="272" y="92"/>
                  <a:pt x="272" y="92"/>
                </a:cubicBezTo>
                <a:cubicBezTo>
                  <a:pt x="159" y="92"/>
                  <a:pt x="159" y="92"/>
                  <a:pt x="159" y="92"/>
                </a:cubicBezTo>
                <a:lnTo>
                  <a:pt x="159" y="45"/>
                </a:lnTo>
                <a:close/>
                <a:moveTo>
                  <a:pt x="215" y="727"/>
                </a:moveTo>
                <a:cubicBezTo>
                  <a:pt x="196" y="727"/>
                  <a:pt x="181" y="712"/>
                  <a:pt x="181" y="692"/>
                </a:cubicBezTo>
                <a:cubicBezTo>
                  <a:pt x="181" y="673"/>
                  <a:pt x="196" y="658"/>
                  <a:pt x="215" y="658"/>
                </a:cubicBezTo>
                <a:cubicBezTo>
                  <a:pt x="234" y="658"/>
                  <a:pt x="250" y="673"/>
                  <a:pt x="250" y="692"/>
                </a:cubicBezTo>
                <a:cubicBezTo>
                  <a:pt x="250" y="712"/>
                  <a:pt x="234" y="727"/>
                  <a:pt x="215" y="727"/>
                </a:cubicBezTo>
                <a:close/>
                <a:moveTo>
                  <a:pt x="385" y="613"/>
                </a:moveTo>
                <a:cubicBezTo>
                  <a:pt x="45" y="613"/>
                  <a:pt x="45" y="613"/>
                  <a:pt x="45" y="613"/>
                </a:cubicBezTo>
                <a:cubicBezTo>
                  <a:pt x="45" y="136"/>
                  <a:pt x="45" y="136"/>
                  <a:pt x="45" y="136"/>
                </a:cubicBezTo>
                <a:cubicBezTo>
                  <a:pt x="385" y="136"/>
                  <a:pt x="385" y="136"/>
                  <a:pt x="385" y="136"/>
                </a:cubicBezTo>
                <a:lnTo>
                  <a:pt x="385" y="61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1799" kern="0">
              <a:solidFill>
                <a:srgbClr val="000000"/>
              </a:solidFill>
            </a:endParaRPr>
          </a:p>
        </p:txBody>
      </p:sp>
      <p:sp>
        <p:nvSpPr>
          <p:cNvPr id="832" name="Freeform 37">
            <a:extLst>
              <a:ext uri="{FF2B5EF4-FFF2-40B4-BE49-F238E27FC236}">
                <a16:creationId xmlns:a16="http://schemas.microsoft.com/office/drawing/2014/main" id="{C0C1FF50-11AF-7E89-B1F6-79738A209110}"/>
              </a:ext>
            </a:extLst>
          </p:cNvPr>
          <p:cNvSpPr>
            <a:spLocks noEditPoints="1"/>
          </p:cNvSpPr>
          <p:nvPr/>
        </p:nvSpPr>
        <p:spPr bwMode="auto">
          <a:xfrm rot="5400000">
            <a:off x="2858677" y="2147327"/>
            <a:ext cx="352386" cy="447683"/>
          </a:xfrm>
          <a:custGeom>
            <a:avLst/>
            <a:gdLst>
              <a:gd name="T0" fmla="*/ 0 w 839"/>
              <a:gd name="T1" fmla="*/ 46 h 1066"/>
              <a:gd name="T2" fmla="*/ 0 w 839"/>
              <a:gd name="T3" fmla="*/ 1021 h 1066"/>
              <a:gd name="T4" fmla="*/ 45 w 839"/>
              <a:gd name="T5" fmla="*/ 1066 h 1066"/>
              <a:gd name="T6" fmla="*/ 793 w 839"/>
              <a:gd name="T7" fmla="*/ 1066 h 1066"/>
              <a:gd name="T8" fmla="*/ 839 w 839"/>
              <a:gd name="T9" fmla="*/ 1021 h 1066"/>
              <a:gd name="T10" fmla="*/ 839 w 839"/>
              <a:gd name="T11" fmla="*/ 46 h 1066"/>
              <a:gd name="T12" fmla="*/ 793 w 839"/>
              <a:gd name="T13" fmla="*/ 0 h 1066"/>
              <a:gd name="T14" fmla="*/ 45 w 839"/>
              <a:gd name="T15" fmla="*/ 0 h 1066"/>
              <a:gd name="T16" fmla="*/ 0 w 839"/>
              <a:gd name="T17" fmla="*/ 46 h 1066"/>
              <a:gd name="T18" fmla="*/ 414 w 839"/>
              <a:gd name="T19" fmla="*/ 35 h 1066"/>
              <a:gd name="T20" fmla="*/ 441 w 839"/>
              <a:gd name="T21" fmla="*/ 62 h 1066"/>
              <a:gd name="T22" fmla="*/ 424 w 839"/>
              <a:gd name="T23" fmla="*/ 79 h 1066"/>
              <a:gd name="T24" fmla="*/ 397 w 839"/>
              <a:gd name="T25" fmla="*/ 52 h 1066"/>
              <a:gd name="T26" fmla="*/ 414 w 839"/>
              <a:gd name="T27" fmla="*/ 35 h 1066"/>
              <a:gd name="T28" fmla="*/ 427 w 839"/>
              <a:gd name="T29" fmla="*/ 1032 h 1066"/>
              <a:gd name="T30" fmla="*/ 374 w 839"/>
              <a:gd name="T31" fmla="*/ 979 h 1066"/>
              <a:gd name="T32" fmla="*/ 411 w 839"/>
              <a:gd name="T33" fmla="*/ 942 h 1066"/>
              <a:gd name="T34" fmla="*/ 464 w 839"/>
              <a:gd name="T35" fmla="*/ 995 h 1066"/>
              <a:gd name="T36" fmla="*/ 427 w 839"/>
              <a:gd name="T37" fmla="*/ 1032 h 1066"/>
              <a:gd name="T38" fmla="*/ 771 w 839"/>
              <a:gd name="T39" fmla="*/ 908 h 1066"/>
              <a:gd name="T40" fmla="*/ 68 w 839"/>
              <a:gd name="T41" fmla="*/ 908 h 1066"/>
              <a:gd name="T42" fmla="*/ 68 w 839"/>
              <a:gd name="T43" fmla="*/ 114 h 1066"/>
              <a:gd name="T44" fmla="*/ 771 w 839"/>
              <a:gd name="T45" fmla="*/ 114 h 1066"/>
              <a:gd name="T46" fmla="*/ 771 w 839"/>
              <a:gd name="T47" fmla="*/ 908 h 10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839" h="1066">
                <a:moveTo>
                  <a:pt x="0" y="46"/>
                </a:moveTo>
                <a:cubicBezTo>
                  <a:pt x="0" y="1021"/>
                  <a:pt x="0" y="1021"/>
                  <a:pt x="0" y="1021"/>
                </a:cubicBezTo>
                <a:cubicBezTo>
                  <a:pt x="0" y="1046"/>
                  <a:pt x="20" y="1066"/>
                  <a:pt x="45" y="1066"/>
                </a:cubicBezTo>
                <a:cubicBezTo>
                  <a:pt x="793" y="1066"/>
                  <a:pt x="793" y="1066"/>
                  <a:pt x="793" y="1066"/>
                </a:cubicBezTo>
                <a:cubicBezTo>
                  <a:pt x="818" y="1066"/>
                  <a:pt x="839" y="1046"/>
                  <a:pt x="839" y="1021"/>
                </a:cubicBezTo>
                <a:cubicBezTo>
                  <a:pt x="839" y="46"/>
                  <a:pt x="839" y="46"/>
                  <a:pt x="839" y="46"/>
                </a:cubicBezTo>
                <a:cubicBezTo>
                  <a:pt x="839" y="21"/>
                  <a:pt x="818" y="0"/>
                  <a:pt x="793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20" y="0"/>
                  <a:pt x="0" y="21"/>
                  <a:pt x="0" y="46"/>
                </a:cubicBezTo>
                <a:close/>
                <a:moveTo>
                  <a:pt x="414" y="35"/>
                </a:moveTo>
                <a:cubicBezTo>
                  <a:pt x="431" y="31"/>
                  <a:pt x="445" y="46"/>
                  <a:pt x="441" y="62"/>
                </a:cubicBezTo>
                <a:cubicBezTo>
                  <a:pt x="439" y="71"/>
                  <a:pt x="433" y="77"/>
                  <a:pt x="424" y="79"/>
                </a:cubicBezTo>
                <a:cubicBezTo>
                  <a:pt x="408" y="83"/>
                  <a:pt x="393" y="69"/>
                  <a:pt x="397" y="52"/>
                </a:cubicBezTo>
                <a:cubicBezTo>
                  <a:pt x="399" y="44"/>
                  <a:pt x="406" y="37"/>
                  <a:pt x="414" y="35"/>
                </a:cubicBezTo>
                <a:close/>
                <a:moveTo>
                  <a:pt x="427" y="1032"/>
                </a:moveTo>
                <a:cubicBezTo>
                  <a:pt x="396" y="1037"/>
                  <a:pt x="369" y="1010"/>
                  <a:pt x="374" y="979"/>
                </a:cubicBezTo>
                <a:cubicBezTo>
                  <a:pt x="378" y="960"/>
                  <a:pt x="393" y="945"/>
                  <a:pt x="411" y="942"/>
                </a:cubicBezTo>
                <a:cubicBezTo>
                  <a:pt x="442" y="937"/>
                  <a:pt x="469" y="964"/>
                  <a:pt x="464" y="995"/>
                </a:cubicBezTo>
                <a:cubicBezTo>
                  <a:pt x="461" y="1013"/>
                  <a:pt x="446" y="1029"/>
                  <a:pt x="427" y="1032"/>
                </a:cubicBezTo>
                <a:close/>
                <a:moveTo>
                  <a:pt x="771" y="908"/>
                </a:moveTo>
                <a:cubicBezTo>
                  <a:pt x="68" y="908"/>
                  <a:pt x="68" y="908"/>
                  <a:pt x="68" y="908"/>
                </a:cubicBezTo>
                <a:cubicBezTo>
                  <a:pt x="68" y="114"/>
                  <a:pt x="68" y="114"/>
                  <a:pt x="68" y="114"/>
                </a:cubicBezTo>
                <a:cubicBezTo>
                  <a:pt x="771" y="114"/>
                  <a:pt x="771" y="114"/>
                  <a:pt x="771" y="114"/>
                </a:cubicBezTo>
                <a:lnTo>
                  <a:pt x="771" y="90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1799" kern="0">
              <a:solidFill>
                <a:srgbClr val="000000"/>
              </a:solidFill>
            </a:endParaRPr>
          </a:p>
        </p:txBody>
      </p:sp>
      <p:sp>
        <p:nvSpPr>
          <p:cNvPr id="833" name="Freeform 47">
            <a:extLst>
              <a:ext uri="{FF2B5EF4-FFF2-40B4-BE49-F238E27FC236}">
                <a16:creationId xmlns:a16="http://schemas.microsoft.com/office/drawing/2014/main" id="{7B8A28D3-BD1C-25D5-48E3-C6F1C9C65DE8}"/>
              </a:ext>
            </a:extLst>
          </p:cNvPr>
          <p:cNvSpPr>
            <a:spLocks noEditPoints="1"/>
          </p:cNvSpPr>
          <p:nvPr/>
        </p:nvSpPr>
        <p:spPr bwMode="auto">
          <a:xfrm>
            <a:off x="1970387" y="2169329"/>
            <a:ext cx="624790" cy="451844"/>
          </a:xfrm>
          <a:custGeom>
            <a:avLst/>
            <a:gdLst>
              <a:gd name="T0" fmla="*/ 1066 w 1066"/>
              <a:gd name="T1" fmla="*/ 703 h 771"/>
              <a:gd name="T2" fmla="*/ 1066 w 1066"/>
              <a:gd name="T3" fmla="*/ 726 h 771"/>
              <a:gd name="T4" fmla="*/ 1021 w 1066"/>
              <a:gd name="T5" fmla="*/ 771 h 771"/>
              <a:gd name="T6" fmla="*/ 45 w 1066"/>
              <a:gd name="T7" fmla="*/ 771 h 771"/>
              <a:gd name="T8" fmla="*/ 0 w 1066"/>
              <a:gd name="T9" fmla="*/ 726 h 771"/>
              <a:gd name="T10" fmla="*/ 0 w 1066"/>
              <a:gd name="T11" fmla="*/ 703 h 771"/>
              <a:gd name="T12" fmla="*/ 114 w 1066"/>
              <a:gd name="T13" fmla="*/ 590 h 771"/>
              <a:gd name="T14" fmla="*/ 953 w 1066"/>
              <a:gd name="T15" fmla="*/ 590 h 771"/>
              <a:gd name="T16" fmla="*/ 1066 w 1066"/>
              <a:gd name="T17" fmla="*/ 703 h 771"/>
              <a:gd name="T18" fmla="*/ 114 w 1066"/>
              <a:gd name="T19" fmla="*/ 522 h 771"/>
              <a:gd name="T20" fmla="*/ 114 w 1066"/>
              <a:gd name="T21" fmla="*/ 23 h 771"/>
              <a:gd name="T22" fmla="*/ 136 w 1066"/>
              <a:gd name="T23" fmla="*/ 0 h 771"/>
              <a:gd name="T24" fmla="*/ 930 w 1066"/>
              <a:gd name="T25" fmla="*/ 0 h 771"/>
              <a:gd name="T26" fmla="*/ 953 w 1066"/>
              <a:gd name="T27" fmla="*/ 23 h 771"/>
              <a:gd name="T28" fmla="*/ 953 w 1066"/>
              <a:gd name="T29" fmla="*/ 522 h 771"/>
              <a:gd name="T30" fmla="*/ 930 w 1066"/>
              <a:gd name="T31" fmla="*/ 544 h 771"/>
              <a:gd name="T32" fmla="*/ 136 w 1066"/>
              <a:gd name="T33" fmla="*/ 544 h 771"/>
              <a:gd name="T34" fmla="*/ 114 w 1066"/>
              <a:gd name="T35" fmla="*/ 522 h 771"/>
              <a:gd name="T36" fmla="*/ 159 w 1066"/>
              <a:gd name="T37" fmla="*/ 499 h 771"/>
              <a:gd name="T38" fmla="*/ 907 w 1066"/>
              <a:gd name="T39" fmla="*/ 499 h 771"/>
              <a:gd name="T40" fmla="*/ 907 w 1066"/>
              <a:gd name="T41" fmla="*/ 46 h 771"/>
              <a:gd name="T42" fmla="*/ 159 w 1066"/>
              <a:gd name="T43" fmla="*/ 46 h 771"/>
              <a:gd name="T44" fmla="*/ 159 w 1066"/>
              <a:gd name="T45" fmla="*/ 499 h 771"/>
              <a:gd name="T46" fmla="*/ 204 w 1066"/>
              <a:gd name="T47" fmla="*/ 454 h 771"/>
              <a:gd name="T48" fmla="*/ 862 w 1066"/>
              <a:gd name="T49" fmla="*/ 454 h 771"/>
              <a:gd name="T50" fmla="*/ 862 w 1066"/>
              <a:gd name="T51" fmla="*/ 91 h 771"/>
              <a:gd name="T52" fmla="*/ 204 w 1066"/>
              <a:gd name="T53" fmla="*/ 91 h 771"/>
              <a:gd name="T54" fmla="*/ 204 w 1066"/>
              <a:gd name="T55" fmla="*/ 454 h 7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066" h="771">
                <a:moveTo>
                  <a:pt x="1066" y="703"/>
                </a:moveTo>
                <a:cubicBezTo>
                  <a:pt x="1066" y="726"/>
                  <a:pt x="1066" y="726"/>
                  <a:pt x="1066" y="726"/>
                </a:cubicBezTo>
                <a:cubicBezTo>
                  <a:pt x="1066" y="751"/>
                  <a:pt x="1046" y="771"/>
                  <a:pt x="1021" y="771"/>
                </a:cubicBezTo>
                <a:cubicBezTo>
                  <a:pt x="45" y="771"/>
                  <a:pt x="45" y="771"/>
                  <a:pt x="45" y="771"/>
                </a:cubicBezTo>
                <a:cubicBezTo>
                  <a:pt x="20" y="771"/>
                  <a:pt x="0" y="751"/>
                  <a:pt x="0" y="726"/>
                </a:cubicBezTo>
                <a:cubicBezTo>
                  <a:pt x="0" y="703"/>
                  <a:pt x="0" y="703"/>
                  <a:pt x="0" y="703"/>
                </a:cubicBezTo>
                <a:cubicBezTo>
                  <a:pt x="114" y="590"/>
                  <a:pt x="114" y="590"/>
                  <a:pt x="114" y="590"/>
                </a:cubicBezTo>
                <a:cubicBezTo>
                  <a:pt x="953" y="590"/>
                  <a:pt x="953" y="590"/>
                  <a:pt x="953" y="590"/>
                </a:cubicBezTo>
                <a:lnTo>
                  <a:pt x="1066" y="703"/>
                </a:lnTo>
                <a:close/>
                <a:moveTo>
                  <a:pt x="114" y="522"/>
                </a:moveTo>
                <a:cubicBezTo>
                  <a:pt x="114" y="23"/>
                  <a:pt x="114" y="23"/>
                  <a:pt x="114" y="23"/>
                </a:cubicBezTo>
                <a:cubicBezTo>
                  <a:pt x="114" y="10"/>
                  <a:pt x="124" y="0"/>
                  <a:pt x="136" y="0"/>
                </a:cubicBezTo>
                <a:cubicBezTo>
                  <a:pt x="930" y="0"/>
                  <a:pt x="930" y="0"/>
                  <a:pt x="930" y="0"/>
                </a:cubicBezTo>
                <a:cubicBezTo>
                  <a:pt x="942" y="0"/>
                  <a:pt x="953" y="10"/>
                  <a:pt x="953" y="23"/>
                </a:cubicBezTo>
                <a:cubicBezTo>
                  <a:pt x="953" y="522"/>
                  <a:pt x="953" y="522"/>
                  <a:pt x="953" y="522"/>
                </a:cubicBezTo>
                <a:cubicBezTo>
                  <a:pt x="953" y="534"/>
                  <a:pt x="942" y="544"/>
                  <a:pt x="930" y="544"/>
                </a:cubicBezTo>
                <a:cubicBezTo>
                  <a:pt x="136" y="544"/>
                  <a:pt x="136" y="544"/>
                  <a:pt x="136" y="544"/>
                </a:cubicBezTo>
                <a:cubicBezTo>
                  <a:pt x="124" y="544"/>
                  <a:pt x="114" y="534"/>
                  <a:pt x="114" y="522"/>
                </a:cubicBezTo>
                <a:close/>
                <a:moveTo>
                  <a:pt x="159" y="499"/>
                </a:moveTo>
                <a:cubicBezTo>
                  <a:pt x="907" y="499"/>
                  <a:pt x="907" y="499"/>
                  <a:pt x="907" y="499"/>
                </a:cubicBezTo>
                <a:cubicBezTo>
                  <a:pt x="907" y="46"/>
                  <a:pt x="907" y="46"/>
                  <a:pt x="907" y="46"/>
                </a:cubicBezTo>
                <a:cubicBezTo>
                  <a:pt x="159" y="46"/>
                  <a:pt x="159" y="46"/>
                  <a:pt x="159" y="46"/>
                </a:cubicBezTo>
                <a:lnTo>
                  <a:pt x="159" y="499"/>
                </a:lnTo>
                <a:close/>
                <a:moveTo>
                  <a:pt x="204" y="454"/>
                </a:moveTo>
                <a:cubicBezTo>
                  <a:pt x="862" y="454"/>
                  <a:pt x="862" y="454"/>
                  <a:pt x="862" y="454"/>
                </a:cubicBezTo>
                <a:cubicBezTo>
                  <a:pt x="862" y="91"/>
                  <a:pt x="862" y="91"/>
                  <a:pt x="862" y="91"/>
                </a:cubicBezTo>
                <a:cubicBezTo>
                  <a:pt x="204" y="91"/>
                  <a:pt x="204" y="91"/>
                  <a:pt x="204" y="91"/>
                </a:cubicBezTo>
                <a:lnTo>
                  <a:pt x="204" y="45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1799" kern="0">
              <a:solidFill>
                <a:srgbClr val="000000"/>
              </a:solidFill>
            </a:endParaRPr>
          </a:p>
        </p:txBody>
      </p:sp>
      <p:sp>
        <p:nvSpPr>
          <p:cNvPr id="834" name="Freeform 42">
            <a:extLst>
              <a:ext uri="{FF2B5EF4-FFF2-40B4-BE49-F238E27FC236}">
                <a16:creationId xmlns:a16="http://schemas.microsoft.com/office/drawing/2014/main" id="{AA829728-52B2-F2EA-B880-2ED8646F339D}"/>
              </a:ext>
            </a:extLst>
          </p:cNvPr>
          <p:cNvSpPr>
            <a:spLocks noEditPoints="1"/>
          </p:cNvSpPr>
          <p:nvPr/>
        </p:nvSpPr>
        <p:spPr bwMode="auto">
          <a:xfrm>
            <a:off x="5081419" y="2193295"/>
            <a:ext cx="500780" cy="402767"/>
          </a:xfrm>
          <a:custGeom>
            <a:avLst/>
            <a:gdLst>
              <a:gd name="T0" fmla="*/ 839 w 930"/>
              <a:gd name="T1" fmla="*/ 91 h 748"/>
              <a:gd name="T2" fmla="*/ 91 w 930"/>
              <a:gd name="T3" fmla="*/ 91 h 748"/>
              <a:gd name="T4" fmla="*/ 91 w 930"/>
              <a:gd name="T5" fmla="*/ 521 h 748"/>
              <a:gd name="T6" fmla="*/ 839 w 930"/>
              <a:gd name="T7" fmla="*/ 521 h 748"/>
              <a:gd name="T8" fmla="*/ 839 w 930"/>
              <a:gd name="T9" fmla="*/ 91 h 748"/>
              <a:gd name="T10" fmla="*/ 885 w 930"/>
              <a:gd name="T11" fmla="*/ 0 h 748"/>
              <a:gd name="T12" fmla="*/ 46 w 930"/>
              <a:gd name="T13" fmla="*/ 0 h 748"/>
              <a:gd name="T14" fmla="*/ 0 w 930"/>
              <a:gd name="T15" fmla="*/ 45 h 748"/>
              <a:gd name="T16" fmla="*/ 0 w 930"/>
              <a:gd name="T17" fmla="*/ 567 h 748"/>
              <a:gd name="T18" fmla="*/ 46 w 930"/>
              <a:gd name="T19" fmla="*/ 612 h 748"/>
              <a:gd name="T20" fmla="*/ 386 w 930"/>
              <a:gd name="T21" fmla="*/ 612 h 748"/>
              <a:gd name="T22" fmla="*/ 386 w 930"/>
              <a:gd name="T23" fmla="*/ 703 h 748"/>
              <a:gd name="T24" fmla="*/ 272 w 930"/>
              <a:gd name="T25" fmla="*/ 703 h 748"/>
              <a:gd name="T26" fmla="*/ 272 w 930"/>
              <a:gd name="T27" fmla="*/ 748 h 748"/>
              <a:gd name="T28" fmla="*/ 658 w 930"/>
              <a:gd name="T29" fmla="*/ 748 h 748"/>
              <a:gd name="T30" fmla="*/ 658 w 930"/>
              <a:gd name="T31" fmla="*/ 703 h 748"/>
              <a:gd name="T32" fmla="*/ 545 w 930"/>
              <a:gd name="T33" fmla="*/ 703 h 748"/>
              <a:gd name="T34" fmla="*/ 545 w 930"/>
              <a:gd name="T35" fmla="*/ 612 h 748"/>
              <a:gd name="T36" fmla="*/ 885 w 930"/>
              <a:gd name="T37" fmla="*/ 612 h 748"/>
              <a:gd name="T38" fmla="*/ 930 w 930"/>
              <a:gd name="T39" fmla="*/ 567 h 748"/>
              <a:gd name="T40" fmla="*/ 930 w 930"/>
              <a:gd name="T41" fmla="*/ 45 h 748"/>
              <a:gd name="T42" fmla="*/ 885 w 930"/>
              <a:gd name="T43" fmla="*/ 0 h 748"/>
              <a:gd name="T44" fmla="*/ 885 w 930"/>
              <a:gd name="T45" fmla="*/ 45 h 748"/>
              <a:gd name="T46" fmla="*/ 885 w 930"/>
              <a:gd name="T47" fmla="*/ 567 h 748"/>
              <a:gd name="T48" fmla="*/ 46 w 930"/>
              <a:gd name="T49" fmla="*/ 567 h 748"/>
              <a:gd name="T50" fmla="*/ 46 w 930"/>
              <a:gd name="T51" fmla="*/ 45 h 748"/>
              <a:gd name="T52" fmla="*/ 885 w 930"/>
              <a:gd name="T53" fmla="*/ 45 h 7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930" h="748">
                <a:moveTo>
                  <a:pt x="839" y="91"/>
                </a:moveTo>
                <a:cubicBezTo>
                  <a:pt x="91" y="91"/>
                  <a:pt x="91" y="91"/>
                  <a:pt x="91" y="91"/>
                </a:cubicBezTo>
                <a:cubicBezTo>
                  <a:pt x="91" y="521"/>
                  <a:pt x="91" y="521"/>
                  <a:pt x="91" y="521"/>
                </a:cubicBezTo>
                <a:cubicBezTo>
                  <a:pt x="839" y="521"/>
                  <a:pt x="839" y="521"/>
                  <a:pt x="839" y="521"/>
                </a:cubicBezTo>
                <a:lnTo>
                  <a:pt x="839" y="91"/>
                </a:lnTo>
                <a:close/>
                <a:moveTo>
                  <a:pt x="885" y="0"/>
                </a:moveTo>
                <a:cubicBezTo>
                  <a:pt x="46" y="0"/>
                  <a:pt x="46" y="0"/>
                  <a:pt x="46" y="0"/>
                </a:cubicBezTo>
                <a:cubicBezTo>
                  <a:pt x="21" y="0"/>
                  <a:pt x="0" y="20"/>
                  <a:pt x="0" y="45"/>
                </a:cubicBezTo>
                <a:cubicBezTo>
                  <a:pt x="0" y="567"/>
                  <a:pt x="0" y="567"/>
                  <a:pt x="0" y="567"/>
                </a:cubicBezTo>
                <a:cubicBezTo>
                  <a:pt x="0" y="592"/>
                  <a:pt x="21" y="612"/>
                  <a:pt x="46" y="612"/>
                </a:cubicBezTo>
                <a:cubicBezTo>
                  <a:pt x="386" y="612"/>
                  <a:pt x="386" y="612"/>
                  <a:pt x="386" y="612"/>
                </a:cubicBezTo>
                <a:cubicBezTo>
                  <a:pt x="386" y="703"/>
                  <a:pt x="386" y="703"/>
                  <a:pt x="386" y="703"/>
                </a:cubicBezTo>
                <a:cubicBezTo>
                  <a:pt x="272" y="703"/>
                  <a:pt x="272" y="703"/>
                  <a:pt x="272" y="703"/>
                </a:cubicBezTo>
                <a:cubicBezTo>
                  <a:pt x="272" y="748"/>
                  <a:pt x="272" y="748"/>
                  <a:pt x="272" y="748"/>
                </a:cubicBezTo>
                <a:cubicBezTo>
                  <a:pt x="658" y="748"/>
                  <a:pt x="658" y="748"/>
                  <a:pt x="658" y="748"/>
                </a:cubicBezTo>
                <a:cubicBezTo>
                  <a:pt x="658" y="703"/>
                  <a:pt x="658" y="703"/>
                  <a:pt x="658" y="703"/>
                </a:cubicBezTo>
                <a:cubicBezTo>
                  <a:pt x="545" y="703"/>
                  <a:pt x="545" y="703"/>
                  <a:pt x="545" y="703"/>
                </a:cubicBezTo>
                <a:cubicBezTo>
                  <a:pt x="545" y="612"/>
                  <a:pt x="545" y="612"/>
                  <a:pt x="545" y="612"/>
                </a:cubicBezTo>
                <a:cubicBezTo>
                  <a:pt x="885" y="612"/>
                  <a:pt x="885" y="612"/>
                  <a:pt x="885" y="612"/>
                </a:cubicBezTo>
                <a:cubicBezTo>
                  <a:pt x="910" y="612"/>
                  <a:pt x="930" y="592"/>
                  <a:pt x="930" y="567"/>
                </a:cubicBezTo>
                <a:cubicBezTo>
                  <a:pt x="930" y="45"/>
                  <a:pt x="930" y="45"/>
                  <a:pt x="930" y="45"/>
                </a:cubicBezTo>
                <a:cubicBezTo>
                  <a:pt x="930" y="20"/>
                  <a:pt x="910" y="0"/>
                  <a:pt x="885" y="0"/>
                </a:cubicBezTo>
                <a:close/>
                <a:moveTo>
                  <a:pt x="885" y="45"/>
                </a:moveTo>
                <a:cubicBezTo>
                  <a:pt x="885" y="567"/>
                  <a:pt x="885" y="567"/>
                  <a:pt x="885" y="567"/>
                </a:cubicBezTo>
                <a:cubicBezTo>
                  <a:pt x="46" y="567"/>
                  <a:pt x="46" y="567"/>
                  <a:pt x="46" y="567"/>
                </a:cubicBezTo>
                <a:cubicBezTo>
                  <a:pt x="46" y="45"/>
                  <a:pt x="46" y="45"/>
                  <a:pt x="46" y="45"/>
                </a:cubicBezTo>
                <a:lnTo>
                  <a:pt x="885" y="4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1799" kern="0">
              <a:solidFill>
                <a:srgbClr val="000000"/>
              </a:solidFill>
            </a:endParaRPr>
          </a:p>
        </p:txBody>
      </p:sp>
      <p:sp>
        <p:nvSpPr>
          <p:cNvPr id="835" name="Freeform 113">
            <a:extLst>
              <a:ext uri="{FF2B5EF4-FFF2-40B4-BE49-F238E27FC236}">
                <a16:creationId xmlns:a16="http://schemas.microsoft.com/office/drawing/2014/main" id="{62AB40B7-36D0-B9AB-FDC7-B3D52F5BE7C4}"/>
              </a:ext>
            </a:extLst>
          </p:cNvPr>
          <p:cNvSpPr>
            <a:spLocks noEditPoints="1"/>
          </p:cNvSpPr>
          <p:nvPr/>
        </p:nvSpPr>
        <p:spPr bwMode="auto">
          <a:xfrm>
            <a:off x="481493" y="2065713"/>
            <a:ext cx="877129" cy="563469"/>
          </a:xfrm>
          <a:custGeom>
            <a:avLst/>
            <a:gdLst>
              <a:gd name="T0" fmla="*/ 787 w 1058"/>
              <a:gd name="T1" fmla="*/ 567 h 680"/>
              <a:gd name="T2" fmla="*/ 80 w 1058"/>
              <a:gd name="T3" fmla="*/ 600 h 680"/>
              <a:gd name="T4" fmla="*/ 114 w 1058"/>
              <a:gd name="T5" fmla="*/ 75 h 680"/>
              <a:gd name="T6" fmla="*/ 63 w 1058"/>
              <a:gd name="T7" fmla="*/ 0 h 680"/>
              <a:gd name="T8" fmla="*/ 13 w 1058"/>
              <a:gd name="T9" fmla="*/ 75 h 680"/>
              <a:gd name="T10" fmla="*/ 46 w 1058"/>
              <a:gd name="T11" fmla="*/ 635 h 680"/>
              <a:gd name="T12" fmla="*/ 787 w 1058"/>
              <a:gd name="T13" fmla="*/ 668 h 680"/>
              <a:gd name="T14" fmla="*/ 862 w 1058"/>
              <a:gd name="T15" fmla="*/ 617 h 680"/>
              <a:gd name="T16" fmla="*/ 74 w 1058"/>
              <a:gd name="T17" fmla="*/ 44 h 680"/>
              <a:gd name="T18" fmla="*/ 74 w 1058"/>
              <a:gd name="T19" fmla="*/ 45 h 680"/>
              <a:gd name="T20" fmla="*/ 52 w 1058"/>
              <a:gd name="T21" fmla="*/ 45 h 680"/>
              <a:gd name="T22" fmla="*/ 52 w 1058"/>
              <a:gd name="T23" fmla="*/ 44 h 680"/>
              <a:gd name="T24" fmla="*/ 901 w 1058"/>
              <a:gd name="T25" fmla="*/ 392 h 680"/>
              <a:gd name="T26" fmla="*/ 977 w 1058"/>
              <a:gd name="T27" fmla="*/ 612 h 680"/>
              <a:gd name="T28" fmla="*/ 901 w 1058"/>
              <a:gd name="T29" fmla="*/ 392 h 680"/>
              <a:gd name="T30" fmla="*/ 590 w 1058"/>
              <a:gd name="T31" fmla="*/ 340 h 680"/>
              <a:gd name="T32" fmla="*/ 639 w 1058"/>
              <a:gd name="T33" fmla="*/ 243 h 680"/>
              <a:gd name="T34" fmla="*/ 681 w 1058"/>
              <a:gd name="T35" fmla="*/ 181 h 680"/>
              <a:gd name="T36" fmla="*/ 794 w 1058"/>
              <a:gd name="T37" fmla="*/ 211 h 680"/>
              <a:gd name="T38" fmla="*/ 723 w 1058"/>
              <a:gd name="T39" fmla="*/ 243 h 680"/>
              <a:gd name="T40" fmla="*/ 660 w 1058"/>
              <a:gd name="T41" fmla="*/ 267 h 680"/>
              <a:gd name="T42" fmla="*/ 453 w 1058"/>
              <a:gd name="T43" fmla="*/ 227 h 680"/>
              <a:gd name="T44" fmla="*/ 907 w 1058"/>
              <a:gd name="T45" fmla="*/ 227 h 680"/>
              <a:gd name="T46" fmla="*/ 680 w 1058"/>
              <a:gd name="T47" fmla="*/ 408 h 680"/>
              <a:gd name="T48" fmla="*/ 680 w 1058"/>
              <a:gd name="T49" fmla="*/ 45 h 680"/>
              <a:gd name="T50" fmla="*/ 680 w 1058"/>
              <a:gd name="T51" fmla="*/ 408 h 680"/>
              <a:gd name="T52" fmla="*/ 420 w 1058"/>
              <a:gd name="T53" fmla="*/ 277 h 680"/>
              <a:gd name="T54" fmla="*/ 375 w 1058"/>
              <a:gd name="T55" fmla="*/ 227 h 680"/>
              <a:gd name="T56" fmla="*/ 334 w 1058"/>
              <a:gd name="T57" fmla="*/ 291 h 680"/>
              <a:gd name="T58" fmla="*/ 194 w 1058"/>
              <a:gd name="T59" fmla="*/ 408 h 680"/>
              <a:gd name="T60" fmla="*/ 114 w 1058"/>
              <a:gd name="T61" fmla="*/ 351 h 680"/>
              <a:gd name="T62" fmla="*/ 153 w 1058"/>
              <a:gd name="T63" fmla="*/ 435 h 680"/>
              <a:gd name="T64" fmla="*/ 194 w 1058"/>
              <a:gd name="T65" fmla="*/ 499 h 680"/>
              <a:gd name="T66" fmla="*/ 235 w 1058"/>
              <a:gd name="T67" fmla="*/ 435 h 680"/>
              <a:gd name="T68" fmla="*/ 375 w 1058"/>
              <a:gd name="T69" fmla="*/ 317 h 680"/>
              <a:gd name="T70" fmla="*/ 436 w 1058"/>
              <a:gd name="T71" fmla="*/ 320 h 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058" h="680">
                <a:moveTo>
                  <a:pt x="799" y="555"/>
                </a:moveTo>
                <a:cubicBezTo>
                  <a:pt x="787" y="567"/>
                  <a:pt x="787" y="567"/>
                  <a:pt x="787" y="567"/>
                </a:cubicBezTo>
                <a:cubicBezTo>
                  <a:pt x="813" y="600"/>
                  <a:pt x="813" y="600"/>
                  <a:pt x="813" y="600"/>
                </a:cubicBezTo>
                <a:cubicBezTo>
                  <a:pt x="80" y="600"/>
                  <a:pt x="80" y="600"/>
                  <a:pt x="80" y="600"/>
                </a:cubicBezTo>
                <a:cubicBezTo>
                  <a:pt x="80" y="49"/>
                  <a:pt x="80" y="49"/>
                  <a:pt x="80" y="49"/>
                </a:cubicBezTo>
                <a:cubicBezTo>
                  <a:pt x="114" y="75"/>
                  <a:pt x="114" y="75"/>
                  <a:pt x="114" y="75"/>
                </a:cubicBezTo>
                <a:cubicBezTo>
                  <a:pt x="126" y="63"/>
                  <a:pt x="126" y="63"/>
                  <a:pt x="126" y="63"/>
                </a:cubicBezTo>
                <a:cubicBezTo>
                  <a:pt x="63" y="0"/>
                  <a:pt x="63" y="0"/>
                  <a:pt x="63" y="0"/>
                </a:cubicBezTo>
                <a:cubicBezTo>
                  <a:pt x="0" y="63"/>
                  <a:pt x="0" y="63"/>
                  <a:pt x="0" y="63"/>
                </a:cubicBezTo>
                <a:cubicBezTo>
                  <a:pt x="13" y="75"/>
                  <a:pt x="13" y="75"/>
                  <a:pt x="13" y="75"/>
                </a:cubicBezTo>
                <a:cubicBezTo>
                  <a:pt x="46" y="49"/>
                  <a:pt x="46" y="49"/>
                  <a:pt x="46" y="49"/>
                </a:cubicBezTo>
                <a:cubicBezTo>
                  <a:pt x="46" y="635"/>
                  <a:pt x="46" y="635"/>
                  <a:pt x="46" y="635"/>
                </a:cubicBezTo>
                <a:cubicBezTo>
                  <a:pt x="813" y="634"/>
                  <a:pt x="813" y="634"/>
                  <a:pt x="813" y="634"/>
                </a:cubicBezTo>
                <a:cubicBezTo>
                  <a:pt x="787" y="668"/>
                  <a:pt x="787" y="668"/>
                  <a:pt x="787" y="668"/>
                </a:cubicBezTo>
                <a:cubicBezTo>
                  <a:pt x="799" y="680"/>
                  <a:pt x="799" y="680"/>
                  <a:pt x="799" y="680"/>
                </a:cubicBezTo>
                <a:cubicBezTo>
                  <a:pt x="862" y="617"/>
                  <a:pt x="862" y="617"/>
                  <a:pt x="862" y="617"/>
                </a:cubicBezTo>
                <a:lnTo>
                  <a:pt x="799" y="555"/>
                </a:lnTo>
                <a:close/>
                <a:moveTo>
                  <a:pt x="74" y="44"/>
                </a:moveTo>
                <a:cubicBezTo>
                  <a:pt x="76" y="45"/>
                  <a:pt x="76" y="45"/>
                  <a:pt x="76" y="45"/>
                </a:cubicBezTo>
                <a:cubicBezTo>
                  <a:pt x="74" y="45"/>
                  <a:pt x="74" y="45"/>
                  <a:pt x="74" y="45"/>
                </a:cubicBezTo>
                <a:lnTo>
                  <a:pt x="74" y="44"/>
                </a:lnTo>
                <a:close/>
                <a:moveTo>
                  <a:pt x="52" y="45"/>
                </a:moveTo>
                <a:cubicBezTo>
                  <a:pt x="51" y="45"/>
                  <a:pt x="51" y="45"/>
                  <a:pt x="51" y="45"/>
                </a:cubicBezTo>
                <a:cubicBezTo>
                  <a:pt x="52" y="44"/>
                  <a:pt x="52" y="44"/>
                  <a:pt x="52" y="44"/>
                </a:cubicBezTo>
                <a:lnTo>
                  <a:pt x="52" y="45"/>
                </a:lnTo>
                <a:close/>
                <a:moveTo>
                  <a:pt x="901" y="392"/>
                </a:moveTo>
                <a:cubicBezTo>
                  <a:pt x="883" y="415"/>
                  <a:pt x="862" y="435"/>
                  <a:pt x="839" y="451"/>
                </a:cubicBezTo>
                <a:cubicBezTo>
                  <a:pt x="977" y="612"/>
                  <a:pt x="977" y="612"/>
                  <a:pt x="977" y="612"/>
                </a:cubicBezTo>
                <a:cubicBezTo>
                  <a:pt x="1058" y="531"/>
                  <a:pt x="1058" y="531"/>
                  <a:pt x="1058" y="531"/>
                </a:cubicBezTo>
                <a:lnTo>
                  <a:pt x="901" y="392"/>
                </a:lnTo>
                <a:close/>
                <a:moveTo>
                  <a:pt x="660" y="267"/>
                </a:moveTo>
                <a:cubicBezTo>
                  <a:pt x="590" y="340"/>
                  <a:pt x="590" y="340"/>
                  <a:pt x="590" y="340"/>
                </a:cubicBezTo>
                <a:cubicBezTo>
                  <a:pt x="582" y="334"/>
                  <a:pt x="575" y="328"/>
                  <a:pt x="569" y="320"/>
                </a:cubicBezTo>
                <a:cubicBezTo>
                  <a:pt x="639" y="243"/>
                  <a:pt x="639" y="243"/>
                  <a:pt x="639" y="243"/>
                </a:cubicBezTo>
                <a:cubicBezTo>
                  <a:pt x="637" y="238"/>
                  <a:pt x="635" y="233"/>
                  <a:pt x="635" y="227"/>
                </a:cubicBezTo>
                <a:cubicBezTo>
                  <a:pt x="635" y="202"/>
                  <a:pt x="656" y="181"/>
                  <a:pt x="681" y="181"/>
                </a:cubicBezTo>
                <a:cubicBezTo>
                  <a:pt x="700" y="181"/>
                  <a:pt x="717" y="193"/>
                  <a:pt x="723" y="211"/>
                </a:cubicBezTo>
                <a:cubicBezTo>
                  <a:pt x="794" y="211"/>
                  <a:pt x="794" y="211"/>
                  <a:pt x="794" y="211"/>
                </a:cubicBezTo>
                <a:cubicBezTo>
                  <a:pt x="794" y="243"/>
                  <a:pt x="794" y="243"/>
                  <a:pt x="794" y="243"/>
                </a:cubicBezTo>
                <a:cubicBezTo>
                  <a:pt x="723" y="243"/>
                  <a:pt x="723" y="243"/>
                  <a:pt x="723" y="243"/>
                </a:cubicBezTo>
                <a:cubicBezTo>
                  <a:pt x="717" y="260"/>
                  <a:pt x="700" y="272"/>
                  <a:pt x="681" y="272"/>
                </a:cubicBezTo>
                <a:cubicBezTo>
                  <a:pt x="673" y="272"/>
                  <a:pt x="666" y="270"/>
                  <a:pt x="660" y="267"/>
                </a:cubicBezTo>
                <a:close/>
                <a:moveTo>
                  <a:pt x="680" y="0"/>
                </a:moveTo>
                <a:cubicBezTo>
                  <a:pt x="555" y="0"/>
                  <a:pt x="453" y="102"/>
                  <a:pt x="453" y="227"/>
                </a:cubicBezTo>
                <a:cubicBezTo>
                  <a:pt x="453" y="352"/>
                  <a:pt x="555" y="453"/>
                  <a:pt x="680" y="453"/>
                </a:cubicBezTo>
                <a:cubicBezTo>
                  <a:pt x="805" y="453"/>
                  <a:pt x="907" y="352"/>
                  <a:pt x="907" y="227"/>
                </a:cubicBezTo>
                <a:cubicBezTo>
                  <a:pt x="907" y="102"/>
                  <a:pt x="805" y="0"/>
                  <a:pt x="680" y="0"/>
                </a:cubicBezTo>
                <a:close/>
                <a:moveTo>
                  <a:pt x="680" y="408"/>
                </a:moveTo>
                <a:cubicBezTo>
                  <a:pt x="580" y="408"/>
                  <a:pt x="499" y="327"/>
                  <a:pt x="499" y="227"/>
                </a:cubicBezTo>
                <a:cubicBezTo>
                  <a:pt x="499" y="126"/>
                  <a:pt x="580" y="45"/>
                  <a:pt x="680" y="45"/>
                </a:cubicBezTo>
                <a:cubicBezTo>
                  <a:pt x="780" y="45"/>
                  <a:pt x="861" y="126"/>
                  <a:pt x="861" y="227"/>
                </a:cubicBezTo>
                <a:cubicBezTo>
                  <a:pt x="861" y="327"/>
                  <a:pt x="780" y="408"/>
                  <a:pt x="680" y="408"/>
                </a:cubicBezTo>
                <a:close/>
                <a:moveTo>
                  <a:pt x="424" y="278"/>
                </a:moveTo>
                <a:cubicBezTo>
                  <a:pt x="420" y="277"/>
                  <a:pt x="420" y="277"/>
                  <a:pt x="420" y="277"/>
                </a:cubicBezTo>
                <a:cubicBezTo>
                  <a:pt x="421" y="275"/>
                  <a:pt x="421" y="273"/>
                  <a:pt x="421" y="272"/>
                </a:cubicBezTo>
                <a:cubicBezTo>
                  <a:pt x="421" y="247"/>
                  <a:pt x="400" y="227"/>
                  <a:pt x="375" y="227"/>
                </a:cubicBezTo>
                <a:cubicBezTo>
                  <a:pt x="350" y="227"/>
                  <a:pt x="330" y="247"/>
                  <a:pt x="330" y="272"/>
                </a:cubicBezTo>
                <a:cubicBezTo>
                  <a:pt x="330" y="279"/>
                  <a:pt x="331" y="285"/>
                  <a:pt x="334" y="291"/>
                </a:cubicBezTo>
                <a:cubicBezTo>
                  <a:pt x="213" y="412"/>
                  <a:pt x="213" y="412"/>
                  <a:pt x="213" y="412"/>
                </a:cubicBezTo>
                <a:cubicBezTo>
                  <a:pt x="207" y="409"/>
                  <a:pt x="201" y="408"/>
                  <a:pt x="194" y="408"/>
                </a:cubicBezTo>
                <a:cubicBezTo>
                  <a:pt x="187" y="408"/>
                  <a:pt x="181" y="409"/>
                  <a:pt x="175" y="412"/>
                </a:cubicBezTo>
                <a:cubicBezTo>
                  <a:pt x="114" y="351"/>
                  <a:pt x="114" y="351"/>
                  <a:pt x="114" y="351"/>
                </a:cubicBezTo>
                <a:cubicBezTo>
                  <a:pt x="114" y="396"/>
                  <a:pt x="114" y="396"/>
                  <a:pt x="114" y="396"/>
                </a:cubicBezTo>
                <a:cubicBezTo>
                  <a:pt x="153" y="435"/>
                  <a:pt x="153" y="435"/>
                  <a:pt x="153" y="435"/>
                </a:cubicBezTo>
                <a:cubicBezTo>
                  <a:pt x="150" y="440"/>
                  <a:pt x="149" y="447"/>
                  <a:pt x="149" y="453"/>
                </a:cubicBezTo>
                <a:cubicBezTo>
                  <a:pt x="149" y="478"/>
                  <a:pt x="169" y="499"/>
                  <a:pt x="194" y="499"/>
                </a:cubicBezTo>
                <a:cubicBezTo>
                  <a:pt x="219" y="499"/>
                  <a:pt x="239" y="478"/>
                  <a:pt x="239" y="453"/>
                </a:cubicBezTo>
                <a:cubicBezTo>
                  <a:pt x="239" y="447"/>
                  <a:pt x="238" y="440"/>
                  <a:pt x="235" y="435"/>
                </a:cubicBezTo>
                <a:cubicBezTo>
                  <a:pt x="357" y="313"/>
                  <a:pt x="357" y="313"/>
                  <a:pt x="357" y="313"/>
                </a:cubicBezTo>
                <a:cubicBezTo>
                  <a:pt x="362" y="316"/>
                  <a:pt x="369" y="317"/>
                  <a:pt x="375" y="317"/>
                </a:cubicBezTo>
                <a:cubicBezTo>
                  <a:pt x="387" y="317"/>
                  <a:pt x="398" y="313"/>
                  <a:pt x="406" y="305"/>
                </a:cubicBezTo>
                <a:cubicBezTo>
                  <a:pt x="436" y="320"/>
                  <a:pt x="436" y="320"/>
                  <a:pt x="436" y="320"/>
                </a:cubicBezTo>
                <a:cubicBezTo>
                  <a:pt x="431" y="307"/>
                  <a:pt x="427" y="293"/>
                  <a:pt x="424" y="278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1799" kern="0">
              <a:solidFill>
                <a:srgbClr val="000000"/>
              </a:solidFill>
            </a:endParaRPr>
          </a:p>
        </p:txBody>
      </p:sp>
      <p:sp>
        <p:nvSpPr>
          <p:cNvPr id="840" name="Freeform 68">
            <a:extLst>
              <a:ext uri="{FF2B5EF4-FFF2-40B4-BE49-F238E27FC236}">
                <a16:creationId xmlns:a16="http://schemas.microsoft.com/office/drawing/2014/main" id="{81168D7D-899B-82FE-64B4-4B8101BDB6E5}"/>
              </a:ext>
            </a:extLst>
          </p:cNvPr>
          <p:cNvSpPr>
            <a:spLocks noEditPoints="1"/>
          </p:cNvSpPr>
          <p:nvPr/>
        </p:nvSpPr>
        <p:spPr bwMode="auto">
          <a:xfrm>
            <a:off x="3986495" y="2216185"/>
            <a:ext cx="153279" cy="298824"/>
          </a:xfrm>
          <a:custGeom>
            <a:avLst/>
            <a:gdLst>
              <a:gd name="T0" fmla="*/ 318 w 476"/>
              <a:gd name="T1" fmla="*/ 363 h 929"/>
              <a:gd name="T2" fmla="*/ 318 w 476"/>
              <a:gd name="T3" fmla="*/ 566 h 929"/>
              <a:gd name="T4" fmla="*/ 114 w 476"/>
              <a:gd name="T5" fmla="*/ 566 h 929"/>
              <a:gd name="T6" fmla="*/ 113 w 476"/>
              <a:gd name="T7" fmla="*/ 362 h 929"/>
              <a:gd name="T8" fmla="*/ 318 w 476"/>
              <a:gd name="T9" fmla="*/ 363 h 929"/>
              <a:gd name="T10" fmla="*/ 318 w 476"/>
              <a:gd name="T11" fmla="*/ 0 h 929"/>
              <a:gd name="T12" fmla="*/ 113 w 476"/>
              <a:gd name="T13" fmla="*/ 0 h 929"/>
              <a:gd name="T14" fmla="*/ 91 w 476"/>
              <a:gd name="T15" fmla="*/ 204 h 929"/>
              <a:gd name="T16" fmla="*/ 340 w 476"/>
              <a:gd name="T17" fmla="*/ 204 h 929"/>
              <a:gd name="T18" fmla="*/ 318 w 476"/>
              <a:gd name="T19" fmla="*/ 0 h 929"/>
              <a:gd name="T20" fmla="*/ 363 w 476"/>
              <a:gd name="T21" fmla="*/ 317 h 929"/>
              <a:gd name="T22" fmla="*/ 68 w 476"/>
              <a:gd name="T23" fmla="*/ 317 h 929"/>
              <a:gd name="T24" fmla="*/ 68 w 476"/>
              <a:gd name="T25" fmla="*/ 612 h 929"/>
              <a:gd name="T26" fmla="*/ 363 w 476"/>
              <a:gd name="T27" fmla="*/ 612 h 929"/>
              <a:gd name="T28" fmla="*/ 363 w 476"/>
              <a:gd name="T29" fmla="*/ 317 h 929"/>
              <a:gd name="T30" fmla="*/ 476 w 476"/>
              <a:gd name="T31" fmla="*/ 430 h 929"/>
              <a:gd name="T32" fmla="*/ 476 w 476"/>
              <a:gd name="T33" fmla="*/ 362 h 929"/>
              <a:gd name="T34" fmla="*/ 431 w 476"/>
              <a:gd name="T35" fmla="*/ 362 h 929"/>
              <a:gd name="T36" fmla="*/ 431 w 476"/>
              <a:gd name="T37" fmla="*/ 289 h 929"/>
              <a:gd name="T38" fmla="*/ 391 w 476"/>
              <a:gd name="T39" fmla="*/ 249 h 929"/>
              <a:gd name="T40" fmla="*/ 40 w 476"/>
              <a:gd name="T41" fmla="*/ 249 h 929"/>
              <a:gd name="T42" fmla="*/ 0 w 476"/>
              <a:gd name="T43" fmla="*/ 289 h 929"/>
              <a:gd name="T44" fmla="*/ 0 w 476"/>
              <a:gd name="T45" fmla="*/ 640 h 929"/>
              <a:gd name="T46" fmla="*/ 40 w 476"/>
              <a:gd name="T47" fmla="*/ 680 h 929"/>
              <a:gd name="T48" fmla="*/ 391 w 476"/>
              <a:gd name="T49" fmla="*/ 680 h 929"/>
              <a:gd name="T50" fmla="*/ 431 w 476"/>
              <a:gd name="T51" fmla="*/ 640 h 929"/>
              <a:gd name="T52" fmla="*/ 431 w 476"/>
              <a:gd name="T53" fmla="*/ 566 h 929"/>
              <a:gd name="T54" fmla="*/ 476 w 476"/>
              <a:gd name="T55" fmla="*/ 566 h 929"/>
              <a:gd name="T56" fmla="*/ 476 w 476"/>
              <a:gd name="T57" fmla="*/ 498 h 929"/>
              <a:gd name="T58" fmla="*/ 431 w 476"/>
              <a:gd name="T59" fmla="*/ 498 h 929"/>
              <a:gd name="T60" fmla="*/ 431 w 476"/>
              <a:gd name="T61" fmla="*/ 430 h 929"/>
              <a:gd name="T62" fmla="*/ 476 w 476"/>
              <a:gd name="T63" fmla="*/ 430 h 929"/>
              <a:gd name="T64" fmla="*/ 113 w 476"/>
              <a:gd name="T65" fmla="*/ 929 h 929"/>
              <a:gd name="T66" fmla="*/ 318 w 476"/>
              <a:gd name="T67" fmla="*/ 929 h 929"/>
              <a:gd name="T68" fmla="*/ 340 w 476"/>
              <a:gd name="T69" fmla="*/ 725 h 929"/>
              <a:gd name="T70" fmla="*/ 91 w 476"/>
              <a:gd name="T71" fmla="*/ 725 h 929"/>
              <a:gd name="T72" fmla="*/ 113 w 476"/>
              <a:gd name="T73" fmla="*/ 929 h 9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76" h="929">
                <a:moveTo>
                  <a:pt x="318" y="363"/>
                </a:moveTo>
                <a:cubicBezTo>
                  <a:pt x="318" y="566"/>
                  <a:pt x="318" y="566"/>
                  <a:pt x="318" y="566"/>
                </a:cubicBezTo>
                <a:cubicBezTo>
                  <a:pt x="114" y="566"/>
                  <a:pt x="114" y="566"/>
                  <a:pt x="114" y="566"/>
                </a:cubicBezTo>
                <a:cubicBezTo>
                  <a:pt x="113" y="362"/>
                  <a:pt x="113" y="362"/>
                  <a:pt x="113" y="362"/>
                </a:cubicBezTo>
                <a:lnTo>
                  <a:pt x="318" y="363"/>
                </a:lnTo>
                <a:close/>
                <a:moveTo>
                  <a:pt x="318" y="0"/>
                </a:moveTo>
                <a:cubicBezTo>
                  <a:pt x="113" y="0"/>
                  <a:pt x="113" y="0"/>
                  <a:pt x="113" y="0"/>
                </a:cubicBezTo>
                <a:cubicBezTo>
                  <a:pt x="91" y="204"/>
                  <a:pt x="91" y="204"/>
                  <a:pt x="91" y="204"/>
                </a:cubicBezTo>
                <a:cubicBezTo>
                  <a:pt x="340" y="204"/>
                  <a:pt x="340" y="204"/>
                  <a:pt x="340" y="204"/>
                </a:cubicBezTo>
                <a:lnTo>
                  <a:pt x="318" y="0"/>
                </a:lnTo>
                <a:close/>
                <a:moveTo>
                  <a:pt x="363" y="317"/>
                </a:moveTo>
                <a:cubicBezTo>
                  <a:pt x="68" y="317"/>
                  <a:pt x="68" y="317"/>
                  <a:pt x="68" y="317"/>
                </a:cubicBezTo>
                <a:cubicBezTo>
                  <a:pt x="68" y="612"/>
                  <a:pt x="68" y="612"/>
                  <a:pt x="68" y="612"/>
                </a:cubicBezTo>
                <a:cubicBezTo>
                  <a:pt x="363" y="612"/>
                  <a:pt x="363" y="612"/>
                  <a:pt x="363" y="612"/>
                </a:cubicBezTo>
                <a:cubicBezTo>
                  <a:pt x="363" y="317"/>
                  <a:pt x="363" y="317"/>
                  <a:pt x="363" y="317"/>
                </a:cubicBezTo>
                <a:moveTo>
                  <a:pt x="476" y="430"/>
                </a:moveTo>
                <a:cubicBezTo>
                  <a:pt x="476" y="362"/>
                  <a:pt x="476" y="362"/>
                  <a:pt x="476" y="362"/>
                </a:cubicBezTo>
                <a:cubicBezTo>
                  <a:pt x="431" y="362"/>
                  <a:pt x="431" y="362"/>
                  <a:pt x="431" y="362"/>
                </a:cubicBezTo>
                <a:cubicBezTo>
                  <a:pt x="431" y="289"/>
                  <a:pt x="431" y="289"/>
                  <a:pt x="431" y="289"/>
                </a:cubicBezTo>
                <a:cubicBezTo>
                  <a:pt x="431" y="267"/>
                  <a:pt x="413" y="249"/>
                  <a:pt x="391" y="249"/>
                </a:cubicBezTo>
                <a:cubicBezTo>
                  <a:pt x="40" y="249"/>
                  <a:pt x="40" y="249"/>
                  <a:pt x="40" y="249"/>
                </a:cubicBezTo>
                <a:cubicBezTo>
                  <a:pt x="18" y="249"/>
                  <a:pt x="0" y="267"/>
                  <a:pt x="0" y="289"/>
                </a:cubicBezTo>
                <a:cubicBezTo>
                  <a:pt x="0" y="640"/>
                  <a:pt x="0" y="640"/>
                  <a:pt x="0" y="640"/>
                </a:cubicBezTo>
                <a:cubicBezTo>
                  <a:pt x="0" y="662"/>
                  <a:pt x="18" y="680"/>
                  <a:pt x="40" y="680"/>
                </a:cubicBezTo>
                <a:cubicBezTo>
                  <a:pt x="391" y="680"/>
                  <a:pt x="391" y="680"/>
                  <a:pt x="391" y="680"/>
                </a:cubicBezTo>
                <a:cubicBezTo>
                  <a:pt x="413" y="680"/>
                  <a:pt x="431" y="662"/>
                  <a:pt x="431" y="640"/>
                </a:cubicBezTo>
                <a:cubicBezTo>
                  <a:pt x="431" y="566"/>
                  <a:pt x="431" y="566"/>
                  <a:pt x="431" y="566"/>
                </a:cubicBezTo>
                <a:cubicBezTo>
                  <a:pt x="476" y="566"/>
                  <a:pt x="476" y="566"/>
                  <a:pt x="476" y="566"/>
                </a:cubicBezTo>
                <a:cubicBezTo>
                  <a:pt x="476" y="498"/>
                  <a:pt x="476" y="498"/>
                  <a:pt x="476" y="498"/>
                </a:cubicBezTo>
                <a:cubicBezTo>
                  <a:pt x="431" y="498"/>
                  <a:pt x="431" y="498"/>
                  <a:pt x="431" y="498"/>
                </a:cubicBezTo>
                <a:cubicBezTo>
                  <a:pt x="431" y="430"/>
                  <a:pt x="431" y="430"/>
                  <a:pt x="431" y="430"/>
                </a:cubicBezTo>
                <a:lnTo>
                  <a:pt x="476" y="430"/>
                </a:lnTo>
                <a:close/>
                <a:moveTo>
                  <a:pt x="113" y="929"/>
                </a:moveTo>
                <a:cubicBezTo>
                  <a:pt x="318" y="929"/>
                  <a:pt x="318" y="929"/>
                  <a:pt x="318" y="929"/>
                </a:cubicBezTo>
                <a:cubicBezTo>
                  <a:pt x="340" y="725"/>
                  <a:pt x="340" y="725"/>
                  <a:pt x="340" y="725"/>
                </a:cubicBezTo>
                <a:cubicBezTo>
                  <a:pt x="91" y="725"/>
                  <a:pt x="91" y="725"/>
                  <a:pt x="91" y="725"/>
                </a:cubicBezTo>
                <a:lnTo>
                  <a:pt x="113" y="92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de-DE" sz="1799" kern="0" dirty="0">
              <a:solidFill>
                <a:srgbClr val="000000"/>
              </a:solidFill>
            </a:endParaRPr>
          </a:p>
        </p:txBody>
      </p:sp>
      <p:sp>
        <p:nvSpPr>
          <p:cNvPr id="841" name="Freeform 152">
            <a:extLst>
              <a:ext uri="{FF2B5EF4-FFF2-40B4-BE49-F238E27FC236}">
                <a16:creationId xmlns:a16="http://schemas.microsoft.com/office/drawing/2014/main" id="{BE85CB87-F315-04FA-10FB-63F2E43270BD}"/>
              </a:ext>
            </a:extLst>
          </p:cNvPr>
          <p:cNvSpPr>
            <a:spLocks noEditPoints="1"/>
          </p:cNvSpPr>
          <p:nvPr/>
        </p:nvSpPr>
        <p:spPr bwMode="auto">
          <a:xfrm>
            <a:off x="4335108" y="2266310"/>
            <a:ext cx="421316" cy="200732"/>
          </a:xfrm>
          <a:custGeom>
            <a:avLst/>
            <a:gdLst>
              <a:gd name="T0" fmla="*/ 819 w 953"/>
              <a:gd name="T1" fmla="*/ 68 h 454"/>
              <a:gd name="T2" fmla="*/ 814 w 953"/>
              <a:gd name="T3" fmla="*/ 52 h 454"/>
              <a:gd name="T4" fmla="*/ 477 w 953"/>
              <a:gd name="T5" fmla="*/ 0 h 454"/>
              <a:gd name="T6" fmla="*/ 139 w 953"/>
              <a:gd name="T7" fmla="*/ 52 h 454"/>
              <a:gd name="T8" fmla="*/ 134 w 953"/>
              <a:gd name="T9" fmla="*/ 68 h 454"/>
              <a:gd name="T10" fmla="*/ 0 w 953"/>
              <a:gd name="T11" fmla="*/ 91 h 454"/>
              <a:gd name="T12" fmla="*/ 23 w 953"/>
              <a:gd name="T13" fmla="*/ 250 h 454"/>
              <a:gd name="T14" fmla="*/ 68 w 953"/>
              <a:gd name="T15" fmla="*/ 295 h 454"/>
              <a:gd name="T16" fmla="*/ 275 w 953"/>
              <a:gd name="T17" fmla="*/ 446 h 454"/>
              <a:gd name="T18" fmla="*/ 276 w 953"/>
              <a:gd name="T19" fmla="*/ 446 h 454"/>
              <a:gd name="T20" fmla="*/ 477 w 953"/>
              <a:gd name="T21" fmla="*/ 386 h 454"/>
              <a:gd name="T22" fmla="*/ 677 w 953"/>
              <a:gd name="T23" fmla="*/ 446 h 454"/>
              <a:gd name="T24" fmla="*/ 678 w 953"/>
              <a:gd name="T25" fmla="*/ 446 h 454"/>
              <a:gd name="T26" fmla="*/ 885 w 953"/>
              <a:gd name="T27" fmla="*/ 295 h 454"/>
              <a:gd name="T28" fmla="*/ 930 w 953"/>
              <a:gd name="T29" fmla="*/ 250 h 454"/>
              <a:gd name="T30" fmla="*/ 953 w 953"/>
              <a:gd name="T31" fmla="*/ 227 h 454"/>
              <a:gd name="T32" fmla="*/ 930 w 953"/>
              <a:gd name="T33" fmla="*/ 68 h 454"/>
              <a:gd name="T34" fmla="*/ 46 w 953"/>
              <a:gd name="T35" fmla="*/ 204 h 454"/>
              <a:gd name="T36" fmla="*/ 119 w 953"/>
              <a:gd name="T37" fmla="*/ 114 h 454"/>
              <a:gd name="T38" fmla="*/ 561 w 953"/>
              <a:gd name="T39" fmla="*/ 107 h 454"/>
              <a:gd name="T40" fmla="*/ 409 w 953"/>
              <a:gd name="T41" fmla="*/ 114 h 454"/>
              <a:gd name="T42" fmla="*/ 393 w 953"/>
              <a:gd name="T43" fmla="*/ 75 h 454"/>
              <a:gd name="T44" fmla="*/ 545 w 953"/>
              <a:gd name="T45" fmla="*/ 68 h 454"/>
              <a:gd name="T46" fmla="*/ 561 w 953"/>
              <a:gd name="T47" fmla="*/ 107 h 454"/>
              <a:gd name="T48" fmla="*/ 635 w 953"/>
              <a:gd name="T49" fmla="*/ 386 h 454"/>
              <a:gd name="T50" fmla="*/ 619 w 953"/>
              <a:gd name="T51" fmla="*/ 347 h 454"/>
              <a:gd name="T52" fmla="*/ 810 w 953"/>
              <a:gd name="T53" fmla="*/ 188 h 454"/>
              <a:gd name="T54" fmla="*/ 651 w 953"/>
              <a:gd name="T55" fmla="*/ 379 h 454"/>
              <a:gd name="T56" fmla="*/ 742 w 953"/>
              <a:gd name="T57" fmla="*/ 402 h 454"/>
              <a:gd name="T58" fmla="*/ 710 w 953"/>
              <a:gd name="T59" fmla="*/ 402 h 454"/>
              <a:gd name="T60" fmla="*/ 801 w 953"/>
              <a:gd name="T61" fmla="*/ 279 h 454"/>
              <a:gd name="T62" fmla="*/ 833 w 953"/>
              <a:gd name="T63" fmla="*/ 311 h 454"/>
              <a:gd name="T64" fmla="*/ 864 w 953"/>
              <a:gd name="T65" fmla="*/ 204 h 454"/>
              <a:gd name="T66" fmla="*/ 908 w 953"/>
              <a:gd name="T67" fmla="*/ 114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953" h="454">
                <a:moveTo>
                  <a:pt x="930" y="68"/>
                </a:moveTo>
                <a:cubicBezTo>
                  <a:pt x="819" y="68"/>
                  <a:pt x="819" y="68"/>
                  <a:pt x="819" y="68"/>
                </a:cubicBezTo>
                <a:cubicBezTo>
                  <a:pt x="815" y="56"/>
                  <a:pt x="815" y="56"/>
                  <a:pt x="815" y="56"/>
                </a:cubicBezTo>
                <a:cubicBezTo>
                  <a:pt x="814" y="52"/>
                  <a:pt x="814" y="52"/>
                  <a:pt x="814" y="52"/>
                </a:cubicBezTo>
                <a:cubicBezTo>
                  <a:pt x="807" y="35"/>
                  <a:pt x="791" y="23"/>
                  <a:pt x="771" y="23"/>
                </a:cubicBezTo>
                <a:cubicBezTo>
                  <a:pt x="477" y="0"/>
                  <a:pt x="477" y="0"/>
                  <a:pt x="477" y="0"/>
                </a:cubicBezTo>
                <a:cubicBezTo>
                  <a:pt x="182" y="23"/>
                  <a:pt x="182" y="23"/>
                  <a:pt x="182" y="23"/>
                </a:cubicBezTo>
                <a:cubicBezTo>
                  <a:pt x="162" y="23"/>
                  <a:pt x="146" y="35"/>
                  <a:pt x="139" y="52"/>
                </a:cubicBezTo>
                <a:cubicBezTo>
                  <a:pt x="138" y="56"/>
                  <a:pt x="138" y="56"/>
                  <a:pt x="138" y="56"/>
                </a:cubicBezTo>
                <a:cubicBezTo>
                  <a:pt x="134" y="68"/>
                  <a:pt x="134" y="68"/>
                  <a:pt x="134" y="68"/>
                </a:cubicBezTo>
                <a:cubicBezTo>
                  <a:pt x="23" y="68"/>
                  <a:pt x="23" y="68"/>
                  <a:pt x="23" y="68"/>
                </a:cubicBezTo>
                <a:cubicBezTo>
                  <a:pt x="11" y="68"/>
                  <a:pt x="0" y="78"/>
                  <a:pt x="0" y="91"/>
                </a:cubicBezTo>
                <a:cubicBezTo>
                  <a:pt x="0" y="227"/>
                  <a:pt x="0" y="227"/>
                  <a:pt x="0" y="227"/>
                </a:cubicBezTo>
                <a:cubicBezTo>
                  <a:pt x="0" y="240"/>
                  <a:pt x="11" y="250"/>
                  <a:pt x="23" y="250"/>
                </a:cubicBezTo>
                <a:cubicBezTo>
                  <a:pt x="75" y="250"/>
                  <a:pt x="75" y="250"/>
                  <a:pt x="75" y="250"/>
                </a:cubicBezTo>
                <a:cubicBezTo>
                  <a:pt x="71" y="264"/>
                  <a:pt x="68" y="279"/>
                  <a:pt x="68" y="295"/>
                </a:cubicBezTo>
                <a:cubicBezTo>
                  <a:pt x="68" y="383"/>
                  <a:pt x="140" y="454"/>
                  <a:pt x="227" y="454"/>
                </a:cubicBezTo>
                <a:cubicBezTo>
                  <a:pt x="244" y="454"/>
                  <a:pt x="260" y="451"/>
                  <a:pt x="275" y="446"/>
                </a:cubicBezTo>
                <a:cubicBezTo>
                  <a:pt x="276" y="446"/>
                  <a:pt x="276" y="446"/>
                  <a:pt x="276" y="446"/>
                </a:cubicBezTo>
                <a:cubicBezTo>
                  <a:pt x="276" y="446"/>
                  <a:pt x="276" y="446"/>
                  <a:pt x="276" y="446"/>
                </a:cubicBezTo>
                <a:cubicBezTo>
                  <a:pt x="417" y="404"/>
                  <a:pt x="417" y="404"/>
                  <a:pt x="417" y="404"/>
                </a:cubicBezTo>
                <a:cubicBezTo>
                  <a:pt x="477" y="386"/>
                  <a:pt x="477" y="386"/>
                  <a:pt x="477" y="386"/>
                </a:cubicBezTo>
                <a:cubicBezTo>
                  <a:pt x="536" y="404"/>
                  <a:pt x="536" y="404"/>
                  <a:pt x="536" y="404"/>
                </a:cubicBezTo>
                <a:cubicBezTo>
                  <a:pt x="677" y="446"/>
                  <a:pt x="677" y="446"/>
                  <a:pt x="677" y="446"/>
                </a:cubicBezTo>
                <a:cubicBezTo>
                  <a:pt x="677" y="446"/>
                  <a:pt x="677" y="446"/>
                  <a:pt x="677" y="446"/>
                </a:cubicBezTo>
                <a:cubicBezTo>
                  <a:pt x="678" y="446"/>
                  <a:pt x="678" y="446"/>
                  <a:pt x="678" y="446"/>
                </a:cubicBezTo>
                <a:cubicBezTo>
                  <a:pt x="693" y="451"/>
                  <a:pt x="709" y="454"/>
                  <a:pt x="726" y="454"/>
                </a:cubicBezTo>
                <a:cubicBezTo>
                  <a:pt x="814" y="454"/>
                  <a:pt x="885" y="383"/>
                  <a:pt x="885" y="295"/>
                </a:cubicBezTo>
                <a:cubicBezTo>
                  <a:pt x="885" y="279"/>
                  <a:pt x="883" y="264"/>
                  <a:pt x="878" y="250"/>
                </a:cubicBezTo>
                <a:cubicBezTo>
                  <a:pt x="930" y="250"/>
                  <a:pt x="930" y="250"/>
                  <a:pt x="930" y="250"/>
                </a:cubicBezTo>
                <a:cubicBezTo>
                  <a:pt x="936" y="250"/>
                  <a:pt x="942" y="247"/>
                  <a:pt x="946" y="243"/>
                </a:cubicBezTo>
                <a:cubicBezTo>
                  <a:pt x="950" y="239"/>
                  <a:pt x="953" y="233"/>
                  <a:pt x="953" y="227"/>
                </a:cubicBezTo>
                <a:cubicBezTo>
                  <a:pt x="953" y="91"/>
                  <a:pt x="953" y="91"/>
                  <a:pt x="953" y="91"/>
                </a:cubicBezTo>
                <a:cubicBezTo>
                  <a:pt x="953" y="78"/>
                  <a:pt x="943" y="68"/>
                  <a:pt x="930" y="68"/>
                </a:cubicBezTo>
                <a:close/>
                <a:moveTo>
                  <a:pt x="90" y="204"/>
                </a:moveTo>
                <a:cubicBezTo>
                  <a:pt x="46" y="204"/>
                  <a:pt x="46" y="204"/>
                  <a:pt x="46" y="204"/>
                </a:cubicBezTo>
                <a:cubicBezTo>
                  <a:pt x="46" y="114"/>
                  <a:pt x="46" y="114"/>
                  <a:pt x="46" y="114"/>
                </a:cubicBezTo>
                <a:cubicBezTo>
                  <a:pt x="119" y="114"/>
                  <a:pt x="119" y="114"/>
                  <a:pt x="119" y="114"/>
                </a:cubicBezTo>
                <a:lnTo>
                  <a:pt x="90" y="204"/>
                </a:lnTo>
                <a:close/>
                <a:moveTo>
                  <a:pt x="561" y="107"/>
                </a:moveTo>
                <a:cubicBezTo>
                  <a:pt x="557" y="111"/>
                  <a:pt x="551" y="114"/>
                  <a:pt x="545" y="114"/>
                </a:cubicBezTo>
                <a:cubicBezTo>
                  <a:pt x="409" y="114"/>
                  <a:pt x="409" y="114"/>
                  <a:pt x="409" y="114"/>
                </a:cubicBezTo>
                <a:cubicBezTo>
                  <a:pt x="396" y="114"/>
                  <a:pt x="386" y="104"/>
                  <a:pt x="386" y="91"/>
                </a:cubicBezTo>
                <a:cubicBezTo>
                  <a:pt x="386" y="85"/>
                  <a:pt x="388" y="79"/>
                  <a:pt x="393" y="75"/>
                </a:cubicBezTo>
                <a:cubicBezTo>
                  <a:pt x="397" y="71"/>
                  <a:pt x="402" y="68"/>
                  <a:pt x="409" y="68"/>
                </a:cubicBezTo>
                <a:cubicBezTo>
                  <a:pt x="545" y="68"/>
                  <a:pt x="545" y="68"/>
                  <a:pt x="545" y="68"/>
                </a:cubicBezTo>
                <a:cubicBezTo>
                  <a:pt x="557" y="68"/>
                  <a:pt x="567" y="78"/>
                  <a:pt x="567" y="91"/>
                </a:cubicBezTo>
                <a:cubicBezTo>
                  <a:pt x="567" y="97"/>
                  <a:pt x="565" y="103"/>
                  <a:pt x="561" y="107"/>
                </a:cubicBezTo>
                <a:close/>
                <a:moveTo>
                  <a:pt x="651" y="379"/>
                </a:moveTo>
                <a:cubicBezTo>
                  <a:pt x="647" y="384"/>
                  <a:pt x="641" y="386"/>
                  <a:pt x="635" y="386"/>
                </a:cubicBezTo>
                <a:cubicBezTo>
                  <a:pt x="630" y="386"/>
                  <a:pt x="624" y="384"/>
                  <a:pt x="619" y="379"/>
                </a:cubicBezTo>
                <a:cubicBezTo>
                  <a:pt x="610" y="370"/>
                  <a:pt x="610" y="356"/>
                  <a:pt x="619" y="347"/>
                </a:cubicBezTo>
                <a:cubicBezTo>
                  <a:pt x="778" y="188"/>
                  <a:pt x="778" y="188"/>
                  <a:pt x="778" y="188"/>
                </a:cubicBezTo>
                <a:cubicBezTo>
                  <a:pt x="787" y="179"/>
                  <a:pt x="801" y="179"/>
                  <a:pt x="810" y="188"/>
                </a:cubicBezTo>
                <a:cubicBezTo>
                  <a:pt x="819" y="197"/>
                  <a:pt x="819" y="212"/>
                  <a:pt x="810" y="220"/>
                </a:cubicBezTo>
                <a:lnTo>
                  <a:pt x="651" y="379"/>
                </a:lnTo>
                <a:close/>
                <a:moveTo>
                  <a:pt x="833" y="311"/>
                </a:moveTo>
                <a:cubicBezTo>
                  <a:pt x="742" y="402"/>
                  <a:pt x="742" y="402"/>
                  <a:pt x="742" y="402"/>
                </a:cubicBezTo>
                <a:cubicBezTo>
                  <a:pt x="738" y="406"/>
                  <a:pt x="732" y="408"/>
                  <a:pt x="726" y="408"/>
                </a:cubicBezTo>
                <a:cubicBezTo>
                  <a:pt x="720" y="408"/>
                  <a:pt x="714" y="406"/>
                  <a:pt x="710" y="402"/>
                </a:cubicBezTo>
                <a:cubicBezTo>
                  <a:pt x="701" y="393"/>
                  <a:pt x="701" y="379"/>
                  <a:pt x="710" y="370"/>
                </a:cubicBezTo>
                <a:cubicBezTo>
                  <a:pt x="801" y="279"/>
                  <a:pt x="801" y="279"/>
                  <a:pt x="801" y="279"/>
                </a:cubicBezTo>
                <a:cubicBezTo>
                  <a:pt x="810" y="270"/>
                  <a:pt x="824" y="270"/>
                  <a:pt x="833" y="279"/>
                </a:cubicBezTo>
                <a:cubicBezTo>
                  <a:pt x="842" y="288"/>
                  <a:pt x="842" y="302"/>
                  <a:pt x="833" y="311"/>
                </a:cubicBezTo>
                <a:close/>
                <a:moveTo>
                  <a:pt x="908" y="204"/>
                </a:moveTo>
                <a:cubicBezTo>
                  <a:pt x="864" y="204"/>
                  <a:pt x="864" y="204"/>
                  <a:pt x="864" y="204"/>
                </a:cubicBezTo>
                <a:cubicBezTo>
                  <a:pt x="834" y="114"/>
                  <a:pt x="834" y="114"/>
                  <a:pt x="834" y="114"/>
                </a:cubicBezTo>
                <a:cubicBezTo>
                  <a:pt x="908" y="114"/>
                  <a:pt x="908" y="114"/>
                  <a:pt x="908" y="114"/>
                </a:cubicBezTo>
                <a:lnTo>
                  <a:pt x="908" y="204"/>
                </a:lnTo>
                <a:close/>
              </a:path>
            </a:pathLst>
          </a:custGeom>
          <a:solidFill>
            <a:srgbClr val="FFFFFF"/>
          </a:solidFill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de-DE" sz="1799" kern="0">
              <a:solidFill>
                <a:srgbClr val="000000"/>
              </a:solidFill>
            </a:endParaRPr>
          </a:p>
        </p:txBody>
      </p:sp>
      <p:sp>
        <p:nvSpPr>
          <p:cNvPr id="855" name="Rectangle 854">
            <a:extLst>
              <a:ext uri="{FF2B5EF4-FFF2-40B4-BE49-F238E27FC236}">
                <a16:creationId xmlns:a16="http://schemas.microsoft.com/office/drawing/2014/main" id="{4530CCCB-845C-B5D1-C345-4AA13F83F385}"/>
              </a:ext>
            </a:extLst>
          </p:cNvPr>
          <p:cNvSpPr/>
          <p:nvPr/>
        </p:nvSpPr>
        <p:spPr>
          <a:xfrm>
            <a:off x="714990" y="3687345"/>
            <a:ext cx="998648" cy="293448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0" h="0"/>
          </a:sp3d>
        </p:spPr>
        <p:txBody>
          <a:bodyPr anchor="ctr"/>
          <a:lstStyle/>
          <a:p>
            <a:pPr algn="ctr" defTabSz="913486">
              <a:defRPr/>
            </a:pPr>
            <a:r>
              <a:rPr lang="en-US" sz="999" kern="0" dirty="0">
                <a:solidFill>
                  <a:srgbClr val="FFFFFF"/>
                </a:solidFill>
                <a:cs typeface="Arial" charset="0"/>
              </a:rPr>
              <a:t>Aggregation</a:t>
            </a:r>
          </a:p>
        </p:txBody>
      </p:sp>
      <p:sp>
        <p:nvSpPr>
          <p:cNvPr id="856" name="Rectangle 855">
            <a:extLst>
              <a:ext uri="{FF2B5EF4-FFF2-40B4-BE49-F238E27FC236}">
                <a16:creationId xmlns:a16="http://schemas.microsoft.com/office/drawing/2014/main" id="{3E1E124E-2570-58EB-2E34-871503096F38}"/>
              </a:ext>
            </a:extLst>
          </p:cNvPr>
          <p:cNvSpPr/>
          <p:nvPr/>
        </p:nvSpPr>
        <p:spPr>
          <a:xfrm>
            <a:off x="1550321" y="3687345"/>
            <a:ext cx="1206554" cy="293448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0" h="0"/>
          </a:sp3d>
        </p:spPr>
        <p:txBody>
          <a:bodyPr anchor="ctr"/>
          <a:lstStyle/>
          <a:p>
            <a:pPr algn="ctr" defTabSz="913486">
              <a:defRPr/>
            </a:pPr>
            <a:r>
              <a:rPr lang="en-US" sz="999" kern="0" dirty="0">
                <a:solidFill>
                  <a:srgbClr val="FFFFFF"/>
                </a:solidFill>
                <a:cs typeface="Arial" charset="0"/>
              </a:rPr>
              <a:t>Contextualization</a:t>
            </a:r>
          </a:p>
        </p:txBody>
      </p:sp>
      <p:grpSp>
        <p:nvGrpSpPr>
          <p:cNvPr id="857" name="Gruppieren 14">
            <a:extLst>
              <a:ext uri="{FF2B5EF4-FFF2-40B4-BE49-F238E27FC236}">
                <a16:creationId xmlns:a16="http://schemas.microsoft.com/office/drawing/2014/main" id="{7FFB1E53-DA7D-E08E-A7C9-F455E327D719}"/>
              </a:ext>
            </a:extLst>
          </p:cNvPr>
          <p:cNvGrpSpPr>
            <a:grpSpLocks/>
          </p:cNvGrpSpPr>
          <p:nvPr/>
        </p:nvGrpSpPr>
        <p:grpSpPr>
          <a:xfrm>
            <a:off x="1841248" y="3177915"/>
            <a:ext cx="385985" cy="384799"/>
            <a:chOff x="4521201" y="1870075"/>
            <a:chExt cx="1031874" cy="1028700"/>
          </a:xfrm>
          <a:solidFill>
            <a:srgbClr val="FFFFFF"/>
          </a:solidFill>
        </p:grpSpPr>
        <p:sp>
          <p:nvSpPr>
            <p:cNvPr id="858" name="Freeform 11">
              <a:extLst>
                <a:ext uri="{FF2B5EF4-FFF2-40B4-BE49-F238E27FC236}">
                  <a16:creationId xmlns:a16="http://schemas.microsoft.com/office/drawing/2014/main" id="{54743ABC-2C0E-AA71-6200-D24045BA2E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1201" y="2422525"/>
              <a:ext cx="630237" cy="476250"/>
            </a:xfrm>
            <a:custGeom>
              <a:avLst/>
              <a:gdLst>
                <a:gd name="T0" fmla="*/ 463 w 513"/>
                <a:gd name="T1" fmla="*/ 247 h 388"/>
                <a:gd name="T2" fmla="*/ 435 w 513"/>
                <a:gd name="T3" fmla="*/ 240 h 388"/>
                <a:gd name="T4" fmla="*/ 389 w 513"/>
                <a:gd name="T5" fmla="*/ 240 h 388"/>
                <a:gd name="T6" fmla="*/ 389 w 513"/>
                <a:gd name="T7" fmla="*/ 388 h 388"/>
                <a:gd name="T8" fmla="*/ 0 w 513"/>
                <a:gd name="T9" fmla="*/ 388 h 388"/>
                <a:gd name="T10" fmla="*/ 0 w 513"/>
                <a:gd name="T11" fmla="*/ 0 h 388"/>
                <a:gd name="T12" fmla="*/ 70 w 513"/>
                <a:gd name="T13" fmla="*/ 0 h 388"/>
                <a:gd name="T14" fmla="*/ 195 w 513"/>
                <a:gd name="T15" fmla="*/ 125 h 388"/>
                <a:gd name="T16" fmla="*/ 319 w 513"/>
                <a:gd name="T17" fmla="*/ 0 h 388"/>
                <a:gd name="T18" fmla="*/ 389 w 513"/>
                <a:gd name="T19" fmla="*/ 0 h 388"/>
                <a:gd name="T20" fmla="*/ 389 w 513"/>
                <a:gd name="T21" fmla="*/ 148 h 388"/>
                <a:gd name="T22" fmla="*/ 435 w 513"/>
                <a:gd name="T23" fmla="*/ 149 h 388"/>
                <a:gd name="T24" fmla="*/ 463 w 513"/>
                <a:gd name="T25" fmla="*/ 141 h 388"/>
                <a:gd name="T26" fmla="*/ 513 w 513"/>
                <a:gd name="T27" fmla="*/ 195 h 388"/>
                <a:gd name="T28" fmla="*/ 463 w 513"/>
                <a:gd name="T29" fmla="*/ 247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13" h="388">
                  <a:moveTo>
                    <a:pt x="463" y="247"/>
                  </a:moveTo>
                  <a:cubicBezTo>
                    <a:pt x="452" y="247"/>
                    <a:pt x="443" y="243"/>
                    <a:pt x="435" y="240"/>
                  </a:cubicBezTo>
                  <a:cubicBezTo>
                    <a:pt x="415" y="232"/>
                    <a:pt x="393" y="217"/>
                    <a:pt x="389" y="240"/>
                  </a:cubicBezTo>
                  <a:cubicBezTo>
                    <a:pt x="389" y="388"/>
                    <a:pt x="389" y="388"/>
                    <a:pt x="389" y="388"/>
                  </a:cubicBezTo>
                  <a:cubicBezTo>
                    <a:pt x="0" y="388"/>
                    <a:pt x="0" y="388"/>
                    <a:pt x="0" y="38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0" y="68"/>
                    <a:pt x="126" y="125"/>
                    <a:pt x="195" y="125"/>
                  </a:cubicBezTo>
                  <a:cubicBezTo>
                    <a:pt x="263" y="125"/>
                    <a:pt x="319" y="68"/>
                    <a:pt x="319" y="0"/>
                  </a:cubicBezTo>
                  <a:cubicBezTo>
                    <a:pt x="389" y="0"/>
                    <a:pt x="389" y="0"/>
                    <a:pt x="389" y="0"/>
                  </a:cubicBezTo>
                  <a:cubicBezTo>
                    <a:pt x="389" y="148"/>
                    <a:pt x="389" y="148"/>
                    <a:pt x="389" y="148"/>
                  </a:cubicBezTo>
                  <a:cubicBezTo>
                    <a:pt x="393" y="171"/>
                    <a:pt x="415" y="156"/>
                    <a:pt x="435" y="149"/>
                  </a:cubicBezTo>
                  <a:cubicBezTo>
                    <a:pt x="443" y="145"/>
                    <a:pt x="452" y="141"/>
                    <a:pt x="463" y="141"/>
                  </a:cubicBezTo>
                  <a:cubicBezTo>
                    <a:pt x="491" y="141"/>
                    <a:pt x="513" y="164"/>
                    <a:pt x="513" y="195"/>
                  </a:cubicBezTo>
                  <a:cubicBezTo>
                    <a:pt x="513" y="223"/>
                    <a:pt x="491" y="247"/>
                    <a:pt x="463" y="2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de-DE" sz="1799" kern="0">
                <a:solidFill>
                  <a:srgbClr val="000000"/>
                </a:solidFill>
              </a:endParaRPr>
            </a:p>
          </p:txBody>
        </p:sp>
        <p:sp>
          <p:nvSpPr>
            <p:cNvPr id="859" name="Freeform 12">
              <a:extLst>
                <a:ext uri="{FF2B5EF4-FFF2-40B4-BE49-F238E27FC236}">
                  <a16:creationId xmlns:a16="http://schemas.microsoft.com/office/drawing/2014/main" id="{19A1F536-C108-5D35-2A74-2FEEA1E0161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75238" y="2270125"/>
              <a:ext cx="477837" cy="628650"/>
            </a:xfrm>
            <a:custGeom>
              <a:avLst/>
              <a:gdLst>
                <a:gd name="T0" fmla="*/ 240 w 390"/>
                <a:gd name="T1" fmla="*/ 80 h 513"/>
                <a:gd name="T2" fmla="*/ 248 w 390"/>
                <a:gd name="T3" fmla="*/ 51 h 513"/>
                <a:gd name="T4" fmla="*/ 195 w 390"/>
                <a:gd name="T5" fmla="*/ 0 h 513"/>
                <a:gd name="T6" fmla="*/ 141 w 390"/>
                <a:gd name="T7" fmla="*/ 51 h 513"/>
                <a:gd name="T8" fmla="*/ 150 w 390"/>
                <a:gd name="T9" fmla="*/ 80 h 513"/>
                <a:gd name="T10" fmla="*/ 148 w 390"/>
                <a:gd name="T11" fmla="*/ 125 h 513"/>
                <a:gd name="T12" fmla="*/ 0 w 390"/>
                <a:gd name="T13" fmla="*/ 125 h 513"/>
                <a:gd name="T14" fmla="*/ 0 w 390"/>
                <a:gd name="T15" fmla="*/ 195 h 513"/>
                <a:gd name="T16" fmla="*/ 125 w 390"/>
                <a:gd name="T17" fmla="*/ 320 h 513"/>
                <a:gd name="T18" fmla="*/ 0 w 390"/>
                <a:gd name="T19" fmla="*/ 443 h 513"/>
                <a:gd name="T20" fmla="*/ 0 w 390"/>
                <a:gd name="T21" fmla="*/ 513 h 513"/>
                <a:gd name="T22" fmla="*/ 390 w 390"/>
                <a:gd name="T23" fmla="*/ 513 h 513"/>
                <a:gd name="T24" fmla="*/ 390 w 390"/>
                <a:gd name="T25" fmla="*/ 125 h 513"/>
                <a:gd name="T26" fmla="*/ 240 w 390"/>
                <a:gd name="T27" fmla="*/ 125 h 513"/>
                <a:gd name="T28" fmla="*/ 240 w 390"/>
                <a:gd name="T29" fmla="*/ 80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90" h="513">
                  <a:moveTo>
                    <a:pt x="240" y="80"/>
                  </a:moveTo>
                  <a:cubicBezTo>
                    <a:pt x="244" y="70"/>
                    <a:pt x="248" y="60"/>
                    <a:pt x="248" y="51"/>
                  </a:cubicBezTo>
                  <a:cubicBezTo>
                    <a:pt x="248" y="23"/>
                    <a:pt x="224" y="0"/>
                    <a:pt x="195" y="0"/>
                  </a:cubicBezTo>
                  <a:cubicBezTo>
                    <a:pt x="165" y="0"/>
                    <a:pt x="141" y="23"/>
                    <a:pt x="141" y="51"/>
                  </a:cubicBezTo>
                  <a:cubicBezTo>
                    <a:pt x="141" y="60"/>
                    <a:pt x="145" y="70"/>
                    <a:pt x="150" y="80"/>
                  </a:cubicBezTo>
                  <a:cubicBezTo>
                    <a:pt x="158" y="98"/>
                    <a:pt x="171" y="119"/>
                    <a:pt x="148" y="125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69" y="195"/>
                    <a:pt x="125" y="251"/>
                    <a:pt x="125" y="320"/>
                  </a:cubicBezTo>
                  <a:cubicBezTo>
                    <a:pt x="125" y="388"/>
                    <a:pt x="69" y="443"/>
                    <a:pt x="0" y="443"/>
                  </a:cubicBezTo>
                  <a:cubicBezTo>
                    <a:pt x="0" y="513"/>
                    <a:pt x="0" y="513"/>
                    <a:pt x="0" y="513"/>
                  </a:cubicBezTo>
                  <a:cubicBezTo>
                    <a:pt x="390" y="513"/>
                    <a:pt x="390" y="513"/>
                    <a:pt x="390" y="513"/>
                  </a:cubicBezTo>
                  <a:cubicBezTo>
                    <a:pt x="390" y="125"/>
                    <a:pt x="390" y="125"/>
                    <a:pt x="390" y="125"/>
                  </a:cubicBezTo>
                  <a:cubicBezTo>
                    <a:pt x="240" y="125"/>
                    <a:pt x="240" y="125"/>
                    <a:pt x="240" y="125"/>
                  </a:cubicBezTo>
                  <a:cubicBezTo>
                    <a:pt x="217" y="119"/>
                    <a:pt x="232" y="98"/>
                    <a:pt x="240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de-DE" sz="1799" kern="0">
                <a:solidFill>
                  <a:srgbClr val="000000"/>
                </a:solidFill>
              </a:endParaRPr>
            </a:p>
          </p:txBody>
        </p:sp>
        <p:sp>
          <p:nvSpPr>
            <p:cNvPr id="860" name="Freeform 13">
              <a:extLst>
                <a:ext uri="{FF2B5EF4-FFF2-40B4-BE49-F238E27FC236}">
                  <a16:creationId xmlns:a16="http://schemas.microsoft.com/office/drawing/2014/main" id="{88C2C583-3D03-B4B4-FA68-73656DB4E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1201" y="1870075"/>
              <a:ext cx="476250" cy="628650"/>
            </a:xfrm>
            <a:custGeom>
              <a:avLst/>
              <a:gdLst>
                <a:gd name="T0" fmla="*/ 141 w 388"/>
                <a:gd name="T1" fmla="*/ 463 h 513"/>
                <a:gd name="T2" fmla="*/ 148 w 388"/>
                <a:gd name="T3" fmla="*/ 435 h 513"/>
                <a:gd name="T4" fmla="*/ 148 w 388"/>
                <a:gd name="T5" fmla="*/ 389 h 513"/>
                <a:gd name="T6" fmla="*/ 0 w 388"/>
                <a:gd name="T7" fmla="*/ 389 h 513"/>
                <a:gd name="T8" fmla="*/ 0 w 388"/>
                <a:gd name="T9" fmla="*/ 0 h 513"/>
                <a:gd name="T10" fmla="*/ 388 w 388"/>
                <a:gd name="T11" fmla="*/ 0 h 513"/>
                <a:gd name="T12" fmla="*/ 388 w 388"/>
                <a:gd name="T13" fmla="*/ 70 h 513"/>
                <a:gd name="T14" fmla="*/ 263 w 388"/>
                <a:gd name="T15" fmla="*/ 195 h 513"/>
                <a:gd name="T16" fmla="*/ 388 w 388"/>
                <a:gd name="T17" fmla="*/ 319 h 513"/>
                <a:gd name="T18" fmla="*/ 388 w 388"/>
                <a:gd name="T19" fmla="*/ 389 h 513"/>
                <a:gd name="T20" fmla="*/ 240 w 388"/>
                <a:gd name="T21" fmla="*/ 389 h 513"/>
                <a:gd name="T22" fmla="*/ 238 w 388"/>
                <a:gd name="T23" fmla="*/ 435 h 513"/>
                <a:gd name="T24" fmla="*/ 247 w 388"/>
                <a:gd name="T25" fmla="*/ 463 h 513"/>
                <a:gd name="T26" fmla="*/ 193 w 388"/>
                <a:gd name="T27" fmla="*/ 513 h 513"/>
                <a:gd name="T28" fmla="*/ 141 w 388"/>
                <a:gd name="T29" fmla="*/ 463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8" h="513">
                  <a:moveTo>
                    <a:pt x="141" y="463"/>
                  </a:moveTo>
                  <a:cubicBezTo>
                    <a:pt x="141" y="452"/>
                    <a:pt x="145" y="443"/>
                    <a:pt x="148" y="435"/>
                  </a:cubicBezTo>
                  <a:cubicBezTo>
                    <a:pt x="156" y="415"/>
                    <a:pt x="171" y="393"/>
                    <a:pt x="148" y="389"/>
                  </a:cubicBezTo>
                  <a:cubicBezTo>
                    <a:pt x="0" y="389"/>
                    <a:pt x="0" y="389"/>
                    <a:pt x="0" y="38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88" y="0"/>
                    <a:pt x="388" y="0"/>
                    <a:pt x="388" y="0"/>
                  </a:cubicBezTo>
                  <a:cubicBezTo>
                    <a:pt x="388" y="70"/>
                    <a:pt x="388" y="70"/>
                    <a:pt x="388" y="70"/>
                  </a:cubicBezTo>
                  <a:cubicBezTo>
                    <a:pt x="319" y="70"/>
                    <a:pt x="263" y="126"/>
                    <a:pt x="263" y="195"/>
                  </a:cubicBezTo>
                  <a:cubicBezTo>
                    <a:pt x="263" y="263"/>
                    <a:pt x="319" y="319"/>
                    <a:pt x="388" y="319"/>
                  </a:cubicBezTo>
                  <a:cubicBezTo>
                    <a:pt x="388" y="389"/>
                    <a:pt x="388" y="389"/>
                    <a:pt x="388" y="389"/>
                  </a:cubicBezTo>
                  <a:cubicBezTo>
                    <a:pt x="240" y="389"/>
                    <a:pt x="240" y="389"/>
                    <a:pt x="240" y="389"/>
                  </a:cubicBezTo>
                  <a:cubicBezTo>
                    <a:pt x="216" y="393"/>
                    <a:pt x="231" y="415"/>
                    <a:pt x="238" y="435"/>
                  </a:cubicBezTo>
                  <a:cubicBezTo>
                    <a:pt x="242" y="443"/>
                    <a:pt x="247" y="452"/>
                    <a:pt x="247" y="463"/>
                  </a:cubicBezTo>
                  <a:cubicBezTo>
                    <a:pt x="247" y="491"/>
                    <a:pt x="223" y="513"/>
                    <a:pt x="193" y="513"/>
                  </a:cubicBezTo>
                  <a:cubicBezTo>
                    <a:pt x="164" y="513"/>
                    <a:pt x="141" y="491"/>
                    <a:pt x="141" y="4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de-DE" sz="1799" kern="0">
                <a:solidFill>
                  <a:srgbClr val="000000"/>
                </a:solidFill>
              </a:endParaRPr>
            </a:p>
          </p:txBody>
        </p:sp>
        <p:sp>
          <p:nvSpPr>
            <p:cNvPr id="861" name="Freeform 14">
              <a:extLst>
                <a:ext uri="{FF2B5EF4-FFF2-40B4-BE49-F238E27FC236}">
                  <a16:creationId xmlns:a16="http://schemas.microsoft.com/office/drawing/2014/main" id="{7CE037AE-986F-8FC4-6FC3-64CABA4B2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4425" y="1870075"/>
              <a:ext cx="628650" cy="476250"/>
            </a:xfrm>
            <a:custGeom>
              <a:avLst/>
              <a:gdLst>
                <a:gd name="T0" fmla="*/ 49 w 513"/>
                <a:gd name="T1" fmla="*/ 141 h 388"/>
                <a:gd name="T2" fmla="*/ 78 w 513"/>
                <a:gd name="T3" fmla="*/ 148 h 388"/>
                <a:gd name="T4" fmla="*/ 123 w 513"/>
                <a:gd name="T5" fmla="*/ 148 h 388"/>
                <a:gd name="T6" fmla="*/ 123 w 513"/>
                <a:gd name="T7" fmla="*/ 0 h 388"/>
                <a:gd name="T8" fmla="*/ 513 w 513"/>
                <a:gd name="T9" fmla="*/ 0 h 388"/>
                <a:gd name="T10" fmla="*/ 513 w 513"/>
                <a:gd name="T11" fmla="*/ 388 h 388"/>
                <a:gd name="T12" fmla="*/ 443 w 513"/>
                <a:gd name="T13" fmla="*/ 388 h 388"/>
                <a:gd name="T14" fmla="*/ 318 w 513"/>
                <a:gd name="T15" fmla="*/ 263 h 388"/>
                <a:gd name="T16" fmla="*/ 193 w 513"/>
                <a:gd name="T17" fmla="*/ 388 h 388"/>
                <a:gd name="T18" fmla="*/ 123 w 513"/>
                <a:gd name="T19" fmla="*/ 388 h 388"/>
                <a:gd name="T20" fmla="*/ 123 w 513"/>
                <a:gd name="T21" fmla="*/ 240 h 388"/>
                <a:gd name="T22" fmla="*/ 78 w 513"/>
                <a:gd name="T23" fmla="*/ 238 h 388"/>
                <a:gd name="T24" fmla="*/ 49 w 513"/>
                <a:gd name="T25" fmla="*/ 247 h 388"/>
                <a:gd name="T26" fmla="*/ 0 w 513"/>
                <a:gd name="T27" fmla="*/ 193 h 388"/>
                <a:gd name="T28" fmla="*/ 49 w 513"/>
                <a:gd name="T29" fmla="*/ 141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13" h="388">
                  <a:moveTo>
                    <a:pt x="49" y="141"/>
                  </a:moveTo>
                  <a:cubicBezTo>
                    <a:pt x="60" y="141"/>
                    <a:pt x="70" y="145"/>
                    <a:pt x="78" y="148"/>
                  </a:cubicBezTo>
                  <a:cubicBezTo>
                    <a:pt x="97" y="156"/>
                    <a:pt x="119" y="171"/>
                    <a:pt x="123" y="148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513" y="0"/>
                    <a:pt x="513" y="0"/>
                    <a:pt x="513" y="0"/>
                  </a:cubicBezTo>
                  <a:cubicBezTo>
                    <a:pt x="513" y="388"/>
                    <a:pt x="513" y="388"/>
                    <a:pt x="513" y="388"/>
                  </a:cubicBezTo>
                  <a:cubicBezTo>
                    <a:pt x="443" y="388"/>
                    <a:pt x="443" y="388"/>
                    <a:pt x="443" y="388"/>
                  </a:cubicBezTo>
                  <a:cubicBezTo>
                    <a:pt x="443" y="319"/>
                    <a:pt x="386" y="263"/>
                    <a:pt x="318" y="263"/>
                  </a:cubicBezTo>
                  <a:cubicBezTo>
                    <a:pt x="249" y="263"/>
                    <a:pt x="193" y="319"/>
                    <a:pt x="193" y="388"/>
                  </a:cubicBezTo>
                  <a:cubicBezTo>
                    <a:pt x="123" y="388"/>
                    <a:pt x="123" y="388"/>
                    <a:pt x="123" y="388"/>
                  </a:cubicBezTo>
                  <a:cubicBezTo>
                    <a:pt x="123" y="240"/>
                    <a:pt x="123" y="240"/>
                    <a:pt x="123" y="240"/>
                  </a:cubicBezTo>
                  <a:cubicBezTo>
                    <a:pt x="119" y="216"/>
                    <a:pt x="97" y="232"/>
                    <a:pt x="78" y="238"/>
                  </a:cubicBezTo>
                  <a:cubicBezTo>
                    <a:pt x="70" y="242"/>
                    <a:pt x="60" y="247"/>
                    <a:pt x="49" y="247"/>
                  </a:cubicBezTo>
                  <a:cubicBezTo>
                    <a:pt x="22" y="247"/>
                    <a:pt x="0" y="223"/>
                    <a:pt x="0" y="193"/>
                  </a:cubicBezTo>
                  <a:cubicBezTo>
                    <a:pt x="0" y="164"/>
                    <a:pt x="22" y="141"/>
                    <a:pt x="49" y="1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de-DE" sz="1799" kern="0">
                <a:solidFill>
                  <a:srgbClr val="000000"/>
                </a:solidFill>
              </a:endParaRPr>
            </a:p>
          </p:txBody>
        </p:sp>
      </p:grpSp>
      <p:grpSp>
        <p:nvGrpSpPr>
          <p:cNvPr id="862" name="Group 58">
            <a:extLst>
              <a:ext uri="{FF2B5EF4-FFF2-40B4-BE49-F238E27FC236}">
                <a16:creationId xmlns:a16="http://schemas.microsoft.com/office/drawing/2014/main" id="{5DC2408A-3573-0AFB-EBFB-F9294106A87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67650" y="3072903"/>
            <a:ext cx="538271" cy="538566"/>
            <a:chOff x="2933" y="1248"/>
            <a:chExt cx="1821" cy="1822"/>
          </a:xfrm>
          <a:solidFill>
            <a:srgbClr val="FFFFFF"/>
          </a:solidFill>
        </p:grpSpPr>
        <p:sp>
          <p:nvSpPr>
            <p:cNvPr id="863" name="Rectangle 59">
              <a:extLst>
                <a:ext uri="{FF2B5EF4-FFF2-40B4-BE49-F238E27FC236}">
                  <a16:creationId xmlns:a16="http://schemas.microsoft.com/office/drawing/2014/main" id="{EA721F6C-CF20-EC80-EC08-EDD0EDF93A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8" y="1943"/>
              <a:ext cx="430" cy="43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99" kern="0">
                <a:solidFill>
                  <a:srgbClr val="000000"/>
                </a:solidFill>
              </a:endParaRPr>
            </a:p>
          </p:txBody>
        </p:sp>
        <p:sp>
          <p:nvSpPr>
            <p:cNvPr id="864" name="Freeform 60">
              <a:extLst>
                <a:ext uri="{FF2B5EF4-FFF2-40B4-BE49-F238E27FC236}">
                  <a16:creationId xmlns:a16="http://schemas.microsoft.com/office/drawing/2014/main" id="{9E44C9D8-3401-B50A-2545-2C79172CD73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7" y="2479"/>
              <a:ext cx="593" cy="591"/>
            </a:xfrm>
            <a:custGeom>
              <a:avLst/>
              <a:gdLst>
                <a:gd name="T0" fmla="*/ 234 w 593"/>
                <a:gd name="T1" fmla="*/ 224 h 591"/>
                <a:gd name="T2" fmla="*/ 244 w 593"/>
                <a:gd name="T3" fmla="*/ 591 h 591"/>
                <a:gd name="T4" fmla="*/ 348 w 593"/>
                <a:gd name="T5" fmla="*/ 591 h 591"/>
                <a:gd name="T6" fmla="*/ 357 w 593"/>
                <a:gd name="T7" fmla="*/ 224 h 591"/>
                <a:gd name="T8" fmla="*/ 522 w 593"/>
                <a:gd name="T9" fmla="*/ 369 h 591"/>
                <a:gd name="T10" fmla="*/ 593 w 593"/>
                <a:gd name="T11" fmla="*/ 298 h 591"/>
                <a:gd name="T12" fmla="*/ 296 w 593"/>
                <a:gd name="T13" fmla="*/ 0 h 591"/>
                <a:gd name="T14" fmla="*/ 0 w 593"/>
                <a:gd name="T15" fmla="*/ 298 h 591"/>
                <a:gd name="T16" fmla="*/ 71 w 593"/>
                <a:gd name="T17" fmla="*/ 369 h 591"/>
                <a:gd name="T18" fmla="*/ 234 w 593"/>
                <a:gd name="T19" fmla="*/ 224 h 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3" h="591">
                  <a:moveTo>
                    <a:pt x="234" y="224"/>
                  </a:moveTo>
                  <a:lnTo>
                    <a:pt x="244" y="591"/>
                  </a:lnTo>
                  <a:lnTo>
                    <a:pt x="348" y="591"/>
                  </a:lnTo>
                  <a:lnTo>
                    <a:pt x="357" y="224"/>
                  </a:lnTo>
                  <a:lnTo>
                    <a:pt x="522" y="369"/>
                  </a:lnTo>
                  <a:lnTo>
                    <a:pt x="593" y="298"/>
                  </a:lnTo>
                  <a:lnTo>
                    <a:pt x="296" y="0"/>
                  </a:lnTo>
                  <a:lnTo>
                    <a:pt x="0" y="298"/>
                  </a:lnTo>
                  <a:lnTo>
                    <a:pt x="71" y="369"/>
                  </a:lnTo>
                  <a:lnTo>
                    <a:pt x="234" y="2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99" kern="0">
                <a:solidFill>
                  <a:srgbClr val="000000"/>
                </a:solidFill>
              </a:endParaRPr>
            </a:p>
          </p:txBody>
        </p:sp>
        <p:sp>
          <p:nvSpPr>
            <p:cNvPr id="865" name="Freeform 61">
              <a:extLst>
                <a:ext uri="{FF2B5EF4-FFF2-40B4-BE49-F238E27FC236}">
                  <a16:creationId xmlns:a16="http://schemas.microsoft.com/office/drawing/2014/main" id="{50BDC5CE-2877-9E5B-1422-18EDFAC8CDB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7" y="1248"/>
              <a:ext cx="593" cy="589"/>
            </a:xfrm>
            <a:custGeom>
              <a:avLst/>
              <a:gdLst>
                <a:gd name="T0" fmla="*/ 357 w 593"/>
                <a:gd name="T1" fmla="*/ 364 h 589"/>
                <a:gd name="T2" fmla="*/ 348 w 593"/>
                <a:gd name="T3" fmla="*/ 0 h 589"/>
                <a:gd name="T4" fmla="*/ 244 w 593"/>
                <a:gd name="T5" fmla="*/ 0 h 589"/>
                <a:gd name="T6" fmla="*/ 234 w 593"/>
                <a:gd name="T7" fmla="*/ 364 h 589"/>
                <a:gd name="T8" fmla="*/ 71 w 593"/>
                <a:gd name="T9" fmla="*/ 223 h 589"/>
                <a:gd name="T10" fmla="*/ 0 w 593"/>
                <a:gd name="T11" fmla="*/ 293 h 589"/>
                <a:gd name="T12" fmla="*/ 296 w 593"/>
                <a:gd name="T13" fmla="*/ 589 h 589"/>
                <a:gd name="T14" fmla="*/ 593 w 593"/>
                <a:gd name="T15" fmla="*/ 293 h 589"/>
                <a:gd name="T16" fmla="*/ 522 w 593"/>
                <a:gd name="T17" fmla="*/ 223 h 589"/>
                <a:gd name="T18" fmla="*/ 357 w 593"/>
                <a:gd name="T19" fmla="*/ 364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3" h="589">
                  <a:moveTo>
                    <a:pt x="357" y="364"/>
                  </a:moveTo>
                  <a:lnTo>
                    <a:pt x="348" y="0"/>
                  </a:lnTo>
                  <a:lnTo>
                    <a:pt x="244" y="0"/>
                  </a:lnTo>
                  <a:lnTo>
                    <a:pt x="234" y="364"/>
                  </a:lnTo>
                  <a:lnTo>
                    <a:pt x="71" y="223"/>
                  </a:lnTo>
                  <a:lnTo>
                    <a:pt x="0" y="293"/>
                  </a:lnTo>
                  <a:lnTo>
                    <a:pt x="296" y="589"/>
                  </a:lnTo>
                  <a:lnTo>
                    <a:pt x="593" y="293"/>
                  </a:lnTo>
                  <a:lnTo>
                    <a:pt x="522" y="223"/>
                  </a:lnTo>
                  <a:lnTo>
                    <a:pt x="357" y="3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99" kern="0">
                <a:solidFill>
                  <a:srgbClr val="000000"/>
                </a:solidFill>
              </a:endParaRPr>
            </a:p>
          </p:txBody>
        </p:sp>
        <p:sp>
          <p:nvSpPr>
            <p:cNvPr id="866" name="Freeform 62">
              <a:extLst>
                <a:ext uri="{FF2B5EF4-FFF2-40B4-BE49-F238E27FC236}">
                  <a16:creationId xmlns:a16="http://schemas.microsoft.com/office/drawing/2014/main" id="{6894CEA2-4FF1-8C04-BBE1-2C40D759EE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4" y="1863"/>
              <a:ext cx="590" cy="592"/>
            </a:xfrm>
            <a:custGeom>
              <a:avLst/>
              <a:gdLst>
                <a:gd name="T0" fmla="*/ 297 w 590"/>
                <a:gd name="T1" fmla="*/ 592 h 592"/>
                <a:gd name="T2" fmla="*/ 368 w 590"/>
                <a:gd name="T3" fmla="*/ 522 h 592"/>
                <a:gd name="T4" fmla="*/ 224 w 590"/>
                <a:gd name="T5" fmla="*/ 356 h 592"/>
                <a:gd name="T6" fmla="*/ 590 w 590"/>
                <a:gd name="T7" fmla="*/ 347 h 592"/>
                <a:gd name="T8" fmla="*/ 590 w 590"/>
                <a:gd name="T9" fmla="*/ 243 h 592"/>
                <a:gd name="T10" fmla="*/ 224 w 590"/>
                <a:gd name="T11" fmla="*/ 233 h 592"/>
                <a:gd name="T12" fmla="*/ 368 w 590"/>
                <a:gd name="T13" fmla="*/ 70 h 592"/>
                <a:gd name="T14" fmla="*/ 297 w 590"/>
                <a:gd name="T15" fmla="*/ 0 h 592"/>
                <a:gd name="T16" fmla="*/ 0 w 590"/>
                <a:gd name="T17" fmla="*/ 295 h 592"/>
                <a:gd name="T18" fmla="*/ 297 w 590"/>
                <a:gd name="T19" fmla="*/ 592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0" h="592">
                  <a:moveTo>
                    <a:pt x="297" y="592"/>
                  </a:moveTo>
                  <a:lnTo>
                    <a:pt x="368" y="522"/>
                  </a:lnTo>
                  <a:lnTo>
                    <a:pt x="224" y="356"/>
                  </a:lnTo>
                  <a:lnTo>
                    <a:pt x="590" y="347"/>
                  </a:lnTo>
                  <a:lnTo>
                    <a:pt x="590" y="243"/>
                  </a:lnTo>
                  <a:lnTo>
                    <a:pt x="224" y="233"/>
                  </a:lnTo>
                  <a:lnTo>
                    <a:pt x="368" y="70"/>
                  </a:lnTo>
                  <a:lnTo>
                    <a:pt x="297" y="0"/>
                  </a:lnTo>
                  <a:lnTo>
                    <a:pt x="0" y="295"/>
                  </a:lnTo>
                  <a:lnTo>
                    <a:pt x="297" y="59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99" kern="0">
                <a:solidFill>
                  <a:srgbClr val="000000"/>
                </a:solidFill>
              </a:endParaRPr>
            </a:p>
          </p:txBody>
        </p:sp>
        <p:sp>
          <p:nvSpPr>
            <p:cNvPr id="867" name="Freeform 63">
              <a:extLst>
                <a:ext uri="{FF2B5EF4-FFF2-40B4-BE49-F238E27FC236}">
                  <a16:creationId xmlns:a16="http://schemas.microsoft.com/office/drawing/2014/main" id="{14CF8585-FBFA-9D01-60BA-B7BA00ADE44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3" y="1863"/>
              <a:ext cx="588" cy="592"/>
            </a:xfrm>
            <a:custGeom>
              <a:avLst/>
              <a:gdLst>
                <a:gd name="T0" fmla="*/ 222 w 588"/>
                <a:gd name="T1" fmla="*/ 522 h 592"/>
                <a:gd name="T2" fmla="*/ 293 w 588"/>
                <a:gd name="T3" fmla="*/ 592 h 592"/>
                <a:gd name="T4" fmla="*/ 588 w 588"/>
                <a:gd name="T5" fmla="*/ 295 h 592"/>
                <a:gd name="T6" fmla="*/ 293 w 588"/>
                <a:gd name="T7" fmla="*/ 0 h 592"/>
                <a:gd name="T8" fmla="*/ 222 w 588"/>
                <a:gd name="T9" fmla="*/ 70 h 592"/>
                <a:gd name="T10" fmla="*/ 364 w 588"/>
                <a:gd name="T11" fmla="*/ 233 h 592"/>
                <a:gd name="T12" fmla="*/ 0 w 588"/>
                <a:gd name="T13" fmla="*/ 243 h 592"/>
                <a:gd name="T14" fmla="*/ 0 w 588"/>
                <a:gd name="T15" fmla="*/ 347 h 592"/>
                <a:gd name="T16" fmla="*/ 364 w 588"/>
                <a:gd name="T17" fmla="*/ 356 h 592"/>
                <a:gd name="T18" fmla="*/ 222 w 588"/>
                <a:gd name="T19" fmla="*/ 522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88" h="592">
                  <a:moveTo>
                    <a:pt x="222" y="522"/>
                  </a:moveTo>
                  <a:lnTo>
                    <a:pt x="293" y="592"/>
                  </a:lnTo>
                  <a:lnTo>
                    <a:pt x="588" y="295"/>
                  </a:lnTo>
                  <a:lnTo>
                    <a:pt x="293" y="0"/>
                  </a:lnTo>
                  <a:lnTo>
                    <a:pt x="222" y="70"/>
                  </a:lnTo>
                  <a:lnTo>
                    <a:pt x="364" y="233"/>
                  </a:lnTo>
                  <a:lnTo>
                    <a:pt x="0" y="243"/>
                  </a:lnTo>
                  <a:lnTo>
                    <a:pt x="0" y="347"/>
                  </a:lnTo>
                  <a:lnTo>
                    <a:pt x="364" y="356"/>
                  </a:lnTo>
                  <a:lnTo>
                    <a:pt x="222" y="52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99" kern="0">
                <a:solidFill>
                  <a:srgbClr val="000000"/>
                </a:solidFill>
              </a:endParaRPr>
            </a:p>
          </p:txBody>
        </p:sp>
      </p:grpSp>
      <p:sp>
        <p:nvSpPr>
          <p:cNvPr id="868" name="Freeform 40">
            <a:extLst>
              <a:ext uri="{FF2B5EF4-FFF2-40B4-BE49-F238E27FC236}">
                <a16:creationId xmlns:a16="http://schemas.microsoft.com/office/drawing/2014/main" id="{DB8956D6-7185-602A-79CC-C4CBF21E1793}"/>
              </a:ext>
            </a:extLst>
          </p:cNvPr>
          <p:cNvSpPr>
            <a:spLocks/>
          </p:cNvSpPr>
          <p:nvPr/>
        </p:nvSpPr>
        <p:spPr bwMode="auto">
          <a:xfrm rot="10800000">
            <a:off x="6140321" y="4367888"/>
            <a:ext cx="360564" cy="222524"/>
          </a:xfrm>
          <a:custGeom>
            <a:avLst/>
            <a:gdLst>
              <a:gd name="T0" fmla="*/ 839 w 1066"/>
              <a:gd name="T1" fmla="*/ 250 h 658"/>
              <a:gd name="T2" fmla="*/ 1021 w 1066"/>
              <a:gd name="T3" fmla="*/ 431 h 658"/>
              <a:gd name="T4" fmla="*/ 1021 w 1066"/>
              <a:gd name="T5" fmla="*/ 658 h 658"/>
              <a:gd name="T6" fmla="*/ 1066 w 1066"/>
              <a:gd name="T7" fmla="*/ 658 h 658"/>
              <a:gd name="T8" fmla="*/ 1066 w 1066"/>
              <a:gd name="T9" fmla="*/ 431 h 658"/>
              <a:gd name="T10" fmla="*/ 839 w 1066"/>
              <a:gd name="T11" fmla="*/ 204 h 658"/>
              <a:gd name="T12" fmla="*/ 567 w 1066"/>
              <a:gd name="T13" fmla="*/ 204 h 658"/>
              <a:gd name="T14" fmla="*/ 567 w 1066"/>
              <a:gd name="T15" fmla="*/ 136 h 658"/>
              <a:gd name="T16" fmla="*/ 522 w 1066"/>
              <a:gd name="T17" fmla="*/ 136 h 658"/>
              <a:gd name="T18" fmla="*/ 522 w 1066"/>
              <a:gd name="T19" fmla="*/ 68 h 658"/>
              <a:gd name="T20" fmla="*/ 363 w 1066"/>
              <a:gd name="T21" fmla="*/ 68 h 658"/>
              <a:gd name="T22" fmla="*/ 363 w 1066"/>
              <a:gd name="T23" fmla="*/ 0 h 658"/>
              <a:gd name="T24" fmla="*/ 182 w 1066"/>
              <a:gd name="T25" fmla="*/ 0 h 658"/>
              <a:gd name="T26" fmla="*/ 182 w 1066"/>
              <a:gd name="T27" fmla="*/ 91 h 658"/>
              <a:gd name="T28" fmla="*/ 34 w 1066"/>
              <a:gd name="T29" fmla="*/ 91 h 658"/>
              <a:gd name="T30" fmla="*/ 0 w 1066"/>
              <a:gd name="T31" fmla="*/ 125 h 658"/>
              <a:gd name="T32" fmla="*/ 0 w 1066"/>
              <a:gd name="T33" fmla="*/ 125 h 658"/>
              <a:gd name="T34" fmla="*/ 34 w 1066"/>
              <a:gd name="T35" fmla="*/ 159 h 658"/>
              <a:gd name="T36" fmla="*/ 182 w 1066"/>
              <a:gd name="T37" fmla="*/ 159 h 658"/>
              <a:gd name="T38" fmla="*/ 182 w 1066"/>
              <a:gd name="T39" fmla="*/ 295 h 658"/>
              <a:gd name="T40" fmla="*/ 34 w 1066"/>
              <a:gd name="T41" fmla="*/ 295 h 658"/>
              <a:gd name="T42" fmla="*/ 0 w 1066"/>
              <a:gd name="T43" fmla="*/ 329 h 658"/>
              <a:gd name="T44" fmla="*/ 0 w 1066"/>
              <a:gd name="T45" fmla="*/ 329 h 658"/>
              <a:gd name="T46" fmla="*/ 34 w 1066"/>
              <a:gd name="T47" fmla="*/ 363 h 658"/>
              <a:gd name="T48" fmla="*/ 182 w 1066"/>
              <a:gd name="T49" fmla="*/ 363 h 658"/>
              <a:gd name="T50" fmla="*/ 182 w 1066"/>
              <a:gd name="T51" fmla="*/ 454 h 658"/>
              <a:gd name="T52" fmla="*/ 363 w 1066"/>
              <a:gd name="T53" fmla="*/ 454 h 658"/>
              <a:gd name="T54" fmla="*/ 363 w 1066"/>
              <a:gd name="T55" fmla="*/ 386 h 658"/>
              <a:gd name="T56" fmla="*/ 522 w 1066"/>
              <a:gd name="T57" fmla="*/ 386 h 658"/>
              <a:gd name="T58" fmla="*/ 522 w 1066"/>
              <a:gd name="T59" fmla="*/ 318 h 658"/>
              <a:gd name="T60" fmla="*/ 567 w 1066"/>
              <a:gd name="T61" fmla="*/ 318 h 658"/>
              <a:gd name="T62" fmla="*/ 567 w 1066"/>
              <a:gd name="T63" fmla="*/ 250 h 658"/>
              <a:gd name="T64" fmla="*/ 839 w 1066"/>
              <a:gd name="T65" fmla="*/ 250 h 6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066" h="658">
                <a:moveTo>
                  <a:pt x="839" y="250"/>
                </a:moveTo>
                <a:cubicBezTo>
                  <a:pt x="939" y="250"/>
                  <a:pt x="1021" y="331"/>
                  <a:pt x="1021" y="431"/>
                </a:cubicBezTo>
                <a:cubicBezTo>
                  <a:pt x="1021" y="658"/>
                  <a:pt x="1021" y="658"/>
                  <a:pt x="1021" y="658"/>
                </a:cubicBezTo>
                <a:cubicBezTo>
                  <a:pt x="1066" y="658"/>
                  <a:pt x="1066" y="658"/>
                  <a:pt x="1066" y="658"/>
                </a:cubicBezTo>
                <a:cubicBezTo>
                  <a:pt x="1066" y="431"/>
                  <a:pt x="1066" y="431"/>
                  <a:pt x="1066" y="431"/>
                </a:cubicBezTo>
                <a:cubicBezTo>
                  <a:pt x="1066" y="306"/>
                  <a:pt x="964" y="204"/>
                  <a:pt x="839" y="204"/>
                </a:cubicBezTo>
                <a:cubicBezTo>
                  <a:pt x="567" y="204"/>
                  <a:pt x="567" y="204"/>
                  <a:pt x="567" y="204"/>
                </a:cubicBezTo>
                <a:cubicBezTo>
                  <a:pt x="567" y="136"/>
                  <a:pt x="567" y="136"/>
                  <a:pt x="567" y="136"/>
                </a:cubicBezTo>
                <a:cubicBezTo>
                  <a:pt x="522" y="136"/>
                  <a:pt x="522" y="136"/>
                  <a:pt x="522" y="136"/>
                </a:cubicBezTo>
                <a:cubicBezTo>
                  <a:pt x="522" y="68"/>
                  <a:pt x="522" y="68"/>
                  <a:pt x="522" y="68"/>
                </a:cubicBezTo>
                <a:cubicBezTo>
                  <a:pt x="363" y="68"/>
                  <a:pt x="363" y="68"/>
                  <a:pt x="363" y="68"/>
                </a:cubicBezTo>
                <a:cubicBezTo>
                  <a:pt x="363" y="0"/>
                  <a:pt x="363" y="0"/>
                  <a:pt x="363" y="0"/>
                </a:cubicBezTo>
                <a:cubicBezTo>
                  <a:pt x="182" y="0"/>
                  <a:pt x="182" y="0"/>
                  <a:pt x="182" y="0"/>
                </a:cubicBezTo>
                <a:cubicBezTo>
                  <a:pt x="182" y="91"/>
                  <a:pt x="182" y="91"/>
                  <a:pt x="182" y="91"/>
                </a:cubicBezTo>
                <a:cubicBezTo>
                  <a:pt x="34" y="91"/>
                  <a:pt x="34" y="91"/>
                  <a:pt x="34" y="91"/>
                </a:cubicBezTo>
                <a:cubicBezTo>
                  <a:pt x="15" y="91"/>
                  <a:pt x="0" y="106"/>
                  <a:pt x="0" y="125"/>
                </a:cubicBezTo>
                <a:cubicBezTo>
                  <a:pt x="0" y="125"/>
                  <a:pt x="0" y="125"/>
                  <a:pt x="0" y="125"/>
                </a:cubicBezTo>
                <a:cubicBezTo>
                  <a:pt x="0" y="144"/>
                  <a:pt x="15" y="159"/>
                  <a:pt x="34" y="159"/>
                </a:cubicBezTo>
                <a:cubicBezTo>
                  <a:pt x="182" y="159"/>
                  <a:pt x="182" y="159"/>
                  <a:pt x="182" y="159"/>
                </a:cubicBezTo>
                <a:cubicBezTo>
                  <a:pt x="182" y="295"/>
                  <a:pt x="182" y="295"/>
                  <a:pt x="182" y="295"/>
                </a:cubicBezTo>
                <a:cubicBezTo>
                  <a:pt x="34" y="295"/>
                  <a:pt x="34" y="295"/>
                  <a:pt x="34" y="295"/>
                </a:cubicBezTo>
                <a:cubicBezTo>
                  <a:pt x="15" y="295"/>
                  <a:pt x="0" y="310"/>
                  <a:pt x="0" y="329"/>
                </a:cubicBezTo>
                <a:cubicBezTo>
                  <a:pt x="0" y="329"/>
                  <a:pt x="0" y="329"/>
                  <a:pt x="0" y="329"/>
                </a:cubicBezTo>
                <a:cubicBezTo>
                  <a:pt x="0" y="348"/>
                  <a:pt x="15" y="363"/>
                  <a:pt x="34" y="363"/>
                </a:cubicBezTo>
                <a:cubicBezTo>
                  <a:pt x="182" y="363"/>
                  <a:pt x="182" y="363"/>
                  <a:pt x="182" y="363"/>
                </a:cubicBezTo>
                <a:cubicBezTo>
                  <a:pt x="182" y="454"/>
                  <a:pt x="182" y="454"/>
                  <a:pt x="182" y="454"/>
                </a:cubicBezTo>
                <a:cubicBezTo>
                  <a:pt x="363" y="454"/>
                  <a:pt x="363" y="454"/>
                  <a:pt x="363" y="454"/>
                </a:cubicBezTo>
                <a:cubicBezTo>
                  <a:pt x="363" y="386"/>
                  <a:pt x="363" y="386"/>
                  <a:pt x="363" y="386"/>
                </a:cubicBezTo>
                <a:cubicBezTo>
                  <a:pt x="522" y="386"/>
                  <a:pt x="522" y="386"/>
                  <a:pt x="522" y="386"/>
                </a:cubicBezTo>
                <a:cubicBezTo>
                  <a:pt x="522" y="318"/>
                  <a:pt x="522" y="318"/>
                  <a:pt x="522" y="318"/>
                </a:cubicBezTo>
                <a:cubicBezTo>
                  <a:pt x="567" y="318"/>
                  <a:pt x="567" y="318"/>
                  <a:pt x="567" y="318"/>
                </a:cubicBezTo>
                <a:cubicBezTo>
                  <a:pt x="567" y="250"/>
                  <a:pt x="567" y="250"/>
                  <a:pt x="567" y="250"/>
                </a:cubicBezTo>
                <a:lnTo>
                  <a:pt x="839" y="25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110000"/>
              </a:lnSpc>
              <a:spcBef>
                <a:spcPct val="0"/>
              </a:spcBef>
              <a:defRPr/>
            </a:pPr>
            <a:endParaRPr lang="en-US" sz="1399" kern="140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873" name="TextBox 83">
            <a:extLst>
              <a:ext uri="{FF2B5EF4-FFF2-40B4-BE49-F238E27FC236}">
                <a16:creationId xmlns:a16="http://schemas.microsoft.com/office/drawing/2014/main" id="{12FCECAA-3873-063D-B77E-4603B119BC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2612" y="2792206"/>
            <a:ext cx="5804736" cy="298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de-DE"/>
            </a:defPPr>
            <a:lvl1pPr algn="ctr" eaLnBrk="1" hangingPunct="1">
              <a:buClr>
                <a:srgbClr val="949EAA"/>
              </a:buClr>
              <a:defRPr sz="1100" b="1">
                <a:solidFill>
                  <a:srgbClr val="00646E"/>
                </a:solidFill>
                <a:latin typeface="Arial" charset="0"/>
                <a:ea typeface="宋体" pitchFamily="2" charset="-122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defTabSz="91348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altLang="en-US" sz="1298" kern="0" dirty="0">
              <a:solidFill>
                <a:srgbClr val="FFFFFF"/>
              </a:solidFill>
            </a:endParaRPr>
          </a:p>
        </p:txBody>
      </p:sp>
      <p:sp>
        <p:nvSpPr>
          <p:cNvPr id="875" name="TextBox 83">
            <a:extLst>
              <a:ext uri="{FF2B5EF4-FFF2-40B4-BE49-F238E27FC236}">
                <a16:creationId xmlns:a16="http://schemas.microsoft.com/office/drawing/2014/main" id="{9409D49D-F497-C08C-3414-9EE33F2F0C1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4696" y="4205618"/>
            <a:ext cx="4698487" cy="298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de-DE"/>
            </a:defPPr>
            <a:lvl1pPr algn="ctr" eaLnBrk="1" hangingPunct="1">
              <a:buClr>
                <a:srgbClr val="949EAA"/>
              </a:buClr>
              <a:defRPr sz="1100" b="1">
                <a:solidFill>
                  <a:srgbClr val="00646E"/>
                </a:solidFill>
                <a:latin typeface="Arial" charset="0"/>
                <a:ea typeface="宋体" pitchFamily="2" charset="-122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defTabSz="91348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en-US" sz="1298" kern="0" dirty="0">
                <a:solidFill>
                  <a:srgbClr val="FFFFFF"/>
                </a:solidFill>
                <a:latin typeface="Arial" pitchFamily="34" charset="0"/>
                <a:ea typeface="ＭＳ Ｐゴシック" charset="-128"/>
              </a:rPr>
              <a:t>               Connectivity</a:t>
            </a:r>
            <a:endParaRPr lang="en-US" altLang="en-US" sz="1298" kern="0" dirty="0">
              <a:solidFill>
                <a:srgbClr val="FFFFFF"/>
              </a:solidFill>
            </a:endParaRPr>
          </a:p>
        </p:txBody>
      </p:sp>
      <p:grpSp>
        <p:nvGrpSpPr>
          <p:cNvPr id="887" name="Group 886">
            <a:extLst>
              <a:ext uri="{FF2B5EF4-FFF2-40B4-BE49-F238E27FC236}">
                <a16:creationId xmlns:a16="http://schemas.microsoft.com/office/drawing/2014/main" id="{F3A3E80E-496A-09BC-4A7F-6217BD514074}"/>
              </a:ext>
            </a:extLst>
          </p:cNvPr>
          <p:cNvGrpSpPr/>
          <p:nvPr/>
        </p:nvGrpSpPr>
        <p:grpSpPr>
          <a:xfrm>
            <a:off x="120893" y="4678430"/>
            <a:ext cx="5765357" cy="1029238"/>
            <a:chOff x="635443" y="5513701"/>
            <a:chExt cx="10827247" cy="1422040"/>
          </a:xfrm>
        </p:grpSpPr>
        <p:sp>
          <p:nvSpPr>
            <p:cNvPr id="32" name="Down Arrow 4">
              <a:extLst>
                <a:ext uri="{FF2B5EF4-FFF2-40B4-BE49-F238E27FC236}">
                  <a16:creationId xmlns:a16="http://schemas.microsoft.com/office/drawing/2014/main" id="{9F57E5A9-68F4-55E3-76F1-7CC669C74733}"/>
                </a:ext>
              </a:extLst>
            </p:cNvPr>
            <p:cNvSpPr/>
            <p:nvPr/>
          </p:nvSpPr>
          <p:spPr bwMode="auto">
            <a:xfrm flipV="1">
              <a:off x="651497" y="5932811"/>
              <a:ext cx="10811193" cy="903693"/>
            </a:xfrm>
            <a:prstGeom prst="downArrow">
              <a:avLst>
                <a:gd name="adj1" fmla="val 50000"/>
                <a:gd name="adj2" fmla="val 100000"/>
              </a:avLst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00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grpSp>
          <p:nvGrpSpPr>
            <p:cNvPr id="33" name="Gruppieren 2">
              <a:extLst>
                <a:ext uri="{FF2B5EF4-FFF2-40B4-BE49-F238E27FC236}">
                  <a16:creationId xmlns:a16="http://schemas.microsoft.com/office/drawing/2014/main" id="{608E5190-93DA-BC43-D1CD-583EA7CFA4D9}"/>
                </a:ext>
              </a:extLst>
            </p:cNvPr>
            <p:cNvGrpSpPr/>
            <p:nvPr/>
          </p:nvGrpSpPr>
          <p:grpSpPr>
            <a:xfrm>
              <a:off x="900233" y="5528698"/>
              <a:ext cx="4335028" cy="1394352"/>
              <a:chOff x="667960" y="3350946"/>
              <a:chExt cx="11591926" cy="3728517"/>
            </a:xfrm>
          </p:grpSpPr>
          <p:sp>
            <p:nvSpPr>
              <p:cNvPr id="34" name="Line 8">
                <a:extLst>
                  <a:ext uri="{FF2B5EF4-FFF2-40B4-BE49-F238E27FC236}">
                    <a16:creationId xmlns:a16="http://schemas.microsoft.com/office/drawing/2014/main" id="{F19E3257-C911-4CDB-9671-D8F8C43140A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645410" y="5893530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5" name="Line 9">
                <a:extLst>
                  <a:ext uri="{FF2B5EF4-FFF2-40B4-BE49-F238E27FC236}">
                    <a16:creationId xmlns:a16="http://schemas.microsoft.com/office/drawing/2014/main" id="{590CC065-4DCA-D7B7-2FA7-A60B081FBB3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645410" y="5893530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6" name="Freeform 23">
                <a:extLst>
                  <a:ext uri="{FF2B5EF4-FFF2-40B4-BE49-F238E27FC236}">
                    <a16:creationId xmlns:a16="http://schemas.microsoft.com/office/drawing/2014/main" id="{6E0FEC19-A353-54ED-2737-C4E24E4C23A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96082" y="6244022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8 h 32"/>
                  <a:gd name="T14" fmla="*/ 16 w 21"/>
                  <a:gd name="T15" fmla="*/ 16 h 32"/>
                  <a:gd name="T16" fmla="*/ 11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1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1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7" name="Freeform 24">
                <a:extLst>
                  <a:ext uri="{FF2B5EF4-FFF2-40B4-BE49-F238E27FC236}">
                    <a16:creationId xmlns:a16="http://schemas.microsoft.com/office/drawing/2014/main" id="{2A092B41-81ED-01A3-2B00-11B0310202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96082" y="6435886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5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8" name="Freeform 25">
                <a:extLst>
                  <a:ext uri="{FF2B5EF4-FFF2-40B4-BE49-F238E27FC236}">
                    <a16:creationId xmlns:a16="http://schemas.microsoft.com/office/drawing/2014/main" id="{B1BE8BFB-81B7-56C9-C0CD-78F7BCDB99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9103" y="6818104"/>
                <a:ext cx="64962" cy="11028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2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2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9" name="Freeform 43">
                <a:extLst>
                  <a:ext uri="{FF2B5EF4-FFF2-40B4-BE49-F238E27FC236}">
                    <a16:creationId xmlns:a16="http://schemas.microsoft.com/office/drawing/2014/main" id="{715969C7-A199-0A00-902D-89E6DA87186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7960" y="6443440"/>
                <a:ext cx="63451" cy="9366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5" y="0"/>
                      <a:pt x="18" y="5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0" name="Freeform 44">
                <a:extLst>
                  <a:ext uri="{FF2B5EF4-FFF2-40B4-BE49-F238E27FC236}">
                    <a16:creationId xmlns:a16="http://schemas.microsoft.com/office/drawing/2014/main" id="{6A47D649-FA7E-D5D3-71BF-387E989B30F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7960" y="6597536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1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1" name="Freeform 45">
                <a:extLst>
                  <a:ext uri="{FF2B5EF4-FFF2-40B4-BE49-F238E27FC236}">
                    <a16:creationId xmlns:a16="http://schemas.microsoft.com/office/drawing/2014/main" id="{8E7098C6-8C5C-9D3B-18F9-10F2C3C707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0981" y="6904216"/>
                <a:ext cx="49855" cy="89134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49 h 59"/>
                  <a:gd name="T20" fmla="*/ 17 w 33"/>
                  <a:gd name="T21" fmla="*/ 49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2" name="Freeform 63">
                <a:extLst>
                  <a:ext uri="{FF2B5EF4-FFF2-40B4-BE49-F238E27FC236}">
                    <a16:creationId xmlns:a16="http://schemas.microsoft.com/office/drawing/2014/main" id="{3D3453D1-BFB4-3EEA-45F1-1C94CCA9F93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98397" y="6443440"/>
                <a:ext cx="60430" cy="9366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4" y="0"/>
                      <a:pt x="17" y="5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3" name="Freeform 64">
                <a:extLst>
                  <a:ext uri="{FF2B5EF4-FFF2-40B4-BE49-F238E27FC236}">
                    <a16:creationId xmlns:a16="http://schemas.microsoft.com/office/drawing/2014/main" id="{2D61F99E-3E30-D38E-AFE5-19EEC7BED6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98397" y="6597536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1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4" name="Freeform 65">
                <a:extLst>
                  <a:ext uri="{FF2B5EF4-FFF2-40B4-BE49-F238E27FC236}">
                    <a16:creationId xmlns:a16="http://schemas.microsoft.com/office/drawing/2014/main" id="{173DE645-51BE-EA6A-F0B9-B2D0D38140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2929" y="6904216"/>
                <a:ext cx="49855" cy="89134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49 h 59"/>
                  <a:gd name="T20" fmla="*/ 16 w 33"/>
                  <a:gd name="T21" fmla="*/ 49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5" name="Freeform 83">
                <a:extLst>
                  <a:ext uri="{FF2B5EF4-FFF2-40B4-BE49-F238E27FC236}">
                    <a16:creationId xmlns:a16="http://schemas.microsoft.com/office/drawing/2014/main" id="{857EA925-37FB-3BCC-42E6-E042AC914F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2097" y="6450993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3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6" name="Freeform 84">
                <a:extLst>
                  <a:ext uri="{FF2B5EF4-FFF2-40B4-BE49-F238E27FC236}">
                    <a16:creationId xmlns:a16="http://schemas.microsoft.com/office/drawing/2014/main" id="{6EDA2433-5C3E-AB1C-8428-46F320E9F5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39076" y="6718395"/>
                <a:ext cx="110285" cy="164671"/>
              </a:xfrm>
              <a:custGeom>
                <a:avLst/>
                <a:gdLst>
                  <a:gd name="T0" fmla="*/ 31 w 31"/>
                  <a:gd name="T1" fmla="*/ 23 h 46"/>
                  <a:gd name="T2" fmla="*/ 15 w 31"/>
                  <a:gd name="T3" fmla="*/ 46 h 46"/>
                  <a:gd name="T4" fmla="*/ 0 w 31"/>
                  <a:gd name="T5" fmla="*/ 23 h 46"/>
                  <a:gd name="T6" fmla="*/ 15 w 31"/>
                  <a:gd name="T7" fmla="*/ 0 h 46"/>
                  <a:gd name="T8" fmla="*/ 31 w 31"/>
                  <a:gd name="T9" fmla="*/ 23 h 46"/>
                  <a:gd name="T10" fmla="*/ 8 w 31"/>
                  <a:gd name="T11" fmla="*/ 23 h 46"/>
                  <a:gd name="T12" fmla="*/ 15 w 31"/>
                  <a:gd name="T13" fmla="*/ 39 h 46"/>
                  <a:gd name="T14" fmla="*/ 23 w 31"/>
                  <a:gd name="T15" fmla="*/ 23 h 46"/>
                  <a:gd name="T16" fmla="*/ 15 w 31"/>
                  <a:gd name="T17" fmla="*/ 7 h 46"/>
                  <a:gd name="T18" fmla="*/ 8 w 31"/>
                  <a:gd name="T19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6">
                    <a:moveTo>
                      <a:pt x="31" y="23"/>
                    </a:moveTo>
                    <a:cubicBezTo>
                      <a:pt x="31" y="38"/>
                      <a:pt x="26" y="46"/>
                      <a:pt x="15" y="46"/>
                    </a:cubicBezTo>
                    <a:cubicBezTo>
                      <a:pt x="5" y="46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7"/>
                      <a:pt x="15" y="7"/>
                    </a:cubicBezTo>
                    <a:cubicBezTo>
                      <a:pt x="10" y="7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7" name="Freeform 95">
                <a:extLst>
                  <a:ext uri="{FF2B5EF4-FFF2-40B4-BE49-F238E27FC236}">
                    <a16:creationId xmlns:a16="http://schemas.microsoft.com/office/drawing/2014/main" id="{F9B589DF-5BA0-960E-0A9D-A88ABDDCBB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4031" y="5565699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8" name="Freeform 96">
                <a:extLst>
                  <a:ext uri="{FF2B5EF4-FFF2-40B4-BE49-F238E27FC236}">
                    <a16:creationId xmlns:a16="http://schemas.microsoft.com/office/drawing/2014/main" id="{8334D596-C3C9-2C5A-BC80-C26B1DE6D9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09499" y="5712241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9" name="Freeform 97">
                <a:extLst>
                  <a:ext uri="{FF2B5EF4-FFF2-40B4-BE49-F238E27FC236}">
                    <a16:creationId xmlns:a16="http://schemas.microsoft.com/office/drawing/2014/main" id="{75FF8E31-FF38-4926-ABA1-4C2AE1DC62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4031" y="5858783"/>
                <a:ext cx="52876" cy="84602"/>
              </a:xfrm>
              <a:custGeom>
                <a:avLst/>
                <a:gdLst>
                  <a:gd name="T0" fmla="*/ 16 w 35"/>
                  <a:gd name="T1" fmla="*/ 14 h 56"/>
                  <a:gd name="T2" fmla="*/ 7 w 35"/>
                  <a:gd name="T3" fmla="*/ 21 h 56"/>
                  <a:gd name="T4" fmla="*/ 0 w 35"/>
                  <a:gd name="T5" fmla="*/ 11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4"/>
                    </a:moveTo>
                    <a:lnTo>
                      <a:pt x="7" y="21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0" name="Freeform 98">
                <a:extLst>
                  <a:ext uri="{FF2B5EF4-FFF2-40B4-BE49-F238E27FC236}">
                    <a16:creationId xmlns:a16="http://schemas.microsoft.com/office/drawing/2014/main" id="{A0E81E95-23F0-DC41-A8F3-AB2EF566C7A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09499" y="6005325"/>
                <a:ext cx="67984" cy="84602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1" name="Freeform 99">
                <a:extLst>
                  <a:ext uri="{FF2B5EF4-FFF2-40B4-BE49-F238E27FC236}">
                    <a16:creationId xmlns:a16="http://schemas.microsoft.com/office/drawing/2014/main" id="{B9741277-8794-BC21-2552-0BE5B6CEE0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4031" y="6150356"/>
                <a:ext cx="52876" cy="86113"/>
              </a:xfrm>
              <a:custGeom>
                <a:avLst/>
                <a:gdLst>
                  <a:gd name="T0" fmla="*/ 16 w 35"/>
                  <a:gd name="T1" fmla="*/ 15 h 57"/>
                  <a:gd name="T2" fmla="*/ 7 w 35"/>
                  <a:gd name="T3" fmla="*/ 22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8 h 57"/>
                  <a:gd name="T12" fmla="*/ 35 w 35"/>
                  <a:gd name="T13" fmla="*/ 48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8 h 57"/>
                  <a:gd name="T20" fmla="*/ 16 w 35"/>
                  <a:gd name="T21" fmla="*/ 48 h 57"/>
                  <a:gd name="T22" fmla="*/ 16 w 35"/>
                  <a:gd name="T23" fmla="*/ 1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5"/>
                    </a:moveTo>
                    <a:lnTo>
                      <a:pt x="7" y="22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5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2" name="Freeform 100">
                <a:extLst>
                  <a:ext uri="{FF2B5EF4-FFF2-40B4-BE49-F238E27FC236}">
                    <a16:creationId xmlns:a16="http://schemas.microsoft.com/office/drawing/2014/main" id="{27B7C755-8F42-375E-E9BE-4EBB9C2A14D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09499" y="6296898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3" name="Freeform 101">
                <a:extLst>
                  <a:ext uri="{FF2B5EF4-FFF2-40B4-BE49-F238E27FC236}">
                    <a16:creationId xmlns:a16="http://schemas.microsoft.com/office/drawing/2014/main" id="{A6EA004B-3E46-D855-2D8C-7CA3EE7D0E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4031" y="6443440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4" name="Freeform 102">
                <a:extLst>
                  <a:ext uri="{FF2B5EF4-FFF2-40B4-BE49-F238E27FC236}">
                    <a16:creationId xmlns:a16="http://schemas.microsoft.com/office/drawing/2014/main" id="{7ECAC514-D3FE-BBCD-8916-0FB659893A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4031" y="6589982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5" name="Freeform 103">
                <a:extLst>
                  <a:ext uri="{FF2B5EF4-FFF2-40B4-BE49-F238E27FC236}">
                    <a16:creationId xmlns:a16="http://schemas.microsoft.com/office/drawing/2014/main" id="{21B4C9E1-733C-3FF4-4227-30D723429F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4031" y="6739546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5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5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6" name="Freeform 104">
                <a:extLst>
                  <a:ext uri="{FF2B5EF4-FFF2-40B4-BE49-F238E27FC236}">
                    <a16:creationId xmlns:a16="http://schemas.microsoft.com/office/drawing/2014/main" id="{5F332464-E019-2400-F24C-0BEE3B4921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09499" y="6883066"/>
                <a:ext cx="67984" cy="89134"/>
              </a:xfrm>
              <a:custGeom>
                <a:avLst/>
                <a:gdLst>
                  <a:gd name="T0" fmla="*/ 17 w 19"/>
                  <a:gd name="T1" fmla="*/ 4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4 h 25"/>
                  <a:gd name="T16" fmla="*/ 6 w 19"/>
                  <a:gd name="T17" fmla="*/ 12 h 25"/>
                  <a:gd name="T18" fmla="*/ 10 w 19"/>
                  <a:gd name="T19" fmla="*/ 20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3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7" name="Freeform 135">
                <a:extLst>
                  <a:ext uri="{FF2B5EF4-FFF2-40B4-BE49-F238E27FC236}">
                    <a16:creationId xmlns:a16="http://schemas.microsoft.com/office/drawing/2014/main" id="{5532552D-75A9-95BD-0605-2BCC4CE1BE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4121" y="5932809"/>
                <a:ext cx="60430" cy="111795"/>
              </a:xfrm>
              <a:custGeom>
                <a:avLst/>
                <a:gdLst>
                  <a:gd name="T0" fmla="*/ 19 w 40"/>
                  <a:gd name="T1" fmla="*/ 14 h 74"/>
                  <a:gd name="T2" fmla="*/ 4 w 40"/>
                  <a:gd name="T3" fmla="*/ 24 h 74"/>
                  <a:gd name="T4" fmla="*/ 0 w 40"/>
                  <a:gd name="T5" fmla="*/ 14 h 74"/>
                  <a:gd name="T6" fmla="*/ 21 w 40"/>
                  <a:gd name="T7" fmla="*/ 0 h 74"/>
                  <a:gd name="T8" fmla="*/ 30 w 40"/>
                  <a:gd name="T9" fmla="*/ 0 h 74"/>
                  <a:gd name="T10" fmla="*/ 30 w 40"/>
                  <a:gd name="T11" fmla="*/ 64 h 74"/>
                  <a:gd name="T12" fmla="*/ 40 w 40"/>
                  <a:gd name="T13" fmla="*/ 64 h 74"/>
                  <a:gd name="T14" fmla="*/ 40 w 40"/>
                  <a:gd name="T15" fmla="*/ 74 h 74"/>
                  <a:gd name="T16" fmla="*/ 9 w 40"/>
                  <a:gd name="T17" fmla="*/ 74 h 74"/>
                  <a:gd name="T18" fmla="*/ 9 w 40"/>
                  <a:gd name="T19" fmla="*/ 64 h 74"/>
                  <a:gd name="T20" fmla="*/ 19 w 40"/>
                  <a:gd name="T21" fmla="*/ 64 h 74"/>
                  <a:gd name="T22" fmla="*/ 19 w 40"/>
                  <a:gd name="T23" fmla="*/ 1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4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4"/>
                    </a:lnTo>
                    <a:lnTo>
                      <a:pt x="9" y="74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8" name="Freeform 136">
                <a:extLst>
                  <a:ext uri="{FF2B5EF4-FFF2-40B4-BE49-F238E27FC236}">
                    <a16:creationId xmlns:a16="http://schemas.microsoft.com/office/drawing/2014/main" id="{425CC1A9-D43E-E137-3417-15BA112919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459589" y="6121652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8 h 32"/>
                  <a:gd name="T14" fmla="*/ 16 w 21"/>
                  <a:gd name="T15" fmla="*/ 16 h 32"/>
                  <a:gd name="T16" fmla="*/ 10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0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0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9" name="Freeform 137">
                <a:extLst>
                  <a:ext uri="{FF2B5EF4-FFF2-40B4-BE49-F238E27FC236}">
                    <a16:creationId xmlns:a16="http://schemas.microsoft.com/office/drawing/2014/main" id="{FAEB5612-BAC6-23EF-2926-2225B8C5D2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459589" y="6503870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6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0" name="Freeform 138">
                <a:extLst>
                  <a:ext uri="{FF2B5EF4-FFF2-40B4-BE49-F238E27FC236}">
                    <a16:creationId xmlns:a16="http://schemas.microsoft.com/office/drawing/2014/main" id="{55200088-BEC9-20B2-C23A-2058310E85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4121" y="6697245"/>
                <a:ext cx="60430" cy="107263"/>
              </a:xfrm>
              <a:custGeom>
                <a:avLst/>
                <a:gdLst>
                  <a:gd name="T0" fmla="*/ 19 w 40"/>
                  <a:gd name="T1" fmla="*/ 12 h 71"/>
                  <a:gd name="T2" fmla="*/ 4 w 40"/>
                  <a:gd name="T3" fmla="*/ 21 h 71"/>
                  <a:gd name="T4" fmla="*/ 0 w 40"/>
                  <a:gd name="T5" fmla="*/ 12 h 71"/>
                  <a:gd name="T6" fmla="*/ 21 w 40"/>
                  <a:gd name="T7" fmla="*/ 0 h 71"/>
                  <a:gd name="T8" fmla="*/ 30 w 40"/>
                  <a:gd name="T9" fmla="*/ 0 h 71"/>
                  <a:gd name="T10" fmla="*/ 30 w 40"/>
                  <a:gd name="T11" fmla="*/ 64 h 71"/>
                  <a:gd name="T12" fmla="*/ 40 w 40"/>
                  <a:gd name="T13" fmla="*/ 64 h 71"/>
                  <a:gd name="T14" fmla="*/ 40 w 40"/>
                  <a:gd name="T15" fmla="*/ 71 h 71"/>
                  <a:gd name="T16" fmla="*/ 9 w 40"/>
                  <a:gd name="T17" fmla="*/ 71 h 71"/>
                  <a:gd name="T18" fmla="*/ 9 w 40"/>
                  <a:gd name="T19" fmla="*/ 64 h 71"/>
                  <a:gd name="T20" fmla="*/ 19 w 40"/>
                  <a:gd name="T21" fmla="*/ 64 h 71"/>
                  <a:gd name="T22" fmla="*/ 19 w 40"/>
                  <a:gd name="T23" fmla="*/ 1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1">
                    <a:moveTo>
                      <a:pt x="19" y="12"/>
                    </a:moveTo>
                    <a:lnTo>
                      <a:pt x="4" y="21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1"/>
                    </a:lnTo>
                    <a:lnTo>
                      <a:pt x="9" y="71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1" name="Freeform 139">
                <a:extLst>
                  <a:ext uri="{FF2B5EF4-FFF2-40B4-BE49-F238E27FC236}">
                    <a16:creationId xmlns:a16="http://schemas.microsoft.com/office/drawing/2014/main" id="{236E65E5-D26E-DA05-2513-1A2C0F5D93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4121" y="6886087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2" name="Freeform 149">
                <a:extLst>
                  <a:ext uri="{FF2B5EF4-FFF2-40B4-BE49-F238E27FC236}">
                    <a16:creationId xmlns:a16="http://schemas.microsoft.com/office/drawing/2014/main" id="{BD2FDCE0-92E4-0391-3785-6EF02F7565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0421" y="5576274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3" name="Freeform 150">
                <a:extLst>
                  <a:ext uri="{FF2B5EF4-FFF2-40B4-BE49-F238E27FC236}">
                    <a16:creationId xmlns:a16="http://schemas.microsoft.com/office/drawing/2014/main" id="{9E24977C-BE57-6EF3-6305-000087CFEB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12867" y="5858783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4" name="Freeform 151">
                <a:extLst>
                  <a:ext uri="{FF2B5EF4-FFF2-40B4-BE49-F238E27FC236}">
                    <a16:creationId xmlns:a16="http://schemas.microsoft.com/office/drawing/2014/main" id="{9A18F851-7666-746C-D813-FBD746682A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0421" y="6147335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5" name="Freeform 152">
                <a:extLst>
                  <a:ext uri="{FF2B5EF4-FFF2-40B4-BE49-F238E27FC236}">
                    <a16:creationId xmlns:a16="http://schemas.microsoft.com/office/drawing/2014/main" id="{E827A52B-8E58-A4CF-DDA2-F5CC9EE5A1F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12867" y="6429843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6" name="Freeform 153">
                <a:extLst>
                  <a:ext uri="{FF2B5EF4-FFF2-40B4-BE49-F238E27FC236}">
                    <a16:creationId xmlns:a16="http://schemas.microsoft.com/office/drawing/2014/main" id="{DBA5F74B-263C-F133-98C4-B385726915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0421" y="6718395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7" name="Line 8">
                <a:extLst>
                  <a:ext uri="{FF2B5EF4-FFF2-40B4-BE49-F238E27FC236}">
                    <a16:creationId xmlns:a16="http://schemas.microsoft.com/office/drawing/2014/main" id="{F2FB4E0B-C3FF-7B31-0B1F-19D624F4AFD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81365" y="5104923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8" name="Line 9">
                <a:extLst>
                  <a:ext uri="{FF2B5EF4-FFF2-40B4-BE49-F238E27FC236}">
                    <a16:creationId xmlns:a16="http://schemas.microsoft.com/office/drawing/2014/main" id="{838C01D8-E8ED-98BA-B44A-F74F3D1788C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81365" y="5104923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9" name="Freeform 10">
                <a:extLst>
                  <a:ext uri="{FF2B5EF4-FFF2-40B4-BE49-F238E27FC236}">
                    <a16:creationId xmlns:a16="http://schemas.microsoft.com/office/drawing/2014/main" id="{6E64542C-FFB0-77C4-B773-23AD250B89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8475" y="6176038"/>
                <a:ext cx="99709" cy="157117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8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7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7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8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7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7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0" name="Freeform 11">
                <a:extLst>
                  <a:ext uri="{FF2B5EF4-FFF2-40B4-BE49-F238E27FC236}">
                    <a16:creationId xmlns:a16="http://schemas.microsoft.com/office/drawing/2014/main" id="{072DE4E0-1FAD-1C11-E940-28C6B883BD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34879" y="6443440"/>
                <a:ext cx="120859" cy="164671"/>
              </a:xfrm>
              <a:custGeom>
                <a:avLst/>
                <a:gdLst>
                  <a:gd name="T0" fmla="*/ 32 w 34"/>
                  <a:gd name="T1" fmla="*/ 8 h 46"/>
                  <a:gd name="T2" fmla="*/ 34 w 34"/>
                  <a:gd name="T3" fmla="*/ 23 h 46"/>
                  <a:gd name="T4" fmla="*/ 31 w 34"/>
                  <a:gd name="T5" fmla="*/ 39 h 46"/>
                  <a:gd name="T6" fmla="*/ 17 w 34"/>
                  <a:gd name="T7" fmla="*/ 46 h 46"/>
                  <a:gd name="T8" fmla="*/ 3 w 34"/>
                  <a:gd name="T9" fmla="*/ 37 h 46"/>
                  <a:gd name="T10" fmla="*/ 0 w 34"/>
                  <a:gd name="T11" fmla="*/ 23 h 46"/>
                  <a:gd name="T12" fmla="*/ 17 w 34"/>
                  <a:gd name="T13" fmla="*/ 0 h 46"/>
                  <a:gd name="T14" fmla="*/ 32 w 34"/>
                  <a:gd name="T15" fmla="*/ 8 h 46"/>
                  <a:gd name="T16" fmla="*/ 10 w 34"/>
                  <a:gd name="T17" fmla="*/ 23 h 46"/>
                  <a:gd name="T18" fmla="*/ 17 w 34"/>
                  <a:gd name="T19" fmla="*/ 38 h 46"/>
                  <a:gd name="T20" fmla="*/ 25 w 34"/>
                  <a:gd name="T21" fmla="*/ 23 h 46"/>
                  <a:gd name="T22" fmla="*/ 17 w 34"/>
                  <a:gd name="T23" fmla="*/ 8 h 46"/>
                  <a:gd name="T24" fmla="*/ 10 w 34"/>
                  <a:gd name="T25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46">
                    <a:moveTo>
                      <a:pt x="32" y="8"/>
                    </a:moveTo>
                    <a:cubicBezTo>
                      <a:pt x="34" y="12"/>
                      <a:pt x="34" y="16"/>
                      <a:pt x="34" y="23"/>
                    </a:cubicBezTo>
                    <a:cubicBezTo>
                      <a:pt x="34" y="31"/>
                      <a:pt x="33" y="36"/>
                      <a:pt x="31" y="39"/>
                    </a:cubicBezTo>
                    <a:cubicBezTo>
                      <a:pt x="28" y="43"/>
                      <a:pt x="23" y="46"/>
                      <a:pt x="17" y="46"/>
                    </a:cubicBezTo>
                    <a:cubicBezTo>
                      <a:pt x="11" y="46"/>
                      <a:pt x="6" y="43"/>
                      <a:pt x="3" y="37"/>
                    </a:cubicBezTo>
                    <a:cubicBezTo>
                      <a:pt x="1" y="34"/>
                      <a:pt x="0" y="29"/>
                      <a:pt x="0" y="23"/>
                    </a:cubicBezTo>
                    <a:cubicBezTo>
                      <a:pt x="0" y="8"/>
                      <a:pt x="6" y="0"/>
                      <a:pt x="17" y="0"/>
                    </a:cubicBezTo>
                    <a:cubicBezTo>
                      <a:pt x="24" y="0"/>
                      <a:pt x="29" y="3"/>
                      <a:pt x="32" y="8"/>
                    </a:cubicBezTo>
                    <a:close/>
                    <a:moveTo>
                      <a:pt x="10" y="23"/>
                    </a:moveTo>
                    <a:cubicBezTo>
                      <a:pt x="10" y="33"/>
                      <a:pt x="12" y="38"/>
                      <a:pt x="17" y="38"/>
                    </a:cubicBezTo>
                    <a:cubicBezTo>
                      <a:pt x="22" y="38"/>
                      <a:pt x="25" y="33"/>
                      <a:pt x="25" y="23"/>
                    </a:cubicBezTo>
                    <a:cubicBezTo>
                      <a:pt x="25" y="13"/>
                      <a:pt x="22" y="8"/>
                      <a:pt x="17" y="8"/>
                    </a:cubicBezTo>
                    <a:cubicBezTo>
                      <a:pt x="12" y="8"/>
                      <a:pt x="10" y="13"/>
                      <a:pt x="10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1" name="Freeform 12">
                <a:extLst>
                  <a:ext uri="{FF2B5EF4-FFF2-40B4-BE49-F238E27FC236}">
                    <a16:creationId xmlns:a16="http://schemas.microsoft.com/office/drawing/2014/main" id="{04CC7246-7A3A-F78A-C73B-692F64E783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8475" y="6718395"/>
                <a:ext cx="99709" cy="157117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6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7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7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6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7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7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2" name="Freeform 23">
                <a:extLst>
                  <a:ext uri="{FF2B5EF4-FFF2-40B4-BE49-F238E27FC236}">
                    <a16:creationId xmlns:a16="http://schemas.microsoft.com/office/drawing/2014/main" id="{36289B73-0796-86C4-9FF2-A23FF1F791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55156" y="5455415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8 h 32"/>
                  <a:gd name="T14" fmla="*/ 16 w 21"/>
                  <a:gd name="T15" fmla="*/ 16 h 32"/>
                  <a:gd name="T16" fmla="*/ 11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1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1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3" name="Freeform 24">
                <a:extLst>
                  <a:ext uri="{FF2B5EF4-FFF2-40B4-BE49-F238E27FC236}">
                    <a16:creationId xmlns:a16="http://schemas.microsoft.com/office/drawing/2014/main" id="{D2662946-9E3C-83F3-BAC4-F3CB650EC30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55156" y="5647279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5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4" name="Freeform 25">
                <a:extLst>
                  <a:ext uri="{FF2B5EF4-FFF2-40B4-BE49-F238E27FC236}">
                    <a16:creationId xmlns:a16="http://schemas.microsoft.com/office/drawing/2014/main" id="{02053AD0-BE22-D6F4-F125-E8F2BF267C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2709" y="6029497"/>
                <a:ext cx="64962" cy="11028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2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2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5" name="Freeform 26">
                <a:extLst>
                  <a:ext uri="{FF2B5EF4-FFF2-40B4-BE49-F238E27FC236}">
                    <a16:creationId xmlns:a16="http://schemas.microsoft.com/office/drawing/2014/main" id="{210F5E12-18B3-9AB8-2809-F2EDCA40B2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55156" y="6218339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6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6" name="Freeform 27">
                <a:extLst>
                  <a:ext uri="{FF2B5EF4-FFF2-40B4-BE49-F238E27FC236}">
                    <a16:creationId xmlns:a16="http://schemas.microsoft.com/office/drawing/2014/main" id="{A6E9BA8A-EE29-BB64-C972-51CB5FE10E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55156" y="6408693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7 h 32"/>
                  <a:gd name="T14" fmla="*/ 16 w 21"/>
                  <a:gd name="T15" fmla="*/ 16 h 32"/>
                  <a:gd name="T16" fmla="*/ 11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1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7" name="Freeform 28">
                <a:extLst>
                  <a:ext uri="{FF2B5EF4-FFF2-40B4-BE49-F238E27FC236}">
                    <a16:creationId xmlns:a16="http://schemas.microsoft.com/office/drawing/2014/main" id="{5BF90641-5CD5-B891-FB07-2BDAAD603C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2709" y="6789400"/>
                <a:ext cx="64962" cy="111795"/>
              </a:xfrm>
              <a:custGeom>
                <a:avLst/>
                <a:gdLst>
                  <a:gd name="T0" fmla="*/ 19 w 43"/>
                  <a:gd name="T1" fmla="*/ 14 h 74"/>
                  <a:gd name="T2" fmla="*/ 5 w 43"/>
                  <a:gd name="T3" fmla="*/ 24 h 74"/>
                  <a:gd name="T4" fmla="*/ 0 w 43"/>
                  <a:gd name="T5" fmla="*/ 14 h 74"/>
                  <a:gd name="T6" fmla="*/ 22 w 43"/>
                  <a:gd name="T7" fmla="*/ 0 h 74"/>
                  <a:gd name="T8" fmla="*/ 34 w 43"/>
                  <a:gd name="T9" fmla="*/ 0 h 74"/>
                  <a:gd name="T10" fmla="*/ 34 w 43"/>
                  <a:gd name="T11" fmla="*/ 64 h 74"/>
                  <a:gd name="T12" fmla="*/ 43 w 43"/>
                  <a:gd name="T13" fmla="*/ 64 h 74"/>
                  <a:gd name="T14" fmla="*/ 43 w 43"/>
                  <a:gd name="T15" fmla="*/ 74 h 74"/>
                  <a:gd name="T16" fmla="*/ 10 w 43"/>
                  <a:gd name="T17" fmla="*/ 74 h 74"/>
                  <a:gd name="T18" fmla="*/ 10 w 43"/>
                  <a:gd name="T19" fmla="*/ 64 h 74"/>
                  <a:gd name="T20" fmla="*/ 19 w 43"/>
                  <a:gd name="T21" fmla="*/ 64 h 74"/>
                  <a:gd name="T22" fmla="*/ 19 w 43"/>
                  <a:gd name="T23" fmla="*/ 1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4">
                    <a:moveTo>
                      <a:pt x="19" y="14"/>
                    </a:moveTo>
                    <a:lnTo>
                      <a:pt x="5" y="24"/>
                    </a:lnTo>
                    <a:lnTo>
                      <a:pt x="0" y="14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4"/>
                    </a:lnTo>
                    <a:lnTo>
                      <a:pt x="10" y="74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8" name="Freeform 43">
                <a:extLst>
                  <a:ext uri="{FF2B5EF4-FFF2-40B4-BE49-F238E27FC236}">
                    <a16:creationId xmlns:a16="http://schemas.microsoft.com/office/drawing/2014/main" id="{EC081635-6E46-654F-5EEC-331CB0837D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5364" y="5654833"/>
                <a:ext cx="63451" cy="9366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5" y="0"/>
                      <a:pt x="18" y="5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9" name="Freeform 44">
                <a:extLst>
                  <a:ext uri="{FF2B5EF4-FFF2-40B4-BE49-F238E27FC236}">
                    <a16:creationId xmlns:a16="http://schemas.microsoft.com/office/drawing/2014/main" id="{47623F9F-54A4-9FA4-5F74-7C7CDB69A83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5364" y="5808928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1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80" name="Freeform 45">
                <a:extLst>
                  <a:ext uri="{FF2B5EF4-FFF2-40B4-BE49-F238E27FC236}">
                    <a16:creationId xmlns:a16="http://schemas.microsoft.com/office/drawing/2014/main" id="{FABA7E6D-C29F-79C1-35E7-C369B7A605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5938" y="6115609"/>
                <a:ext cx="49855" cy="89134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49 h 59"/>
                  <a:gd name="T20" fmla="*/ 17 w 33"/>
                  <a:gd name="T21" fmla="*/ 49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81" name="Freeform 46">
                <a:extLst>
                  <a:ext uri="{FF2B5EF4-FFF2-40B4-BE49-F238E27FC236}">
                    <a16:creationId xmlns:a16="http://schemas.microsoft.com/office/drawing/2014/main" id="{1AB2BCD2-B038-B4FA-663A-C601A2B0DDB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5364" y="6265173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82" name="Freeform 47">
                <a:extLst>
                  <a:ext uri="{FF2B5EF4-FFF2-40B4-BE49-F238E27FC236}">
                    <a16:creationId xmlns:a16="http://schemas.microsoft.com/office/drawing/2014/main" id="{CC16D284-213A-BEF7-9617-6E2E736CE6D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5364" y="6419268"/>
                <a:ext cx="63451" cy="89134"/>
              </a:xfrm>
              <a:custGeom>
                <a:avLst/>
                <a:gdLst>
                  <a:gd name="T0" fmla="*/ 18 w 18"/>
                  <a:gd name="T1" fmla="*/ 13 h 25"/>
                  <a:gd name="T2" fmla="*/ 9 w 18"/>
                  <a:gd name="T3" fmla="*/ 25 h 25"/>
                  <a:gd name="T4" fmla="*/ 0 w 18"/>
                  <a:gd name="T5" fmla="*/ 12 h 25"/>
                  <a:gd name="T6" fmla="*/ 9 w 18"/>
                  <a:gd name="T7" fmla="*/ 0 h 25"/>
                  <a:gd name="T8" fmla="*/ 18 w 18"/>
                  <a:gd name="T9" fmla="*/ 13 h 25"/>
                  <a:gd name="T10" fmla="*/ 5 w 18"/>
                  <a:gd name="T11" fmla="*/ 12 h 25"/>
                  <a:gd name="T12" fmla="*/ 9 w 18"/>
                  <a:gd name="T13" fmla="*/ 22 h 25"/>
                  <a:gd name="T14" fmla="*/ 13 w 18"/>
                  <a:gd name="T15" fmla="*/ 13 h 25"/>
                  <a:gd name="T16" fmla="*/ 9 w 18"/>
                  <a:gd name="T17" fmla="*/ 3 h 25"/>
                  <a:gd name="T18" fmla="*/ 5 w 18"/>
                  <a:gd name="T1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5">
                    <a:moveTo>
                      <a:pt x="18" y="13"/>
                    </a:moveTo>
                    <a:cubicBezTo>
                      <a:pt x="18" y="21"/>
                      <a:pt x="15" y="25"/>
                      <a:pt x="9" y="25"/>
                    </a:cubicBezTo>
                    <a:cubicBezTo>
                      <a:pt x="3" y="25"/>
                      <a:pt x="0" y="21"/>
                      <a:pt x="0" y="12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2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6"/>
                      <a:pt x="12" y="3"/>
                      <a:pt x="9" y="3"/>
                    </a:cubicBezTo>
                    <a:cubicBezTo>
                      <a:pt x="6" y="3"/>
                      <a:pt x="5" y="6"/>
                      <a:pt x="5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83" name="Freeform 48">
                <a:extLst>
                  <a:ext uri="{FF2B5EF4-FFF2-40B4-BE49-F238E27FC236}">
                    <a16:creationId xmlns:a16="http://schemas.microsoft.com/office/drawing/2014/main" id="{3F28A3B0-53FA-2793-380A-A88C57EF5F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5938" y="6725948"/>
                <a:ext cx="49855" cy="84602"/>
              </a:xfrm>
              <a:custGeom>
                <a:avLst/>
                <a:gdLst>
                  <a:gd name="T0" fmla="*/ 17 w 33"/>
                  <a:gd name="T1" fmla="*/ 9 h 56"/>
                  <a:gd name="T2" fmla="*/ 5 w 33"/>
                  <a:gd name="T3" fmla="*/ 16 h 56"/>
                  <a:gd name="T4" fmla="*/ 0 w 33"/>
                  <a:gd name="T5" fmla="*/ 9 h 56"/>
                  <a:gd name="T6" fmla="*/ 19 w 33"/>
                  <a:gd name="T7" fmla="*/ 0 h 56"/>
                  <a:gd name="T8" fmla="*/ 26 w 33"/>
                  <a:gd name="T9" fmla="*/ 0 h 56"/>
                  <a:gd name="T10" fmla="*/ 26 w 33"/>
                  <a:gd name="T11" fmla="*/ 49 h 56"/>
                  <a:gd name="T12" fmla="*/ 33 w 33"/>
                  <a:gd name="T13" fmla="*/ 49 h 56"/>
                  <a:gd name="T14" fmla="*/ 33 w 33"/>
                  <a:gd name="T15" fmla="*/ 56 h 56"/>
                  <a:gd name="T16" fmla="*/ 10 w 33"/>
                  <a:gd name="T17" fmla="*/ 56 h 56"/>
                  <a:gd name="T18" fmla="*/ 10 w 33"/>
                  <a:gd name="T19" fmla="*/ 49 h 56"/>
                  <a:gd name="T20" fmla="*/ 17 w 33"/>
                  <a:gd name="T21" fmla="*/ 49 h 56"/>
                  <a:gd name="T22" fmla="*/ 17 w 33"/>
                  <a:gd name="T23" fmla="*/ 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6">
                    <a:moveTo>
                      <a:pt x="17" y="9"/>
                    </a:moveTo>
                    <a:lnTo>
                      <a:pt x="5" y="16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6"/>
                    </a:lnTo>
                    <a:lnTo>
                      <a:pt x="10" y="56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9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84" name="Freeform 49">
                <a:extLst>
                  <a:ext uri="{FF2B5EF4-FFF2-40B4-BE49-F238E27FC236}">
                    <a16:creationId xmlns:a16="http://schemas.microsoft.com/office/drawing/2014/main" id="{B12382BC-AED7-11CF-96BB-4050EB87475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5364" y="6875512"/>
                <a:ext cx="63451" cy="89134"/>
              </a:xfrm>
              <a:custGeom>
                <a:avLst/>
                <a:gdLst>
                  <a:gd name="T0" fmla="*/ 18 w 18"/>
                  <a:gd name="T1" fmla="*/ 13 h 25"/>
                  <a:gd name="T2" fmla="*/ 9 w 18"/>
                  <a:gd name="T3" fmla="*/ 25 h 25"/>
                  <a:gd name="T4" fmla="*/ 0 w 18"/>
                  <a:gd name="T5" fmla="*/ 13 h 25"/>
                  <a:gd name="T6" fmla="*/ 9 w 18"/>
                  <a:gd name="T7" fmla="*/ 0 h 25"/>
                  <a:gd name="T8" fmla="*/ 18 w 18"/>
                  <a:gd name="T9" fmla="*/ 13 h 25"/>
                  <a:gd name="T10" fmla="*/ 5 w 18"/>
                  <a:gd name="T11" fmla="*/ 13 h 25"/>
                  <a:gd name="T12" fmla="*/ 9 w 18"/>
                  <a:gd name="T13" fmla="*/ 22 h 25"/>
                  <a:gd name="T14" fmla="*/ 13 w 18"/>
                  <a:gd name="T15" fmla="*/ 13 h 25"/>
                  <a:gd name="T16" fmla="*/ 9 w 18"/>
                  <a:gd name="T17" fmla="*/ 3 h 25"/>
                  <a:gd name="T18" fmla="*/ 5 w 18"/>
                  <a:gd name="T19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5">
                    <a:moveTo>
                      <a:pt x="18" y="13"/>
                    </a:moveTo>
                    <a:cubicBezTo>
                      <a:pt x="18" y="21"/>
                      <a:pt x="15" y="25"/>
                      <a:pt x="9" y="25"/>
                    </a:cubicBezTo>
                    <a:cubicBezTo>
                      <a:pt x="3" y="25"/>
                      <a:pt x="0" y="21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6"/>
                      <a:pt x="12" y="3"/>
                      <a:pt x="9" y="3"/>
                    </a:cubicBezTo>
                    <a:cubicBezTo>
                      <a:pt x="6" y="3"/>
                      <a:pt x="5" y="6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85" name="Freeform 63">
                <a:extLst>
                  <a:ext uri="{FF2B5EF4-FFF2-40B4-BE49-F238E27FC236}">
                    <a16:creationId xmlns:a16="http://schemas.microsoft.com/office/drawing/2014/main" id="{2F53F538-855E-3BE4-EFEC-424D1FE395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67948" y="5654833"/>
                <a:ext cx="60430" cy="9366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4" y="0"/>
                      <a:pt x="17" y="5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86" name="Freeform 64">
                <a:extLst>
                  <a:ext uri="{FF2B5EF4-FFF2-40B4-BE49-F238E27FC236}">
                    <a16:creationId xmlns:a16="http://schemas.microsoft.com/office/drawing/2014/main" id="{0F19F87C-B6B0-A117-5C1C-EACC8467F46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67948" y="5808928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1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87" name="Freeform 65">
                <a:extLst>
                  <a:ext uri="{FF2B5EF4-FFF2-40B4-BE49-F238E27FC236}">
                    <a16:creationId xmlns:a16="http://schemas.microsoft.com/office/drawing/2014/main" id="{5FA74CF3-17F6-6C55-513D-3CDB4832DD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3991" y="6115609"/>
                <a:ext cx="49855" cy="89134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49 h 59"/>
                  <a:gd name="T20" fmla="*/ 16 w 33"/>
                  <a:gd name="T21" fmla="*/ 49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88" name="Freeform 66">
                <a:extLst>
                  <a:ext uri="{FF2B5EF4-FFF2-40B4-BE49-F238E27FC236}">
                    <a16:creationId xmlns:a16="http://schemas.microsoft.com/office/drawing/2014/main" id="{D42691A6-DEB6-6117-C23A-BAE772C2C1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67948" y="6265173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89" name="Freeform 67">
                <a:extLst>
                  <a:ext uri="{FF2B5EF4-FFF2-40B4-BE49-F238E27FC236}">
                    <a16:creationId xmlns:a16="http://schemas.microsoft.com/office/drawing/2014/main" id="{96A2B3EA-5DD0-4349-F543-141BB37A658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67948" y="6419268"/>
                <a:ext cx="60430" cy="89134"/>
              </a:xfrm>
              <a:custGeom>
                <a:avLst/>
                <a:gdLst>
                  <a:gd name="T0" fmla="*/ 17 w 17"/>
                  <a:gd name="T1" fmla="*/ 13 h 25"/>
                  <a:gd name="T2" fmla="*/ 9 w 17"/>
                  <a:gd name="T3" fmla="*/ 25 h 25"/>
                  <a:gd name="T4" fmla="*/ 0 w 17"/>
                  <a:gd name="T5" fmla="*/ 12 h 25"/>
                  <a:gd name="T6" fmla="*/ 9 w 17"/>
                  <a:gd name="T7" fmla="*/ 0 h 25"/>
                  <a:gd name="T8" fmla="*/ 17 w 17"/>
                  <a:gd name="T9" fmla="*/ 13 h 25"/>
                  <a:gd name="T10" fmla="*/ 4 w 17"/>
                  <a:gd name="T11" fmla="*/ 12 h 25"/>
                  <a:gd name="T12" fmla="*/ 9 w 17"/>
                  <a:gd name="T13" fmla="*/ 22 h 25"/>
                  <a:gd name="T14" fmla="*/ 13 w 17"/>
                  <a:gd name="T15" fmla="*/ 13 h 25"/>
                  <a:gd name="T16" fmla="*/ 9 w 17"/>
                  <a:gd name="T17" fmla="*/ 3 h 25"/>
                  <a:gd name="T18" fmla="*/ 4 w 17"/>
                  <a:gd name="T1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5">
                    <a:moveTo>
                      <a:pt x="17" y="13"/>
                    </a:moveTo>
                    <a:cubicBezTo>
                      <a:pt x="17" y="21"/>
                      <a:pt x="14" y="25"/>
                      <a:pt x="9" y="25"/>
                    </a:cubicBezTo>
                    <a:cubicBezTo>
                      <a:pt x="3" y="25"/>
                      <a:pt x="0" y="21"/>
                      <a:pt x="0" y="12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2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6"/>
                      <a:pt x="11" y="3"/>
                      <a:pt x="9" y="3"/>
                    </a:cubicBezTo>
                    <a:cubicBezTo>
                      <a:pt x="6" y="3"/>
                      <a:pt x="4" y="6"/>
                      <a:pt x="4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90" name="Freeform 68">
                <a:extLst>
                  <a:ext uri="{FF2B5EF4-FFF2-40B4-BE49-F238E27FC236}">
                    <a16:creationId xmlns:a16="http://schemas.microsoft.com/office/drawing/2014/main" id="{18A9E859-D9A2-6048-8CA6-F341341976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3991" y="6725948"/>
                <a:ext cx="49855" cy="84602"/>
              </a:xfrm>
              <a:custGeom>
                <a:avLst/>
                <a:gdLst>
                  <a:gd name="T0" fmla="*/ 16 w 33"/>
                  <a:gd name="T1" fmla="*/ 9 h 56"/>
                  <a:gd name="T2" fmla="*/ 4 w 33"/>
                  <a:gd name="T3" fmla="*/ 16 h 56"/>
                  <a:gd name="T4" fmla="*/ 0 w 33"/>
                  <a:gd name="T5" fmla="*/ 9 h 56"/>
                  <a:gd name="T6" fmla="*/ 16 w 33"/>
                  <a:gd name="T7" fmla="*/ 0 h 56"/>
                  <a:gd name="T8" fmla="*/ 26 w 33"/>
                  <a:gd name="T9" fmla="*/ 0 h 56"/>
                  <a:gd name="T10" fmla="*/ 26 w 33"/>
                  <a:gd name="T11" fmla="*/ 49 h 56"/>
                  <a:gd name="T12" fmla="*/ 33 w 33"/>
                  <a:gd name="T13" fmla="*/ 49 h 56"/>
                  <a:gd name="T14" fmla="*/ 33 w 33"/>
                  <a:gd name="T15" fmla="*/ 56 h 56"/>
                  <a:gd name="T16" fmla="*/ 7 w 33"/>
                  <a:gd name="T17" fmla="*/ 56 h 56"/>
                  <a:gd name="T18" fmla="*/ 7 w 33"/>
                  <a:gd name="T19" fmla="*/ 49 h 56"/>
                  <a:gd name="T20" fmla="*/ 16 w 33"/>
                  <a:gd name="T21" fmla="*/ 49 h 56"/>
                  <a:gd name="T22" fmla="*/ 16 w 33"/>
                  <a:gd name="T23" fmla="*/ 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6">
                    <a:moveTo>
                      <a:pt x="16" y="9"/>
                    </a:moveTo>
                    <a:lnTo>
                      <a:pt x="4" y="16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6"/>
                    </a:lnTo>
                    <a:lnTo>
                      <a:pt x="7" y="56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9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91" name="Freeform 69">
                <a:extLst>
                  <a:ext uri="{FF2B5EF4-FFF2-40B4-BE49-F238E27FC236}">
                    <a16:creationId xmlns:a16="http://schemas.microsoft.com/office/drawing/2014/main" id="{757D7924-47C8-A2F6-9398-1A9FD0EAA9D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67948" y="6875512"/>
                <a:ext cx="60430" cy="89134"/>
              </a:xfrm>
              <a:custGeom>
                <a:avLst/>
                <a:gdLst>
                  <a:gd name="T0" fmla="*/ 17 w 17"/>
                  <a:gd name="T1" fmla="*/ 13 h 25"/>
                  <a:gd name="T2" fmla="*/ 9 w 17"/>
                  <a:gd name="T3" fmla="*/ 25 h 25"/>
                  <a:gd name="T4" fmla="*/ 0 w 17"/>
                  <a:gd name="T5" fmla="*/ 13 h 25"/>
                  <a:gd name="T6" fmla="*/ 9 w 17"/>
                  <a:gd name="T7" fmla="*/ 0 h 25"/>
                  <a:gd name="T8" fmla="*/ 17 w 17"/>
                  <a:gd name="T9" fmla="*/ 13 h 25"/>
                  <a:gd name="T10" fmla="*/ 4 w 17"/>
                  <a:gd name="T11" fmla="*/ 13 h 25"/>
                  <a:gd name="T12" fmla="*/ 9 w 17"/>
                  <a:gd name="T13" fmla="*/ 22 h 25"/>
                  <a:gd name="T14" fmla="*/ 13 w 17"/>
                  <a:gd name="T15" fmla="*/ 13 h 25"/>
                  <a:gd name="T16" fmla="*/ 9 w 17"/>
                  <a:gd name="T17" fmla="*/ 3 h 25"/>
                  <a:gd name="T18" fmla="*/ 4 w 17"/>
                  <a:gd name="T19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5">
                    <a:moveTo>
                      <a:pt x="17" y="13"/>
                    </a:moveTo>
                    <a:cubicBezTo>
                      <a:pt x="17" y="21"/>
                      <a:pt x="14" y="25"/>
                      <a:pt x="9" y="25"/>
                    </a:cubicBezTo>
                    <a:cubicBezTo>
                      <a:pt x="3" y="25"/>
                      <a:pt x="0" y="21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6"/>
                      <a:pt x="11" y="3"/>
                      <a:pt x="9" y="3"/>
                    </a:cubicBezTo>
                    <a:cubicBezTo>
                      <a:pt x="6" y="3"/>
                      <a:pt x="4" y="6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92" name="Freeform 83">
                <a:extLst>
                  <a:ext uri="{FF2B5EF4-FFF2-40B4-BE49-F238E27FC236}">
                    <a16:creationId xmlns:a16="http://schemas.microsoft.com/office/drawing/2014/main" id="{F3117129-953B-8C29-4B95-552CDDA91A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2522" y="5662386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3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93" name="Freeform 84">
                <a:extLst>
                  <a:ext uri="{FF2B5EF4-FFF2-40B4-BE49-F238E27FC236}">
                    <a16:creationId xmlns:a16="http://schemas.microsoft.com/office/drawing/2014/main" id="{6511F619-10FA-09B5-7B1E-464065038F3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77415" y="5929788"/>
                <a:ext cx="110285" cy="164671"/>
              </a:xfrm>
              <a:custGeom>
                <a:avLst/>
                <a:gdLst>
                  <a:gd name="T0" fmla="*/ 31 w 31"/>
                  <a:gd name="T1" fmla="*/ 23 h 46"/>
                  <a:gd name="T2" fmla="*/ 15 w 31"/>
                  <a:gd name="T3" fmla="*/ 46 h 46"/>
                  <a:gd name="T4" fmla="*/ 0 w 31"/>
                  <a:gd name="T5" fmla="*/ 23 h 46"/>
                  <a:gd name="T6" fmla="*/ 15 w 31"/>
                  <a:gd name="T7" fmla="*/ 0 h 46"/>
                  <a:gd name="T8" fmla="*/ 31 w 31"/>
                  <a:gd name="T9" fmla="*/ 23 h 46"/>
                  <a:gd name="T10" fmla="*/ 8 w 31"/>
                  <a:gd name="T11" fmla="*/ 23 h 46"/>
                  <a:gd name="T12" fmla="*/ 15 w 31"/>
                  <a:gd name="T13" fmla="*/ 39 h 46"/>
                  <a:gd name="T14" fmla="*/ 23 w 31"/>
                  <a:gd name="T15" fmla="*/ 23 h 46"/>
                  <a:gd name="T16" fmla="*/ 15 w 31"/>
                  <a:gd name="T17" fmla="*/ 7 h 46"/>
                  <a:gd name="T18" fmla="*/ 8 w 31"/>
                  <a:gd name="T19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6">
                    <a:moveTo>
                      <a:pt x="31" y="23"/>
                    </a:moveTo>
                    <a:cubicBezTo>
                      <a:pt x="31" y="38"/>
                      <a:pt x="26" y="46"/>
                      <a:pt x="15" y="46"/>
                    </a:cubicBezTo>
                    <a:cubicBezTo>
                      <a:pt x="5" y="46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7"/>
                      <a:pt x="15" y="7"/>
                    </a:cubicBezTo>
                    <a:cubicBezTo>
                      <a:pt x="10" y="7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94" name="Freeform 85">
                <a:extLst>
                  <a:ext uri="{FF2B5EF4-FFF2-40B4-BE49-F238E27FC236}">
                    <a16:creationId xmlns:a16="http://schemas.microsoft.com/office/drawing/2014/main" id="{A5976FBA-3153-6532-159C-76BF0ADDED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77415" y="6201721"/>
                <a:ext cx="110285" cy="160139"/>
              </a:xfrm>
              <a:custGeom>
                <a:avLst/>
                <a:gdLst>
                  <a:gd name="T0" fmla="*/ 31 w 31"/>
                  <a:gd name="T1" fmla="*/ 23 h 45"/>
                  <a:gd name="T2" fmla="*/ 15 w 31"/>
                  <a:gd name="T3" fmla="*/ 45 h 45"/>
                  <a:gd name="T4" fmla="*/ 0 w 31"/>
                  <a:gd name="T5" fmla="*/ 23 h 45"/>
                  <a:gd name="T6" fmla="*/ 15 w 31"/>
                  <a:gd name="T7" fmla="*/ 0 h 45"/>
                  <a:gd name="T8" fmla="*/ 31 w 31"/>
                  <a:gd name="T9" fmla="*/ 23 h 45"/>
                  <a:gd name="T10" fmla="*/ 8 w 31"/>
                  <a:gd name="T11" fmla="*/ 23 h 45"/>
                  <a:gd name="T12" fmla="*/ 15 w 31"/>
                  <a:gd name="T13" fmla="*/ 39 h 45"/>
                  <a:gd name="T14" fmla="*/ 23 w 31"/>
                  <a:gd name="T15" fmla="*/ 23 h 45"/>
                  <a:gd name="T16" fmla="*/ 15 w 31"/>
                  <a:gd name="T17" fmla="*/ 6 h 45"/>
                  <a:gd name="T18" fmla="*/ 8 w 31"/>
                  <a:gd name="T19" fmla="*/ 2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31" y="23"/>
                    </a:moveTo>
                    <a:cubicBezTo>
                      <a:pt x="31" y="38"/>
                      <a:pt x="26" y="45"/>
                      <a:pt x="15" y="45"/>
                    </a:cubicBezTo>
                    <a:cubicBezTo>
                      <a:pt x="5" y="45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6"/>
                      <a:pt x="15" y="6"/>
                    </a:cubicBezTo>
                    <a:cubicBezTo>
                      <a:pt x="10" y="6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95" name="Freeform 86">
                <a:extLst>
                  <a:ext uri="{FF2B5EF4-FFF2-40B4-BE49-F238E27FC236}">
                    <a16:creationId xmlns:a16="http://schemas.microsoft.com/office/drawing/2014/main" id="{AEB19CCA-4E6A-6D73-004B-962BB522F0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2522" y="6475165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4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4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96" name="Freeform 87">
                <a:extLst>
                  <a:ext uri="{FF2B5EF4-FFF2-40B4-BE49-F238E27FC236}">
                    <a16:creationId xmlns:a16="http://schemas.microsoft.com/office/drawing/2014/main" id="{1C7A1715-12B6-41CB-BED1-470DBF5C98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2522" y="6747099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1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1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97" name="Freeform 95">
                <a:extLst>
                  <a:ext uri="{FF2B5EF4-FFF2-40B4-BE49-F238E27FC236}">
                    <a16:creationId xmlns:a16="http://schemas.microsoft.com/office/drawing/2014/main" id="{083DCD51-3247-FA59-BC09-3F6E59B3A0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4777091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98" name="Freeform 96">
                <a:extLst>
                  <a:ext uri="{FF2B5EF4-FFF2-40B4-BE49-F238E27FC236}">
                    <a16:creationId xmlns:a16="http://schemas.microsoft.com/office/drawing/2014/main" id="{13D41B7D-C83D-C7C3-0649-D4DACE8C8D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9292" y="4923634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99" name="Freeform 97">
                <a:extLst>
                  <a:ext uri="{FF2B5EF4-FFF2-40B4-BE49-F238E27FC236}">
                    <a16:creationId xmlns:a16="http://schemas.microsoft.com/office/drawing/2014/main" id="{827A4A87-8BF9-439C-0F05-8539CB3ED9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5070175"/>
                <a:ext cx="52876" cy="84602"/>
              </a:xfrm>
              <a:custGeom>
                <a:avLst/>
                <a:gdLst>
                  <a:gd name="T0" fmla="*/ 16 w 35"/>
                  <a:gd name="T1" fmla="*/ 14 h 56"/>
                  <a:gd name="T2" fmla="*/ 7 w 35"/>
                  <a:gd name="T3" fmla="*/ 21 h 56"/>
                  <a:gd name="T4" fmla="*/ 0 w 35"/>
                  <a:gd name="T5" fmla="*/ 11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4"/>
                    </a:moveTo>
                    <a:lnTo>
                      <a:pt x="7" y="21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00" name="Freeform 98">
                <a:extLst>
                  <a:ext uri="{FF2B5EF4-FFF2-40B4-BE49-F238E27FC236}">
                    <a16:creationId xmlns:a16="http://schemas.microsoft.com/office/drawing/2014/main" id="{B16FA524-93B9-6081-B22F-34F247EA70F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9292" y="5216718"/>
                <a:ext cx="67984" cy="84602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01" name="Freeform 99">
                <a:extLst>
                  <a:ext uri="{FF2B5EF4-FFF2-40B4-BE49-F238E27FC236}">
                    <a16:creationId xmlns:a16="http://schemas.microsoft.com/office/drawing/2014/main" id="{B023F938-CC6E-5D4B-784D-A0896B82C6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5361749"/>
                <a:ext cx="52876" cy="86113"/>
              </a:xfrm>
              <a:custGeom>
                <a:avLst/>
                <a:gdLst>
                  <a:gd name="T0" fmla="*/ 16 w 35"/>
                  <a:gd name="T1" fmla="*/ 15 h 57"/>
                  <a:gd name="T2" fmla="*/ 7 w 35"/>
                  <a:gd name="T3" fmla="*/ 22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8 h 57"/>
                  <a:gd name="T12" fmla="*/ 35 w 35"/>
                  <a:gd name="T13" fmla="*/ 48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8 h 57"/>
                  <a:gd name="T20" fmla="*/ 16 w 35"/>
                  <a:gd name="T21" fmla="*/ 48 h 57"/>
                  <a:gd name="T22" fmla="*/ 16 w 35"/>
                  <a:gd name="T23" fmla="*/ 1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5"/>
                    </a:moveTo>
                    <a:lnTo>
                      <a:pt x="7" y="22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5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02" name="Freeform 100">
                <a:extLst>
                  <a:ext uri="{FF2B5EF4-FFF2-40B4-BE49-F238E27FC236}">
                    <a16:creationId xmlns:a16="http://schemas.microsoft.com/office/drawing/2014/main" id="{2480917D-2A10-3257-AB61-9F62C93C7DD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9292" y="5508290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03" name="Freeform 101">
                <a:extLst>
                  <a:ext uri="{FF2B5EF4-FFF2-40B4-BE49-F238E27FC236}">
                    <a16:creationId xmlns:a16="http://schemas.microsoft.com/office/drawing/2014/main" id="{EA047B9F-4EE9-3CE5-E3D7-F4F3A736A1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5654833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04" name="Freeform 102">
                <a:extLst>
                  <a:ext uri="{FF2B5EF4-FFF2-40B4-BE49-F238E27FC236}">
                    <a16:creationId xmlns:a16="http://schemas.microsoft.com/office/drawing/2014/main" id="{41CF915A-9152-1248-3A67-BE61A82DD9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5801374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05" name="Freeform 103">
                <a:extLst>
                  <a:ext uri="{FF2B5EF4-FFF2-40B4-BE49-F238E27FC236}">
                    <a16:creationId xmlns:a16="http://schemas.microsoft.com/office/drawing/2014/main" id="{FAA6E708-E003-CD2C-6101-3D876574AA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5950938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5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5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06" name="Freeform 104">
                <a:extLst>
                  <a:ext uri="{FF2B5EF4-FFF2-40B4-BE49-F238E27FC236}">
                    <a16:creationId xmlns:a16="http://schemas.microsoft.com/office/drawing/2014/main" id="{1E6318B8-D20A-3943-114A-3537873F9FD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9292" y="6094458"/>
                <a:ext cx="67984" cy="89134"/>
              </a:xfrm>
              <a:custGeom>
                <a:avLst/>
                <a:gdLst>
                  <a:gd name="T0" fmla="*/ 17 w 19"/>
                  <a:gd name="T1" fmla="*/ 4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4 h 25"/>
                  <a:gd name="T16" fmla="*/ 6 w 19"/>
                  <a:gd name="T17" fmla="*/ 12 h 25"/>
                  <a:gd name="T18" fmla="*/ 10 w 19"/>
                  <a:gd name="T19" fmla="*/ 20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3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07" name="Freeform 105">
                <a:extLst>
                  <a:ext uri="{FF2B5EF4-FFF2-40B4-BE49-F238E27FC236}">
                    <a16:creationId xmlns:a16="http://schemas.microsoft.com/office/drawing/2014/main" id="{E4D5D0FD-EBA2-7329-9AD1-C92F9A8CF9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6244022"/>
                <a:ext cx="52876" cy="81580"/>
              </a:xfrm>
              <a:custGeom>
                <a:avLst/>
                <a:gdLst>
                  <a:gd name="T0" fmla="*/ 16 w 35"/>
                  <a:gd name="T1" fmla="*/ 12 h 54"/>
                  <a:gd name="T2" fmla="*/ 7 w 35"/>
                  <a:gd name="T3" fmla="*/ 19 h 54"/>
                  <a:gd name="T4" fmla="*/ 0 w 35"/>
                  <a:gd name="T5" fmla="*/ 9 h 54"/>
                  <a:gd name="T6" fmla="*/ 19 w 35"/>
                  <a:gd name="T7" fmla="*/ 0 h 54"/>
                  <a:gd name="T8" fmla="*/ 28 w 35"/>
                  <a:gd name="T9" fmla="*/ 0 h 54"/>
                  <a:gd name="T10" fmla="*/ 28 w 35"/>
                  <a:gd name="T11" fmla="*/ 45 h 54"/>
                  <a:gd name="T12" fmla="*/ 35 w 35"/>
                  <a:gd name="T13" fmla="*/ 45 h 54"/>
                  <a:gd name="T14" fmla="*/ 35 w 35"/>
                  <a:gd name="T15" fmla="*/ 54 h 54"/>
                  <a:gd name="T16" fmla="*/ 9 w 35"/>
                  <a:gd name="T17" fmla="*/ 54 h 54"/>
                  <a:gd name="T18" fmla="*/ 9 w 35"/>
                  <a:gd name="T19" fmla="*/ 45 h 54"/>
                  <a:gd name="T20" fmla="*/ 16 w 35"/>
                  <a:gd name="T21" fmla="*/ 45 h 54"/>
                  <a:gd name="T22" fmla="*/ 16 w 35"/>
                  <a:gd name="T23" fmla="*/ 1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4">
                    <a:moveTo>
                      <a:pt x="16" y="12"/>
                    </a:moveTo>
                    <a:lnTo>
                      <a:pt x="7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4"/>
                    </a:lnTo>
                    <a:lnTo>
                      <a:pt x="9" y="54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08" name="Freeform 106">
                <a:extLst>
                  <a:ext uri="{FF2B5EF4-FFF2-40B4-BE49-F238E27FC236}">
                    <a16:creationId xmlns:a16="http://schemas.microsoft.com/office/drawing/2014/main" id="{C76A2C14-AD17-E084-9F7E-8B77574388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9292" y="6386032"/>
                <a:ext cx="67984" cy="89134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2 h 25"/>
                  <a:gd name="T18" fmla="*/ 10 w 19"/>
                  <a:gd name="T19" fmla="*/ 21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09" name="Freeform 107">
                <a:extLst>
                  <a:ext uri="{FF2B5EF4-FFF2-40B4-BE49-F238E27FC236}">
                    <a16:creationId xmlns:a16="http://schemas.microsoft.com/office/drawing/2014/main" id="{3A637E4F-0E13-9F26-074A-4249E9D6C66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9292" y="6532573"/>
                <a:ext cx="67984" cy="89134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2 h 25"/>
                  <a:gd name="T18" fmla="*/ 10 w 19"/>
                  <a:gd name="T19" fmla="*/ 21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10" name="Freeform 108">
                <a:extLst>
                  <a:ext uri="{FF2B5EF4-FFF2-40B4-BE49-F238E27FC236}">
                    <a16:creationId xmlns:a16="http://schemas.microsoft.com/office/drawing/2014/main" id="{524F1D16-E743-223B-56F6-3EE3E54A90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6682137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8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8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8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8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11" name="Freeform 109">
                <a:extLst>
                  <a:ext uri="{FF2B5EF4-FFF2-40B4-BE49-F238E27FC236}">
                    <a16:creationId xmlns:a16="http://schemas.microsoft.com/office/drawing/2014/main" id="{373287E6-FA28-20FA-65B0-FA07090398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6828679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8 h 55"/>
                  <a:gd name="T12" fmla="*/ 35 w 35"/>
                  <a:gd name="T13" fmla="*/ 48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8 h 55"/>
                  <a:gd name="T20" fmla="*/ 16 w 35"/>
                  <a:gd name="T21" fmla="*/ 48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12" name="Freeform 135">
                <a:extLst>
                  <a:ext uri="{FF2B5EF4-FFF2-40B4-BE49-F238E27FC236}">
                    <a16:creationId xmlns:a16="http://schemas.microsoft.com/office/drawing/2014/main" id="{6B975780-135C-4545-307E-DBE9F5AB7B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2225" y="5144202"/>
                <a:ext cx="60430" cy="111795"/>
              </a:xfrm>
              <a:custGeom>
                <a:avLst/>
                <a:gdLst>
                  <a:gd name="T0" fmla="*/ 19 w 40"/>
                  <a:gd name="T1" fmla="*/ 14 h 74"/>
                  <a:gd name="T2" fmla="*/ 4 w 40"/>
                  <a:gd name="T3" fmla="*/ 24 h 74"/>
                  <a:gd name="T4" fmla="*/ 0 w 40"/>
                  <a:gd name="T5" fmla="*/ 14 h 74"/>
                  <a:gd name="T6" fmla="*/ 21 w 40"/>
                  <a:gd name="T7" fmla="*/ 0 h 74"/>
                  <a:gd name="T8" fmla="*/ 30 w 40"/>
                  <a:gd name="T9" fmla="*/ 0 h 74"/>
                  <a:gd name="T10" fmla="*/ 30 w 40"/>
                  <a:gd name="T11" fmla="*/ 64 h 74"/>
                  <a:gd name="T12" fmla="*/ 40 w 40"/>
                  <a:gd name="T13" fmla="*/ 64 h 74"/>
                  <a:gd name="T14" fmla="*/ 40 w 40"/>
                  <a:gd name="T15" fmla="*/ 74 h 74"/>
                  <a:gd name="T16" fmla="*/ 9 w 40"/>
                  <a:gd name="T17" fmla="*/ 74 h 74"/>
                  <a:gd name="T18" fmla="*/ 9 w 40"/>
                  <a:gd name="T19" fmla="*/ 64 h 74"/>
                  <a:gd name="T20" fmla="*/ 19 w 40"/>
                  <a:gd name="T21" fmla="*/ 64 h 74"/>
                  <a:gd name="T22" fmla="*/ 19 w 40"/>
                  <a:gd name="T23" fmla="*/ 1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4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4"/>
                    </a:lnTo>
                    <a:lnTo>
                      <a:pt x="9" y="74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13" name="Freeform 136">
                <a:extLst>
                  <a:ext uri="{FF2B5EF4-FFF2-40B4-BE49-F238E27FC236}">
                    <a16:creationId xmlns:a16="http://schemas.microsoft.com/office/drawing/2014/main" id="{1C70C3E0-6131-97A5-5B09-EBC8DBE7F9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91649" y="5333044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8 h 32"/>
                  <a:gd name="T14" fmla="*/ 16 w 21"/>
                  <a:gd name="T15" fmla="*/ 16 h 32"/>
                  <a:gd name="T16" fmla="*/ 10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0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0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14" name="Freeform 137">
                <a:extLst>
                  <a:ext uri="{FF2B5EF4-FFF2-40B4-BE49-F238E27FC236}">
                    <a16:creationId xmlns:a16="http://schemas.microsoft.com/office/drawing/2014/main" id="{ACA8853C-5908-DCC0-0E02-C19E485C257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91649" y="5715262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6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15" name="Freeform 138">
                <a:extLst>
                  <a:ext uri="{FF2B5EF4-FFF2-40B4-BE49-F238E27FC236}">
                    <a16:creationId xmlns:a16="http://schemas.microsoft.com/office/drawing/2014/main" id="{AA4FF802-9AE7-55CC-3528-3987B3B382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2225" y="5908637"/>
                <a:ext cx="60430" cy="107263"/>
              </a:xfrm>
              <a:custGeom>
                <a:avLst/>
                <a:gdLst>
                  <a:gd name="T0" fmla="*/ 19 w 40"/>
                  <a:gd name="T1" fmla="*/ 12 h 71"/>
                  <a:gd name="T2" fmla="*/ 4 w 40"/>
                  <a:gd name="T3" fmla="*/ 21 h 71"/>
                  <a:gd name="T4" fmla="*/ 0 w 40"/>
                  <a:gd name="T5" fmla="*/ 12 h 71"/>
                  <a:gd name="T6" fmla="*/ 21 w 40"/>
                  <a:gd name="T7" fmla="*/ 0 h 71"/>
                  <a:gd name="T8" fmla="*/ 30 w 40"/>
                  <a:gd name="T9" fmla="*/ 0 h 71"/>
                  <a:gd name="T10" fmla="*/ 30 w 40"/>
                  <a:gd name="T11" fmla="*/ 64 h 71"/>
                  <a:gd name="T12" fmla="*/ 40 w 40"/>
                  <a:gd name="T13" fmla="*/ 64 h 71"/>
                  <a:gd name="T14" fmla="*/ 40 w 40"/>
                  <a:gd name="T15" fmla="*/ 71 h 71"/>
                  <a:gd name="T16" fmla="*/ 9 w 40"/>
                  <a:gd name="T17" fmla="*/ 71 h 71"/>
                  <a:gd name="T18" fmla="*/ 9 w 40"/>
                  <a:gd name="T19" fmla="*/ 64 h 71"/>
                  <a:gd name="T20" fmla="*/ 19 w 40"/>
                  <a:gd name="T21" fmla="*/ 64 h 71"/>
                  <a:gd name="T22" fmla="*/ 19 w 40"/>
                  <a:gd name="T23" fmla="*/ 1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1">
                    <a:moveTo>
                      <a:pt x="19" y="12"/>
                    </a:moveTo>
                    <a:lnTo>
                      <a:pt x="4" y="21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1"/>
                    </a:lnTo>
                    <a:lnTo>
                      <a:pt x="9" y="71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16" name="Freeform 139">
                <a:extLst>
                  <a:ext uri="{FF2B5EF4-FFF2-40B4-BE49-F238E27FC236}">
                    <a16:creationId xmlns:a16="http://schemas.microsoft.com/office/drawing/2014/main" id="{8DCE2C04-8147-F814-DF29-F01A2D2DCE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2225" y="6097480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17" name="Freeform 140">
                <a:extLst>
                  <a:ext uri="{FF2B5EF4-FFF2-40B4-BE49-F238E27FC236}">
                    <a16:creationId xmlns:a16="http://schemas.microsoft.com/office/drawing/2014/main" id="{9A172087-84EE-E739-8590-01F9B72A4D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2225" y="6286323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18" name="Freeform 141">
                <a:extLst>
                  <a:ext uri="{FF2B5EF4-FFF2-40B4-BE49-F238E27FC236}">
                    <a16:creationId xmlns:a16="http://schemas.microsoft.com/office/drawing/2014/main" id="{8AFEB998-9D7B-E885-7090-D27786111B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2225" y="6479698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1 h 73"/>
                  <a:gd name="T4" fmla="*/ 0 w 40"/>
                  <a:gd name="T5" fmla="*/ 12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1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19" name="Freeform 142">
                <a:extLst>
                  <a:ext uri="{FF2B5EF4-FFF2-40B4-BE49-F238E27FC236}">
                    <a16:creationId xmlns:a16="http://schemas.microsoft.com/office/drawing/2014/main" id="{6643105E-C4F4-A690-B891-8E64D88875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91649" y="6668540"/>
                <a:ext cx="75537" cy="110285"/>
              </a:xfrm>
              <a:custGeom>
                <a:avLst/>
                <a:gdLst>
                  <a:gd name="T0" fmla="*/ 21 w 21"/>
                  <a:gd name="T1" fmla="*/ 15 h 31"/>
                  <a:gd name="T2" fmla="*/ 10 w 21"/>
                  <a:gd name="T3" fmla="*/ 31 h 31"/>
                  <a:gd name="T4" fmla="*/ 0 w 21"/>
                  <a:gd name="T5" fmla="*/ 15 h 31"/>
                  <a:gd name="T6" fmla="*/ 10 w 21"/>
                  <a:gd name="T7" fmla="*/ 0 h 31"/>
                  <a:gd name="T8" fmla="*/ 21 w 21"/>
                  <a:gd name="T9" fmla="*/ 15 h 31"/>
                  <a:gd name="T10" fmla="*/ 5 w 21"/>
                  <a:gd name="T11" fmla="*/ 15 h 31"/>
                  <a:gd name="T12" fmla="*/ 10 w 21"/>
                  <a:gd name="T13" fmla="*/ 27 h 31"/>
                  <a:gd name="T14" fmla="*/ 16 w 21"/>
                  <a:gd name="T15" fmla="*/ 15 h 31"/>
                  <a:gd name="T16" fmla="*/ 10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5"/>
                    </a:moveTo>
                    <a:cubicBezTo>
                      <a:pt x="21" y="26"/>
                      <a:pt x="18" y="31"/>
                      <a:pt x="10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5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0" y="27"/>
                    </a:cubicBezTo>
                    <a:cubicBezTo>
                      <a:pt x="14" y="27"/>
                      <a:pt x="16" y="23"/>
                      <a:pt x="16" y="15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20" name="Freeform 143">
                <a:extLst>
                  <a:ext uri="{FF2B5EF4-FFF2-40B4-BE49-F238E27FC236}">
                    <a16:creationId xmlns:a16="http://schemas.microsoft.com/office/drawing/2014/main" id="{002AB27B-DC7C-C3F8-5553-C4B0F9D889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91649" y="6857383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21" name="Freeform 149">
                <a:extLst>
                  <a:ext uri="{FF2B5EF4-FFF2-40B4-BE49-F238E27FC236}">
                    <a16:creationId xmlns:a16="http://schemas.microsoft.com/office/drawing/2014/main" id="{BFFCD103-4126-28A4-3882-2622E9E0B4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4198" y="4787667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22" name="Freeform 150">
                <a:extLst>
                  <a:ext uri="{FF2B5EF4-FFF2-40B4-BE49-F238E27FC236}">
                    <a16:creationId xmlns:a16="http://schemas.microsoft.com/office/drawing/2014/main" id="{FB1BBA03-413E-C0D0-2709-01EDB712B76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99092" y="5070175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23" name="Freeform 151">
                <a:extLst>
                  <a:ext uri="{FF2B5EF4-FFF2-40B4-BE49-F238E27FC236}">
                    <a16:creationId xmlns:a16="http://schemas.microsoft.com/office/drawing/2014/main" id="{863115FF-B616-AF7A-BCD3-8A62481404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4198" y="5358727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24" name="Freeform 152">
                <a:extLst>
                  <a:ext uri="{FF2B5EF4-FFF2-40B4-BE49-F238E27FC236}">
                    <a16:creationId xmlns:a16="http://schemas.microsoft.com/office/drawing/2014/main" id="{B98FE844-9CDE-A0DF-DA25-0FA151FA4C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99092" y="5641236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25" name="Freeform 153">
                <a:extLst>
                  <a:ext uri="{FF2B5EF4-FFF2-40B4-BE49-F238E27FC236}">
                    <a16:creationId xmlns:a16="http://schemas.microsoft.com/office/drawing/2014/main" id="{3BDC1571-7AF8-5545-CBF7-FB208E8A78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4198" y="5929788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26" name="Freeform 154">
                <a:extLst>
                  <a:ext uri="{FF2B5EF4-FFF2-40B4-BE49-F238E27FC236}">
                    <a16:creationId xmlns:a16="http://schemas.microsoft.com/office/drawing/2014/main" id="{E27537D0-5C64-25A9-8690-F785FC3B49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4198" y="6215318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27" name="Freeform 155">
                <a:extLst>
                  <a:ext uri="{FF2B5EF4-FFF2-40B4-BE49-F238E27FC236}">
                    <a16:creationId xmlns:a16="http://schemas.microsoft.com/office/drawing/2014/main" id="{44053400-378A-514B-8AAD-AFDC0B0502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4198" y="6500848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7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7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7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7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28" name="Freeform 156">
                <a:extLst>
                  <a:ext uri="{FF2B5EF4-FFF2-40B4-BE49-F238E27FC236}">
                    <a16:creationId xmlns:a16="http://schemas.microsoft.com/office/drawing/2014/main" id="{4B2BF404-BC0F-03F8-A68F-C7225DC183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4198" y="6786378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5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7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7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5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7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7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29" name="Line 8">
                <a:extLst>
                  <a:ext uri="{FF2B5EF4-FFF2-40B4-BE49-F238E27FC236}">
                    <a16:creationId xmlns:a16="http://schemas.microsoft.com/office/drawing/2014/main" id="{BFD6445D-2FAC-037E-6993-504B3A0CBEB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049918" y="3678777"/>
                <a:ext cx="0" cy="0"/>
              </a:xfrm>
              <a:prstGeom prst="lin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30" name="Line 9">
                <a:extLst>
                  <a:ext uri="{FF2B5EF4-FFF2-40B4-BE49-F238E27FC236}">
                    <a16:creationId xmlns:a16="http://schemas.microsoft.com/office/drawing/2014/main" id="{D974EF7B-A126-497E-B7A5-E0D9F086ED8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049918" y="3678777"/>
                <a:ext cx="0" cy="0"/>
              </a:xfrm>
              <a:prstGeom prst="lin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31" name="Freeform 10">
                <a:extLst>
                  <a:ext uri="{FF2B5EF4-FFF2-40B4-BE49-F238E27FC236}">
                    <a16:creationId xmlns:a16="http://schemas.microsoft.com/office/drawing/2014/main" id="{521F8D4E-0E79-FC46-0146-ADAAB536D0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83099" y="4749893"/>
                <a:ext cx="99709" cy="157117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8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7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7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8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7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7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32" name="Freeform 11">
                <a:extLst>
                  <a:ext uri="{FF2B5EF4-FFF2-40B4-BE49-F238E27FC236}">
                    <a16:creationId xmlns:a16="http://schemas.microsoft.com/office/drawing/2014/main" id="{2268AFA5-5D4E-A091-A28F-AEAB3EF56B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75545" y="5017295"/>
                <a:ext cx="120859" cy="164671"/>
              </a:xfrm>
              <a:custGeom>
                <a:avLst/>
                <a:gdLst>
                  <a:gd name="T0" fmla="*/ 32 w 34"/>
                  <a:gd name="T1" fmla="*/ 8 h 46"/>
                  <a:gd name="T2" fmla="*/ 34 w 34"/>
                  <a:gd name="T3" fmla="*/ 23 h 46"/>
                  <a:gd name="T4" fmla="*/ 31 w 34"/>
                  <a:gd name="T5" fmla="*/ 39 h 46"/>
                  <a:gd name="T6" fmla="*/ 17 w 34"/>
                  <a:gd name="T7" fmla="*/ 46 h 46"/>
                  <a:gd name="T8" fmla="*/ 3 w 34"/>
                  <a:gd name="T9" fmla="*/ 37 h 46"/>
                  <a:gd name="T10" fmla="*/ 0 w 34"/>
                  <a:gd name="T11" fmla="*/ 23 h 46"/>
                  <a:gd name="T12" fmla="*/ 17 w 34"/>
                  <a:gd name="T13" fmla="*/ 0 h 46"/>
                  <a:gd name="T14" fmla="*/ 32 w 34"/>
                  <a:gd name="T15" fmla="*/ 8 h 46"/>
                  <a:gd name="T16" fmla="*/ 10 w 34"/>
                  <a:gd name="T17" fmla="*/ 23 h 46"/>
                  <a:gd name="T18" fmla="*/ 17 w 34"/>
                  <a:gd name="T19" fmla="*/ 38 h 46"/>
                  <a:gd name="T20" fmla="*/ 25 w 34"/>
                  <a:gd name="T21" fmla="*/ 23 h 46"/>
                  <a:gd name="T22" fmla="*/ 17 w 34"/>
                  <a:gd name="T23" fmla="*/ 8 h 46"/>
                  <a:gd name="T24" fmla="*/ 10 w 34"/>
                  <a:gd name="T25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46">
                    <a:moveTo>
                      <a:pt x="32" y="8"/>
                    </a:moveTo>
                    <a:cubicBezTo>
                      <a:pt x="34" y="12"/>
                      <a:pt x="34" y="16"/>
                      <a:pt x="34" y="23"/>
                    </a:cubicBezTo>
                    <a:cubicBezTo>
                      <a:pt x="34" y="31"/>
                      <a:pt x="33" y="36"/>
                      <a:pt x="31" y="39"/>
                    </a:cubicBezTo>
                    <a:cubicBezTo>
                      <a:pt x="28" y="43"/>
                      <a:pt x="23" y="46"/>
                      <a:pt x="17" y="46"/>
                    </a:cubicBezTo>
                    <a:cubicBezTo>
                      <a:pt x="11" y="46"/>
                      <a:pt x="6" y="43"/>
                      <a:pt x="3" y="37"/>
                    </a:cubicBezTo>
                    <a:cubicBezTo>
                      <a:pt x="1" y="34"/>
                      <a:pt x="0" y="29"/>
                      <a:pt x="0" y="23"/>
                    </a:cubicBezTo>
                    <a:cubicBezTo>
                      <a:pt x="0" y="8"/>
                      <a:pt x="6" y="0"/>
                      <a:pt x="17" y="0"/>
                    </a:cubicBezTo>
                    <a:cubicBezTo>
                      <a:pt x="24" y="0"/>
                      <a:pt x="29" y="3"/>
                      <a:pt x="32" y="8"/>
                    </a:cubicBezTo>
                    <a:close/>
                    <a:moveTo>
                      <a:pt x="10" y="23"/>
                    </a:moveTo>
                    <a:cubicBezTo>
                      <a:pt x="10" y="33"/>
                      <a:pt x="12" y="38"/>
                      <a:pt x="17" y="38"/>
                    </a:cubicBezTo>
                    <a:cubicBezTo>
                      <a:pt x="22" y="38"/>
                      <a:pt x="25" y="33"/>
                      <a:pt x="25" y="23"/>
                    </a:cubicBezTo>
                    <a:cubicBezTo>
                      <a:pt x="25" y="13"/>
                      <a:pt x="22" y="8"/>
                      <a:pt x="17" y="8"/>
                    </a:cubicBezTo>
                    <a:cubicBezTo>
                      <a:pt x="12" y="8"/>
                      <a:pt x="10" y="13"/>
                      <a:pt x="10" y="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33" name="Freeform 12">
                <a:extLst>
                  <a:ext uri="{FF2B5EF4-FFF2-40B4-BE49-F238E27FC236}">
                    <a16:creationId xmlns:a16="http://schemas.microsoft.com/office/drawing/2014/main" id="{99F8F257-82B2-F010-455F-04EF64CCD1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83099" y="5292250"/>
                <a:ext cx="99709" cy="157117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6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7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7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6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7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7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34" name="Freeform 13">
                <a:extLst>
                  <a:ext uri="{FF2B5EF4-FFF2-40B4-BE49-F238E27FC236}">
                    <a16:creationId xmlns:a16="http://schemas.microsoft.com/office/drawing/2014/main" id="{7565187A-EF36-4F31-CB98-E06731DA16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83099" y="5564184"/>
                <a:ext cx="99709" cy="157117"/>
              </a:xfrm>
              <a:custGeom>
                <a:avLst/>
                <a:gdLst>
                  <a:gd name="T0" fmla="*/ 30 w 66"/>
                  <a:gd name="T1" fmla="*/ 23 h 104"/>
                  <a:gd name="T2" fmla="*/ 9 w 66"/>
                  <a:gd name="T3" fmla="*/ 35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5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5 h 104"/>
                  <a:gd name="T22" fmla="*/ 30 w 66"/>
                  <a:gd name="T23" fmla="*/ 2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3"/>
                    </a:moveTo>
                    <a:lnTo>
                      <a:pt x="9" y="35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5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5"/>
                    </a:lnTo>
                    <a:lnTo>
                      <a:pt x="30" y="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35" name="Freeform 14">
                <a:extLst>
                  <a:ext uri="{FF2B5EF4-FFF2-40B4-BE49-F238E27FC236}">
                    <a16:creationId xmlns:a16="http://schemas.microsoft.com/office/drawing/2014/main" id="{0DCA5FCD-AD7D-710A-715D-6ADD04E688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83099" y="5834606"/>
                <a:ext cx="99709" cy="157117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6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5 h 104"/>
                  <a:gd name="T12" fmla="*/ 66 w 66"/>
                  <a:gd name="T13" fmla="*/ 88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8 h 104"/>
                  <a:gd name="T20" fmla="*/ 30 w 66"/>
                  <a:gd name="T21" fmla="*/ 85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6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5"/>
                    </a:lnTo>
                    <a:lnTo>
                      <a:pt x="66" y="88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8"/>
                    </a:lnTo>
                    <a:lnTo>
                      <a:pt x="30" y="85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36" name="Freeform 15">
                <a:extLst>
                  <a:ext uri="{FF2B5EF4-FFF2-40B4-BE49-F238E27FC236}">
                    <a16:creationId xmlns:a16="http://schemas.microsoft.com/office/drawing/2014/main" id="{5022F784-0125-9C24-94AE-17DC989D50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83099" y="6106539"/>
                <a:ext cx="99709" cy="152585"/>
              </a:xfrm>
              <a:custGeom>
                <a:avLst/>
                <a:gdLst>
                  <a:gd name="T0" fmla="*/ 30 w 66"/>
                  <a:gd name="T1" fmla="*/ 23 h 101"/>
                  <a:gd name="T2" fmla="*/ 9 w 66"/>
                  <a:gd name="T3" fmla="*/ 35 h 101"/>
                  <a:gd name="T4" fmla="*/ 0 w 66"/>
                  <a:gd name="T5" fmla="*/ 19 h 101"/>
                  <a:gd name="T6" fmla="*/ 33 w 66"/>
                  <a:gd name="T7" fmla="*/ 0 h 101"/>
                  <a:gd name="T8" fmla="*/ 52 w 66"/>
                  <a:gd name="T9" fmla="*/ 0 h 101"/>
                  <a:gd name="T10" fmla="*/ 52 w 66"/>
                  <a:gd name="T11" fmla="*/ 85 h 101"/>
                  <a:gd name="T12" fmla="*/ 66 w 66"/>
                  <a:gd name="T13" fmla="*/ 85 h 101"/>
                  <a:gd name="T14" fmla="*/ 66 w 66"/>
                  <a:gd name="T15" fmla="*/ 101 h 101"/>
                  <a:gd name="T16" fmla="*/ 16 w 66"/>
                  <a:gd name="T17" fmla="*/ 101 h 101"/>
                  <a:gd name="T18" fmla="*/ 16 w 66"/>
                  <a:gd name="T19" fmla="*/ 85 h 101"/>
                  <a:gd name="T20" fmla="*/ 30 w 66"/>
                  <a:gd name="T21" fmla="*/ 85 h 101"/>
                  <a:gd name="T22" fmla="*/ 30 w 66"/>
                  <a:gd name="T23" fmla="*/ 23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1">
                    <a:moveTo>
                      <a:pt x="30" y="23"/>
                    </a:moveTo>
                    <a:lnTo>
                      <a:pt x="9" y="35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5"/>
                    </a:lnTo>
                    <a:lnTo>
                      <a:pt x="66" y="85"/>
                    </a:lnTo>
                    <a:lnTo>
                      <a:pt x="66" y="101"/>
                    </a:lnTo>
                    <a:lnTo>
                      <a:pt x="16" y="101"/>
                    </a:lnTo>
                    <a:lnTo>
                      <a:pt x="16" y="85"/>
                    </a:lnTo>
                    <a:lnTo>
                      <a:pt x="30" y="85"/>
                    </a:lnTo>
                    <a:lnTo>
                      <a:pt x="30" y="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37" name="Freeform 16">
                <a:extLst>
                  <a:ext uri="{FF2B5EF4-FFF2-40B4-BE49-F238E27FC236}">
                    <a16:creationId xmlns:a16="http://schemas.microsoft.com/office/drawing/2014/main" id="{8E122D3D-896D-A11A-F464-216590E635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75545" y="6644364"/>
                <a:ext cx="120859" cy="161650"/>
              </a:xfrm>
              <a:custGeom>
                <a:avLst/>
                <a:gdLst>
                  <a:gd name="T0" fmla="*/ 32 w 34"/>
                  <a:gd name="T1" fmla="*/ 8 h 45"/>
                  <a:gd name="T2" fmla="*/ 34 w 34"/>
                  <a:gd name="T3" fmla="*/ 22 h 45"/>
                  <a:gd name="T4" fmla="*/ 31 w 34"/>
                  <a:gd name="T5" fmla="*/ 39 h 45"/>
                  <a:gd name="T6" fmla="*/ 17 w 34"/>
                  <a:gd name="T7" fmla="*/ 45 h 45"/>
                  <a:gd name="T8" fmla="*/ 3 w 34"/>
                  <a:gd name="T9" fmla="*/ 37 h 45"/>
                  <a:gd name="T10" fmla="*/ 0 w 34"/>
                  <a:gd name="T11" fmla="*/ 22 h 45"/>
                  <a:gd name="T12" fmla="*/ 17 w 34"/>
                  <a:gd name="T13" fmla="*/ 0 h 45"/>
                  <a:gd name="T14" fmla="*/ 32 w 34"/>
                  <a:gd name="T15" fmla="*/ 8 h 45"/>
                  <a:gd name="T16" fmla="*/ 10 w 34"/>
                  <a:gd name="T17" fmla="*/ 22 h 45"/>
                  <a:gd name="T18" fmla="*/ 17 w 34"/>
                  <a:gd name="T19" fmla="*/ 37 h 45"/>
                  <a:gd name="T20" fmla="*/ 25 w 34"/>
                  <a:gd name="T21" fmla="*/ 22 h 45"/>
                  <a:gd name="T22" fmla="*/ 17 w 34"/>
                  <a:gd name="T23" fmla="*/ 7 h 45"/>
                  <a:gd name="T24" fmla="*/ 10 w 34"/>
                  <a:gd name="T25" fmla="*/ 2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45">
                    <a:moveTo>
                      <a:pt x="32" y="8"/>
                    </a:moveTo>
                    <a:cubicBezTo>
                      <a:pt x="34" y="11"/>
                      <a:pt x="34" y="16"/>
                      <a:pt x="34" y="22"/>
                    </a:cubicBezTo>
                    <a:cubicBezTo>
                      <a:pt x="34" y="30"/>
                      <a:pt x="33" y="35"/>
                      <a:pt x="31" y="39"/>
                    </a:cubicBezTo>
                    <a:cubicBezTo>
                      <a:pt x="28" y="43"/>
                      <a:pt x="23" y="45"/>
                      <a:pt x="17" y="45"/>
                    </a:cubicBezTo>
                    <a:cubicBezTo>
                      <a:pt x="11" y="45"/>
                      <a:pt x="6" y="42"/>
                      <a:pt x="3" y="37"/>
                    </a:cubicBezTo>
                    <a:cubicBezTo>
                      <a:pt x="1" y="33"/>
                      <a:pt x="0" y="29"/>
                      <a:pt x="0" y="22"/>
                    </a:cubicBezTo>
                    <a:cubicBezTo>
                      <a:pt x="0" y="7"/>
                      <a:pt x="6" y="0"/>
                      <a:pt x="17" y="0"/>
                    </a:cubicBezTo>
                    <a:cubicBezTo>
                      <a:pt x="24" y="0"/>
                      <a:pt x="29" y="2"/>
                      <a:pt x="32" y="8"/>
                    </a:cubicBezTo>
                    <a:close/>
                    <a:moveTo>
                      <a:pt x="10" y="22"/>
                    </a:moveTo>
                    <a:cubicBezTo>
                      <a:pt x="10" y="33"/>
                      <a:pt x="12" y="37"/>
                      <a:pt x="17" y="37"/>
                    </a:cubicBezTo>
                    <a:cubicBezTo>
                      <a:pt x="22" y="37"/>
                      <a:pt x="25" y="33"/>
                      <a:pt x="25" y="22"/>
                    </a:cubicBezTo>
                    <a:cubicBezTo>
                      <a:pt x="25" y="12"/>
                      <a:pt x="22" y="7"/>
                      <a:pt x="17" y="7"/>
                    </a:cubicBezTo>
                    <a:cubicBezTo>
                      <a:pt x="12" y="7"/>
                      <a:pt x="10" y="12"/>
                      <a:pt x="10" y="2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38" name="Freeform 17">
                <a:extLst>
                  <a:ext uri="{FF2B5EF4-FFF2-40B4-BE49-F238E27FC236}">
                    <a16:creationId xmlns:a16="http://schemas.microsoft.com/office/drawing/2014/main" id="{A4269EE6-6BD4-5605-A47E-5285F67DA3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75545" y="6916297"/>
                <a:ext cx="120859" cy="160139"/>
              </a:xfrm>
              <a:custGeom>
                <a:avLst/>
                <a:gdLst>
                  <a:gd name="T0" fmla="*/ 32 w 34"/>
                  <a:gd name="T1" fmla="*/ 8 h 45"/>
                  <a:gd name="T2" fmla="*/ 34 w 34"/>
                  <a:gd name="T3" fmla="*/ 22 h 45"/>
                  <a:gd name="T4" fmla="*/ 31 w 34"/>
                  <a:gd name="T5" fmla="*/ 39 h 45"/>
                  <a:gd name="T6" fmla="*/ 17 w 34"/>
                  <a:gd name="T7" fmla="*/ 45 h 45"/>
                  <a:gd name="T8" fmla="*/ 3 w 34"/>
                  <a:gd name="T9" fmla="*/ 37 h 45"/>
                  <a:gd name="T10" fmla="*/ 0 w 34"/>
                  <a:gd name="T11" fmla="*/ 22 h 45"/>
                  <a:gd name="T12" fmla="*/ 17 w 34"/>
                  <a:gd name="T13" fmla="*/ 0 h 45"/>
                  <a:gd name="T14" fmla="*/ 32 w 34"/>
                  <a:gd name="T15" fmla="*/ 8 h 45"/>
                  <a:gd name="T16" fmla="*/ 10 w 34"/>
                  <a:gd name="T17" fmla="*/ 22 h 45"/>
                  <a:gd name="T18" fmla="*/ 17 w 34"/>
                  <a:gd name="T19" fmla="*/ 37 h 45"/>
                  <a:gd name="T20" fmla="*/ 25 w 34"/>
                  <a:gd name="T21" fmla="*/ 22 h 45"/>
                  <a:gd name="T22" fmla="*/ 17 w 34"/>
                  <a:gd name="T23" fmla="*/ 7 h 45"/>
                  <a:gd name="T24" fmla="*/ 10 w 34"/>
                  <a:gd name="T25" fmla="*/ 2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45">
                    <a:moveTo>
                      <a:pt x="32" y="8"/>
                    </a:moveTo>
                    <a:cubicBezTo>
                      <a:pt x="34" y="11"/>
                      <a:pt x="34" y="16"/>
                      <a:pt x="34" y="22"/>
                    </a:cubicBezTo>
                    <a:cubicBezTo>
                      <a:pt x="34" y="30"/>
                      <a:pt x="33" y="35"/>
                      <a:pt x="31" y="39"/>
                    </a:cubicBezTo>
                    <a:cubicBezTo>
                      <a:pt x="28" y="43"/>
                      <a:pt x="23" y="45"/>
                      <a:pt x="17" y="45"/>
                    </a:cubicBezTo>
                    <a:cubicBezTo>
                      <a:pt x="11" y="45"/>
                      <a:pt x="6" y="42"/>
                      <a:pt x="3" y="37"/>
                    </a:cubicBezTo>
                    <a:cubicBezTo>
                      <a:pt x="1" y="33"/>
                      <a:pt x="0" y="29"/>
                      <a:pt x="0" y="22"/>
                    </a:cubicBezTo>
                    <a:cubicBezTo>
                      <a:pt x="0" y="7"/>
                      <a:pt x="6" y="0"/>
                      <a:pt x="17" y="0"/>
                    </a:cubicBezTo>
                    <a:cubicBezTo>
                      <a:pt x="24" y="0"/>
                      <a:pt x="29" y="2"/>
                      <a:pt x="32" y="8"/>
                    </a:cubicBezTo>
                    <a:close/>
                    <a:moveTo>
                      <a:pt x="10" y="22"/>
                    </a:moveTo>
                    <a:cubicBezTo>
                      <a:pt x="10" y="33"/>
                      <a:pt x="12" y="37"/>
                      <a:pt x="17" y="37"/>
                    </a:cubicBezTo>
                    <a:cubicBezTo>
                      <a:pt x="22" y="37"/>
                      <a:pt x="25" y="33"/>
                      <a:pt x="25" y="22"/>
                    </a:cubicBezTo>
                    <a:cubicBezTo>
                      <a:pt x="25" y="12"/>
                      <a:pt x="22" y="7"/>
                      <a:pt x="17" y="7"/>
                    </a:cubicBezTo>
                    <a:cubicBezTo>
                      <a:pt x="12" y="7"/>
                      <a:pt x="10" y="12"/>
                      <a:pt x="10" y="2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39" name="Freeform 23">
                <a:extLst>
                  <a:ext uri="{FF2B5EF4-FFF2-40B4-BE49-F238E27FC236}">
                    <a16:creationId xmlns:a16="http://schemas.microsoft.com/office/drawing/2014/main" id="{D5DEEB41-31CB-8642-C0F3-76F76A1319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00590" y="4029270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8 h 32"/>
                  <a:gd name="T14" fmla="*/ 16 w 21"/>
                  <a:gd name="T15" fmla="*/ 16 h 32"/>
                  <a:gd name="T16" fmla="*/ 11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1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1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40" name="Freeform 24">
                <a:extLst>
                  <a:ext uri="{FF2B5EF4-FFF2-40B4-BE49-F238E27FC236}">
                    <a16:creationId xmlns:a16="http://schemas.microsoft.com/office/drawing/2014/main" id="{9F321CEE-F6FD-2823-770A-B69A12D02F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00590" y="4221133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5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41" name="Freeform 25">
                <a:extLst>
                  <a:ext uri="{FF2B5EF4-FFF2-40B4-BE49-F238E27FC236}">
                    <a16:creationId xmlns:a16="http://schemas.microsoft.com/office/drawing/2014/main" id="{D9BD9560-8E8D-4786-C1D6-66DA51E9F9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3612" y="4603352"/>
                <a:ext cx="64962" cy="11028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2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2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42" name="Freeform 26">
                <a:extLst>
                  <a:ext uri="{FF2B5EF4-FFF2-40B4-BE49-F238E27FC236}">
                    <a16:creationId xmlns:a16="http://schemas.microsoft.com/office/drawing/2014/main" id="{83FAE35E-BF90-3132-1E18-009BA53B00D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00590" y="4792194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6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43" name="Freeform 27">
                <a:extLst>
                  <a:ext uri="{FF2B5EF4-FFF2-40B4-BE49-F238E27FC236}">
                    <a16:creationId xmlns:a16="http://schemas.microsoft.com/office/drawing/2014/main" id="{A2D572B2-2F6B-341E-0073-480F016973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00590" y="4982547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7 h 32"/>
                  <a:gd name="T14" fmla="*/ 16 w 21"/>
                  <a:gd name="T15" fmla="*/ 16 h 32"/>
                  <a:gd name="T16" fmla="*/ 11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1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44" name="Freeform 28">
                <a:extLst>
                  <a:ext uri="{FF2B5EF4-FFF2-40B4-BE49-F238E27FC236}">
                    <a16:creationId xmlns:a16="http://schemas.microsoft.com/office/drawing/2014/main" id="{335D4BA6-8C9B-0F16-CDEC-216288A3D7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3612" y="5363254"/>
                <a:ext cx="64962" cy="111795"/>
              </a:xfrm>
              <a:custGeom>
                <a:avLst/>
                <a:gdLst>
                  <a:gd name="T0" fmla="*/ 19 w 43"/>
                  <a:gd name="T1" fmla="*/ 14 h 74"/>
                  <a:gd name="T2" fmla="*/ 5 w 43"/>
                  <a:gd name="T3" fmla="*/ 24 h 74"/>
                  <a:gd name="T4" fmla="*/ 0 w 43"/>
                  <a:gd name="T5" fmla="*/ 14 h 74"/>
                  <a:gd name="T6" fmla="*/ 22 w 43"/>
                  <a:gd name="T7" fmla="*/ 0 h 74"/>
                  <a:gd name="T8" fmla="*/ 34 w 43"/>
                  <a:gd name="T9" fmla="*/ 0 h 74"/>
                  <a:gd name="T10" fmla="*/ 34 w 43"/>
                  <a:gd name="T11" fmla="*/ 64 h 74"/>
                  <a:gd name="T12" fmla="*/ 43 w 43"/>
                  <a:gd name="T13" fmla="*/ 64 h 74"/>
                  <a:gd name="T14" fmla="*/ 43 w 43"/>
                  <a:gd name="T15" fmla="*/ 74 h 74"/>
                  <a:gd name="T16" fmla="*/ 10 w 43"/>
                  <a:gd name="T17" fmla="*/ 74 h 74"/>
                  <a:gd name="T18" fmla="*/ 10 w 43"/>
                  <a:gd name="T19" fmla="*/ 64 h 74"/>
                  <a:gd name="T20" fmla="*/ 19 w 43"/>
                  <a:gd name="T21" fmla="*/ 64 h 74"/>
                  <a:gd name="T22" fmla="*/ 19 w 43"/>
                  <a:gd name="T23" fmla="*/ 1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4">
                    <a:moveTo>
                      <a:pt x="19" y="14"/>
                    </a:moveTo>
                    <a:lnTo>
                      <a:pt x="5" y="24"/>
                    </a:lnTo>
                    <a:lnTo>
                      <a:pt x="0" y="14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4"/>
                    </a:lnTo>
                    <a:lnTo>
                      <a:pt x="10" y="74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45" name="Freeform 29">
                <a:extLst>
                  <a:ext uri="{FF2B5EF4-FFF2-40B4-BE49-F238E27FC236}">
                    <a16:creationId xmlns:a16="http://schemas.microsoft.com/office/drawing/2014/main" id="{68ABAFE0-9DD6-83EB-40E1-5490EECDA9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00590" y="5553608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8 h 32"/>
                  <a:gd name="T14" fmla="*/ 16 w 21"/>
                  <a:gd name="T15" fmla="*/ 16 h 32"/>
                  <a:gd name="T16" fmla="*/ 11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1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1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46" name="Freeform 30">
                <a:extLst>
                  <a:ext uri="{FF2B5EF4-FFF2-40B4-BE49-F238E27FC236}">
                    <a16:creationId xmlns:a16="http://schemas.microsoft.com/office/drawing/2014/main" id="{B67A859A-3D98-475F-3A44-2C674AA28A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3612" y="5745473"/>
                <a:ext cx="64962" cy="11028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4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4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47" name="Freeform 31">
                <a:extLst>
                  <a:ext uri="{FF2B5EF4-FFF2-40B4-BE49-F238E27FC236}">
                    <a16:creationId xmlns:a16="http://schemas.microsoft.com/office/drawing/2014/main" id="{EF900B6F-A132-63A9-C813-B0CC3588CB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00590" y="5934315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7 h 32"/>
                  <a:gd name="T14" fmla="*/ 16 w 21"/>
                  <a:gd name="T15" fmla="*/ 16 h 32"/>
                  <a:gd name="T16" fmla="*/ 11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1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48" name="Freeform 32">
                <a:extLst>
                  <a:ext uri="{FF2B5EF4-FFF2-40B4-BE49-F238E27FC236}">
                    <a16:creationId xmlns:a16="http://schemas.microsoft.com/office/drawing/2014/main" id="{D19726AE-1743-BA59-FC9B-2BC15202B8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3612" y="6127690"/>
                <a:ext cx="64962" cy="107263"/>
              </a:xfrm>
              <a:custGeom>
                <a:avLst/>
                <a:gdLst>
                  <a:gd name="T0" fmla="*/ 19 w 43"/>
                  <a:gd name="T1" fmla="*/ 12 h 71"/>
                  <a:gd name="T2" fmla="*/ 5 w 43"/>
                  <a:gd name="T3" fmla="*/ 21 h 71"/>
                  <a:gd name="T4" fmla="*/ 0 w 43"/>
                  <a:gd name="T5" fmla="*/ 12 h 71"/>
                  <a:gd name="T6" fmla="*/ 22 w 43"/>
                  <a:gd name="T7" fmla="*/ 0 h 71"/>
                  <a:gd name="T8" fmla="*/ 34 w 43"/>
                  <a:gd name="T9" fmla="*/ 0 h 71"/>
                  <a:gd name="T10" fmla="*/ 34 w 43"/>
                  <a:gd name="T11" fmla="*/ 64 h 71"/>
                  <a:gd name="T12" fmla="*/ 43 w 43"/>
                  <a:gd name="T13" fmla="*/ 64 h 71"/>
                  <a:gd name="T14" fmla="*/ 43 w 43"/>
                  <a:gd name="T15" fmla="*/ 71 h 71"/>
                  <a:gd name="T16" fmla="*/ 10 w 43"/>
                  <a:gd name="T17" fmla="*/ 71 h 71"/>
                  <a:gd name="T18" fmla="*/ 10 w 43"/>
                  <a:gd name="T19" fmla="*/ 64 h 71"/>
                  <a:gd name="T20" fmla="*/ 19 w 43"/>
                  <a:gd name="T21" fmla="*/ 64 h 71"/>
                  <a:gd name="T22" fmla="*/ 19 w 43"/>
                  <a:gd name="T23" fmla="*/ 1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1">
                    <a:moveTo>
                      <a:pt x="19" y="12"/>
                    </a:moveTo>
                    <a:lnTo>
                      <a:pt x="5" y="21"/>
                    </a:lnTo>
                    <a:lnTo>
                      <a:pt x="0" y="12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1"/>
                    </a:lnTo>
                    <a:lnTo>
                      <a:pt x="10" y="71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49" name="Freeform 33">
                <a:extLst>
                  <a:ext uri="{FF2B5EF4-FFF2-40B4-BE49-F238E27FC236}">
                    <a16:creationId xmlns:a16="http://schemas.microsoft.com/office/drawing/2014/main" id="{8ABFE2EC-1826-0AB6-80BA-4336D7792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3612" y="6316533"/>
                <a:ext cx="64962" cy="11028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4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4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50" name="Freeform 34">
                <a:extLst>
                  <a:ext uri="{FF2B5EF4-FFF2-40B4-BE49-F238E27FC236}">
                    <a16:creationId xmlns:a16="http://schemas.microsoft.com/office/drawing/2014/main" id="{0AAD26DE-197C-3D90-3EEB-990DA55A7B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3612" y="6505375"/>
                <a:ext cx="64962" cy="11028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4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4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51" name="Freeform 43">
                <a:extLst>
                  <a:ext uri="{FF2B5EF4-FFF2-40B4-BE49-F238E27FC236}">
                    <a16:creationId xmlns:a16="http://schemas.microsoft.com/office/drawing/2014/main" id="{2BFD3E3F-68F6-5E17-E561-420AE614199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2468" y="4228688"/>
                <a:ext cx="63451" cy="9366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5" y="0"/>
                      <a:pt x="18" y="5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52" name="Freeform 44">
                <a:extLst>
                  <a:ext uri="{FF2B5EF4-FFF2-40B4-BE49-F238E27FC236}">
                    <a16:creationId xmlns:a16="http://schemas.microsoft.com/office/drawing/2014/main" id="{2BE55025-B50C-6459-CFF3-DF41F6A7156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2468" y="4382783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1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53" name="Freeform 45">
                <a:extLst>
                  <a:ext uri="{FF2B5EF4-FFF2-40B4-BE49-F238E27FC236}">
                    <a16:creationId xmlns:a16="http://schemas.microsoft.com/office/drawing/2014/main" id="{C84AAE47-C894-4956-64A2-470471F274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5490" y="4689463"/>
                <a:ext cx="49855" cy="89134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49 h 59"/>
                  <a:gd name="T20" fmla="*/ 17 w 33"/>
                  <a:gd name="T21" fmla="*/ 49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54" name="Freeform 46">
                <a:extLst>
                  <a:ext uri="{FF2B5EF4-FFF2-40B4-BE49-F238E27FC236}">
                    <a16:creationId xmlns:a16="http://schemas.microsoft.com/office/drawing/2014/main" id="{C76F47CA-5E4B-21D1-FC15-C36550BBD9D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2468" y="4839027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55" name="Freeform 47">
                <a:extLst>
                  <a:ext uri="{FF2B5EF4-FFF2-40B4-BE49-F238E27FC236}">
                    <a16:creationId xmlns:a16="http://schemas.microsoft.com/office/drawing/2014/main" id="{121DD3AB-B704-FC41-0059-1E315C3AD4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2468" y="4993123"/>
                <a:ext cx="63451" cy="89134"/>
              </a:xfrm>
              <a:custGeom>
                <a:avLst/>
                <a:gdLst>
                  <a:gd name="T0" fmla="*/ 18 w 18"/>
                  <a:gd name="T1" fmla="*/ 13 h 25"/>
                  <a:gd name="T2" fmla="*/ 9 w 18"/>
                  <a:gd name="T3" fmla="*/ 25 h 25"/>
                  <a:gd name="T4" fmla="*/ 0 w 18"/>
                  <a:gd name="T5" fmla="*/ 12 h 25"/>
                  <a:gd name="T6" fmla="*/ 9 w 18"/>
                  <a:gd name="T7" fmla="*/ 0 h 25"/>
                  <a:gd name="T8" fmla="*/ 18 w 18"/>
                  <a:gd name="T9" fmla="*/ 13 h 25"/>
                  <a:gd name="T10" fmla="*/ 5 w 18"/>
                  <a:gd name="T11" fmla="*/ 12 h 25"/>
                  <a:gd name="T12" fmla="*/ 9 w 18"/>
                  <a:gd name="T13" fmla="*/ 22 h 25"/>
                  <a:gd name="T14" fmla="*/ 13 w 18"/>
                  <a:gd name="T15" fmla="*/ 13 h 25"/>
                  <a:gd name="T16" fmla="*/ 9 w 18"/>
                  <a:gd name="T17" fmla="*/ 3 h 25"/>
                  <a:gd name="T18" fmla="*/ 5 w 18"/>
                  <a:gd name="T1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5">
                    <a:moveTo>
                      <a:pt x="18" y="13"/>
                    </a:moveTo>
                    <a:cubicBezTo>
                      <a:pt x="18" y="21"/>
                      <a:pt x="15" y="25"/>
                      <a:pt x="9" y="25"/>
                    </a:cubicBezTo>
                    <a:cubicBezTo>
                      <a:pt x="3" y="25"/>
                      <a:pt x="0" y="21"/>
                      <a:pt x="0" y="12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2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6"/>
                      <a:pt x="12" y="3"/>
                      <a:pt x="9" y="3"/>
                    </a:cubicBezTo>
                    <a:cubicBezTo>
                      <a:pt x="6" y="3"/>
                      <a:pt x="5" y="6"/>
                      <a:pt x="5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56" name="Freeform 48">
                <a:extLst>
                  <a:ext uri="{FF2B5EF4-FFF2-40B4-BE49-F238E27FC236}">
                    <a16:creationId xmlns:a16="http://schemas.microsoft.com/office/drawing/2014/main" id="{BBC6E278-FAD2-A6DC-23A4-53B894B146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5490" y="5299803"/>
                <a:ext cx="49855" cy="84602"/>
              </a:xfrm>
              <a:custGeom>
                <a:avLst/>
                <a:gdLst>
                  <a:gd name="T0" fmla="*/ 17 w 33"/>
                  <a:gd name="T1" fmla="*/ 9 h 56"/>
                  <a:gd name="T2" fmla="*/ 5 w 33"/>
                  <a:gd name="T3" fmla="*/ 16 h 56"/>
                  <a:gd name="T4" fmla="*/ 0 w 33"/>
                  <a:gd name="T5" fmla="*/ 9 h 56"/>
                  <a:gd name="T6" fmla="*/ 19 w 33"/>
                  <a:gd name="T7" fmla="*/ 0 h 56"/>
                  <a:gd name="T8" fmla="*/ 26 w 33"/>
                  <a:gd name="T9" fmla="*/ 0 h 56"/>
                  <a:gd name="T10" fmla="*/ 26 w 33"/>
                  <a:gd name="T11" fmla="*/ 49 h 56"/>
                  <a:gd name="T12" fmla="*/ 33 w 33"/>
                  <a:gd name="T13" fmla="*/ 49 h 56"/>
                  <a:gd name="T14" fmla="*/ 33 w 33"/>
                  <a:gd name="T15" fmla="*/ 56 h 56"/>
                  <a:gd name="T16" fmla="*/ 10 w 33"/>
                  <a:gd name="T17" fmla="*/ 56 h 56"/>
                  <a:gd name="T18" fmla="*/ 10 w 33"/>
                  <a:gd name="T19" fmla="*/ 49 h 56"/>
                  <a:gd name="T20" fmla="*/ 17 w 33"/>
                  <a:gd name="T21" fmla="*/ 49 h 56"/>
                  <a:gd name="T22" fmla="*/ 17 w 33"/>
                  <a:gd name="T23" fmla="*/ 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6">
                    <a:moveTo>
                      <a:pt x="17" y="9"/>
                    </a:moveTo>
                    <a:lnTo>
                      <a:pt x="5" y="16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6"/>
                    </a:lnTo>
                    <a:lnTo>
                      <a:pt x="10" y="56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57" name="Freeform 49">
                <a:extLst>
                  <a:ext uri="{FF2B5EF4-FFF2-40B4-BE49-F238E27FC236}">
                    <a16:creationId xmlns:a16="http://schemas.microsoft.com/office/drawing/2014/main" id="{0A283A17-7DBD-14C5-1D6A-22A52745CE5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2468" y="5449367"/>
                <a:ext cx="63451" cy="89134"/>
              </a:xfrm>
              <a:custGeom>
                <a:avLst/>
                <a:gdLst>
                  <a:gd name="T0" fmla="*/ 18 w 18"/>
                  <a:gd name="T1" fmla="*/ 13 h 25"/>
                  <a:gd name="T2" fmla="*/ 9 w 18"/>
                  <a:gd name="T3" fmla="*/ 25 h 25"/>
                  <a:gd name="T4" fmla="*/ 0 w 18"/>
                  <a:gd name="T5" fmla="*/ 13 h 25"/>
                  <a:gd name="T6" fmla="*/ 9 w 18"/>
                  <a:gd name="T7" fmla="*/ 0 h 25"/>
                  <a:gd name="T8" fmla="*/ 18 w 18"/>
                  <a:gd name="T9" fmla="*/ 13 h 25"/>
                  <a:gd name="T10" fmla="*/ 5 w 18"/>
                  <a:gd name="T11" fmla="*/ 13 h 25"/>
                  <a:gd name="T12" fmla="*/ 9 w 18"/>
                  <a:gd name="T13" fmla="*/ 22 h 25"/>
                  <a:gd name="T14" fmla="*/ 13 w 18"/>
                  <a:gd name="T15" fmla="*/ 13 h 25"/>
                  <a:gd name="T16" fmla="*/ 9 w 18"/>
                  <a:gd name="T17" fmla="*/ 3 h 25"/>
                  <a:gd name="T18" fmla="*/ 5 w 18"/>
                  <a:gd name="T19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5">
                    <a:moveTo>
                      <a:pt x="18" y="13"/>
                    </a:moveTo>
                    <a:cubicBezTo>
                      <a:pt x="18" y="21"/>
                      <a:pt x="15" y="25"/>
                      <a:pt x="9" y="25"/>
                    </a:cubicBezTo>
                    <a:cubicBezTo>
                      <a:pt x="3" y="25"/>
                      <a:pt x="0" y="21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6"/>
                      <a:pt x="12" y="3"/>
                      <a:pt x="9" y="3"/>
                    </a:cubicBezTo>
                    <a:cubicBezTo>
                      <a:pt x="6" y="3"/>
                      <a:pt x="5" y="6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58" name="Freeform 50">
                <a:extLst>
                  <a:ext uri="{FF2B5EF4-FFF2-40B4-BE49-F238E27FC236}">
                    <a16:creationId xmlns:a16="http://schemas.microsoft.com/office/drawing/2014/main" id="{D530192C-3269-35FA-D2F3-B8613C9B4D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5490" y="5603463"/>
                <a:ext cx="49855" cy="89134"/>
              </a:xfrm>
              <a:custGeom>
                <a:avLst/>
                <a:gdLst>
                  <a:gd name="T0" fmla="*/ 17 w 33"/>
                  <a:gd name="T1" fmla="*/ 11 h 59"/>
                  <a:gd name="T2" fmla="*/ 5 w 33"/>
                  <a:gd name="T3" fmla="*/ 18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52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52 h 59"/>
                  <a:gd name="T20" fmla="*/ 17 w 33"/>
                  <a:gd name="T21" fmla="*/ 49 h 59"/>
                  <a:gd name="T22" fmla="*/ 17 w 33"/>
                  <a:gd name="T23" fmla="*/ 11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1"/>
                    </a:moveTo>
                    <a:lnTo>
                      <a:pt x="5" y="18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52"/>
                    </a:lnTo>
                    <a:lnTo>
                      <a:pt x="17" y="49"/>
                    </a:lnTo>
                    <a:lnTo>
                      <a:pt x="17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59" name="Freeform 51">
                <a:extLst>
                  <a:ext uri="{FF2B5EF4-FFF2-40B4-BE49-F238E27FC236}">
                    <a16:creationId xmlns:a16="http://schemas.microsoft.com/office/drawing/2014/main" id="{13F27343-2709-6FB5-E45A-6F7741B5D41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2468" y="5753026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60" name="Freeform 52">
                <a:extLst>
                  <a:ext uri="{FF2B5EF4-FFF2-40B4-BE49-F238E27FC236}">
                    <a16:creationId xmlns:a16="http://schemas.microsoft.com/office/drawing/2014/main" id="{E8EC6478-7E22-3956-A204-FBF35E649F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5490" y="5905611"/>
                <a:ext cx="49855" cy="89134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12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52 h 59"/>
                  <a:gd name="T12" fmla="*/ 33 w 33"/>
                  <a:gd name="T13" fmla="*/ 52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52 h 59"/>
                  <a:gd name="T20" fmla="*/ 17 w 33"/>
                  <a:gd name="T21" fmla="*/ 52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52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52"/>
                    </a:lnTo>
                    <a:lnTo>
                      <a:pt x="17" y="52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61" name="Freeform 53">
                <a:extLst>
                  <a:ext uri="{FF2B5EF4-FFF2-40B4-BE49-F238E27FC236}">
                    <a16:creationId xmlns:a16="http://schemas.microsoft.com/office/drawing/2014/main" id="{D0F0C38B-FC6F-87B7-1C2D-BF549B3741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5490" y="6059707"/>
                <a:ext cx="49855" cy="89134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52 h 59"/>
                  <a:gd name="T12" fmla="*/ 33 w 33"/>
                  <a:gd name="T13" fmla="*/ 52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52 h 59"/>
                  <a:gd name="T20" fmla="*/ 17 w 33"/>
                  <a:gd name="T21" fmla="*/ 52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52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52"/>
                    </a:lnTo>
                    <a:lnTo>
                      <a:pt x="17" y="52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62" name="Freeform 54">
                <a:extLst>
                  <a:ext uri="{FF2B5EF4-FFF2-40B4-BE49-F238E27FC236}">
                    <a16:creationId xmlns:a16="http://schemas.microsoft.com/office/drawing/2014/main" id="{35CC7C5E-6CF8-B467-6AA2-20C57DCB3A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5490" y="6213803"/>
                <a:ext cx="49855" cy="84602"/>
              </a:xfrm>
              <a:custGeom>
                <a:avLst/>
                <a:gdLst>
                  <a:gd name="T0" fmla="*/ 17 w 33"/>
                  <a:gd name="T1" fmla="*/ 9 h 56"/>
                  <a:gd name="T2" fmla="*/ 5 w 33"/>
                  <a:gd name="T3" fmla="*/ 16 h 56"/>
                  <a:gd name="T4" fmla="*/ 0 w 33"/>
                  <a:gd name="T5" fmla="*/ 9 h 56"/>
                  <a:gd name="T6" fmla="*/ 19 w 33"/>
                  <a:gd name="T7" fmla="*/ 0 h 56"/>
                  <a:gd name="T8" fmla="*/ 26 w 33"/>
                  <a:gd name="T9" fmla="*/ 0 h 56"/>
                  <a:gd name="T10" fmla="*/ 26 w 33"/>
                  <a:gd name="T11" fmla="*/ 49 h 56"/>
                  <a:gd name="T12" fmla="*/ 33 w 33"/>
                  <a:gd name="T13" fmla="*/ 49 h 56"/>
                  <a:gd name="T14" fmla="*/ 33 w 33"/>
                  <a:gd name="T15" fmla="*/ 56 h 56"/>
                  <a:gd name="T16" fmla="*/ 10 w 33"/>
                  <a:gd name="T17" fmla="*/ 56 h 56"/>
                  <a:gd name="T18" fmla="*/ 10 w 33"/>
                  <a:gd name="T19" fmla="*/ 49 h 56"/>
                  <a:gd name="T20" fmla="*/ 17 w 33"/>
                  <a:gd name="T21" fmla="*/ 49 h 56"/>
                  <a:gd name="T22" fmla="*/ 17 w 33"/>
                  <a:gd name="T23" fmla="*/ 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6">
                    <a:moveTo>
                      <a:pt x="17" y="9"/>
                    </a:moveTo>
                    <a:lnTo>
                      <a:pt x="5" y="16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6"/>
                    </a:lnTo>
                    <a:lnTo>
                      <a:pt x="10" y="56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63" name="Freeform 55">
                <a:extLst>
                  <a:ext uri="{FF2B5EF4-FFF2-40B4-BE49-F238E27FC236}">
                    <a16:creationId xmlns:a16="http://schemas.microsoft.com/office/drawing/2014/main" id="{636B741B-74C6-86D8-E5C2-C1D914A5B9E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2468" y="6667025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64" name="Freeform 56">
                <a:extLst>
                  <a:ext uri="{FF2B5EF4-FFF2-40B4-BE49-F238E27FC236}">
                    <a16:creationId xmlns:a16="http://schemas.microsoft.com/office/drawing/2014/main" id="{C5FF3A06-7D60-68C5-04F4-A3A165DDAA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2468" y="6819610"/>
                <a:ext cx="63451" cy="89134"/>
              </a:xfrm>
              <a:custGeom>
                <a:avLst/>
                <a:gdLst>
                  <a:gd name="T0" fmla="*/ 18 w 18"/>
                  <a:gd name="T1" fmla="*/ 13 h 25"/>
                  <a:gd name="T2" fmla="*/ 9 w 18"/>
                  <a:gd name="T3" fmla="*/ 25 h 25"/>
                  <a:gd name="T4" fmla="*/ 0 w 18"/>
                  <a:gd name="T5" fmla="*/ 13 h 25"/>
                  <a:gd name="T6" fmla="*/ 9 w 18"/>
                  <a:gd name="T7" fmla="*/ 0 h 25"/>
                  <a:gd name="T8" fmla="*/ 18 w 18"/>
                  <a:gd name="T9" fmla="*/ 13 h 25"/>
                  <a:gd name="T10" fmla="*/ 5 w 18"/>
                  <a:gd name="T11" fmla="*/ 13 h 25"/>
                  <a:gd name="T12" fmla="*/ 9 w 18"/>
                  <a:gd name="T13" fmla="*/ 22 h 25"/>
                  <a:gd name="T14" fmla="*/ 13 w 18"/>
                  <a:gd name="T15" fmla="*/ 13 h 25"/>
                  <a:gd name="T16" fmla="*/ 9 w 18"/>
                  <a:gd name="T17" fmla="*/ 4 h 25"/>
                  <a:gd name="T18" fmla="*/ 5 w 18"/>
                  <a:gd name="T19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5">
                    <a:moveTo>
                      <a:pt x="18" y="13"/>
                    </a:moveTo>
                    <a:cubicBezTo>
                      <a:pt x="18" y="21"/>
                      <a:pt x="15" y="25"/>
                      <a:pt x="9" y="25"/>
                    </a:cubicBezTo>
                    <a:cubicBezTo>
                      <a:pt x="3" y="25"/>
                      <a:pt x="0" y="21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65" name="Freeform 63">
                <a:extLst>
                  <a:ext uri="{FF2B5EF4-FFF2-40B4-BE49-F238E27FC236}">
                    <a16:creationId xmlns:a16="http://schemas.microsoft.com/office/drawing/2014/main" id="{BFE9496D-3887-EA18-2CD2-AAB4D2C6BAC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02906" y="4228688"/>
                <a:ext cx="60430" cy="9366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4" y="0"/>
                      <a:pt x="17" y="5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66" name="Freeform 64">
                <a:extLst>
                  <a:ext uri="{FF2B5EF4-FFF2-40B4-BE49-F238E27FC236}">
                    <a16:creationId xmlns:a16="http://schemas.microsoft.com/office/drawing/2014/main" id="{45FF300C-8541-EB39-75DF-C9F71DC2FD7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02906" y="4382783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1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67" name="Freeform 65">
                <a:extLst>
                  <a:ext uri="{FF2B5EF4-FFF2-40B4-BE49-F238E27FC236}">
                    <a16:creationId xmlns:a16="http://schemas.microsoft.com/office/drawing/2014/main" id="{EDFD30DF-B044-14BC-0A53-A87291D480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07438" y="4689463"/>
                <a:ext cx="49855" cy="89134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49 h 59"/>
                  <a:gd name="T20" fmla="*/ 16 w 33"/>
                  <a:gd name="T21" fmla="*/ 49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68" name="Freeform 66">
                <a:extLst>
                  <a:ext uri="{FF2B5EF4-FFF2-40B4-BE49-F238E27FC236}">
                    <a16:creationId xmlns:a16="http://schemas.microsoft.com/office/drawing/2014/main" id="{5EFA2310-2877-894E-F128-B52E9B6E108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02906" y="4839027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69" name="Freeform 67">
                <a:extLst>
                  <a:ext uri="{FF2B5EF4-FFF2-40B4-BE49-F238E27FC236}">
                    <a16:creationId xmlns:a16="http://schemas.microsoft.com/office/drawing/2014/main" id="{AAFCEC1C-6765-90EC-DA70-18568E654D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02906" y="4993123"/>
                <a:ext cx="60430" cy="89134"/>
              </a:xfrm>
              <a:custGeom>
                <a:avLst/>
                <a:gdLst>
                  <a:gd name="T0" fmla="*/ 17 w 17"/>
                  <a:gd name="T1" fmla="*/ 13 h 25"/>
                  <a:gd name="T2" fmla="*/ 9 w 17"/>
                  <a:gd name="T3" fmla="*/ 25 h 25"/>
                  <a:gd name="T4" fmla="*/ 0 w 17"/>
                  <a:gd name="T5" fmla="*/ 12 h 25"/>
                  <a:gd name="T6" fmla="*/ 9 w 17"/>
                  <a:gd name="T7" fmla="*/ 0 h 25"/>
                  <a:gd name="T8" fmla="*/ 17 w 17"/>
                  <a:gd name="T9" fmla="*/ 13 h 25"/>
                  <a:gd name="T10" fmla="*/ 4 w 17"/>
                  <a:gd name="T11" fmla="*/ 12 h 25"/>
                  <a:gd name="T12" fmla="*/ 9 w 17"/>
                  <a:gd name="T13" fmla="*/ 22 h 25"/>
                  <a:gd name="T14" fmla="*/ 13 w 17"/>
                  <a:gd name="T15" fmla="*/ 13 h 25"/>
                  <a:gd name="T16" fmla="*/ 9 w 17"/>
                  <a:gd name="T17" fmla="*/ 3 h 25"/>
                  <a:gd name="T18" fmla="*/ 4 w 17"/>
                  <a:gd name="T1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5">
                    <a:moveTo>
                      <a:pt x="17" y="13"/>
                    </a:moveTo>
                    <a:cubicBezTo>
                      <a:pt x="17" y="21"/>
                      <a:pt x="14" y="25"/>
                      <a:pt x="9" y="25"/>
                    </a:cubicBezTo>
                    <a:cubicBezTo>
                      <a:pt x="3" y="25"/>
                      <a:pt x="0" y="21"/>
                      <a:pt x="0" y="12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2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6"/>
                      <a:pt x="11" y="3"/>
                      <a:pt x="9" y="3"/>
                    </a:cubicBezTo>
                    <a:cubicBezTo>
                      <a:pt x="6" y="3"/>
                      <a:pt x="4" y="6"/>
                      <a:pt x="4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70" name="Freeform 68">
                <a:extLst>
                  <a:ext uri="{FF2B5EF4-FFF2-40B4-BE49-F238E27FC236}">
                    <a16:creationId xmlns:a16="http://schemas.microsoft.com/office/drawing/2014/main" id="{64653261-64D2-D5E2-6FFA-ED0F4CB8F4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07438" y="5299803"/>
                <a:ext cx="49855" cy="84602"/>
              </a:xfrm>
              <a:custGeom>
                <a:avLst/>
                <a:gdLst>
                  <a:gd name="T0" fmla="*/ 16 w 33"/>
                  <a:gd name="T1" fmla="*/ 9 h 56"/>
                  <a:gd name="T2" fmla="*/ 4 w 33"/>
                  <a:gd name="T3" fmla="*/ 16 h 56"/>
                  <a:gd name="T4" fmla="*/ 0 w 33"/>
                  <a:gd name="T5" fmla="*/ 9 h 56"/>
                  <a:gd name="T6" fmla="*/ 16 w 33"/>
                  <a:gd name="T7" fmla="*/ 0 h 56"/>
                  <a:gd name="T8" fmla="*/ 26 w 33"/>
                  <a:gd name="T9" fmla="*/ 0 h 56"/>
                  <a:gd name="T10" fmla="*/ 26 w 33"/>
                  <a:gd name="T11" fmla="*/ 49 h 56"/>
                  <a:gd name="T12" fmla="*/ 33 w 33"/>
                  <a:gd name="T13" fmla="*/ 49 h 56"/>
                  <a:gd name="T14" fmla="*/ 33 w 33"/>
                  <a:gd name="T15" fmla="*/ 56 h 56"/>
                  <a:gd name="T16" fmla="*/ 7 w 33"/>
                  <a:gd name="T17" fmla="*/ 56 h 56"/>
                  <a:gd name="T18" fmla="*/ 7 w 33"/>
                  <a:gd name="T19" fmla="*/ 49 h 56"/>
                  <a:gd name="T20" fmla="*/ 16 w 33"/>
                  <a:gd name="T21" fmla="*/ 49 h 56"/>
                  <a:gd name="T22" fmla="*/ 16 w 33"/>
                  <a:gd name="T23" fmla="*/ 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6">
                    <a:moveTo>
                      <a:pt x="16" y="9"/>
                    </a:moveTo>
                    <a:lnTo>
                      <a:pt x="4" y="16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6"/>
                    </a:lnTo>
                    <a:lnTo>
                      <a:pt x="7" y="56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71" name="Freeform 69">
                <a:extLst>
                  <a:ext uri="{FF2B5EF4-FFF2-40B4-BE49-F238E27FC236}">
                    <a16:creationId xmlns:a16="http://schemas.microsoft.com/office/drawing/2014/main" id="{F7ABD845-DE79-68AC-D24B-123E8D4E7A0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02906" y="5449367"/>
                <a:ext cx="60430" cy="89134"/>
              </a:xfrm>
              <a:custGeom>
                <a:avLst/>
                <a:gdLst>
                  <a:gd name="T0" fmla="*/ 17 w 17"/>
                  <a:gd name="T1" fmla="*/ 13 h 25"/>
                  <a:gd name="T2" fmla="*/ 9 w 17"/>
                  <a:gd name="T3" fmla="*/ 25 h 25"/>
                  <a:gd name="T4" fmla="*/ 0 w 17"/>
                  <a:gd name="T5" fmla="*/ 13 h 25"/>
                  <a:gd name="T6" fmla="*/ 9 w 17"/>
                  <a:gd name="T7" fmla="*/ 0 h 25"/>
                  <a:gd name="T8" fmla="*/ 17 w 17"/>
                  <a:gd name="T9" fmla="*/ 13 h 25"/>
                  <a:gd name="T10" fmla="*/ 4 w 17"/>
                  <a:gd name="T11" fmla="*/ 13 h 25"/>
                  <a:gd name="T12" fmla="*/ 9 w 17"/>
                  <a:gd name="T13" fmla="*/ 22 h 25"/>
                  <a:gd name="T14" fmla="*/ 13 w 17"/>
                  <a:gd name="T15" fmla="*/ 13 h 25"/>
                  <a:gd name="T16" fmla="*/ 9 w 17"/>
                  <a:gd name="T17" fmla="*/ 3 h 25"/>
                  <a:gd name="T18" fmla="*/ 4 w 17"/>
                  <a:gd name="T19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5">
                    <a:moveTo>
                      <a:pt x="17" y="13"/>
                    </a:moveTo>
                    <a:cubicBezTo>
                      <a:pt x="17" y="21"/>
                      <a:pt x="14" y="25"/>
                      <a:pt x="9" y="25"/>
                    </a:cubicBezTo>
                    <a:cubicBezTo>
                      <a:pt x="3" y="25"/>
                      <a:pt x="0" y="21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6"/>
                      <a:pt x="11" y="3"/>
                      <a:pt x="9" y="3"/>
                    </a:cubicBezTo>
                    <a:cubicBezTo>
                      <a:pt x="6" y="3"/>
                      <a:pt x="4" y="6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72" name="Freeform 70">
                <a:extLst>
                  <a:ext uri="{FF2B5EF4-FFF2-40B4-BE49-F238E27FC236}">
                    <a16:creationId xmlns:a16="http://schemas.microsoft.com/office/drawing/2014/main" id="{2706C5AD-69EE-7713-5096-DC3E79917B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07438" y="5603463"/>
                <a:ext cx="49855" cy="89134"/>
              </a:xfrm>
              <a:custGeom>
                <a:avLst/>
                <a:gdLst>
                  <a:gd name="T0" fmla="*/ 16 w 33"/>
                  <a:gd name="T1" fmla="*/ 11 h 59"/>
                  <a:gd name="T2" fmla="*/ 4 w 33"/>
                  <a:gd name="T3" fmla="*/ 18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52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52 h 59"/>
                  <a:gd name="T20" fmla="*/ 16 w 33"/>
                  <a:gd name="T21" fmla="*/ 49 h 59"/>
                  <a:gd name="T22" fmla="*/ 16 w 33"/>
                  <a:gd name="T23" fmla="*/ 11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1"/>
                    </a:moveTo>
                    <a:lnTo>
                      <a:pt x="4" y="18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52"/>
                    </a:lnTo>
                    <a:lnTo>
                      <a:pt x="16" y="49"/>
                    </a:lnTo>
                    <a:lnTo>
                      <a:pt x="16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73" name="Freeform 71">
                <a:extLst>
                  <a:ext uri="{FF2B5EF4-FFF2-40B4-BE49-F238E27FC236}">
                    <a16:creationId xmlns:a16="http://schemas.microsoft.com/office/drawing/2014/main" id="{38DD74DA-ADC0-AAEF-49FA-DB7EA9490CE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02906" y="5753026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74" name="Freeform 72">
                <a:extLst>
                  <a:ext uri="{FF2B5EF4-FFF2-40B4-BE49-F238E27FC236}">
                    <a16:creationId xmlns:a16="http://schemas.microsoft.com/office/drawing/2014/main" id="{F6D8D39C-8A18-0A17-0935-51A9948C74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07438" y="5905611"/>
                <a:ext cx="49855" cy="89134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12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52 h 59"/>
                  <a:gd name="T12" fmla="*/ 33 w 33"/>
                  <a:gd name="T13" fmla="*/ 52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52 h 59"/>
                  <a:gd name="T20" fmla="*/ 16 w 33"/>
                  <a:gd name="T21" fmla="*/ 52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12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52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52"/>
                    </a:lnTo>
                    <a:lnTo>
                      <a:pt x="16" y="52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75" name="Freeform 73">
                <a:extLst>
                  <a:ext uri="{FF2B5EF4-FFF2-40B4-BE49-F238E27FC236}">
                    <a16:creationId xmlns:a16="http://schemas.microsoft.com/office/drawing/2014/main" id="{27F0EF6D-0E44-A411-6CF0-94E19214D7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07438" y="6059707"/>
                <a:ext cx="49855" cy="89134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52 h 59"/>
                  <a:gd name="T12" fmla="*/ 33 w 33"/>
                  <a:gd name="T13" fmla="*/ 52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52 h 59"/>
                  <a:gd name="T20" fmla="*/ 16 w 33"/>
                  <a:gd name="T21" fmla="*/ 52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52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52"/>
                    </a:lnTo>
                    <a:lnTo>
                      <a:pt x="16" y="52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76" name="Freeform 74">
                <a:extLst>
                  <a:ext uri="{FF2B5EF4-FFF2-40B4-BE49-F238E27FC236}">
                    <a16:creationId xmlns:a16="http://schemas.microsoft.com/office/drawing/2014/main" id="{D4B8A17F-A9FD-AE95-DD9A-FCB7260076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07438" y="6213803"/>
                <a:ext cx="49855" cy="84602"/>
              </a:xfrm>
              <a:custGeom>
                <a:avLst/>
                <a:gdLst>
                  <a:gd name="T0" fmla="*/ 16 w 33"/>
                  <a:gd name="T1" fmla="*/ 9 h 56"/>
                  <a:gd name="T2" fmla="*/ 4 w 33"/>
                  <a:gd name="T3" fmla="*/ 16 h 56"/>
                  <a:gd name="T4" fmla="*/ 0 w 33"/>
                  <a:gd name="T5" fmla="*/ 9 h 56"/>
                  <a:gd name="T6" fmla="*/ 16 w 33"/>
                  <a:gd name="T7" fmla="*/ 0 h 56"/>
                  <a:gd name="T8" fmla="*/ 26 w 33"/>
                  <a:gd name="T9" fmla="*/ 0 h 56"/>
                  <a:gd name="T10" fmla="*/ 26 w 33"/>
                  <a:gd name="T11" fmla="*/ 49 h 56"/>
                  <a:gd name="T12" fmla="*/ 33 w 33"/>
                  <a:gd name="T13" fmla="*/ 49 h 56"/>
                  <a:gd name="T14" fmla="*/ 33 w 33"/>
                  <a:gd name="T15" fmla="*/ 56 h 56"/>
                  <a:gd name="T16" fmla="*/ 7 w 33"/>
                  <a:gd name="T17" fmla="*/ 56 h 56"/>
                  <a:gd name="T18" fmla="*/ 7 w 33"/>
                  <a:gd name="T19" fmla="*/ 49 h 56"/>
                  <a:gd name="T20" fmla="*/ 16 w 33"/>
                  <a:gd name="T21" fmla="*/ 49 h 56"/>
                  <a:gd name="T22" fmla="*/ 16 w 33"/>
                  <a:gd name="T23" fmla="*/ 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6">
                    <a:moveTo>
                      <a:pt x="16" y="9"/>
                    </a:moveTo>
                    <a:lnTo>
                      <a:pt x="4" y="16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6"/>
                    </a:lnTo>
                    <a:lnTo>
                      <a:pt x="7" y="56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77" name="Freeform 75">
                <a:extLst>
                  <a:ext uri="{FF2B5EF4-FFF2-40B4-BE49-F238E27FC236}">
                    <a16:creationId xmlns:a16="http://schemas.microsoft.com/office/drawing/2014/main" id="{C52C2FAF-D548-D510-E694-B8902B74166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02906" y="6667025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78" name="Freeform 76">
                <a:extLst>
                  <a:ext uri="{FF2B5EF4-FFF2-40B4-BE49-F238E27FC236}">
                    <a16:creationId xmlns:a16="http://schemas.microsoft.com/office/drawing/2014/main" id="{CE8192BE-C390-11FC-7298-8795920F4C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02906" y="6819610"/>
                <a:ext cx="60430" cy="89134"/>
              </a:xfrm>
              <a:custGeom>
                <a:avLst/>
                <a:gdLst>
                  <a:gd name="T0" fmla="*/ 17 w 17"/>
                  <a:gd name="T1" fmla="*/ 13 h 25"/>
                  <a:gd name="T2" fmla="*/ 9 w 17"/>
                  <a:gd name="T3" fmla="*/ 25 h 25"/>
                  <a:gd name="T4" fmla="*/ 0 w 17"/>
                  <a:gd name="T5" fmla="*/ 13 h 25"/>
                  <a:gd name="T6" fmla="*/ 9 w 17"/>
                  <a:gd name="T7" fmla="*/ 0 h 25"/>
                  <a:gd name="T8" fmla="*/ 17 w 17"/>
                  <a:gd name="T9" fmla="*/ 13 h 25"/>
                  <a:gd name="T10" fmla="*/ 4 w 17"/>
                  <a:gd name="T11" fmla="*/ 13 h 25"/>
                  <a:gd name="T12" fmla="*/ 9 w 17"/>
                  <a:gd name="T13" fmla="*/ 22 h 25"/>
                  <a:gd name="T14" fmla="*/ 13 w 17"/>
                  <a:gd name="T15" fmla="*/ 13 h 25"/>
                  <a:gd name="T16" fmla="*/ 9 w 17"/>
                  <a:gd name="T17" fmla="*/ 4 h 25"/>
                  <a:gd name="T18" fmla="*/ 4 w 17"/>
                  <a:gd name="T19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5">
                    <a:moveTo>
                      <a:pt x="17" y="13"/>
                    </a:moveTo>
                    <a:cubicBezTo>
                      <a:pt x="17" y="21"/>
                      <a:pt x="14" y="25"/>
                      <a:pt x="9" y="25"/>
                    </a:cubicBezTo>
                    <a:cubicBezTo>
                      <a:pt x="3" y="25"/>
                      <a:pt x="0" y="21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79" name="Freeform 83">
                <a:extLst>
                  <a:ext uri="{FF2B5EF4-FFF2-40B4-BE49-F238E27FC236}">
                    <a16:creationId xmlns:a16="http://schemas.microsoft.com/office/drawing/2014/main" id="{5480367E-66FC-9A0C-35EA-5CEB3AD52E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46606" y="4236241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3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80" name="Freeform 84">
                <a:extLst>
                  <a:ext uri="{FF2B5EF4-FFF2-40B4-BE49-F238E27FC236}">
                    <a16:creationId xmlns:a16="http://schemas.microsoft.com/office/drawing/2014/main" id="{40E97FF8-8073-7B55-D82A-F4859B871C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43584" y="4503643"/>
                <a:ext cx="110285" cy="164671"/>
              </a:xfrm>
              <a:custGeom>
                <a:avLst/>
                <a:gdLst>
                  <a:gd name="T0" fmla="*/ 31 w 31"/>
                  <a:gd name="T1" fmla="*/ 23 h 46"/>
                  <a:gd name="T2" fmla="*/ 15 w 31"/>
                  <a:gd name="T3" fmla="*/ 46 h 46"/>
                  <a:gd name="T4" fmla="*/ 0 w 31"/>
                  <a:gd name="T5" fmla="*/ 23 h 46"/>
                  <a:gd name="T6" fmla="*/ 15 w 31"/>
                  <a:gd name="T7" fmla="*/ 0 h 46"/>
                  <a:gd name="T8" fmla="*/ 31 w 31"/>
                  <a:gd name="T9" fmla="*/ 23 h 46"/>
                  <a:gd name="T10" fmla="*/ 8 w 31"/>
                  <a:gd name="T11" fmla="*/ 23 h 46"/>
                  <a:gd name="T12" fmla="*/ 15 w 31"/>
                  <a:gd name="T13" fmla="*/ 39 h 46"/>
                  <a:gd name="T14" fmla="*/ 23 w 31"/>
                  <a:gd name="T15" fmla="*/ 23 h 46"/>
                  <a:gd name="T16" fmla="*/ 15 w 31"/>
                  <a:gd name="T17" fmla="*/ 7 h 46"/>
                  <a:gd name="T18" fmla="*/ 8 w 31"/>
                  <a:gd name="T19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6">
                    <a:moveTo>
                      <a:pt x="31" y="23"/>
                    </a:moveTo>
                    <a:cubicBezTo>
                      <a:pt x="31" y="38"/>
                      <a:pt x="26" y="46"/>
                      <a:pt x="15" y="46"/>
                    </a:cubicBezTo>
                    <a:cubicBezTo>
                      <a:pt x="5" y="46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7"/>
                      <a:pt x="15" y="7"/>
                    </a:cubicBezTo>
                    <a:cubicBezTo>
                      <a:pt x="10" y="7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81" name="Freeform 85">
                <a:extLst>
                  <a:ext uri="{FF2B5EF4-FFF2-40B4-BE49-F238E27FC236}">
                    <a16:creationId xmlns:a16="http://schemas.microsoft.com/office/drawing/2014/main" id="{9772CF30-71F9-67FA-0097-240AEB9218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43584" y="4775576"/>
                <a:ext cx="110285" cy="160139"/>
              </a:xfrm>
              <a:custGeom>
                <a:avLst/>
                <a:gdLst>
                  <a:gd name="T0" fmla="*/ 31 w 31"/>
                  <a:gd name="T1" fmla="*/ 23 h 45"/>
                  <a:gd name="T2" fmla="*/ 15 w 31"/>
                  <a:gd name="T3" fmla="*/ 45 h 45"/>
                  <a:gd name="T4" fmla="*/ 0 w 31"/>
                  <a:gd name="T5" fmla="*/ 23 h 45"/>
                  <a:gd name="T6" fmla="*/ 15 w 31"/>
                  <a:gd name="T7" fmla="*/ 0 h 45"/>
                  <a:gd name="T8" fmla="*/ 31 w 31"/>
                  <a:gd name="T9" fmla="*/ 23 h 45"/>
                  <a:gd name="T10" fmla="*/ 8 w 31"/>
                  <a:gd name="T11" fmla="*/ 23 h 45"/>
                  <a:gd name="T12" fmla="*/ 15 w 31"/>
                  <a:gd name="T13" fmla="*/ 39 h 45"/>
                  <a:gd name="T14" fmla="*/ 23 w 31"/>
                  <a:gd name="T15" fmla="*/ 23 h 45"/>
                  <a:gd name="T16" fmla="*/ 15 w 31"/>
                  <a:gd name="T17" fmla="*/ 6 h 45"/>
                  <a:gd name="T18" fmla="*/ 8 w 31"/>
                  <a:gd name="T19" fmla="*/ 2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31" y="23"/>
                    </a:moveTo>
                    <a:cubicBezTo>
                      <a:pt x="31" y="38"/>
                      <a:pt x="26" y="45"/>
                      <a:pt x="15" y="45"/>
                    </a:cubicBezTo>
                    <a:cubicBezTo>
                      <a:pt x="5" y="45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6"/>
                      <a:pt x="15" y="6"/>
                    </a:cubicBezTo>
                    <a:cubicBezTo>
                      <a:pt x="10" y="6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82" name="Freeform 86">
                <a:extLst>
                  <a:ext uri="{FF2B5EF4-FFF2-40B4-BE49-F238E27FC236}">
                    <a16:creationId xmlns:a16="http://schemas.microsoft.com/office/drawing/2014/main" id="{F0342D74-0189-4681-9277-68D84334C8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46606" y="5049020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4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4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83" name="Freeform 87">
                <a:extLst>
                  <a:ext uri="{FF2B5EF4-FFF2-40B4-BE49-F238E27FC236}">
                    <a16:creationId xmlns:a16="http://schemas.microsoft.com/office/drawing/2014/main" id="{1CEE8B06-A4E6-531D-0826-3D356C97ED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46606" y="5320954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1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1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84" name="Freeform 88">
                <a:extLst>
                  <a:ext uri="{FF2B5EF4-FFF2-40B4-BE49-F238E27FC236}">
                    <a16:creationId xmlns:a16="http://schemas.microsoft.com/office/drawing/2014/main" id="{F570945A-8632-6942-ABFE-8136399783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46606" y="5592887"/>
                <a:ext cx="92156" cy="155607"/>
              </a:xfrm>
              <a:custGeom>
                <a:avLst/>
                <a:gdLst>
                  <a:gd name="T0" fmla="*/ 31 w 61"/>
                  <a:gd name="T1" fmla="*/ 18 h 103"/>
                  <a:gd name="T2" fmla="*/ 10 w 61"/>
                  <a:gd name="T3" fmla="*/ 30 h 103"/>
                  <a:gd name="T4" fmla="*/ 0 w 61"/>
                  <a:gd name="T5" fmla="*/ 18 h 103"/>
                  <a:gd name="T6" fmla="*/ 31 w 61"/>
                  <a:gd name="T7" fmla="*/ 0 h 103"/>
                  <a:gd name="T8" fmla="*/ 47 w 61"/>
                  <a:gd name="T9" fmla="*/ 0 h 103"/>
                  <a:gd name="T10" fmla="*/ 47 w 61"/>
                  <a:gd name="T11" fmla="*/ 89 h 103"/>
                  <a:gd name="T12" fmla="*/ 61 w 61"/>
                  <a:gd name="T13" fmla="*/ 89 h 103"/>
                  <a:gd name="T14" fmla="*/ 61 w 61"/>
                  <a:gd name="T15" fmla="*/ 103 h 103"/>
                  <a:gd name="T16" fmla="*/ 17 w 61"/>
                  <a:gd name="T17" fmla="*/ 103 h 103"/>
                  <a:gd name="T18" fmla="*/ 17 w 61"/>
                  <a:gd name="T19" fmla="*/ 89 h 103"/>
                  <a:gd name="T20" fmla="*/ 31 w 61"/>
                  <a:gd name="T21" fmla="*/ 89 h 103"/>
                  <a:gd name="T22" fmla="*/ 31 w 61"/>
                  <a:gd name="T23" fmla="*/ 18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3">
                    <a:moveTo>
                      <a:pt x="31" y="18"/>
                    </a:moveTo>
                    <a:lnTo>
                      <a:pt x="10" y="30"/>
                    </a:lnTo>
                    <a:lnTo>
                      <a:pt x="0" y="18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89"/>
                    </a:lnTo>
                    <a:lnTo>
                      <a:pt x="61" y="89"/>
                    </a:lnTo>
                    <a:lnTo>
                      <a:pt x="61" y="103"/>
                    </a:lnTo>
                    <a:lnTo>
                      <a:pt x="17" y="103"/>
                    </a:lnTo>
                    <a:lnTo>
                      <a:pt x="17" y="89"/>
                    </a:lnTo>
                    <a:lnTo>
                      <a:pt x="31" y="89"/>
                    </a:lnTo>
                    <a:lnTo>
                      <a:pt x="31" y="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85" name="Freeform 89">
                <a:extLst>
                  <a:ext uri="{FF2B5EF4-FFF2-40B4-BE49-F238E27FC236}">
                    <a16:creationId xmlns:a16="http://schemas.microsoft.com/office/drawing/2014/main" id="{EF183F18-371A-97D5-93BD-7BE313E1D2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43584" y="5860289"/>
                <a:ext cx="110285" cy="160139"/>
              </a:xfrm>
              <a:custGeom>
                <a:avLst/>
                <a:gdLst>
                  <a:gd name="T0" fmla="*/ 31 w 31"/>
                  <a:gd name="T1" fmla="*/ 23 h 45"/>
                  <a:gd name="T2" fmla="*/ 15 w 31"/>
                  <a:gd name="T3" fmla="*/ 45 h 45"/>
                  <a:gd name="T4" fmla="*/ 0 w 31"/>
                  <a:gd name="T5" fmla="*/ 22 h 45"/>
                  <a:gd name="T6" fmla="*/ 15 w 31"/>
                  <a:gd name="T7" fmla="*/ 0 h 45"/>
                  <a:gd name="T8" fmla="*/ 31 w 31"/>
                  <a:gd name="T9" fmla="*/ 23 h 45"/>
                  <a:gd name="T10" fmla="*/ 8 w 31"/>
                  <a:gd name="T11" fmla="*/ 22 h 45"/>
                  <a:gd name="T12" fmla="*/ 15 w 31"/>
                  <a:gd name="T13" fmla="*/ 39 h 45"/>
                  <a:gd name="T14" fmla="*/ 23 w 31"/>
                  <a:gd name="T15" fmla="*/ 23 h 45"/>
                  <a:gd name="T16" fmla="*/ 15 w 31"/>
                  <a:gd name="T17" fmla="*/ 6 h 45"/>
                  <a:gd name="T18" fmla="*/ 8 w 31"/>
                  <a:gd name="T19" fmla="*/ 2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31" y="23"/>
                    </a:moveTo>
                    <a:cubicBezTo>
                      <a:pt x="31" y="38"/>
                      <a:pt x="26" y="45"/>
                      <a:pt x="15" y="45"/>
                    </a:cubicBezTo>
                    <a:cubicBezTo>
                      <a:pt x="5" y="45"/>
                      <a:pt x="0" y="38"/>
                      <a:pt x="0" y="22"/>
                    </a:cubicBezTo>
                    <a:cubicBezTo>
                      <a:pt x="0" y="7"/>
                      <a:pt x="5" y="0"/>
                      <a:pt x="15" y="0"/>
                    </a:cubicBezTo>
                    <a:cubicBezTo>
                      <a:pt x="26" y="0"/>
                      <a:pt x="31" y="7"/>
                      <a:pt x="31" y="23"/>
                    </a:cubicBezTo>
                    <a:close/>
                    <a:moveTo>
                      <a:pt x="8" y="22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1"/>
                      <a:pt x="20" y="6"/>
                      <a:pt x="15" y="6"/>
                    </a:cubicBezTo>
                    <a:cubicBezTo>
                      <a:pt x="10" y="6"/>
                      <a:pt x="8" y="11"/>
                      <a:pt x="8" y="2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86" name="Freeform 90">
                <a:extLst>
                  <a:ext uri="{FF2B5EF4-FFF2-40B4-BE49-F238E27FC236}">
                    <a16:creationId xmlns:a16="http://schemas.microsoft.com/office/drawing/2014/main" id="{B9950F62-097D-79D2-496C-05FDA2B0B2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43584" y="6673068"/>
                <a:ext cx="110285" cy="161650"/>
              </a:xfrm>
              <a:custGeom>
                <a:avLst/>
                <a:gdLst>
                  <a:gd name="T0" fmla="*/ 31 w 31"/>
                  <a:gd name="T1" fmla="*/ 22 h 45"/>
                  <a:gd name="T2" fmla="*/ 15 w 31"/>
                  <a:gd name="T3" fmla="*/ 45 h 45"/>
                  <a:gd name="T4" fmla="*/ 0 w 31"/>
                  <a:gd name="T5" fmla="*/ 22 h 45"/>
                  <a:gd name="T6" fmla="*/ 15 w 31"/>
                  <a:gd name="T7" fmla="*/ 0 h 45"/>
                  <a:gd name="T8" fmla="*/ 31 w 31"/>
                  <a:gd name="T9" fmla="*/ 22 h 45"/>
                  <a:gd name="T10" fmla="*/ 8 w 31"/>
                  <a:gd name="T11" fmla="*/ 22 h 45"/>
                  <a:gd name="T12" fmla="*/ 15 w 31"/>
                  <a:gd name="T13" fmla="*/ 39 h 45"/>
                  <a:gd name="T14" fmla="*/ 23 w 31"/>
                  <a:gd name="T15" fmla="*/ 22 h 45"/>
                  <a:gd name="T16" fmla="*/ 15 w 31"/>
                  <a:gd name="T17" fmla="*/ 6 h 45"/>
                  <a:gd name="T18" fmla="*/ 8 w 31"/>
                  <a:gd name="T19" fmla="*/ 2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31" y="22"/>
                    </a:moveTo>
                    <a:cubicBezTo>
                      <a:pt x="31" y="38"/>
                      <a:pt x="26" y="45"/>
                      <a:pt x="15" y="45"/>
                    </a:cubicBezTo>
                    <a:cubicBezTo>
                      <a:pt x="5" y="45"/>
                      <a:pt x="0" y="38"/>
                      <a:pt x="0" y="22"/>
                    </a:cubicBezTo>
                    <a:cubicBezTo>
                      <a:pt x="0" y="7"/>
                      <a:pt x="5" y="0"/>
                      <a:pt x="15" y="0"/>
                    </a:cubicBezTo>
                    <a:cubicBezTo>
                      <a:pt x="26" y="0"/>
                      <a:pt x="31" y="7"/>
                      <a:pt x="31" y="22"/>
                    </a:cubicBezTo>
                    <a:close/>
                    <a:moveTo>
                      <a:pt x="8" y="22"/>
                    </a:moveTo>
                    <a:cubicBezTo>
                      <a:pt x="8" y="33"/>
                      <a:pt x="10" y="39"/>
                      <a:pt x="15" y="39"/>
                    </a:cubicBezTo>
                    <a:cubicBezTo>
                      <a:pt x="20" y="39"/>
                      <a:pt x="23" y="33"/>
                      <a:pt x="23" y="22"/>
                    </a:cubicBezTo>
                    <a:cubicBezTo>
                      <a:pt x="23" y="11"/>
                      <a:pt x="20" y="6"/>
                      <a:pt x="15" y="6"/>
                    </a:cubicBezTo>
                    <a:cubicBezTo>
                      <a:pt x="10" y="6"/>
                      <a:pt x="8" y="11"/>
                      <a:pt x="8" y="2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87" name="Freeform 95">
                <a:extLst>
                  <a:ext uri="{FF2B5EF4-FFF2-40B4-BE49-F238E27FC236}">
                    <a16:creationId xmlns:a16="http://schemas.microsoft.com/office/drawing/2014/main" id="{3307519D-C913-3BD8-14E6-939250EC73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3350946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88" name="Freeform 96">
                <a:extLst>
                  <a:ext uri="{FF2B5EF4-FFF2-40B4-BE49-F238E27FC236}">
                    <a16:creationId xmlns:a16="http://schemas.microsoft.com/office/drawing/2014/main" id="{2CEC6089-ED81-0283-ADD7-21F2B24C9EE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3497488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89" name="Freeform 97">
                <a:extLst>
                  <a:ext uri="{FF2B5EF4-FFF2-40B4-BE49-F238E27FC236}">
                    <a16:creationId xmlns:a16="http://schemas.microsoft.com/office/drawing/2014/main" id="{A88B904B-D540-B8C4-57A7-40DBC12D35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3644030"/>
                <a:ext cx="52876" cy="84602"/>
              </a:xfrm>
              <a:custGeom>
                <a:avLst/>
                <a:gdLst>
                  <a:gd name="T0" fmla="*/ 16 w 35"/>
                  <a:gd name="T1" fmla="*/ 14 h 56"/>
                  <a:gd name="T2" fmla="*/ 7 w 35"/>
                  <a:gd name="T3" fmla="*/ 21 h 56"/>
                  <a:gd name="T4" fmla="*/ 0 w 35"/>
                  <a:gd name="T5" fmla="*/ 11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4"/>
                    </a:moveTo>
                    <a:lnTo>
                      <a:pt x="7" y="21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90" name="Freeform 98">
                <a:extLst>
                  <a:ext uri="{FF2B5EF4-FFF2-40B4-BE49-F238E27FC236}">
                    <a16:creationId xmlns:a16="http://schemas.microsoft.com/office/drawing/2014/main" id="{7E39B6C2-5B91-E99E-92F0-D318CC56A42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3790572"/>
                <a:ext cx="67984" cy="84602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91" name="Freeform 99">
                <a:extLst>
                  <a:ext uri="{FF2B5EF4-FFF2-40B4-BE49-F238E27FC236}">
                    <a16:creationId xmlns:a16="http://schemas.microsoft.com/office/drawing/2014/main" id="{87BE8EFC-FE52-20C8-53EA-0443109CED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3935604"/>
                <a:ext cx="52876" cy="86113"/>
              </a:xfrm>
              <a:custGeom>
                <a:avLst/>
                <a:gdLst>
                  <a:gd name="T0" fmla="*/ 16 w 35"/>
                  <a:gd name="T1" fmla="*/ 15 h 57"/>
                  <a:gd name="T2" fmla="*/ 7 w 35"/>
                  <a:gd name="T3" fmla="*/ 22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8 h 57"/>
                  <a:gd name="T12" fmla="*/ 35 w 35"/>
                  <a:gd name="T13" fmla="*/ 48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8 h 57"/>
                  <a:gd name="T20" fmla="*/ 16 w 35"/>
                  <a:gd name="T21" fmla="*/ 48 h 57"/>
                  <a:gd name="T22" fmla="*/ 16 w 35"/>
                  <a:gd name="T23" fmla="*/ 1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5"/>
                    </a:moveTo>
                    <a:lnTo>
                      <a:pt x="7" y="22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92" name="Freeform 100">
                <a:extLst>
                  <a:ext uri="{FF2B5EF4-FFF2-40B4-BE49-F238E27FC236}">
                    <a16:creationId xmlns:a16="http://schemas.microsoft.com/office/drawing/2014/main" id="{CFF89D04-20FF-3E81-9A3A-AFCB58758AB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4082145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93" name="Freeform 101">
                <a:extLst>
                  <a:ext uri="{FF2B5EF4-FFF2-40B4-BE49-F238E27FC236}">
                    <a16:creationId xmlns:a16="http://schemas.microsoft.com/office/drawing/2014/main" id="{8C6DCFDB-F47D-37B5-F8BD-DA592D924C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4228688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94" name="Freeform 102">
                <a:extLst>
                  <a:ext uri="{FF2B5EF4-FFF2-40B4-BE49-F238E27FC236}">
                    <a16:creationId xmlns:a16="http://schemas.microsoft.com/office/drawing/2014/main" id="{F33E4FFA-F5E5-8BCD-2F37-453C6F6013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4375229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95" name="Freeform 103">
                <a:extLst>
                  <a:ext uri="{FF2B5EF4-FFF2-40B4-BE49-F238E27FC236}">
                    <a16:creationId xmlns:a16="http://schemas.microsoft.com/office/drawing/2014/main" id="{156CBA57-CD33-5AEE-5737-4917D308C4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4524793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5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5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96" name="Freeform 104">
                <a:extLst>
                  <a:ext uri="{FF2B5EF4-FFF2-40B4-BE49-F238E27FC236}">
                    <a16:creationId xmlns:a16="http://schemas.microsoft.com/office/drawing/2014/main" id="{E442751C-5ABD-2E1B-7367-35038494A86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4668313"/>
                <a:ext cx="67984" cy="89134"/>
              </a:xfrm>
              <a:custGeom>
                <a:avLst/>
                <a:gdLst>
                  <a:gd name="T0" fmla="*/ 17 w 19"/>
                  <a:gd name="T1" fmla="*/ 4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4 h 25"/>
                  <a:gd name="T16" fmla="*/ 6 w 19"/>
                  <a:gd name="T17" fmla="*/ 12 h 25"/>
                  <a:gd name="T18" fmla="*/ 10 w 19"/>
                  <a:gd name="T19" fmla="*/ 20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3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97" name="Freeform 105">
                <a:extLst>
                  <a:ext uri="{FF2B5EF4-FFF2-40B4-BE49-F238E27FC236}">
                    <a16:creationId xmlns:a16="http://schemas.microsoft.com/office/drawing/2014/main" id="{219C99C9-9F67-2478-B85D-29E8E1CA08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4817877"/>
                <a:ext cx="52876" cy="81580"/>
              </a:xfrm>
              <a:custGeom>
                <a:avLst/>
                <a:gdLst>
                  <a:gd name="T0" fmla="*/ 16 w 35"/>
                  <a:gd name="T1" fmla="*/ 12 h 54"/>
                  <a:gd name="T2" fmla="*/ 7 w 35"/>
                  <a:gd name="T3" fmla="*/ 19 h 54"/>
                  <a:gd name="T4" fmla="*/ 0 w 35"/>
                  <a:gd name="T5" fmla="*/ 9 h 54"/>
                  <a:gd name="T6" fmla="*/ 19 w 35"/>
                  <a:gd name="T7" fmla="*/ 0 h 54"/>
                  <a:gd name="T8" fmla="*/ 28 w 35"/>
                  <a:gd name="T9" fmla="*/ 0 h 54"/>
                  <a:gd name="T10" fmla="*/ 28 w 35"/>
                  <a:gd name="T11" fmla="*/ 45 h 54"/>
                  <a:gd name="T12" fmla="*/ 35 w 35"/>
                  <a:gd name="T13" fmla="*/ 45 h 54"/>
                  <a:gd name="T14" fmla="*/ 35 w 35"/>
                  <a:gd name="T15" fmla="*/ 54 h 54"/>
                  <a:gd name="T16" fmla="*/ 9 w 35"/>
                  <a:gd name="T17" fmla="*/ 54 h 54"/>
                  <a:gd name="T18" fmla="*/ 9 w 35"/>
                  <a:gd name="T19" fmla="*/ 45 h 54"/>
                  <a:gd name="T20" fmla="*/ 16 w 35"/>
                  <a:gd name="T21" fmla="*/ 45 h 54"/>
                  <a:gd name="T22" fmla="*/ 16 w 35"/>
                  <a:gd name="T23" fmla="*/ 1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4">
                    <a:moveTo>
                      <a:pt x="16" y="12"/>
                    </a:moveTo>
                    <a:lnTo>
                      <a:pt x="7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4"/>
                    </a:lnTo>
                    <a:lnTo>
                      <a:pt x="9" y="54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98" name="Freeform 106">
                <a:extLst>
                  <a:ext uri="{FF2B5EF4-FFF2-40B4-BE49-F238E27FC236}">
                    <a16:creationId xmlns:a16="http://schemas.microsoft.com/office/drawing/2014/main" id="{6D1F0F81-9CE1-0096-FE10-8295D94813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4959887"/>
                <a:ext cx="67984" cy="89134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2 h 25"/>
                  <a:gd name="T18" fmla="*/ 10 w 19"/>
                  <a:gd name="T19" fmla="*/ 21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99" name="Freeform 107">
                <a:extLst>
                  <a:ext uri="{FF2B5EF4-FFF2-40B4-BE49-F238E27FC236}">
                    <a16:creationId xmlns:a16="http://schemas.microsoft.com/office/drawing/2014/main" id="{AC8358BB-3D45-3CE4-E267-D5262FF3EA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5106428"/>
                <a:ext cx="67984" cy="89134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2 h 25"/>
                  <a:gd name="T18" fmla="*/ 10 w 19"/>
                  <a:gd name="T19" fmla="*/ 21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00" name="Freeform 108">
                <a:extLst>
                  <a:ext uri="{FF2B5EF4-FFF2-40B4-BE49-F238E27FC236}">
                    <a16:creationId xmlns:a16="http://schemas.microsoft.com/office/drawing/2014/main" id="{D40C875A-98E5-FC6A-6BE3-94E00A492E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5255992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8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8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8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8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01" name="Freeform 109">
                <a:extLst>
                  <a:ext uri="{FF2B5EF4-FFF2-40B4-BE49-F238E27FC236}">
                    <a16:creationId xmlns:a16="http://schemas.microsoft.com/office/drawing/2014/main" id="{99515E6F-7ACC-441A-B885-8F461EDB85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5402534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8 h 55"/>
                  <a:gd name="T12" fmla="*/ 35 w 35"/>
                  <a:gd name="T13" fmla="*/ 48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8 h 55"/>
                  <a:gd name="T20" fmla="*/ 16 w 35"/>
                  <a:gd name="T21" fmla="*/ 48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02" name="Freeform 110">
                <a:extLst>
                  <a:ext uri="{FF2B5EF4-FFF2-40B4-BE49-F238E27FC236}">
                    <a16:creationId xmlns:a16="http://schemas.microsoft.com/office/drawing/2014/main" id="{2CC2B7EE-96D4-6FC4-7982-20A3A287BAF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5546055"/>
                <a:ext cx="67984" cy="89134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3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1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3 h 25"/>
                  <a:gd name="T18" fmla="*/ 10 w 19"/>
                  <a:gd name="T19" fmla="*/ 21 h 25"/>
                  <a:gd name="T20" fmla="*/ 14 w 19"/>
                  <a:gd name="T21" fmla="*/ 13 h 25"/>
                  <a:gd name="T22" fmla="*/ 10 w 19"/>
                  <a:gd name="T23" fmla="*/ 5 h 25"/>
                  <a:gd name="T24" fmla="*/ 6 w 19"/>
                  <a:gd name="T25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7"/>
                      <a:pt x="19" y="9"/>
                      <a:pt x="19" y="13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1"/>
                    </a:cubicBezTo>
                    <a:cubicBezTo>
                      <a:pt x="1" y="19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3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3"/>
                    </a:cubicBezTo>
                    <a:cubicBezTo>
                      <a:pt x="14" y="7"/>
                      <a:pt x="12" y="5"/>
                      <a:pt x="10" y="5"/>
                    </a:cubicBezTo>
                    <a:cubicBezTo>
                      <a:pt x="7" y="5"/>
                      <a:pt x="6" y="7"/>
                      <a:pt x="6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03" name="Freeform 111">
                <a:extLst>
                  <a:ext uri="{FF2B5EF4-FFF2-40B4-BE49-F238E27FC236}">
                    <a16:creationId xmlns:a16="http://schemas.microsoft.com/office/drawing/2014/main" id="{1117BF5A-D0FF-299F-0C91-8DF67A1F87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5695618"/>
                <a:ext cx="52876" cy="81580"/>
              </a:xfrm>
              <a:custGeom>
                <a:avLst/>
                <a:gdLst>
                  <a:gd name="T0" fmla="*/ 16 w 35"/>
                  <a:gd name="T1" fmla="*/ 12 h 54"/>
                  <a:gd name="T2" fmla="*/ 7 w 35"/>
                  <a:gd name="T3" fmla="*/ 19 h 54"/>
                  <a:gd name="T4" fmla="*/ 0 w 35"/>
                  <a:gd name="T5" fmla="*/ 9 h 54"/>
                  <a:gd name="T6" fmla="*/ 19 w 35"/>
                  <a:gd name="T7" fmla="*/ 0 h 54"/>
                  <a:gd name="T8" fmla="*/ 28 w 35"/>
                  <a:gd name="T9" fmla="*/ 0 h 54"/>
                  <a:gd name="T10" fmla="*/ 28 w 35"/>
                  <a:gd name="T11" fmla="*/ 47 h 54"/>
                  <a:gd name="T12" fmla="*/ 35 w 35"/>
                  <a:gd name="T13" fmla="*/ 47 h 54"/>
                  <a:gd name="T14" fmla="*/ 35 w 35"/>
                  <a:gd name="T15" fmla="*/ 54 h 54"/>
                  <a:gd name="T16" fmla="*/ 9 w 35"/>
                  <a:gd name="T17" fmla="*/ 54 h 54"/>
                  <a:gd name="T18" fmla="*/ 9 w 35"/>
                  <a:gd name="T19" fmla="*/ 47 h 54"/>
                  <a:gd name="T20" fmla="*/ 16 w 35"/>
                  <a:gd name="T21" fmla="*/ 47 h 54"/>
                  <a:gd name="T22" fmla="*/ 16 w 35"/>
                  <a:gd name="T23" fmla="*/ 1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4">
                    <a:moveTo>
                      <a:pt x="16" y="12"/>
                    </a:moveTo>
                    <a:lnTo>
                      <a:pt x="7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4"/>
                    </a:lnTo>
                    <a:lnTo>
                      <a:pt x="9" y="54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04" name="Freeform 112">
                <a:extLst>
                  <a:ext uri="{FF2B5EF4-FFF2-40B4-BE49-F238E27FC236}">
                    <a16:creationId xmlns:a16="http://schemas.microsoft.com/office/drawing/2014/main" id="{91DC2063-AD03-3375-F962-6D978643E3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5839139"/>
                <a:ext cx="67984" cy="89134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3 h 25"/>
                  <a:gd name="T4" fmla="*/ 17 w 19"/>
                  <a:gd name="T5" fmla="*/ 22 h 25"/>
                  <a:gd name="T6" fmla="*/ 10 w 19"/>
                  <a:gd name="T7" fmla="*/ 25 h 25"/>
                  <a:gd name="T8" fmla="*/ 2 w 19"/>
                  <a:gd name="T9" fmla="*/ 21 h 25"/>
                  <a:gd name="T10" fmla="*/ 0 w 19"/>
                  <a:gd name="T11" fmla="*/ 13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3 h 25"/>
                  <a:gd name="T18" fmla="*/ 10 w 19"/>
                  <a:gd name="T19" fmla="*/ 21 h 25"/>
                  <a:gd name="T20" fmla="*/ 14 w 19"/>
                  <a:gd name="T21" fmla="*/ 13 h 25"/>
                  <a:gd name="T22" fmla="*/ 10 w 19"/>
                  <a:gd name="T23" fmla="*/ 5 h 25"/>
                  <a:gd name="T24" fmla="*/ 6 w 19"/>
                  <a:gd name="T25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7"/>
                      <a:pt x="19" y="9"/>
                      <a:pt x="19" y="13"/>
                    </a:cubicBezTo>
                    <a:cubicBezTo>
                      <a:pt x="19" y="17"/>
                      <a:pt x="18" y="20"/>
                      <a:pt x="17" y="22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1"/>
                    </a:cubicBezTo>
                    <a:cubicBezTo>
                      <a:pt x="1" y="19"/>
                      <a:pt x="0" y="16"/>
                      <a:pt x="0" y="13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3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3"/>
                    </a:cubicBezTo>
                    <a:cubicBezTo>
                      <a:pt x="14" y="7"/>
                      <a:pt x="12" y="5"/>
                      <a:pt x="10" y="5"/>
                    </a:cubicBezTo>
                    <a:cubicBezTo>
                      <a:pt x="7" y="5"/>
                      <a:pt x="6" y="7"/>
                      <a:pt x="6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05" name="Freeform 113">
                <a:extLst>
                  <a:ext uri="{FF2B5EF4-FFF2-40B4-BE49-F238E27FC236}">
                    <a16:creationId xmlns:a16="http://schemas.microsoft.com/office/drawing/2014/main" id="{B652ACB8-D901-C0F7-EEB5-4C91461E62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5988702"/>
                <a:ext cx="52876" cy="84602"/>
              </a:xfrm>
              <a:custGeom>
                <a:avLst/>
                <a:gdLst>
                  <a:gd name="T0" fmla="*/ 16 w 35"/>
                  <a:gd name="T1" fmla="*/ 12 h 56"/>
                  <a:gd name="T2" fmla="*/ 7 w 35"/>
                  <a:gd name="T3" fmla="*/ 19 h 56"/>
                  <a:gd name="T4" fmla="*/ 0 w 35"/>
                  <a:gd name="T5" fmla="*/ 9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2"/>
                    </a:moveTo>
                    <a:lnTo>
                      <a:pt x="7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06" name="Freeform 114">
                <a:extLst>
                  <a:ext uri="{FF2B5EF4-FFF2-40B4-BE49-F238E27FC236}">
                    <a16:creationId xmlns:a16="http://schemas.microsoft.com/office/drawing/2014/main" id="{32164B54-C8F9-61F1-18CB-F0D126FEBD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6135244"/>
                <a:ext cx="52876" cy="84602"/>
              </a:xfrm>
              <a:custGeom>
                <a:avLst/>
                <a:gdLst>
                  <a:gd name="T0" fmla="*/ 16 w 35"/>
                  <a:gd name="T1" fmla="*/ 11 h 56"/>
                  <a:gd name="T2" fmla="*/ 7 w 35"/>
                  <a:gd name="T3" fmla="*/ 18 h 56"/>
                  <a:gd name="T4" fmla="*/ 0 w 35"/>
                  <a:gd name="T5" fmla="*/ 9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1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1"/>
                    </a:moveTo>
                    <a:lnTo>
                      <a:pt x="7" y="18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07" name="Freeform 115">
                <a:extLst>
                  <a:ext uri="{FF2B5EF4-FFF2-40B4-BE49-F238E27FC236}">
                    <a16:creationId xmlns:a16="http://schemas.microsoft.com/office/drawing/2014/main" id="{DE3524FE-A742-9B51-43E6-7B4CD6E805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6280275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8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5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7"/>
                      <a:pt x="7" y="20"/>
                      <a:pt x="10" y="20"/>
                    </a:cubicBezTo>
                    <a:cubicBezTo>
                      <a:pt x="12" y="20"/>
                      <a:pt x="14" y="17"/>
                      <a:pt x="14" y="12"/>
                    </a:cubicBezTo>
                    <a:cubicBezTo>
                      <a:pt x="14" y="6"/>
                      <a:pt x="12" y="4"/>
                      <a:pt x="10" y="4"/>
                    </a:cubicBezTo>
                    <a:cubicBezTo>
                      <a:pt x="7" y="4"/>
                      <a:pt x="6" y="6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08" name="Freeform 116">
                <a:extLst>
                  <a:ext uri="{FF2B5EF4-FFF2-40B4-BE49-F238E27FC236}">
                    <a16:creationId xmlns:a16="http://schemas.microsoft.com/office/drawing/2014/main" id="{6BAECBF0-B24B-CF64-EEA0-31419A27D5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6426817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8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5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7"/>
                      <a:pt x="7" y="20"/>
                      <a:pt x="10" y="20"/>
                    </a:cubicBezTo>
                    <a:cubicBezTo>
                      <a:pt x="12" y="20"/>
                      <a:pt x="14" y="17"/>
                      <a:pt x="14" y="12"/>
                    </a:cubicBezTo>
                    <a:cubicBezTo>
                      <a:pt x="14" y="6"/>
                      <a:pt x="12" y="4"/>
                      <a:pt x="10" y="4"/>
                    </a:cubicBezTo>
                    <a:cubicBezTo>
                      <a:pt x="7" y="4"/>
                      <a:pt x="6" y="6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09" name="Freeform 117">
                <a:extLst>
                  <a:ext uri="{FF2B5EF4-FFF2-40B4-BE49-F238E27FC236}">
                    <a16:creationId xmlns:a16="http://schemas.microsoft.com/office/drawing/2014/main" id="{F07032FA-7317-3C52-DC78-BD54DD1F2A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6573359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8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5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7"/>
                      <a:pt x="7" y="20"/>
                      <a:pt x="10" y="20"/>
                    </a:cubicBezTo>
                    <a:cubicBezTo>
                      <a:pt x="12" y="20"/>
                      <a:pt x="14" y="17"/>
                      <a:pt x="14" y="12"/>
                    </a:cubicBezTo>
                    <a:cubicBezTo>
                      <a:pt x="14" y="6"/>
                      <a:pt x="12" y="4"/>
                      <a:pt x="10" y="4"/>
                    </a:cubicBezTo>
                    <a:cubicBezTo>
                      <a:pt x="7" y="4"/>
                      <a:pt x="6" y="6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10" name="Freeform 118">
                <a:extLst>
                  <a:ext uri="{FF2B5EF4-FFF2-40B4-BE49-F238E27FC236}">
                    <a16:creationId xmlns:a16="http://schemas.microsoft.com/office/drawing/2014/main" id="{20B1A4C1-3738-F21F-F6FC-D1BCE704B9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6719901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11" name="Freeform 119">
                <a:extLst>
                  <a:ext uri="{FF2B5EF4-FFF2-40B4-BE49-F238E27FC236}">
                    <a16:creationId xmlns:a16="http://schemas.microsoft.com/office/drawing/2014/main" id="{3F366A97-EFE3-0DCA-B089-E9722F4389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6866443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8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5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6"/>
                      <a:pt x="12" y="4"/>
                      <a:pt x="10" y="4"/>
                    </a:cubicBezTo>
                    <a:cubicBezTo>
                      <a:pt x="7" y="4"/>
                      <a:pt x="6" y="6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12" name="Freeform 135">
                <a:extLst>
                  <a:ext uri="{FF2B5EF4-FFF2-40B4-BE49-F238E27FC236}">
                    <a16:creationId xmlns:a16="http://schemas.microsoft.com/office/drawing/2014/main" id="{CAB35B4B-4368-F030-FA18-1F3A3318B2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68629" y="3718057"/>
                <a:ext cx="60430" cy="111795"/>
              </a:xfrm>
              <a:custGeom>
                <a:avLst/>
                <a:gdLst>
                  <a:gd name="T0" fmla="*/ 19 w 40"/>
                  <a:gd name="T1" fmla="*/ 14 h 74"/>
                  <a:gd name="T2" fmla="*/ 4 w 40"/>
                  <a:gd name="T3" fmla="*/ 24 h 74"/>
                  <a:gd name="T4" fmla="*/ 0 w 40"/>
                  <a:gd name="T5" fmla="*/ 14 h 74"/>
                  <a:gd name="T6" fmla="*/ 21 w 40"/>
                  <a:gd name="T7" fmla="*/ 0 h 74"/>
                  <a:gd name="T8" fmla="*/ 30 w 40"/>
                  <a:gd name="T9" fmla="*/ 0 h 74"/>
                  <a:gd name="T10" fmla="*/ 30 w 40"/>
                  <a:gd name="T11" fmla="*/ 64 h 74"/>
                  <a:gd name="T12" fmla="*/ 40 w 40"/>
                  <a:gd name="T13" fmla="*/ 64 h 74"/>
                  <a:gd name="T14" fmla="*/ 40 w 40"/>
                  <a:gd name="T15" fmla="*/ 74 h 74"/>
                  <a:gd name="T16" fmla="*/ 9 w 40"/>
                  <a:gd name="T17" fmla="*/ 74 h 74"/>
                  <a:gd name="T18" fmla="*/ 9 w 40"/>
                  <a:gd name="T19" fmla="*/ 64 h 74"/>
                  <a:gd name="T20" fmla="*/ 19 w 40"/>
                  <a:gd name="T21" fmla="*/ 64 h 74"/>
                  <a:gd name="T22" fmla="*/ 19 w 40"/>
                  <a:gd name="T23" fmla="*/ 1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4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4"/>
                    </a:lnTo>
                    <a:lnTo>
                      <a:pt x="9" y="74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13" name="Freeform 136">
                <a:extLst>
                  <a:ext uri="{FF2B5EF4-FFF2-40B4-BE49-F238E27FC236}">
                    <a16:creationId xmlns:a16="http://schemas.microsoft.com/office/drawing/2014/main" id="{8C332711-6BB4-9DA0-09F1-2CDC74BF32D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64097" y="3906899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8 h 32"/>
                  <a:gd name="T14" fmla="*/ 16 w 21"/>
                  <a:gd name="T15" fmla="*/ 16 h 32"/>
                  <a:gd name="T16" fmla="*/ 10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0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0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14" name="Freeform 137">
                <a:extLst>
                  <a:ext uri="{FF2B5EF4-FFF2-40B4-BE49-F238E27FC236}">
                    <a16:creationId xmlns:a16="http://schemas.microsoft.com/office/drawing/2014/main" id="{A1E4A7A8-40BD-C574-475E-3008C5098F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64097" y="4289117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6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15" name="Freeform 138">
                <a:extLst>
                  <a:ext uri="{FF2B5EF4-FFF2-40B4-BE49-F238E27FC236}">
                    <a16:creationId xmlns:a16="http://schemas.microsoft.com/office/drawing/2014/main" id="{1368A0B4-24B3-B897-1082-3A86F64CE5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68629" y="4482492"/>
                <a:ext cx="60430" cy="107263"/>
              </a:xfrm>
              <a:custGeom>
                <a:avLst/>
                <a:gdLst>
                  <a:gd name="T0" fmla="*/ 19 w 40"/>
                  <a:gd name="T1" fmla="*/ 12 h 71"/>
                  <a:gd name="T2" fmla="*/ 4 w 40"/>
                  <a:gd name="T3" fmla="*/ 21 h 71"/>
                  <a:gd name="T4" fmla="*/ 0 w 40"/>
                  <a:gd name="T5" fmla="*/ 12 h 71"/>
                  <a:gd name="T6" fmla="*/ 21 w 40"/>
                  <a:gd name="T7" fmla="*/ 0 h 71"/>
                  <a:gd name="T8" fmla="*/ 30 w 40"/>
                  <a:gd name="T9" fmla="*/ 0 h 71"/>
                  <a:gd name="T10" fmla="*/ 30 w 40"/>
                  <a:gd name="T11" fmla="*/ 64 h 71"/>
                  <a:gd name="T12" fmla="*/ 40 w 40"/>
                  <a:gd name="T13" fmla="*/ 64 h 71"/>
                  <a:gd name="T14" fmla="*/ 40 w 40"/>
                  <a:gd name="T15" fmla="*/ 71 h 71"/>
                  <a:gd name="T16" fmla="*/ 9 w 40"/>
                  <a:gd name="T17" fmla="*/ 71 h 71"/>
                  <a:gd name="T18" fmla="*/ 9 w 40"/>
                  <a:gd name="T19" fmla="*/ 64 h 71"/>
                  <a:gd name="T20" fmla="*/ 19 w 40"/>
                  <a:gd name="T21" fmla="*/ 64 h 71"/>
                  <a:gd name="T22" fmla="*/ 19 w 40"/>
                  <a:gd name="T23" fmla="*/ 1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1">
                    <a:moveTo>
                      <a:pt x="19" y="12"/>
                    </a:moveTo>
                    <a:lnTo>
                      <a:pt x="4" y="21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1"/>
                    </a:lnTo>
                    <a:lnTo>
                      <a:pt x="9" y="71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16" name="Freeform 139">
                <a:extLst>
                  <a:ext uri="{FF2B5EF4-FFF2-40B4-BE49-F238E27FC236}">
                    <a16:creationId xmlns:a16="http://schemas.microsoft.com/office/drawing/2014/main" id="{9873DC88-9080-9F70-E5F2-1CC48D7D1A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68629" y="4671335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17" name="Freeform 140">
                <a:extLst>
                  <a:ext uri="{FF2B5EF4-FFF2-40B4-BE49-F238E27FC236}">
                    <a16:creationId xmlns:a16="http://schemas.microsoft.com/office/drawing/2014/main" id="{14C9504F-B1E9-8EE4-573C-6F7D1E3117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68629" y="4860178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18" name="Freeform 141">
                <a:extLst>
                  <a:ext uri="{FF2B5EF4-FFF2-40B4-BE49-F238E27FC236}">
                    <a16:creationId xmlns:a16="http://schemas.microsoft.com/office/drawing/2014/main" id="{88232144-050F-F1AD-4740-76D8C72B43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68629" y="5053553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1 h 73"/>
                  <a:gd name="T4" fmla="*/ 0 w 40"/>
                  <a:gd name="T5" fmla="*/ 12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1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19" name="Freeform 142">
                <a:extLst>
                  <a:ext uri="{FF2B5EF4-FFF2-40B4-BE49-F238E27FC236}">
                    <a16:creationId xmlns:a16="http://schemas.microsoft.com/office/drawing/2014/main" id="{CAE24B57-0401-7220-D980-B4983C6B960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64097" y="5242395"/>
                <a:ext cx="75537" cy="110285"/>
              </a:xfrm>
              <a:custGeom>
                <a:avLst/>
                <a:gdLst>
                  <a:gd name="T0" fmla="*/ 21 w 21"/>
                  <a:gd name="T1" fmla="*/ 15 h 31"/>
                  <a:gd name="T2" fmla="*/ 10 w 21"/>
                  <a:gd name="T3" fmla="*/ 31 h 31"/>
                  <a:gd name="T4" fmla="*/ 0 w 21"/>
                  <a:gd name="T5" fmla="*/ 15 h 31"/>
                  <a:gd name="T6" fmla="*/ 10 w 21"/>
                  <a:gd name="T7" fmla="*/ 0 h 31"/>
                  <a:gd name="T8" fmla="*/ 21 w 21"/>
                  <a:gd name="T9" fmla="*/ 15 h 31"/>
                  <a:gd name="T10" fmla="*/ 5 w 21"/>
                  <a:gd name="T11" fmla="*/ 15 h 31"/>
                  <a:gd name="T12" fmla="*/ 10 w 21"/>
                  <a:gd name="T13" fmla="*/ 27 h 31"/>
                  <a:gd name="T14" fmla="*/ 16 w 21"/>
                  <a:gd name="T15" fmla="*/ 15 h 31"/>
                  <a:gd name="T16" fmla="*/ 10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5"/>
                    </a:moveTo>
                    <a:cubicBezTo>
                      <a:pt x="21" y="26"/>
                      <a:pt x="18" y="31"/>
                      <a:pt x="10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5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0" y="27"/>
                    </a:cubicBezTo>
                    <a:cubicBezTo>
                      <a:pt x="14" y="27"/>
                      <a:pt x="16" y="23"/>
                      <a:pt x="16" y="15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20" name="Freeform 143">
                <a:extLst>
                  <a:ext uri="{FF2B5EF4-FFF2-40B4-BE49-F238E27FC236}">
                    <a16:creationId xmlns:a16="http://schemas.microsoft.com/office/drawing/2014/main" id="{B9C84BC9-4425-4F4F-E6F5-28FD72C54D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64097" y="5431238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21" name="Freeform 144">
                <a:extLst>
                  <a:ext uri="{FF2B5EF4-FFF2-40B4-BE49-F238E27FC236}">
                    <a16:creationId xmlns:a16="http://schemas.microsoft.com/office/drawing/2014/main" id="{DD003561-3631-9893-6D74-C83E238E26C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64097" y="6191141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8 h 32"/>
                  <a:gd name="T14" fmla="*/ 16 w 21"/>
                  <a:gd name="T15" fmla="*/ 16 h 32"/>
                  <a:gd name="T16" fmla="*/ 10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0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0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22" name="Freeform 145">
                <a:extLst>
                  <a:ext uri="{FF2B5EF4-FFF2-40B4-BE49-F238E27FC236}">
                    <a16:creationId xmlns:a16="http://schemas.microsoft.com/office/drawing/2014/main" id="{52BDFB15-DB0C-5146-360D-E876A5AFAC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64097" y="6384516"/>
                <a:ext cx="75537" cy="110285"/>
              </a:xfrm>
              <a:custGeom>
                <a:avLst/>
                <a:gdLst>
                  <a:gd name="T0" fmla="*/ 21 w 21"/>
                  <a:gd name="T1" fmla="*/ 16 h 31"/>
                  <a:gd name="T2" fmla="*/ 10 w 21"/>
                  <a:gd name="T3" fmla="*/ 31 h 31"/>
                  <a:gd name="T4" fmla="*/ 0 w 21"/>
                  <a:gd name="T5" fmla="*/ 15 h 31"/>
                  <a:gd name="T6" fmla="*/ 10 w 21"/>
                  <a:gd name="T7" fmla="*/ 0 h 31"/>
                  <a:gd name="T8" fmla="*/ 21 w 21"/>
                  <a:gd name="T9" fmla="*/ 16 h 31"/>
                  <a:gd name="T10" fmla="*/ 5 w 21"/>
                  <a:gd name="T11" fmla="*/ 15 h 31"/>
                  <a:gd name="T12" fmla="*/ 10 w 21"/>
                  <a:gd name="T13" fmla="*/ 27 h 31"/>
                  <a:gd name="T14" fmla="*/ 16 w 21"/>
                  <a:gd name="T15" fmla="*/ 16 h 31"/>
                  <a:gd name="T16" fmla="*/ 10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0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0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23" name="Freeform 146">
                <a:extLst>
                  <a:ext uri="{FF2B5EF4-FFF2-40B4-BE49-F238E27FC236}">
                    <a16:creationId xmlns:a16="http://schemas.microsoft.com/office/drawing/2014/main" id="{7F8636ED-0130-2581-88E9-848C36CA0D5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64097" y="6573359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24" name="Freeform 147">
                <a:extLst>
                  <a:ext uri="{FF2B5EF4-FFF2-40B4-BE49-F238E27FC236}">
                    <a16:creationId xmlns:a16="http://schemas.microsoft.com/office/drawing/2014/main" id="{DBF66B88-6413-B9EF-B7D6-2AAF9955DE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68629" y="6766734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3 h 73"/>
                  <a:gd name="T4" fmla="*/ 0 w 40"/>
                  <a:gd name="T5" fmla="*/ 12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3 h 73"/>
                  <a:gd name="T12" fmla="*/ 40 w 40"/>
                  <a:gd name="T13" fmla="*/ 63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3 h 73"/>
                  <a:gd name="T20" fmla="*/ 19 w 40"/>
                  <a:gd name="T21" fmla="*/ 63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3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3"/>
                    </a:lnTo>
                    <a:lnTo>
                      <a:pt x="40" y="63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3"/>
                    </a:lnTo>
                    <a:lnTo>
                      <a:pt x="19" y="63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25" name="Freeform 149">
                <a:extLst>
                  <a:ext uri="{FF2B5EF4-FFF2-40B4-BE49-F238E27FC236}">
                    <a16:creationId xmlns:a16="http://schemas.microsoft.com/office/drawing/2014/main" id="{3318F77F-6E78-EE4B-7AD6-FD741B3834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24929" y="3361522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26" name="Freeform 150">
                <a:extLst>
                  <a:ext uri="{FF2B5EF4-FFF2-40B4-BE49-F238E27FC236}">
                    <a16:creationId xmlns:a16="http://schemas.microsoft.com/office/drawing/2014/main" id="{326000FF-1AAA-F060-3ACE-A2B6D63CCCB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17375" y="3644030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27" name="Freeform 151">
                <a:extLst>
                  <a:ext uri="{FF2B5EF4-FFF2-40B4-BE49-F238E27FC236}">
                    <a16:creationId xmlns:a16="http://schemas.microsoft.com/office/drawing/2014/main" id="{071A105A-1B95-EDF2-524C-F9280D39A0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24929" y="3932582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28" name="Freeform 152">
                <a:extLst>
                  <a:ext uri="{FF2B5EF4-FFF2-40B4-BE49-F238E27FC236}">
                    <a16:creationId xmlns:a16="http://schemas.microsoft.com/office/drawing/2014/main" id="{5BC778D6-D814-A72E-1CEB-97D41CCE195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17375" y="4215090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29" name="Freeform 153">
                <a:extLst>
                  <a:ext uri="{FF2B5EF4-FFF2-40B4-BE49-F238E27FC236}">
                    <a16:creationId xmlns:a16="http://schemas.microsoft.com/office/drawing/2014/main" id="{E4C5D321-446D-E81F-96F8-7BDF87F353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24929" y="4503643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30" name="Freeform 154">
                <a:extLst>
                  <a:ext uri="{FF2B5EF4-FFF2-40B4-BE49-F238E27FC236}">
                    <a16:creationId xmlns:a16="http://schemas.microsoft.com/office/drawing/2014/main" id="{609ECD6E-EB6F-052B-C354-FC50584117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24929" y="4789172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31" name="Freeform 155">
                <a:extLst>
                  <a:ext uri="{FF2B5EF4-FFF2-40B4-BE49-F238E27FC236}">
                    <a16:creationId xmlns:a16="http://schemas.microsoft.com/office/drawing/2014/main" id="{1CCB72F2-6895-1F3A-583D-52F5DC7F4F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24929" y="5074703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7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7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7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7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32" name="Freeform 156">
                <a:extLst>
                  <a:ext uri="{FF2B5EF4-FFF2-40B4-BE49-F238E27FC236}">
                    <a16:creationId xmlns:a16="http://schemas.microsoft.com/office/drawing/2014/main" id="{6A98CDC4-CBC5-5D8D-D40D-060EF8DC9D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24929" y="5360233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5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7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7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5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7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7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33" name="Freeform 157">
                <a:extLst>
                  <a:ext uri="{FF2B5EF4-FFF2-40B4-BE49-F238E27FC236}">
                    <a16:creationId xmlns:a16="http://schemas.microsoft.com/office/drawing/2014/main" id="{A41907B5-4637-F243-A4AA-5F6A7A42E82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17375" y="5642742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34" name="Freeform 158">
                <a:extLst>
                  <a:ext uri="{FF2B5EF4-FFF2-40B4-BE49-F238E27FC236}">
                    <a16:creationId xmlns:a16="http://schemas.microsoft.com/office/drawing/2014/main" id="{D356F57F-2CFE-A56A-3B13-7FFDE92D8F4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17375" y="5928272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2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2"/>
                      <a:pt x="16" y="42"/>
                    </a:cubicBezTo>
                    <a:cubicBezTo>
                      <a:pt x="22" y="42"/>
                      <a:pt x="24" y="36"/>
                      <a:pt x="24" y="24"/>
                    </a:cubicBezTo>
                    <a:cubicBezTo>
                      <a:pt x="24" y="13"/>
                      <a:pt x="22" y="7"/>
                      <a:pt x="16" y="7"/>
                    </a:cubicBezTo>
                    <a:cubicBezTo>
                      <a:pt x="11" y="7"/>
                      <a:pt x="8" y="13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35" name="Freeform 159">
                <a:extLst>
                  <a:ext uri="{FF2B5EF4-FFF2-40B4-BE49-F238E27FC236}">
                    <a16:creationId xmlns:a16="http://schemas.microsoft.com/office/drawing/2014/main" id="{4D4B0126-31AE-61AF-F400-C79125A865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17375" y="6213803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2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2"/>
                      <a:pt x="16" y="42"/>
                    </a:cubicBezTo>
                    <a:cubicBezTo>
                      <a:pt x="22" y="42"/>
                      <a:pt x="24" y="36"/>
                      <a:pt x="24" y="24"/>
                    </a:cubicBezTo>
                    <a:cubicBezTo>
                      <a:pt x="24" y="13"/>
                      <a:pt x="22" y="7"/>
                      <a:pt x="16" y="7"/>
                    </a:cubicBezTo>
                    <a:cubicBezTo>
                      <a:pt x="11" y="7"/>
                      <a:pt x="8" y="13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36" name="Freeform 160">
                <a:extLst>
                  <a:ext uri="{FF2B5EF4-FFF2-40B4-BE49-F238E27FC236}">
                    <a16:creationId xmlns:a16="http://schemas.microsoft.com/office/drawing/2014/main" id="{1D941D4D-E388-04D1-0E08-13E165964D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17375" y="6499332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2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1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2"/>
                      <a:pt x="16" y="42"/>
                    </a:cubicBezTo>
                    <a:cubicBezTo>
                      <a:pt x="22" y="42"/>
                      <a:pt x="24" y="36"/>
                      <a:pt x="24" y="24"/>
                    </a:cubicBezTo>
                    <a:cubicBezTo>
                      <a:pt x="24" y="13"/>
                      <a:pt x="22" y="7"/>
                      <a:pt x="16" y="7"/>
                    </a:cubicBezTo>
                    <a:cubicBezTo>
                      <a:pt x="11" y="7"/>
                      <a:pt x="8" y="13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37" name="Freeform 161">
                <a:extLst>
                  <a:ext uri="{FF2B5EF4-FFF2-40B4-BE49-F238E27FC236}">
                    <a16:creationId xmlns:a16="http://schemas.microsoft.com/office/drawing/2014/main" id="{40B6A420-91B4-BAE2-618E-517773093D6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17375" y="6787885"/>
                <a:ext cx="114816" cy="167693"/>
              </a:xfrm>
              <a:custGeom>
                <a:avLst/>
                <a:gdLst>
                  <a:gd name="T0" fmla="*/ 32 w 32"/>
                  <a:gd name="T1" fmla="*/ 23 h 47"/>
                  <a:gd name="T2" fmla="*/ 16 w 32"/>
                  <a:gd name="T3" fmla="*/ 47 h 47"/>
                  <a:gd name="T4" fmla="*/ 0 w 32"/>
                  <a:gd name="T5" fmla="*/ 23 h 47"/>
                  <a:gd name="T6" fmla="*/ 16 w 32"/>
                  <a:gd name="T7" fmla="*/ 0 h 47"/>
                  <a:gd name="T8" fmla="*/ 32 w 32"/>
                  <a:gd name="T9" fmla="*/ 23 h 47"/>
                  <a:gd name="T10" fmla="*/ 8 w 32"/>
                  <a:gd name="T11" fmla="*/ 23 h 47"/>
                  <a:gd name="T12" fmla="*/ 16 w 32"/>
                  <a:gd name="T13" fmla="*/ 41 h 47"/>
                  <a:gd name="T14" fmla="*/ 24 w 32"/>
                  <a:gd name="T15" fmla="*/ 23 h 47"/>
                  <a:gd name="T16" fmla="*/ 16 w 32"/>
                  <a:gd name="T17" fmla="*/ 6 h 47"/>
                  <a:gd name="T18" fmla="*/ 8 w 32"/>
                  <a:gd name="T19" fmla="*/ 2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7">
                    <a:moveTo>
                      <a:pt x="32" y="23"/>
                    </a:moveTo>
                    <a:cubicBezTo>
                      <a:pt x="32" y="39"/>
                      <a:pt x="27" y="47"/>
                      <a:pt x="16" y="47"/>
                    </a:cubicBezTo>
                    <a:cubicBezTo>
                      <a:pt x="5" y="47"/>
                      <a:pt x="0" y="40"/>
                      <a:pt x="0" y="23"/>
                    </a:cubicBezTo>
                    <a:cubicBezTo>
                      <a:pt x="0" y="7"/>
                      <a:pt x="5" y="0"/>
                      <a:pt x="16" y="0"/>
                    </a:cubicBezTo>
                    <a:cubicBezTo>
                      <a:pt x="27" y="0"/>
                      <a:pt x="32" y="7"/>
                      <a:pt x="32" y="23"/>
                    </a:cubicBezTo>
                    <a:close/>
                    <a:moveTo>
                      <a:pt x="8" y="23"/>
                    </a:moveTo>
                    <a:cubicBezTo>
                      <a:pt x="8" y="35"/>
                      <a:pt x="11" y="41"/>
                      <a:pt x="16" y="41"/>
                    </a:cubicBezTo>
                    <a:cubicBezTo>
                      <a:pt x="22" y="41"/>
                      <a:pt x="24" y="35"/>
                      <a:pt x="24" y="23"/>
                    </a:cubicBezTo>
                    <a:cubicBezTo>
                      <a:pt x="24" y="12"/>
                      <a:pt x="22" y="6"/>
                      <a:pt x="16" y="6"/>
                    </a:cubicBezTo>
                    <a:cubicBezTo>
                      <a:pt x="11" y="6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38" name="Line 8">
                <a:extLst>
                  <a:ext uri="{FF2B5EF4-FFF2-40B4-BE49-F238E27FC236}">
                    <a16:creationId xmlns:a16="http://schemas.microsoft.com/office/drawing/2014/main" id="{70D76D16-7236-5523-D6B6-EDBF4532A56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282436" y="5576274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39" name="Line 9">
                <a:extLst>
                  <a:ext uri="{FF2B5EF4-FFF2-40B4-BE49-F238E27FC236}">
                    <a16:creationId xmlns:a16="http://schemas.microsoft.com/office/drawing/2014/main" id="{7B0C9F74-07DA-7735-6EDA-C0C4D388B2B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282436" y="5576274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40" name="Freeform 10">
                <a:extLst>
                  <a:ext uri="{FF2B5EF4-FFF2-40B4-BE49-F238E27FC236}">
                    <a16:creationId xmlns:a16="http://schemas.microsoft.com/office/drawing/2014/main" id="{6B402AD8-BC3B-96E6-FC5A-5ED628A63C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49546" y="6647390"/>
                <a:ext cx="99709" cy="157117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8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7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7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8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7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7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41" name="Freeform 11">
                <a:extLst>
                  <a:ext uri="{FF2B5EF4-FFF2-40B4-BE49-F238E27FC236}">
                    <a16:creationId xmlns:a16="http://schemas.microsoft.com/office/drawing/2014/main" id="{C244C23F-2618-6742-84CE-40985EB3ECA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635950" y="6914792"/>
                <a:ext cx="120859" cy="164671"/>
              </a:xfrm>
              <a:custGeom>
                <a:avLst/>
                <a:gdLst>
                  <a:gd name="T0" fmla="*/ 32 w 34"/>
                  <a:gd name="T1" fmla="*/ 8 h 46"/>
                  <a:gd name="T2" fmla="*/ 34 w 34"/>
                  <a:gd name="T3" fmla="*/ 23 h 46"/>
                  <a:gd name="T4" fmla="*/ 31 w 34"/>
                  <a:gd name="T5" fmla="*/ 39 h 46"/>
                  <a:gd name="T6" fmla="*/ 17 w 34"/>
                  <a:gd name="T7" fmla="*/ 46 h 46"/>
                  <a:gd name="T8" fmla="*/ 3 w 34"/>
                  <a:gd name="T9" fmla="*/ 37 h 46"/>
                  <a:gd name="T10" fmla="*/ 0 w 34"/>
                  <a:gd name="T11" fmla="*/ 23 h 46"/>
                  <a:gd name="T12" fmla="*/ 17 w 34"/>
                  <a:gd name="T13" fmla="*/ 0 h 46"/>
                  <a:gd name="T14" fmla="*/ 32 w 34"/>
                  <a:gd name="T15" fmla="*/ 8 h 46"/>
                  <a:gd name="T16" fmla="*/ 10 w 34"/>
                  <a:gd name="T17" fmla="*/ 23 h 46"/>
                  <a:gd name="T18" fmla="*/ 17 w 34"/>
                  <a:gd name="T19" fmla="*/ 38 h 46"/>
                  <a:gd name="T20" fmla="*/ 25 w 34"/>
                  <a:gd name="T21" fmla="*/ 23 h 46"/>
                  <a:gd name="T22" fmla="*/ 17 w 34"/>
                  <a:gd name="T23" fmla="*/ 8 h 46"/>
                  <a:gd name="T24" fmla="*/ 10 w 34"/>
                  <a:gd name="T25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46">
                    <a:moveTo>
                      <a:pt x="32" y="8"/>
                    </a:moveTo>
                    <a:cubicBezTo>
                      <a:pt x="34" y="12"/>
                      <a:pt x="34" y="16"/>
                      <a:pt x="34" y="23"/>
                    </a:cubicBezTo>
                    <a:cubicBezTo>
                      <a:pt x="34" y="31"/>
                      <a:pt x="33" y="36"/>
                      <a:pt x="31" y="39"/>
                    </a:cubicBezTo>
                    <a:cubicBezTo>
                      <a:pt x="28" y="43"/>
                      <a:pt x="23" y="46"/>
                      <a:pt x="17" y="46"/>
                    </a:cubicBezTo>
                    <a:cubicBezTo>
                      <a:pt x="11" y="46"/>
                      <a:pt x="6" y="43"/>
                      <a:pt x="3" y="37"/>
                    </a:cubicBezTo>
                    <a:cubicBezTo>
                      <a:pt x="1" y="34"/>
                      <a:pt x="0" y="29"/>
                      <a:pt x="0" y="23"/>
                    </a:cubicBezTo>
                    <a:cubicBezTo>
                      <a:pt x="0" y="8"/>
                      <a:pt x="6" y="0"/>
                      <a:pt x="17" y="0"/>
                    </a:cubicBezTo>
                    <a:cubicBezTo>
                      <a:pt x="24" y="0"/>
                      <a:pt x="29" y="3"/>
                      <a:pt x="32" y="8"/>
                    </a:cubicBezTo>
                    <a:close/>
                    <a:moveTo>
                      <a:pt x="10" y="23"/>
                    </a:moveTo>
                    <a:cubicBezTo>
                      <a:pt x="10" y="33"/>
                      <a:pt x="12" y="38"/>
                      <a:pt x="17" y="38"/>
                    </a:cubicBezTo>
                    <a:cubicBezTo>
                      <a:pt x="22" y="38"/>
                      <a:pt x="25" y="33"/>
                      <a:pt x="25" y="23"/>
                    </a:cubicBezTo>
                    <a:cubicBezTo>
                      <a:pt x="25" y="13"/>
                      <a:pt x="22" y="8"/>
                      <a:pt x="17" y="8"/>
                    </a:cubicBezTo>
                    <a:cubicBezTo>
                      <a:pt x="12" y="8"/>
                      <a:pt x="10" y="13"/>
                      <a:pt x="10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42" name="Freeform 23">
                <a:extLst>
                  <a:ext uri="{FF2B5EF4-FFF2-40B4-BE49-F238E27FC236}">
                    <a16:creationId xmlns:a16="http://schemas.microsoft.com/office/drawing/2014/main" id="{0700D480-B0CC-9C84-021B-57D22055EE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956227" y="5926766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8 h 32"/>
                  <a:gd name="T14" fmla="*/ 16 w 21"/>
                  <a:gd name="T15" fmla="*/ 16 h 32"/>
                  <a:gd name="T16" fmla="*/ 11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1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1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43" name="Freeform 24">
                <a:extLst>
                  <a:ext uri="{FF2B5EF4-FFF2-40B4-BE49-F238E27FC236}">
                    <a16:creationId xmlns:a16="http://schemas.microsoft.com/office/drawing/2014/main" id="{C07E2743-4921-9A4A-584F-DA4DE5170A0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956227" y="6118630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5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44" name="Freeform 25">
                <a:extLst>
                  <a:ext uri="{FF2B5EF4-FFF2-40B4-BE49-F238E27FC236}">
                    <a16:creationId xmlns:a16="http://schemas.microsoft.com/office/drawing/2014/main" id="{ECE0F9B6-F4C9-CC8D-CCA1-D408155095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63781" y="6500848"/>
                <a:ext cx="64962" cy="11028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2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2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45" name="Freeform 26">
                <a:extLst>
                  <a:ext uri="{FF2B5EF4-FFF2-40B4-BE49-F238E27FC236}">
                    <a16:creationId xmlns:a16="http://schemas.microsoft.com/office/drawing/2014/main" id="{6607D4BB-EBE5-30FD-DDEC-E21116B274A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956227" y="6689691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6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46" name="Freeform 27">
                <a:extLst>
                  <a:ext uri="{FF2B5EF4-FFF2-40B4-BE49-F238E27FC236}">
                    <a16:creationId xmlns:a16="http://schemas.microsoft.com/office/drawing/2014/main" id="{8EA1C925-76EB-5D15-BA48-09403B19336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956227" y="6880044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7 h 32"/>
                  <a:gd name="T14" fmla="*/ 16 w 21"/>
                  <a:gd name="T15" fmla="*/ 16 h 32"/>
                  <a:gd name="T16" fmla="*/ 11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1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47" name="Freeform 43">
                <a:extLst>
                  <a:ext uri="{FF2B5EF4-FFF2-40B4-BE49-F238E27FC236}">
                    <a16:creationId xmlns:a16="http://schemas.microsoft.com/office/drawing/2014/main" id="{66D04A03-F7FB-E1FF-A707-8A8CDCC5C9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196435" y="6126184"/>
                <a:ext cx="63451" cy="9366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5" y="0"/>
                      <a:pt x="18" y="5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48" name="Freeform 44">
                <a:extLst>
                  <a:ext uri="{FF2B5EF4-FFF2-40B4-BE49-F238E27FC236}">
                    <a16:creationId xmlns:a16="http://schemas.microsoft.com/office/drawing/2014/main" id="{1A68D531-4783-9292-3BAD-FE1CA8E355B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196435" y="6280280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1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49" name="Freeform 45">
                <a:extLst>
                  <a:ext uri="{FF2B5EF4-FFF2-40B4-BE49-F238E27FC236}">
                    <a16:creationId xmlns:a16="http://schemas.microsoft.com/office/drawing/2014/main" id="{77480F75-5F20-7DCB-ACC4-B8C8ABD76E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07010" y="6586960"/>
                <a:ext cx="49855" cy="89134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49 h 59"/>
                  <a:gd name="T20" fmla="*/ 17 w 33"/>
                  <a:gd name="T21" fmla="*/ 49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50" name="Freeform 46">
                <a:extLst>
                  <a:ext uri="{FF2B5EF4-FFF2-40B4-BE49-F238E27FC236}">
                    <a16:creationId xmlns:a16="http://schemas.microsoft.com/office/drawing/2014/main" id="{8049562F-B3CB-5FEF-87BA-7B2E07BAFE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196435" y="6736524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51" name="Freeform 47">
                <a:extLst>
                  <a:ext uri="{FF2B5EF4-FFF2-40B4-BE49-F238E27FC236}">
                    <a16:creationId xmlns:a16="http://schemas.microsoft.com/office/drawing/2014/main" id="{576132E2-F472-47F3-2F50-8E9DEA55E8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196435" y="6890620"/>
                <a:ext cx="63451" cy="89134"/>
              </a:xfrm>
              <a:custGeom>
                <a:avLst/>
                <a:gdLst>
                  <a:gd name="T0" fmla="*/ 18 w 18"/>
                  <a:gd name="T1" fmla="*/ 13 h 25"/>
                  <a:gd name="T2" fmla="*/ 9 w 18"/>
                  <a:gd name="T3" fmla="*/ 25 h 25"/>
                  <a:gd name="T4" fmla="*/ 0 w 18"/>
                  <a:gd name="T5" fmla="*/ 12 h 25"/>
                  <a:gd name="T6" fmla="*/ 9 w 18"/>
                  <a:gd name="T7" fmla="*/ 0 h 25"/>
                  <a:gd name="T8" fmla="*/ 18 w 18"/>
                  <a:gd name="T9" fmla="*/ 13 h 25"/>
                  <a:gd name="T10" fmla="*/ 5 w 18"/>
                  <a:gd name="T11" fmla="*/ 12 h 25"/>
                  <a:gd name="T12" fmla="*/ 9 w 18"/>
                  <a:gd name="T13" fmla="*/ 22 h 25"/>
                  <a:gd name="T14" fmla="*/ 13 w 18"/>
                  <a:gd name="T15" fmla="*/ 13 h 25"/>
                  <a:gd name="T16" fmla="*/ 9 w 18"/>
                  <a:gd name="T17" fmla="*/ 3 h 25"/>
                  <a:gd name="T18" fmla="*/ 5 w 18"/>
                  <a:gd name="T1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5">
                    <a:moveTo>
                      <a:pt x="18" y="13"/>
                    </a:moveTo>
                    <a:cubicBezTo>
                      <a:pt x="18" y="21"/>
                      <a:pt x="15" y="25"/>
                      <a:pt x="9" y="25"/>
                    </a:cubicBezTo>
                    <a:cubicBezTo>
                      <a:pt x="3" y="25"/>
                      <a:pt x="0" y="21"/>
                      <a:pt x="0" y="12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2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6"/>
                      <a:pt x="12" y="3"/>
                      <a:pt x="9" y="3"/>
                    </a:cubicBezTo>
                    <a:cubicBezTo>
                      <a:pt x="6" y="3"/>
                      <a:pt x="5" y="6"/>
                      <a:pt x="5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52" name="Freeform 63">
                <a:extLst>
                  <a:ext uri="{FF2B5EF4-FFF2-40B4-BE49-F238E27FC236}">
                    <a16:creationId xmlns:a16="http://schemas.microsoft.com/office/drawing/2014/main" id="{402F7EDF-ECF6-D2C2-4A35-EA750B23F8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69019" y="6126184"/>
                <a:ext cx="60430" cy="9366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4" y="0"/>
                      <a:pt x="17" y="5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53" name="Freeform 64">
                <a:extLst>
                  <a:ext uri="{FF2B5EF4-FFF2-40B4-BE49-F238E27FC236}">
                    <a16:creationId xmlns:a16="http://schemas.microsoft.com/office/drawing/2014/main" id="{ACB62EB8-8204-C53F-4C25-2746EC05DE5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69019" y="6280280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1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54" name="Freeform 65">
                <a:extLst>
                  <a:ext uri="{FF2B5EF4-FFF2-40B4-BE49-F238E27FC236}">
                    <a16:creationId xmlns:a16="http://schemas.microsoft.com/office/drawing/2014/main" id="{7AD976BF-6522-A08A-1D50-3E95E5E9A9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75062" y="6586960"/>
                <a:ext cx="49855" cy="89134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49 h 59"/>
                  <a:gd name="T20" fmla="*/ 16 w 33"/>
                  <a:gd name="T21" fmla="*/ 49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55" name="Freeform 66">
                <a:extLst>
                  <a:ext uri="{FF2B5EF4-FFF2-40B4-BE49-F238E27FC236}">
                    <a16:creationId xmlns:a16="http://schemas.microsoft.com/office/drawing/2014/main" id="{CDF8106C-DFDC-9A08-82C8-B3A852EAC13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69019" y="6736524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56" name="Freeform 67">
                <a:extLst>
                  <a:ext uri="{FF2B5EF4-FFF2-40B4-BE49-F238E27FC236}">
                    <a16:creationId xmlns:a16="http://schemas.microsoft.com/office/drawing/2014/main" id="{20AB4E10-D6DB-5C49-846C-0FC60490E53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69019" y="6890620"/>
                <a:ext cx="60430" cy="89134"/>
              </a:xfrm>
              <a:custGeom>
                <a:avLst/>
                <a:gdLst>
                  <a:gd name="T0" fmla="*/ 17 w 17"/>
                  <a:gd name="T1" fmla="*/ 13 h 25"/>
                  <a:gd name="T2" fmla="*/ 9 w 17"/>
                  <a:gd name="T3" fmla="*/ 25 h 25"/>
                  <a:gd name="T4" fmla="*/ 0 w 17"/>
                  <a:gd name="T5" fmla="*/ 12 h 25"/>
                  <a:gd name="T6" fmla="*/ 9 w 17"/>
                  <a:gd name="T7" fmla="*/ 0 h 25"/>
                  <a:gd name="T8" fmla="*/ 17 w 17"/>
                  <a:gd name="T9" fmla="*/ 13 h 25"/>
                  <a:gd name="T10" fmla="*/ 4 w 17"/>
                  <a:gd name="T11" fmla="*/ 12 h 25"/>
                  <a:gd name="T12" fmla="*/ 9 w 17"/>
                  <a:gd name="T13" fmla="*/ 22 h 25"/>
                  <a:gd name="T14" fmla="*/ 13 w 17"/>
                  <a:gd name="T15" fmla="*/ 13 h 25"/>
                  <a:gd name="T16" fmla="*/ 9 w 17"/>
                  <a:gd name="T17" fmla="*/ 3 h 25"/>
                  <a:gd name="T18" fmla="*/ 4 w 17"/>
                  <a:gd name="T1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5">
                    <a:moveTo>
                      <a:pt x="17" y="13"/>
                    </a:moveTo>
                    <a:cubicBezTo>
                      <a:pt x="17" y="21"/>
                      <a:pt x="14" y="25"/>
                      <a:pt x="9" y="25"/>
                    </a:cubicBezTo>
                    <a:cubicBezTo>
                      <a:pt x="3" y="25"/>
                      <a:pt x="0" y="21"/>
                      <a:pt x="0" y="12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2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6"/>
                      <a:pt x="11" y="3"/>
                      <a:pt x="9" y="3"/>
                    </a:cubicBezTo>
                    <a:cubicBezTo>
                      <a:pt x="6" y="3"/>
                      <a:pt x="4" y="6"/>
                      <a:pt x="4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57" name="Freeform 83">
                <a:extLst>
                  <a:ext uri="{FF2B5EF4-FFF2-40B4-BE49-F238E27FC236}">
                    <a16:creationId xmlns:a16="http://schemas.microsoft.com/office/drawing/2014/main" id="{EC72777F-5F04-D938-EDA0-C32DFD31B9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93593" y="6133738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3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58" name="Freeform 84">
                <a:extLst>
                  <a:ext uri="{FF2B5EF4-FFF2-40B4-BE49-F238E27FC236}">
                    <a16:creationId xmlns:a16="http://schemas.microsoft.com/office/drawing/2014/main" id="{488FF0BE-6AFD-808F-4B1E-8A7E03F8C41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78486" y="6401139"/>
                <a:ext cx="110285" cy="164671"/>
              </a:xfrm>
              <a:custGeom>
                <a:avLst/>
                <a:gdLst>
                  <a:gd name="T0" fmla="*/ 31 w 31"/>
                  <a:gd name="T1" fmla="*/ 23 h 46"/>
                  <a:gd name="T2" fmla="*/ 15 w 31"/>
                  <a:gd name="T3" fmla="*/ 46 h 46"/>
                  <a:gd name="T4" fmla="*/ 0 w 31"/>
                  <a:gd name="T5" fmla="*/ 23 h 46"/>
                  <a:gd name="T6" fmla="*/ 15 w 31"/>
                  <a:gd name="T7" fmla="*/ 0 h 46"/>
                  <a:gd name="T8" fmla="*/ 31 w 31"/>
                  <a:gd name="T9" fmla="*/ 23 h 46"/>
                  <a:gd name="T10" fmla="*/ 8 w 31"/>
                  <a:gd name="T11" fmla="*/ 23 h 46"/>
                  <a:gd name="T12" fmla="*/ 15 w 31"/>
                  <a:gd name="T13" fmla="*/ 39 h 46"/>
                  <a:gd name="T14" fmla="*/ 23 w 31"/>
                  <a:gd name="T15" fmla="*/ 23 h 46"/>
                  <a:gd name="T16" fmla="*/ 15 w 31"/>
                  <a:gd name="T17" fmla="*/ 7 h 46"/>
                  <a:gd name="T18" fmla="*/ 8 w 31"/>
                  <a:gd name="T19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6">
                    <a:moveTo>
                      <a:pt x="31" y="23"/>
                    </a:moveTo>
                    <a:cubicBezTo>
                      <a:pt x="31" y="38"/>
                      <a:pt x="26" y="46"/>
                      <a:pt x="15" y="46"/>
                    </a:cubicBezTo>
                    <a:cubicBezTo>
                      <a:pt x="5" y="46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7"/>
                      <a:pt x="15" y="7"/>
                    </a:cubicBezTo>
                    <a:cubicBezTo>
                      <a:pt x="10" y="7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59" name="Freeform 85">
                <a:extLst>
                  <a:ext uri="{FF2B5EF4-FFF2-40B4-BE49-F238E27FC236}">
                    <a16:creationId xmlns:a16="http://schemas.microsoft.com/office/drawing/2014/main" id="{BDA8B1F7-1312-3F78-C844-42149CF821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78486" y="6673073"/>
                <a:ext cx="110285" cy="160139"/>
              </a:xfrm>
              <a:custGeom>
                <a:avLst/>
                <a:gdLst>
                  <a:gd name="T0" fmla="*/ 31 w 31"/>
                  <a:gd name="T1" fmla="*/ 23 h 45"/>
                  <a:gd name="T2" fmla="*/ 15 w 31"/>
                  <a:gd name="T3" fmla="*/ 45 h 45"/>
                  <a:gd name="T4" fmla="*/ 0 w 31"/>
                  <a:gd name="T5" fmla="*/ 23 h 45"/>
                  <a:gd name="T6" fmla="*/ 15 w 31"/>
                  <a:gd name="T7" fmla="*/ 0 h 45"/>
                  <a:gd name="T8" fmla="*/ 31 w 31"/>
                  <a:gd name="T9" fmla="*/ 23 h 45"/>
                  <a:gd name="T10" fmla="*/ 8 w 31"/>
                  <a:gd name="T11" fmla="*/ 23 h 45"/>
                  <a:gd name="T12" fmla="*/ 15 w 31"/>
                  <a:gd name="T13" fmla="*/ 39 h 45"/>
                  <a:gd name="T14" fmla="*/ 23 w 31"/>
                  <a:gd name="T15" fmla="*/ 23 h 45"/>
                  <a:gd name="T16" fmla="*/ 15 w 31"/>
                  <a:gd name="T17" fmla="*/ 6 h 45"/>
                  <a:gd name="T18" fmla="*/ 8 w 31"/>
                  <a:gd name="T19" fmla="*/ 2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31" y="23"/>
                    </a:moveTo>
                    <a:cubicBezTo>
                      <a:pt x="31" y="38"/>
                      <a:pt x="26" y="45"/>
                      <a:pt x="15" y="45"/>
                    </a:cubicBezTo>
                    <a:cubicBezTo>
                      <a:pt x="5" y="45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6"/>
                      <a:pt x="15" y="6"/>
                    </a:cubicBezTo>
                    <a:cubicBezTo>
                      <a:pt x="10" y="6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60" name="Freeform 95">
                <a:extLst>
                  <a:ext uri="{FF2B5EF4-FFF2-40B4-BE49-F238E27FC236}">
                    <a16:creationId xmlns:a16="http://schemas.microsoft.com/office/drawing/2014/main" id="{C6685443-3F4A-D6F0-F2F4-59DA8F42B0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0939" y="5248443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61" name="Freeform 96">
                <a:extLst>
                  <a:ext uri="{FF2B5EF4-FFF2-40B4-BE49-F238E27FC236}">
                    <a16:creationId xmlns:a16="http://schemas.microsoft.com/office/drawing/2014/main" id="{C75A5AE3-E08A-F756-18DA-B479B9753C1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850363" y="5394985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62" name="Freeform 97">
                <a:extLst>
                  <a:ext uri="{FF2B5EF4-FFF2-40B4-BE49-F238E27FC236}">
                    <a16:creationId xmlns:a16="http://schemas.microsoft.com/office/drawing/2014/main" id="{4C27A611-1F16-9187-6E6F-514A119201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0939" y="5541527"/>
                <a:ext cx="52876" cy="84602"/>
              </a:xfrm>
              <a:custGeom>
                <a:avLst/>
                <a:gdLst>
                  <a:gd name="T0" fmla="*/ 16 w 35"/>
                  <a:gd name="T1" fmla="*/ 14 h 56"/>
                  <a:gd name="T2" fmla="*/ 7 w 35"/>
                  <a:gd name="T3" fmla="*/ 21 h 56"/>
                  <a:gd name="T4" fmla="*/ 0 w 35"/>
                  <a:gd name="T5" fmla="*/ 11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4"/>
                    </a:moveTo>
                    <a:lnTo>
                      <a:pt x="7" y="21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63" name="Freeform 98">
                <a:extLst>
                  <a:ext uri="{FF2B5EF4-FFF2-40B4-BE49-F238E27FC236}">
                    <a16:creationId xmlns:a16="http://schemas.microsoft.com/office/drawing/2014/main" id="{FD81B8A0-C181-B45D-20D9-E061CED3D7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850363" y="5688069"/>
                <a:ext cx="67984" cy="84602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64" name="Freeform 99">
                <a:extLst>
                  <a:ext uri="{FF2B5EF4-FFF2-40B4-BE49-F238E27FC236}">
                    <a16:creationId xmlns:a16="http://schemas.microsoft.com/office/drawing/2014/main" id="{FBD4DBD1-BE7B-8690-CA29-4782020980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0939" y="5833100"/>
                <a:ext cx="52876" cy="86113"/>
              </a:xfrm>
              <a:custGeom>
                <a:avLst/>
                <a:gdLst>
                  <a:gd name="T0" fmla="*/ 16 w 35"/>
                  <a:gd name="T1" fmla="*/ 15 h 57"/>
                  <a:gd name="T2" fmla="*/ 7 w 35"/>
                  <a:gd name="T3" fmla="*/ 22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8 h 57"/>
                  <a:gd name="T12" fmla="*/ 35 w 35"/>
                  <a:gd name="T13" fmla="*/ 48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8 h 57"/>
                  <a:gd name="T20" fmla="*/ 16 w 35"/>
                  <a:gd name="T21" fmla="*/ 48 h 57"/>
                  <a:gd name="T22" fmla="*/ 16 w 35"/>
                  <a:gd name="T23" fmla="*/ 1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5"/>
                    </a:moveTo>
                    <a:lnTo>
                      <a:pt x="7" y="22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5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65" name="Freeform 100">
                <a:extLst>
                  <a:ext uri="{FF2B5EF4-FFF2-40B4-BE49-F238E27FC236}">
                    <a16:creationId xmlns:a16="http://schemas.microsoft.com/office/drawing/2014/main" id="{B3916C13-125A-FA57-25E8-7DD7433D134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850363" y="5979642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66" name="Freeform 101">
                <a:extLst>
                  <a:ext uri="{FF2B5EF4-FFF2-40B4-BE49-F238E27FC236}">
                    <a16:creationId xmlns:a16="http://schemas.microsoft.com/office/drawing/2014/main" id="{3D11D95D-7A99-9CDF-F0A6-8761EDB41F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0939" y="6126184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67" name="Freeform 102">
                <a:extLst>
                  <a:ext uri="{FF2B5EF4-FFF2-40B4-BE49-F238E27FC236}">
                    <a16:creationId xmlns:a16="http://schemas.microsoft.com/office/drawing/2014/main" id="{FF84ACCA-3BB0-D0D6-A6DA-2EB063A909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0939" y="6272726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68" name="Freeform 103">
                <a:extLst>
                  <a:ext uri="{FF2B5EF4-FFF2-40B4-BE49-F238E27FC236}">
                    <a16:creationId xmlns:a16="http://schemas.microsoft.com/office/drawing/2014/main" id="{7A2D2769-653F-4844-C317-4BCAAA9B10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0939" y="6422290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5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5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69" name="Freeform 104">
                <a:extLst>
                  <a:ext uri="{FF2B5EF4-FFF2-40B4-BE49-F238E27FC236}">
                    <a16:creationId xmlns:a16="http://schemas.microsoft.com/office/drawing/2014/main" id="{DE6669BD-AAD2-CC99-9349-20FF8415F3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850363" y="6565810"/>
                <a:ext cx="67984" cy="89134"/>
              </a:xfrm>
              <a:custGeom>
                <a:avLst/>
                <a:gdLst>
                  <a:gd name="T0" fmla="*/ 17 w 19"/>
                  <a:gd name="T1" fmla="*/ 4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4 h 25"/>
                  <a:gd name="T16" fmla="*/ 6 w 19"/>
                  <a:gd name="T17" fmla="*/ 12 h 25"/>
                  <a:gd name="T18" fmla="*/ 10 w 19"/>
                  <a:gd name="T19" fmla="*/ 20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3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70" name="Freeform 105">
                <a:extLst>
                  <a:ext uri="{FF2B5EF4-FFF2-40B4-BE49-F238E27FC236}">
                    <a16:creationId xmlns:a16="http://schemas.microsoft.com/office/drawing/2014/main" id="{A85BA5B7-415A-C5CE-5BB8-F1BF8B63EB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0939" y="6715374"/>
                <a:ext cx="52876" cy="81580"/>
              </a:xfrm>
              <a:custGeom>
                <a:avLst/>
                <a:gdLst>
                  <a:gd name="T0" fmla="*/ 16 w 35"/>
                  <a:gd name="T1" fmla="*/ 12 h 54"/>
                  <a:gd name="T2" fmla="*/ 7 w 35"/>
                  <a:gd name="T3" fmla="*/ 19 h 54"/>
                  <a:gd name="T4" fmla="*/ 0 w 35"/>
                  <a:gd name="T5" fmla="*/ 9 h 54"/>
                  <a:gd name="T6" fmla="*/ 19 w 35"/>
                  <a:gd name="T7" fmla="*/ 0 h 54"/>
                  <a:gd name="T8" fmla="*/ 28 w 35"/>
                  <a:gd name="T9" fmla="*/ 0 h 54"/>
                  <a:gd name="T10" fmla="*/ 28 w 35"/>
                  <a:gd name="T11" fmla="*/ 45 h 54"/>
                  <a:gd name="T12" fmla="*/ 35 w 35"/>
                  <a:gd name="T13" fmla="*/ 45 h 54"/>
                  <a:gd name="T14" fmla="*/ 35 w 35"/>
                  <a:gd name="T15" fmla="*/ 54 h 54"/>
                  <a:gd name="T16" fmla="*/ 9 w 35"/>
                  <a:gd name="T17" fmla="*/ 54 h 54"/>
                  <a:gd name="T18" fmla="*/ 9 w 35"/>
                  <a:gd name="T19" fmla="*/ 45 h 54"/>
                  <a:gd name="T20" fmla="*/ 16 w 35"/>
                  <a:gd name="T21" fmla="*/ 45 h 54"/>
                  <a:gd name="T22" fmla="*/ 16 w 35"/>
                  <a:gd name="T23" fmla="*/ 1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4">
                    <a:moveTo>
                      <a:pt x="16" y="12"/>
                    </a:moveTo>
                    <a:lnTo>
                      <a:pt x="7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4"/>
                    </a:lnTo>
                    <a:lnTo>
                      <a:pt x="9" y="54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71" name="Freeform 106">
                <a:extLst>
                  <a:ext uri="{FF2B5EF4-FFF2-40B4-BE49-F238E27FC236}">
                    <a16:creationId xmlns:a16="http://schemas.microsoft.com/office/drawing/2014/main" id="{9C75AB93-2A6A-2EF6-CEC7-9602D6D3BCF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850363" y="6857383"/>
                <a:ext cx="67984" cy="89134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2 h 25"/>
                  <a:gd name="T18" fmla="*/ 10 w 19"/>
                  <a:gd name="T19" fmla="*/ 21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72" name="Freeform 135">
                <a:extLst>
                  <a:ext uri="{FF2B5EF4-FFF2-40B4-BE49-F238E27FC236}">
                    <a16:creationId xmlns:a16="http://schemas.microsoft.com/office/drawing/2014/main" id="{2AAF32D2-FF0C-B723-CEAA-AFB82C12F1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03296" y="5615554"/>
                <a:ext cx="60430" cy="111795"/>
              </a:xfrm>
              <a:custGeom>
                <a:avLst/>
                <a:gdLst>
                  <a:gd name="T0" fmla="*/ 19 w 40"/>
                  <a:gd name="T1" fmla="*/ 14 h 74"/>
                  <a:gd name="T2" fmla="*/ 4 w 40"/>
                  <a:gd name="T3" fmla="*/ 24 h 74"/>
                  <a:gd name="T4" fmla="*/ 0 w 40"/>
                  <a:gd name="T5" fmla="*/ 14 h 74"/>
                  <a:gd name="T6" fmla="*/ 21 w 40"/>
                  <a:gd name="T7" fmla="*/ 0 h 74"/>
                  <a:gd name="T8" fmla="*/ 30 w 40"/>
                  <a:gd name="T9" fmla="*/ 0 h 74"/>
                  <a:gd name="T10" fmla="*/ 30 w 40"/>
                  <a:gd name="T11" fmla="*/ 64 h 74"/>
                  <a:gd name="T12" fmla="*/ 40 w 40"/>
                  <a:gd name="T13" fmla="*/ 64 h 74"/>
                  <a:gd name="T14" fmla="*/ 40 w 40"/>
                  <a:gd name="T15" fmla="*/ 74 h 74"/>
                  <a:gd name="T16" fmla="*/ 9 w 40"/>
                  <a:gd name="T17" fmla="*/ 74 h 74"/>
                  <a:gd name="T18" fmla="*/ 9 w 40"/>
                  <a:gd name="T19" fmla="*/ 64 h 74"/>
                  <a:gd name="T20" fmla="*/ 19 w 40"/>
                  <a:gd name="T21" fmla="*/ 64 h 74"/>
                  <a:gd name="T22" fmla="*/ 19 w 40"/>
                  <a:gd name="T23" fmla="*/ 1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4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4"/>
                    </a:lnTo>
                    <a:lnTo>
                      <a:pt x="9" y="74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73" name="Freeform 136">
                <a:extLst>
                  <a:ext uri="{FF2B5EF4-FFF2-40B4-BE49-F238E27FC236}">
                    <a16:creationId xmlns:a16="http://schemas.microsoft.com/office/drawing/2014/main" id="{1435D4A7-D29D-252A-9636-FE652DD8676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392720" y="5804396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8 h 32"/>
                  <a:gd name="T14" fmla="*/ 16 w 21"/>
                  <a:gd name="T15" fmla="*/ 16 h 32"/>
                  <a:gd name="T16" fmla="*/ 10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0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0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74" name="Freeform 137">
                <a:extLst>
                  <a:ext uri="{FF2B5EF4-FFF2-40B4-BE49-F238E27FC236}">
                    <a16:creationId xmlns:a16="http://schemas.microsoft.com/office/drawing/2014/main" id="{7FF590E0-6809-1FB5-363F-1138F0D944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392720" y="6186614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6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75" name="Freeform 138">
                <a:extLst>
                  <a:ext uri="{FF2B5EF4-FFF2-40B4-BE49-F238E27FC236}">
                    <a16:creationId xmlns:a16="http://schemas.microsoft.com/office/drawing/2014/main" id="{4FF1B1C7-29B1-B80F-8CE5-5FCF8BC027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03296" y="6379989"/>
                <a:ext cx="60430" cy="107263"/>
              </a:xfrm>
              <a:custGeom>
                <a:avLst/>
                <a:gdLst>
                  <a:gd name="T0" fmla="*/ 19 w 40"/>
                  <a:gd name="T1" fmla="*/ 12 h 71"/>
                  <a:gd name="T2" fmla="*/ 4 w 40"/>
                  <a:gd name="T3" fmla="*/ 21 h 71"/>
                  <a:gd name="T4" fmla="*/ 0 w 40"/>
                  <a:gd name="T5" fmla="*/ 12 h 71"/>
                  <a:gd name="T6" fmla="*/ 21 w 40"/>
                  <a:gd name="T7" fmla="*/ 0 h 71"/>
                  <a:gd name="T8" fmla="*/ 30 w 40"/>
                  <a:gd name="T9" fmla="*/ 0 h 71"/>
                  <a:gd name="T10" fmla="*/ 30 w 40"/>
                  <a:gd name="T11" fmla="*/ 64 h 71"/>
                  <a:gd name="T12" fmla="*/ 40 w 40"/>
                  <a:gd name="T13" fmla="*/ 64 h 71"/>
                  <a:gd name="T14" fmla="*/ 40 w 40"/>
                  <a:gd name="T15" fmla="*/ 71 h 71"/>
                  <a:gd name="T16" fmla="*/ 9 w 40"/>
                  <a:gd name="T17" fmla="*/ 71 h 71"/>
                  <a:gd name="T18" fmla="*/ 9 w 40"/>
                  <a:gd name="T19" fmla="*/ 64 h 71"/>
                  <a:gd name="T20" fmla="*/ 19 w 40"/>
                  <a:gd name="T21" fmla="*/ 64 h 71"/>
                  <a:gd name="T22" fmla="*/ 19 w 40"/>
                  <a:gd name="T23" fmla="*/ 1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1">
                    <a:moveTo>
                      <a:pt x="19" y="12"/>
                    </a:moveTo>
                    <a:lnTo>
                      <a:pt x="4" y="21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1"/>
                    </a:lnTo>
                    <a:lnTo>
                      <a:pt x="9" y="71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76" name="Freeform 139">
                <a:extLst>
                  <a:ext uri="{FF2B5EF4-FFF2-40B4-BE49-F238E27FC236}">
                    <a16:creationId xmlns:a16="http://schemas.microsoft.com/office/drawing/2014/main" id="{289AFA1B-96CF-4CDF-A0D3-0585E2F32A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03296" y="6568831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77" name="Freeform 140">
                <a:extLst>
                  <a:ext uri="{FF2B5EF4-FFF2-40B4-BE49-F238E27FC236}">
                    <a16:creationId xmlns:a16="http://schemas.microsoft.com/office/drawing/2014/main" id="{DFFA93C7-BA1D-1C10-A5FB-56417DBB72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03296" y="6757674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78" name="Freeform 149">
                <a:extLst>
                  <a:ext uri="{FF2B5EF4-FFF2-40B4-BE49-F238E27FC236}">
                    <a16:creationId xmlns:a16="http://schemas.microsoft.com/office/drawing/2014/main" id="{EAFF2E4E-A9ED-E35C-F33C-2BD63D5EF7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15269" y="5259018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79" name="Freeform 150">
                <a:extLst>
                  <a:ext uri="{FF2B5EF4-FFF2-40B4-BE49-F238E27FC236}">
                    <a16:creationId xmlns:a16="http://schemas.microsoft.com/office/drawing/2014/main" id="{4C65F3B2-D4E2-E762-628F-775E4BE39F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400163" y="5541527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80" name="Freeform 151">
                <a:extLst>
                  <a:ext uri="{FF2B5EF4-FFF2-40B4-BE49-F238E27FC236}">
                    <a16:creationId xmlns:a16="http://schemas.microsoft.com/office/drawing/2014/main" id="{DA2B01BC-4813-EB40-23DB-7E5A3B0B9C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15269" y="5830079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81" name="Freeform 152">
                <a:extLst>
                  <a:ext uri="{FF2B5EF4-FFF2-40B4-BE49-F238E27FC236}">
                    <a16:creationId xmlns:a16="http://schemas.microsoft.com/office/drawing/2014/main" id="{A6A4C99F-E574-6920-36D5-F8A5F075A4A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400163" y="6112587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82" name="Freeform 153">
                <a:extLst>
                  <a:ext uri="{FF2B5EF4-FFF2-40B4-BE49-F238E27FC236}">
                    <a16:creationId xmlns:a16="http://schemas.microsoft.com/office/drawing/2014/main" id="{B1EBA6FE-0B40-7B5B-31F1-12D9143087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15269" y="6401139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83" name="Freeform 154">
                <a:extLst>
                  <a:ext uri="{FF2B5EF4-FFF2-40B4-BE49-F238E27FC236}">
                    <a16:creationId xmlns:a16="http://schemas.microsoft.com/office/drawing/2014/main" id="{F1159163-7E4F-DDBB-D824-63E0318831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15269" y="6686669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84" name="Line 8">
                <a:extLst>
                  <a:ext uri="{FF2B5EF4-FFF2-40B4-BE49-F238E27FC236}">
                    <a16:creationId xmlns:a16="http://schemas.microsoft.com/office/drawing/2014/main" id="{51EB4EED-9510-8719-8288-EE4447D98B6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03374" y="5783246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85" name="Line 9">
                <a:extLst>
                  <a:ext uri="{FF2B5EF4-FFF2-40B4-BE49-F238E27FC236}">
                    <a16:creationId xmlns:a16="http://schemas.microsoft.com/office/drawing/2014/main" id="{D8F4BE52-D19C-1494-5C6B-68B249276F3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03374" y="5783246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86" name="Freeform 10">
                <a:extLst>
                  <a:ext uri="{FF2B5EF4-FFF2-40B4-BE49-F238E27FC236}">
                    <a16:creationId xmlns:a16="http://schemas.microsoft.com/office/drawing/2014/main" id="{CD9BF6FF-E23E-E7E6-C7CF-3735D7DC56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6556" y="6854362"/>
                <a:ext cx="99709" cy="157117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8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7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7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8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7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7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87" name="Freeform 23">
                <a:extLst>
                  <a:ext uri="{FF2B5EF4-FFF2-40B4-BE49-F238E27FC236}">
                    <a16:creationId xmlns:a16="http://schemas.microsoft.com/office/drawing/2014/main" id="{631B11FD-6E6E-A04C-731C-AE847F92ED3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54046" y="6133738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8 h 32"/>
                  <a:gd name="T14" fmla="*/ 16 w 21"/>
                  <a:gd name="T15" fmla="*/ 16 h 32"/>
                  <a:gd name="T16" fmla="*/ 11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1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1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88" name="Freeform 24">
                <a:extLst>
                  <a:ext uri="{FF2B5EF4-FFF2-40B4-BE49-F238E27FC236}">
                    <a16:creationId xmlns:a16="http://schemas.microsoft.com/office/drawing/2014/main" id="{E2F54BD4-DC62-F0BC-E91D-C2966F83B0B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54046" y="6325602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5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89" name="Freeform 25">
                <a:extLst>
                  <a:ext uri="{FF2B5EF4-FFF2-40B4-BE49-F238E27FC236}">
                    <a16:creationId xmlns:a16="http://schemas.microsoft.com/office/drawing/2014/main" id="{E974255E-7BB1-77D2-87C5-AEBD405361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57068" y="6707820"/>
                <a:ext cx="64962" cy="11028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2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2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90" name="Freeform 26">
                <a:extLst>
                  <a:ext uri="{FF2B5EF4-FFF2-40B4-BE49-F238E27FC236}">
                    <a16:creationId xmlns:a16="http://schemas.microsoft.com/office/drawing/2014/main" id="{3868022C-0EF4-29FF-AAA4-70805839D83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54046" y="6896663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6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91" name="Freeform 43">
                <a:extLst>
                  <a:ext uri="{FF2B5EF4-FFF2-40B4-BE49-F238E27FC236}">
                    <a16:creationId xmlns:a16="http://schemas.microsoft.com/office/drawing/2014/main" id="{390E8CE0-9FB8-FF30-1D83-759258C9B1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25925" y="6333156"/>
                <a:ext cx="63451" cy="9366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5" y="0"/>
                      <a:pt x="18" y="5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92" name="Freeform 44">
                <a:extLst>
                  <a:ext uri="{FF2B5EF4-FFF2-40B4-BE49-F238E27FC236}">
                    <a16:creationId xmlns:a16="http://schemas.microsoft.com/office/drawing/2014/main" id="{E134E5F9-A5FD-7270-983F-323CCF61C9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25925" y="6487252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1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93" name="Freeform 45">
                <a:extLst>
                  <a:ext uri="{FF2B5EF4-FFF2-40B4-BE49-F238E27FC236}">
                    <a16:creationId xmlns:a16="http://schemas.microsoft.com/office/drawing/2014/main" id="{35957B87-3F5C-9716-EE1E-418A507472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28946" y="6793932"/>
                <a:ext cx="49855" cy="89134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49 h 59"/>
                  <a:gd name="T20" fmla="*/ 17 w 33"/>
                  <a:gd name="T21" fmla="*/ 49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94" name="Freeform 63">
                <a:extLst>
                  <a:ext uri="{FF2B5EF4-FFF2-40B4-BE49-F238E27FC236}">
                    <a16:creationId xmlns:a16="http://schemas.microsoft.com/office/drawing/2014/main" id="{8E4E7106-2B4D-15F2-4E8A-6519972FDF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756362" y="6333156"/>
                <a:ext cx="60430" cy="9366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4" y="0"/>
                      <a:pt x="17" y="5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95" name="Freeform 64">
                <a:extLst>
                  <a:ext uri="{FF2B5EF4-FFF2-40B4-BE49-F238E27FC236}">
                    <a16:creationId xmlns:a16="http://schemas.microsoft.com/office/drawing/2014/main" id="{2D3FA326-7CFC-FE30-3820-02B903F5A0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756362" y="6487252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1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96" name="Freeform 65">
                <a:extLst>
                  <a:ext uri="{FF2B5EF4-FFF2-40B4-BE49-F238E27FC236}">
                    <a16:creationId xmlns:a16="http://schemas.microsoft.com/office/drawing/2014/main" id="{323FE13E-B38F-E92F-8D87-2357DC4770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60894" y="6793932"/>
                <a:ext cx="49855" cy="89134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49 h 59"/>
                  <a:gd name="T20" fmla="*/ 16 w 33"/>
                  <a:gd name="T21" fmla="*/ 49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97" name="Freeform 83">
                <a:extLst>
                  <a:ext uri="{FF2B5EF4-FFF2-40B4-BE49-F238E27FC236}">
                    <a16:creationId xmlns:a16="http://schemas.microsoft.com/office/drawing/2014/main" id="{7EBB7827-539C-35C5-D12E-3984099C80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00062" y="6340710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3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98" name="Freeform 84">
                <a:extLst>
                  <a:ext uri="{FF2B5EF4-FFF2-40B4-BE49-F238E27FC236}">
                    <a16:creationId xmlns:a16="http://schemas.microsoft.com/office/drawing/2014/main" id="{44395C43-AB41-5EF2-6F6E-A13FF4588B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97040" y="6608111"/>
                <a:ext cx="110285" cy="164671"/>
              </a:xfrm>
              <a:custGeom>
                <a:avLst/>
                <a:gdLst>
                  <a:gd name="T0" fmla="*/ 31 w 31"/>
                  <a:gd name="T1" fmla="*/ 23 h 46"/>
                  <a:gd name="T2" fmla="*/ 15 w 31"/>
                  <a:gd name="T3" fmla="*/ 46 h 46"/>
                  <a:gd name="T4" fmla="*/ 0 w 31"/>
                  <a:gd name="T5" fmla="*/ 23 h 46"/>
                  <a:gd name="T6" fmla="*/ 15 w 31"/>
                  <a:gd name="T7" fmla="*/ 0 h 46"/>
                  <a:gd name="T8" fmla="*/ 31 w 31"/>
                  <a:gd name="T9" fmla="*/ 23 h 46"/>
                  <a:gd name="T10" fmla="*/ 8 w 31"/>
                  <a:gd name="T11" fmla="*/ 23 h 46"/>
                  <a:gd name="T12" fmla="*/ 15 w 31"/>
                  <a:gd name="T13" fmla="*/ 39 h 46"/>
                  <a:gd name="T14" fmla="*/ 23 w 31"/>
                  <a:gd name="T15" fmla="*/ 23 h 46"/>
                  <a:gd name="T16" fmla="*/ 15 w 31"/>
                  <a:gd name="T17" fmla="*/ 7 h 46"/>
                  <a:gd name="T18" fmla="*/ 8 w 31"/>
                  <a:gd name="T19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6">
                    <a:moveTo>
                      <a:pt x="31" y="23"/>
                    </a:moveTo>
                    <a:cubicBezTo>
                      <a:pt x="31" y="38"/>
                      <a:pt x="26" y="46"/>
                      <a:pt x="15" y="46"/>
                    </a:cubicBezTo>
                    <a:cubicBezTo>
                      <a:pt x="5" y="46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7"/>
                      <a:pt x="15" y="7"/>
                    </a:cubicBezTo>
                    <a:cubicBezTo>
                      <a:pt x="10" y="7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99" name="Freeform 85">
                <a:extLst>
                  <a:ext uri="{FF2B5EF4-FFF2-40B4-BE49-F238E27FC236}">
                    <a16:creationId xmlns:a16="http://schemas.microsoft.com/office/drawing/2014/main" id="{38394FA5-3A24-D933-29F7-F152C0A0721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97040" y="6880045"/>
                <a:ext cx="110285" cy="160139"/>
              </a:xfrm>
              <a:custGeom>
                <a:avLst/>
                <a:gdLst>
                  <a:gd name="T0" fmla="*/ 31 w 31"/>
                  <a:gd name="T1" fmla="*/ 23 h 45"/>
                  <a:gd name="T2" fmla="*/ 15 w 31"/>
                  <a:gd name="T3" fmla="*/ 45 h 45"/>
                  <a:gd name="T4" fmla="*/ 0 w 31"/>
                  <a:gd name="T5" fmla="*/ 23 h 45"/>
                  <a:gd name="T6" fmla="*/ 15 w 31"/>
                  <a:gd name="T7" fmla="*/ 0 h 45"/>
                  <a:gd name="T8" fmla="*/ 31 w 31"/>
                  <a:gd name="T9" fmla="*/ 23 h 45"/>
                  <a:gd name="T10" fmla="*/ 8 w 31"/>
                  <a:gd name="T11" fmla="*/ 23 h 45"/>
                  <a:gd name="T12" fmla="*/ 15 w 31"/>
                  <a:gd name="T13" fmla="*/ 39 h 45"/>
                  <a:gd name="T14" fmla="*/ 23 w 31"/>
                  <a:gd name="T15" fmla="*/ 23 h 45"/>
                  <a:gd name="T16" fmla="*/ 15 w 31"/>
                  <a:gd name="T17" fmla="*/ 6 h 45"/>
                  <a:gd name="T18" fmla="*/ 8 w 31"/>
                  <a:gd name="T19" fmla="*/ 2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31" y="23"/>
                    </a:moveTo>
                    <a:cubicBezTo>
                      <a:pt x="31" y="38"/>
                      <a:pt x="26" y="45"/>
                      <a:pt x="15" y="45"/>
                    </a:cubicBezTo>
                    <a:cubicBezTo>
                      <a:pt x="5" y="45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6"/>
                      <a:pt x="15" y="6"/>
                    </a:cubicBezTo>
                    <a:cubicBezTo>
                      <a:pt x="10" y="6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00" name="Freeform 95">
                <a:extLst>
                  <a:ext uri="{FF2B5EF4-FFF2-40B4-BE49-F238E27FC236}">
                    <a16:creationId xmlns:a16="http://schemas.microsoft.com/office/drawing/2014/main" id="{CF8F1A50-C0FC-FE84-253C-2033099985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1996" y="5455415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01" name="Freeform 96">
                <a:extLst>
                  <a:ext uri="{FF2B5EF4-FFF2-40B4-BE49-F238E27FC236}">
                    <a16:creationId xmlns:a16="http://schemas.microsoft.com/office/drawing/2014/main" id="{ADCDEC7D-4FE7-E6A4-5E24-88C70C7F88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67464" y="5601957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02" name="Freeform 97">
                <a:extLst>
                  <a:ext uri="{FF2B5EF4-FFF2-40B4-BE49-F238E27FC236}">
                    <a16:creationId xmlns:a16="http://schemas.microsoft.com/office/drawing/2014/main" id="{AB4172EE-AAA0-2A82-DA8E-E72C10A0E4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1996" y="5748499"/>
                <a:ext cx="52876" cy="84602"/>
              </a:xfrm>
              <a:custGeom>
                <a:avLst/>
                <a:gdLst>
                  <a:gd name="T0" fmla="*/ 16 w 35"/>
                  <a:gd name="T1" fmla="*/ 14 h 56"/>
                  <a:gd name="T2" fmla="*/ 7 w 35"/>
                  <a:gd name="T3" fmla="*/ 21 h 56"/>
                  <a:gd name="T4" fmla="*/ 0 w 35"/>
                  <a:gd name="T5" fmla="*/ 11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4"/>
                    </a:moveTo>
                    <a:lnTo>
                      <a:pt x="7" y="21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03" name="Freeform 98">
                <a:extLst>
                  <a:ext uri="{FF2B5EF4-FFF2-40B4-BE49-F238E27FC236}">
                    <a16:creationId xmlns:a16="http://schemas.microsoft.com/office/drawing/2014/main" id="{31EDAC66-6C4F-D811-E8EB-D75FCC03DD7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67464" y="5895041"/>
                <a:ext cx="67984" cy="84602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04" name="Freeform 99">
                <a:extLst>
                  <a:ext uri="{FF2B5EF4-FFF2-40B4-BE49-F238E27FC236}">
                    <a16:creationId xmlns:a16="http://schemas.microsoft.com/office/drawing/2014/main" id="{A126252E-D31F-EF9A-B65D-332FE55255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1996" y="6040072"/>
                <a:ext cx="52876" cy="86113"/>
              </a:xfrm>
              <a:custGeom>
                <a:avLst/>
                <a:gdLst>
                  <a:gd name="T0" fmla="*/ 16 w 35"/>
                  <a:gd name="T1" fmla="*/ 15 h 57"/>
                  <a:gd name="T2" fmla="*/ 7 w 35"/>
                  <a:gd name="T3" fmla="*/ 22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8 h 57"/>
                  <a:gd name="T12" fmla="*/ 35 w 35"/>
                  <a:gd name="T13" fmla="*/ 48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8 h 57"/>
                  <a:gd name="T20" fmla="*/ 16 w 35"/>
                  <a:gd name="T21" fmla="*/ 48 h 57"/>
                  <a:gd name="T22" fmla="*/ 16 w 35"/>
                  <a:gd name="T23" fmla="*/ 1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5"/>
                    </a:moveTo>
                    <a:lnTo>
                      <a:pt x="7" y="22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5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05" name="Freeform 100">
                <a:extLst>
                  <a:ext uri="{FF2B5EF4-FFF2-40B4-BE49-F238E27FC236}">
                    <a16:creationId xmlns:a16="http://schemas.microsoft.com/office/drawing/2014/main" id="{19F1F906-E47E-7BA0-174D-D914DFEE142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67464" y="6186614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06" name="Freeform 101">
                <a:extLst>
                  <a:ext uri="{FF2B5EF4-FFF2-40B4-BE49-F238E27FC236}">
                    <a16:creationId xmlns:a16="http://schemas.microsoft.com/office/drawing/2014/main" id="{8E06B7F5-71E0-A715-2FFD-E3B8D76126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1996" y="6333156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07" name="Freeform 102">
                <a:extLst>
                  <a:ext uri="{FF2B5EF4-FFF2-40B4-BE49-F238E27FC236}">
                    <a16:creationId xmlns:a16="http://schemas.microsoft.com/office/drawing/2014/main" id="{54FCEB8C-9D8E-90AD-49BB-66AB645830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1996" y="6479698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08" name="Freeform 103">
                <a:extLst>
                  <a:ext uri="{FF2B5EF4-FFF2-40B4-BE49-F238E27FC236}">
                    <a16:creationId xmlns:a16="http://schemas.microsoft.com/office/drawing/2014/main" id="{69174661-9C39-21D8-DD58-11AEC69B12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1996" y="6629262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5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5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09" name="Freeform 104">
                <a:extLst>
                  <a:ext uri="{FF2B5EF4-FFF2-40B4-BE49-F238E27FC236}">
                    <a16:creationId xmlns:a16="http://schemas.microsoft.com/office/drawing/2014/main" id="{22251F3A-B927-ED34-A230-F33D2DF7F01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67464" y="6772782"/>
                <a:ext cx="67984" cy="89134"/>
              </a:xfrm>
              <a:custGeom>
                <a:avLst/>
                <a:gdLst>
                  <a:gd name="T0" fmla="*/ 17 w 19"/>
                  <a:gd name="T1" fmla="*/ 4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4 h 25"/>
                  <a:gd name="T16" fmla="*/ 6 w 19"/>
                  <a:gd name="T17" fmla="*/ 12 h 25"/>
                  <a:gd name="T18" fmla="*/ 10 w 19"/>
                  <a:gd name="T19" fmla="*/ 20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3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10" name="Freeform 105">
                <a:extLst>
                  <a:ext uri="{FF2B5EF4-FFF2-40B4-BE49-F238E27FC236}">
                    <a16:creationId xmlns:a16="http://schemas.microsoft.com/office/drawing/2014/main" id="{A360385B-0E91-8F15-F896-F54BC692F3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1996" y="6922346"/>
                <a:ext cx="52876" cy="81580"/>
              </a:xfrm>
              <a:custGeom>
                <a:avLst/>
                <a:gdLst>
                  <a:gd name="T0" fmla="*/ 16 w 35"/>
                  <a:gd name="T1" fmla="*/ 12 h 54"/>
                  <a:gd name="T2" fmla="*/ 7 w 35"/>
                  <a:gd name="T3" fmla="*/ 19 h 54"/>
                  <a:gd name="T4" fmla="*/ 0 w 35"/>
                  <a:gd name="T5" fmla="*/ 9 h 54"/>
                  <a:gd name="T6" fmla="*/ 19 w 35"/>
                  <a:gd name="T7" fmla="*/ 0 h 54"/>
                  <a:gd name="T8" fmla="*/ 28 w 35"/>
                  <a:gd name="T9" fmla="*/ 0 h 54"/>
                  <a:gd name="T10" fmla="*/ 28 w 35"/>
                  <a:gd name="T11" fmla="*/ 45 h 54"/>
                  <a:gd name="T12" fmla="*/ 35 w 35"/>
                  <a:gd name="T13" fmla="*/ 45 h 54"/>
                  <a:gd name="T14" fmla="*/ 35 w 35"/>
                  <a:gd name="T15" fmla="*/ 54 h 54"/>
                  <a:gd name="T16" fmla="*/ 9 w 35"/>
                  <a:gd name="T17" fmla="*/ 54 h 54"/>
                  <a:gd name="T18" fmla="*/ 9 w 35"/>
                  <a:gd name="T19" fmla="*/ 45 h 54"/>
                  <a:gd name="T20" fmla="*/ 16 w 35"/>
                  <a:gd name="T21" fmla="*/ 45 h 54"/>
                  <a:gd name="T22" fmla="*/ 16 w 35"/>
                  <a:gd name="T23" fmla="*/ 1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4">
                    <a:moveTo>
                      <a:pt x="16" y="12"/>
                    </a:moveTo>
                    <a:lnTo>
                      <a:pt x="7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4"/>
                    </a:lnTo>
                    <a:lnTo>
                      <a:pt x="9" y="54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11" name="Freeform 135">
                <a:extLst>
                  <a:ext uri="{FF2B5EF4-FFF2-40B4-BE49-F238E27FC236}">
                    <a16:creationId xmlns:a16="http://schemas.microsoft.com/office/drawing/2014/main" id="{D024649B-31B4-9881-F43A-F5682E5637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22085" y="5822526"/>
                <a:ext cx="60430" cy="111795"/>
              </a:xfrm>
              <a:custGeom>
                <a:avLst/>
                <a:gdLst>
                  <a:gd name="T0" fmla="*/ 19 w 40"/>
                  <a:gd name="T1" fmla="*/ 14 h 74"/>
                  <a:gd name="T2" fmla="*/ 4 w 40"/>
                  <a:gd name="T3" fmla="*/ 24 h 74"/>
                  <a:gd name="T4" fmla="*/ 0 w 40"/>
                  <a:gd name="T5" fmla="*/ 14 h 74"/>
                  <a:gd name="T6" fmla="*/ 21 w 40"/>
                  <a:gd name="T7" fmla="*/ 0 h 74"/>
                  <a:gd name="T8" fmla="*/ 30 w 40"/>
                  <a:gd name="T9" fmla="*/ 0 h 74"/>
                  <a:gd name="T10" fmla="*/ 30 w 40"/>
                  <a:gd name="T11" fmla="*/ 64 h 74"/>
                  <a:gd name="T12" fmla="*/ 40 w 40"/>
                  <a:gd name="T13" fmla="*/ 64 h 74"/>
                  <a:gd name="T14" fmla="*/ 40 w 40"/>
                  <a:gd name="T15" fmla="*/ 74 h 74"/>
                  <a:gd name="T16" fmla="*/ 9 w 40"/>
                  <a:gd name="T17" fmla="*/ 74 h 74"/>
                  <a:gd name="T18" fmla="*/ 9 w 40"/>
                  <a:gd name="T19" fmla="*/ 64 h 74"/>
                  <a:gd name="T20" fmla="*/ 19 w 40"/>
                  <a:gd name="T21" fmla="*/ 64 h 74"/>
                  <a:gd name="T22" fmla="*/ 19 w 40"/>
                  <a:gd name="T23" fmla="*/ 1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4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4"/>
                    </a:lnTo>
                    <a:lnTo>
                      <a:pt x="9" y="74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12" name="Freeform 136">
                <a:extLst>
                  <a:ext uri="{FF2B5EF4-FFF2-40B4-BE49-F238E27FC236}">
                    <a16:creationId xmlns:a16="http://schemas.microsoft.com/office/drawing/2014/main" id="{F8960687-558C-8677-65BF-94A5DCC4FAF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17554" y="6011368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8 h 32"/>
                  <a:gd name="T14" fmla="*/ 16 w 21"/>
                  <a:gd name="T15" fmla="*/ 16 h 32"/>
                  <a:gd name="T16" fmla="*/ 10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0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0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13" name="Freeform 137">
                <a:extLst>
                  <a:ext uri="{FF2B5EF4-FFF2-40B4-BE49-F238E27FC236}">
                    <a16:creationId xmlns:a16="http://schemas.microsoft.com/office/drawing/2014/main" id="{DB780200-D49E-9AEF-339E-12490069827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17554" y="6393586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6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14" name="Freeform 138">
                <a:extLst>
                  <a:ext uri="{FF2B5EF4-FFF2-40B4-BE49-F238E27FC236}">
                    <a16:creationId xmlns:a16="http://schemas.microsoft.com/office/drawing/2014/main" id="{A42C7C9A-A32A-5D26-32E7-8234B6427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22085" y="6586961"/>
                <a:ext cx="60430" cy="107263"/>
              </a:xfrm>
              <a:custGeom>
                <a:avLst/>
                <a:gdLst>
                  <a:gd name="T0" fmla="*/ 19 w 40"/>
                  <a:gd name="T1" fmla="*/ 12 h 71"/>
                  <a:gd name="T2" fmla="*/ 4 w 40"/>
                  <a:gd name="T3" fmla="*/ 21 h 71"/>
                  <a:gd name="T4" fmla="*/ 0 w 40"/>
                  <a:gd name="T5" fmla="*/ 12 h 71"/>
                  <a:gd name="T6" fmla="*/ 21 w 40"/>
                  <a:gd name="T7" fmla="*/ 0 h 71"/>
                  <a:gd name="T8" fmla="*/ 30 w 40"/>
                  <a:gd name="T9" fmla="*/ 0 h 71"/>
                  <a:gd name="T10" fmla="*/ 30 w 40"/>
                  <a:gd name="T11" fmla="*/ 64 h 71"/>
                  <a:gd name="T12" fmla="*/ 40 w 40"/>
                  <a:gd name="T13" fmla="*/ 64 h 71"/>
                  <a:gd name="T14" fmla="*/ 40 w 40"/>
                  <a:gd name="T15" fmla="*/ 71 h 71"/>
                  <a:gd name="T16" fmla="*/ 9 w 40"/>
                  <a:gd name="T17" fmla="*/ 71 h 71"/>
                  <a:gd name="T18" fmla="*/ 9 w 40"/>
                  <a:gd name="T19" fmla="*/ 64 h 71"/>
                  <a:gd name="T20" fmla="*/ 19 w 40"/>
                  <a:gd name="T21" fmla="*/ 64 h 71"/>
                  <a:gd name="T22" fmla="*/ 19 w 40"/>
                  <a:gd name="T23" fmla="*/ 1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1">
                    <a:moveTo>
                      <a:pt x="19" y="12"/>
                    </a:moveTo>
                    <a:lnTo>
                      <a:pt x="4" y="21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1"/>
                    </a:lnTo>
                    <a:lnTo>
                      <a:pt x="9" y="71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15" name="Freeform 139">
                <a:extLst>
                  <a:ext uri="{FF2B5EF4-FFF2-40B4-BE49-F238E27FC236}">
                    <a16:creationId xmlns:a16="http://schemas.microsoft.com/office/drawing/2014/main" id="{863E54C2-0AB6-ED87-0E4A-FDDC2A2E09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22085" y="6775803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16" name="Freeform 149">
                <a:extLst>
                  <a:ext uri="{FF2B5EF4-FFF2-40B4-BE49-F238E27FC236}">
                    <a16:creationId xmlns:a16="http://schemas.microsoft.com/office/drawing/2014/main" id="{747F16CB-D693-956F-9192-EA6C5BAD22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78386" y="5465991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17" name="Freeform 150">
                <a:extLst>
                  <a:ext uri="{FF2B5EF4-FFF2-40B4-BE49-F238E27FC236}">
                    <a16:creationId xmlns:a16="http://schemas.microsoft.com/office/drawing/2014/main" id="{9487E938-E559-B2BD-AC33-676604696B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470831" y="5748499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18" name="Freeform 151">
                <a:extLst>
                  <a:ext uri="{FF2B5EF4-FFF2-40B4-BE49-F238E27FC236}">
                    <a16:creationId xmlns:a16="http://schemas.microsoft.com/office/drawing/2014/main" id="{5D48ADD5-3CF1-1917-8481-FA541161C4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78386" y="6037051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19" name="Freeform 152">
                <a:extLst>
                  <a:ext uri="{FF2B5EF4-FFF2-40B4-BE49-F238E27FC236}">
                    <a16:creationId xmlns:a16="http://schemas.microsoft.com/office/drawing/2014/main" id="{49C4027B-4164-3B4D-4C3B-FBFF8180F2B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470831" y="6319559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20" name="Freeform 153">
                <a:extLst>
                  <a:ext uri="{FF2B5EF4-FFF2-40B4-BE49-F238E27FC236}">
                    <a16:creationId xmlns:a16="http://schemas.microsoft.com/office/drawing/2014/main" id="{DABC37B6-6297-2FC2-5FFA-4405B3FB7B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78386" y="6608111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21" name="Freeform 154">
                <a:extLst>
                  <a:ext uri="{FF2B5EF4-FFF2-40B4-BE49-F238E27FC236}">
                    <a16:creationId xmlns:a16="http://schemas.microsoft.com/office/drawing/2014/main" id="{97B8EB6D-A30F-B23D-2F0A-1F620E629C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78386" y="6893641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</p:grpSp>
        <p:grpSp>
          <p:nvGrpSpPr>
            <p:cNvPr id="322" name="Group 321">
              <a:extLst>
                <a:ext uri="{FF2B5EF4-FFF2-40B4-BE49-F238E27FC236}">
                  <a16:creationId xmlns:a16="http://schemas.microsoft.com/office/drawing/2014/main" id="{AC7C84D1-2A50-66DB-ACAB-69EA87803034}"/>
                </a:ext>
              </a:extLst>
            </p:cNvPr>
            <p:cNvGrpSpPr/>
            <p:nvPr/>
          </p:nvGrpSpPr>
          <p:grpSpPr>
            <a:xfrm>
              <a:off x="5294449" y="5513701"/>
              <a:ext cx="1941807" cy="1394352"/>
              <a:chOff x="5046015" y="3147135"/>
              <a:chExt cx="1942818" cy="1395078"/>
            </a:xfrm>
          </p:grpSpPr>
          <p:sp>
            <p:nvSpPr>
              <p:cNvPr id="323" name="Line 8">
                <a:extLst>
                  <a:ext uri="{FF2B5EF4-FFF2-40B4-BE49-F238E27FC236}">
                    <a16:creationId xmlns:a16="http://schemas.microsoft.com/office/drawing/2014/main" id="{2A6987F5-47B2-F04B-1A34-EF13CA81C94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87777" y="3269798"/>
                <a:ext cx="0" cy="0"/>
              </a:xfrm>
              <a:prstGeom prst="lin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24" name="Line 9">
                <a:extLst>
                  <a:ext uri="{FF2B5EF4-FFF2-40B4-BE49-F238E27FC236}">
                    <a16:creationId xmlns:a16="http://schemas.microsoft.com/office/drawing/2014/main" id="{D6AF30CF-5A18-F6AE-1F9D-BDFCCFB9E55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87777" y="3269798"/>
                <a:ext cx="0" cy="0"/>
              </a:xfrm>
              <a:prstGeom prst="lin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25" name="Freeform 10">
                <a:extLst>
                  <a:ext uri="{FF2B5EF4-FFF2-40B4-BE49-F238E27FC236}">
                    <a16:creationId xmlns:a16="http://schemas.microsoft.com/office/drawing/2014/main" id="{BF405951-EFC6-BA6B-EDD7-F5E4757F62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3110" y="3670571"/>
                <a:ext cx="37308" cy="58788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8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7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7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8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7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7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26" name="Freeform 11">
                <a:extLst>
                  <a:ext uri="{FF2B5EF4-FFF2-40B4-BE49-F238E27FC236}">
                    <a16:creationId xmlns:a16="http://schemas.microsoft.com/office/drawing/2014/main" id="{7ADC4374-4527-6DC7-8F70-1FFEFAA5BEF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10284" y="3770623"/>
                <a:ext cx="45221" cy="61614"/>
              </a:xfrm>
              <a:custGeom>
                <a:avLst/>
                <a:gdLst>
                  <a:gd name="T0" fmla="*/ 32 w 34"/>
                  <a:gd name="T1" fmla="*/ 8 h 46"/>
                  <a:gd name="T2" fmla="*/ 34 w 34"/>
                  <a:gd name="T3" fmla="*/ 23 h 46"/>
                  <a:gd name="T4" fmla="*/ 31 w 34"/>
                  <a:gd name="T5" fmla="*/ 39 h 46"/>
                  <a:gd name="T6" fmla="*/ 17 w 34"/>
                  <a:gd name="T7" fmla="*/ 46 h 46"/>
                  <a:gd name="T8" fmla="*/ 3 w 34"/>
                  <a:gd name="T9" fmla="*/ 37 h 46"/>
                  <a:gd name="T10" fmla="*/ 0 w 34"/>
                  <a:gd name="T11" fmla="*/ 23 h 46"/>
                  <a:gd name="T12" fmla="*/ 17 w 34"/>
                  <a:gd name="T13" fmla="*/ 0 h 46"/>
                  <a:gd name="T14" fmla="*/ 32 w 34"/>
                  <a:gd name="T15" fmla="*/ 8 h 46"/>
                  <a:gd name="T16" fmla="*/ 10 w 34"/>
                  <a:gd name="T17" fmla="*/ 23 h 46"/>
                  <a:gd name="T18" fmla="*/ 17 w 34"/>
                  <a:gd name="T19" fmla="*/ 38 h 46"/>
                  <a:gd name="T20" fmla="*/ 25 w 34"/>
                  <a:gd name="T21" fmla="*/ 23 h 46"/>
                  <a:gd name="T22" fmla="*/ 17 w 34"/>
                  <a:gd name="T23" fmla="*/ 8 h 46"/>
                  <a:gd name="T24" fmla="*/ 10 w 34"/>
                  <a:gd name="T25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46">
                    <a:moveTo>
                      <a:pt x="32" y="8"/>
                    </a:moveTo>
                    <a:cubicBezTo>
                      <a:pt x="34" y="12"/>
                      <a:pt x="34" y="16"/>
                      <a:pt x="34" y="23"/>
                    </a:cubicBezTo>
                    <a:cubicBezTo>
                      <a:pt x="34" y="31"/>
                      <a:pt x="33" y="36"/>
                      <a:pt x="31" y="39"/>
                    </a:cubicBezTo>
                    <a:cubicBezTo>
                      <a:pt x="28" y="43"/>
                      <a:pt x="23" y="46"/>
                      <a:pt x="17" y="46"/>
                    </a:cubicBezTo>
                    <a:cubicBezTo>
                      <a:pt x="11" y="46"/>
                      <a:pt x="6" y="43"/>
                      <a:pt x="3" y="37"/>
                    </a:cubicBezTo>
                    <a:cubicBezTo>
                      <a:pt x="1" y="34"/>
                      <a:pt x="0" y="29"/>
                      <a:pt x="0" y="23"/>
                    </a:cubicBezTo>
                    <a:cubicBezTo>
                      <a:pt x="0" y="8"/>
                      <a:pt x="6" y="0"/>
                      <a:pt x="17" y="0"/>
                    </a:cubicBezTo>
                    <a:cubicBezTo>
                      <a:pt x="24" y="0"/>
                      <a:pt x="29" y="3"/>
                      <a:pt x="32" y="8"/>
                    </a:cubicBezTo>
                    <a:close/>
                    <a:moveTo>
                      <a:pt x="10" y="23"/>
                    </a:moveTo>
                    <a:cubicBezTo>
                      <a:pt x="10" y="33"/>
                      <a:pt x="12" y="38"/>
                      <a:pt x="17" y="38"/>
                    </a:cubicBezTo>
                    <a:cubicBezTo>
                      <a:pt x="22" y="38"/>
                      <a:pt x="25" y="33"/>
                      <a:pt x="25" y="23"/>
                    </a:cubicBezTo>
                    <a:cubicBezTo>
                      <a:pt x="25" y="13"/>
                      <a:pt x="22" y="8"/>
                      <a:pt x="17" y="8"/>
                    </a:cubicBezTo>
                    <a:cubicBezTo>
                      <a:pt x="12" y="8"/>
                      <a:pt x="10" y="13"/>
                      <a:pt x="10" y="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27" name="Freeform 12">
                <a:extLst>
                  <a:ext uri="{FF2B5EF4-FFF2-40B4-BE49-F238E27FC236}">
                    <a16:creationId xmlns:a16="http://schemas.microsoft.com/office/drawing/2014/main" id="{F9BF4DA0-84A7-DCA4-28B9-5985B75C9B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3110" y="3873502"/>
                <a:ext cx="37308" cy="58788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6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7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7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6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7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7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28" name="Freeform 13">
                <a:extLst>
                  <a:ext uri="{FF2B5EF4-FFF2-40B4-BE49-F238E27FC236}">
                    <a16:creationId xmlns:a16="http://schemas.microsoft.com/office/drawing/2014/main" id="{DE9CBEB3-B3DF-8C69-4B3B-9635B642BA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3110" y="3975250"/>
                <a:ext cx="37308" cy="58788"/>
              </a:xfrm>
              <a:custGeom>
                <a:avLst/>
                <a:gdLst>
                  <a:gd name="T0" fmla="*/ 30 w 66"/>
                  <a:gd name="T1" fmla="*/ 23 h 104"/>
                  <a:gd name="T2" fmla="*/ 9 w 66"/>
                  <a:gd name="T3" fmla="*/ 35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5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5 h 104"/>
                  <a:gd name="T22" fmla="*/ 30 w 66"/>
                  <a:gd name="T23" fmla="*/ 2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3"/>
                    </a:moveTo>
                    <a:lnTo>
                      <a:pt x="9" y="35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5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5"/>
                    </a:lnTo>
                    <a:lnTo>
                      <a:pt x="30" y="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29" name="Freeform 14">
                <a:extLst>
                  <a:ext uri="{FF2B5EF4-FFF2-40B4-BE49-F238E27FC236}">
                    <a16:creationId xmlns:a16="http://schemas.microsoft.com/office/drawing/2014/main" id="{67F78962-7F12-B21E-E27E-D6CD2C915C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3110" y="4076432"/>
                <a:ext cx="37308" cy="58788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6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5 h 104"/>
                  <a:gd name="T12" fmla="*/ 66 w 66"/>
                  <a:gd name="T13" fmla="*/ 88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8 h 104"/>
                  <a:gd name="T20" fmla="*/ 30 w 66"/>
                  <a:gd name="T21" fmla="*/ 85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6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5"/>
                    </a:lnTo>
                    <a:lnTo>
                      <a:pt x="66" y="88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8"/>
                    </a:lnTo>
                    <a:lnTo>
                      <a:pt x="30" y="85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30" name="Freeform 15">
                <a:extLst>
                  <a:ext uri="{FF2B5EF4-FFF2-40B4-BE49-F238E27FC236}">
                    <a16:creationId xmlns:a16="http://schemas.microsoft.com/office/drawing/2014/main" id="{B9BFFE28-B974-9C43-5720-46BA3F0C92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3110" y="4178180"/>
                <a:ext cx="37308" cy="57092"/>
              </a:xfrm>
              <a:custGeom>
                <a:avLst/>
                <a:gdLst>
                  <a:gd name="T0" fmla="*/ 30 w 66"/>
                  <a:gd name="T1" fmla="*/ 23 h 101"/>
                  <a:gd name="T2" fmla="*/ 9 w 66"/>
                  <a:gd name="T3" fmla="*/ 35 h 101"/>
                  <a:gd name="T4" fmla="*/ 0 w 66"/>
                  <a:gd name="T5" fmla="*/ 19 h 101"/>
                  <a:gd name="T6" fmla="*/ 33 w 66"/>
                  <a:gd name="T7" fmla="*/ 0 h 101"/>
                  <a:gd name="T8" fmla="*/ 52 w 66"/>
                  <a:gd name="T9" fmla="*/ 0 h 101"/>
                  <a:gd name="T10" fmla="*/ 52 w 66"/>
                  <a:gd name="T11" fmla="*/ 85 h 101"/>
                  <a:gd name="T12" fmla="*/ 66 w 66"/>
                  <a:gd name="T13" fmla="*/ 85 h 101"/>
                  <a:gd name="T14" fmla="*/ 66 w 66"/>
                  <a:gd name="T15" fmla="*/ 101 h 101"/>
                  <a:gd name="T16" fmla="*/ 16 w 66"/>
                  <a:gd name="T17" fmla="*/ 101 h 101"/>
                  <a:gd name="T18" fmla="*/ 16 w 66"/>
                  <a:gd name="T19" fmla="*/ 85 h 101"/>
                  <a:gd name="T20" fmla="*/ 30 w 66"/>
                  <a:gd name="T21" fmla="*/ 85 h 101"/>
                  <a:gd name="T22" fmla="*/ 30 w 66"/>
                  <a:gd name="T23" fmla="*/ 23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1">
                    <a:moveTo>
                      <a:pt x="30" y="23"/>
                    </a:moveTo>
                    <a:lnTo>
                      <a:pt x="9" y="35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5"/>
                    </a:lnTo>
                    <a:lnTo>
                      <a:pt x="66" y="85"/>
                    </a:lnTo>
                    <a:lnTo>
                      <a:pt x="66" y="101"/>
                    </a:lnTo>
                    <a:lnTo>
                      <a:pt x="16" y="101"/>
                    </a:lnTo>
                    <a:lnTo>
                      <a:pt x="16" y="85"/>
                    </a:lnTo>
                    <a:lnTo>
                      <a:pt x="30" y="85"/>
                    </a:lnTo>
                    <a:lnTo>
                      <a:pt x="30" y="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31" name="Freeform 16">
                <a:extLst>
                  <a:ext uri="{FF2B5EF4-FFF2-40B4-BE49-F238E27FC236}">
                    <a16:creationId xmlns:a16="http://schemas.microsoft.com/office/drawing/2014/main" id="{7EC6E9E6-A1CE-A548-21F8-C961C759265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10284" y="4379414"/>
                <a:ext cx="45221" cy="60484"/>
              </a:xfrm>
              <a:custGeom>
                <a:avLst/>
                <a:gdLst>
                  <a:gd name="T0" fmla="*/ 32 w 34"/>
                  <a:gd name="T1" fmla="*/ 8 h 45"/>
                  <a:gd name="T2" fmla="*/ 34 w 34"/>
                  <a:gd name="T3" fmla="*/ 22 h 45"/>
                  <a:gd name="T4" fmla="*/ 31 w 34"/>
                  <a:gd name="T5" fmla="*/ 39 h 45"/>
                  <a:gd name="T6" fmla="*/ 17 w 34"/>
                  <a:gd name="T7" fmla="*/ 45 h 45"/>
                  <a:gd name="T8" fmla="*/ 3 w 34"/>
                  <a:gd name="T9" fmla="*/ 37 h 45"/>
                  <a:gd name="T10" fmla="*/ 0 w 34"/>
                  <a:gd name="T11" fmla="*/ 22 h 45"/>
                  <a:gd name="T12" fmla="*/ 17 w 34"/>
                  <a:gd name="T13" fmla="*/ 0 h 45"/>
                  <a:gd name="T14" fmla="*/ 32 w 34"/>
                  <a:gd name="T15" fmla="*/ 8 h 45"/>
                  <a:gd name="T16" fmla="*/ 10 w 34"/>
                  <a:gd name="T17" fmla="*/ 22 h 45"/>
                  <a:gd name="T18" fmla="*/ 17 w 34"/>
                  <a:gd name="T19" fmla="*/ 37 h 45"/>
                  <a:gd name="T20" fmla="*/ 25 w 34"/>
                  <a:gd name="T21" fmla="*/ 22 h 45"/>
                  <a:gd name="T22" fmla="*/ 17 w 34"/>
                  <a:gd name="T23" fmla="*/ 7 h 45"/>
                  <a:gd name="T24" fmla="*/ 10 w 34"/>
                  <a:gd name="T25" fmla="*/ 2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45">
                    <a:moveTo>
                      <a:pt x="32" y="8"/>
                    </a:moveTo>
                    <a:cubicBezTo>
                      <a:pt x="34" y="11"/>
                      <a:pt x="34" y="16"/>
                      <a:pt x="34" y="22"/>
                    </a:cubicBezTo>
                    <a:cubicBezTo>
                      <a:pt x="34" y="30"/>
                      <a:pt x="33" y="35"/>
                      <a:pt x="31" y="39"/>
                    </a:cubicBezTo>
                    <a:cubicBezTo>
                      <a:pt x="28" y="43"/>
                      <a:pt x="23" y="45"/>
                      <a:pt x="17" y="45"/>
                    </a:cubicBezTo>
                    <a:cubicBezTo>
                      <a:pt x="11" y="45"/>
                      <a:pt x="6" y="42"/>
                      <a:pt x="3" y="37"/>
                    </a:cubicBezTo>
                    <a:cubicBezTo>
                      <a:pt x="1" y="33"/>
                      <a:pt x="0" y="29"/>
                      <a:pt x="0" y="22"/>
                    </a:cubicBezTo>
                    <a:cubicBezTo>
                      <a:pt x="0" y="7"/>
                      <a:pt x="6" y="0"/>
                      <a:pt x="17" y="0"/>
                    </a:cubicBezTo>
                    <a:cubicBezTo>
                      <a:pt x="24" y="0"/>
                      <a:pt x="29" y="2"/>
                      <a:pt x="32" y="8"/>
                    </a:cubicBezTo>
                    <a:close/>
                    <a:moveTo>
                      <a:pt x="10" y="22"/>
                    </a:moveTo>
                    <a:cubicBezTo>
                      <a:pt x="10" y="33"/>
                      <a:pt x="12" y="37"/>
                      <a:pt x="17" y="37"/>
                    </a:cubicBezTo>
                    <a:cubicBezTo>
                      <a:pt x="22" y="37"/>
                      <a:pt x="25" y="33"/>
                      <a:pt x="25" y="22"/>
                    </a:cubicBezTo>
                    <a:cubicBezTo>
                      <a:pt x="25" y="12"/>
                      <a:pt x="22" y="7"/>
                      <a:pt x="17" y="7"/>
                    </a:cubicBezTo>
                    <a:cubicBezTo>
                      <a:pt x="12" y="7"/>
                      <a:pt x="10" y="12"/>
                      <a:pt x="10" y="2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32" name="Freeform 17">
                <a:extLst>
                  <a:ext uri="{FF2B5EF4-FFF2-40B4-BE49-F238E27FC236}">
                    <a16:creationId xmlns:a16="http://schemas.microsoft.com/office/drawing/2014/main" id="{6F849D70-D8A3-4B9A-DFE5-F67CCF0043B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10284" y="4481162"/>
                <a:ext cx="45221" cy="59918"/>
              </a:xfrm>
              <a:custGeom>
                <a:avLst/>
                <a:gdLst>
                  <a:gd name="T0" fmla="*/ 32 w 34"/>
                  <a:gd name="T1" fmla="*/ 8 h 45"/>
                  <a:gd name="T2" fmla="*/ 34 w 34"/>
                  <a:gd name="T3" fmla="*/ 22 h 45"/>
                  <a:gd name="T4" fmla="*/ 31 w 34"/>
                  <a:gd name="T5" fmla="*/ 39 h 45"/>
                  <a:gd name="T6" fmla="*/ 17 w 34"/>
                  <a:gd name="T7" fmla="*/ 45 h 45"/>
                  <a:gd name="T8" fmla="*/ 3 w 34"/>
                  <a:gd name="T9" fmla="*/ 37 h 45"/>
                  <a:gd name="T10" fmla="*/ 0 w 34"/>
                  <a:gd name="T11" fmla="*/ 22 h 45"/>
                  <a:gd name="T12" fmla="*/ 17 w 34"/>
                  <a:gd name="T13" fmla="*/ 0 h 45"/>
                  <a:gd name="T14" fmla="*/ 32 w 34"/>
                  <a:gd name="T15" fmla="*/ 8 h 45"/>
                  <a:gd name="T16" fmla="*/ 10 w 34"/>
                  <a:gd name="T17" fmla="*/ 22 h 45"/>
                  <a:gd name="T18" fmla="*/ 17 w 34"/>
                  <a:gd name="T19" fmla="*/ 37 h 45"/>
                  <a:gd name="T20" fmla="*/ 25 w 34"/>
                  <a:gd name="T21" fmla="*/ 22 h 45"/>
                  <a:gd name="T22" fmla="*/ 17 w 34"/>
                  <a:gd name="T23" fmla="*/ 7 h 45"/>
                  <a:gd name="T24" fmla="*/ 10 w 34"/>
                  <a:gd name="T25" fmla="*/ 2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45">
                    <a:moveTo>
                      <a:pt x="32" y="8"/>
                    </a:moveTo>
                    <a:cubicBezTo>
                      <a:pt x="34" y="11"/>
                      <a:pt x="34" y="16"/>
                      <a:pt x="34" y="22"/>
                    </a:cubicBezTo>
                    <a:cubicBezTo>
                      <a:pt x="34" y="30"/>
                      <a:pt x="33" y="35"/>
                      <a:pt x="31" y="39"/>
                    </a:cubicBezTo>
                    <a:cubicBezTo>
                      <a:pt x="28" y="43"/>
                      <a:pt x="23" y="45"/>
                      <a:pt x="17" y="45"/>
                    </a:cubicBezTo>
                    <a:cubicBezTo>
                      <a:pt x="11" y="45"/>
                      <a:pt x="6" y="42"/>
                      <a:pt x="3" y="37"/>
                    </a:cubicBezTo>
                    <a:cubicBezTo>
                      <a:pt x="1" y="33"/>
                      <a:pt x="0" y="29"/>
                      <a:pt x="0" y="22"/>
                    </a:cubicBezTo>
                    <a:cubicBezTo>
                      <a:pt x="0" y="7"/>
                      <a:pt x="6" y="0"/>
                      <a:pt x="17" y="0"/>
                    </a:cubicBezTo>
                    <a:cubicBezTo>
                      <a:pt x="24" y="0"/>
                      <a:pt x="29" y="2"/>
                      <a:pt x="32" y="8"/>
                    </a:cubicBezTo>
                    <a:close/>
                    <a:moveTo>
                      <a:pt x="10" y="22"/>
                    </a:moveTo>
                    <a:cubicBezTo>
                      <a:pt x="10" y="33"/>
                      <a:pt x="12" y="37"/>
                      <a:pt x="17" y="37"/>
                    </a:cubicBezTo>
                    <a:cubicBezTo>
                      <a:pt x="22" y="37"/>
                      <a:pt x="25" y="33"/>
                      <a:pt x="25" y="22"/>
                    </a:cubicBezTo>
                    <a:cubicBezTo>
                      <a:pt x="25" y="12"/>
                      <a:pt x="22" y="7"/>
                      <a:pt x="17" y="7"/>
                    </a:cubicBezTo>
                    <a:cubicBezTo>
                      <a:pt x="12" y="7"/>
                      <a:pt x="10" y="12"/>
                      <a:pt x="10" y="2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33" name="Freeform 23">
                <a:extLst>
                  <a:ext uri="{FF2B5EF4-FFF2-40B4-BE49-F238E27FC236}">
                    <a16:creationId xmlns:a16="http://schemas.microsoft.com/office/drawing/2014/main" id="{716BF870-FC84-606A-6DA8-FAF78058AB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7405" y="3400940"/>
                <a:ext cx="28263" cy="42395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8 h 32"/>
                  <a:gd name="T14" fmla="*/ 16 w 21"/>
                  <a:gd name="T15" fmla="*/ 16 h 32"/>
                  <a:gd name="T16" fmla="*/ 11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1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1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34" name="Freeform 24">
                <a:extLst>
                  <a:ext uri="{FF2B5EF4-FFF2-40B4-BE49-F238E27FC236}">
                    <a16:creationId xmlns:a16="http://schemas.microsoft.com/office/drawing/2014/main" id="{60BC1133-A1B9-413C-1DF1-962703D74D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7405" y="3472728"/>
                <a:ext cx="28263" cy="41830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5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35" name="Freeform 25">
                <a:extLst>
                  <a:ext uri="{FF2B5EF4-FFF2-40B4-BE49-F238E27FC236}">
                    <a16:creationId xmlns:a16="http://schemas.microsoft.com/office/drawing/2014/main" id="{CAD1B40B-D7A5-C0A3-F2AF-1B9AE1C61F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8536" y="3615741"/>
                <a:ext cx="24306" cy="4126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2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2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36" name="Freeform 26">
                <a:extLst>
                  <a:ext uri="{FF2B5EF4-FFF2-40B4-BE49-F238E27FC236}">
                    <a16:creationId xmlns:a16="http://schemas.microsoft.com/office/drawing/2014/main" id="{4EB52AE5-DEB4-239F-EE2B-D5FEBEB400D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7405" y="3686399"/>
                <a:ext cx="28263" cy="41830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6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37" name="Freeform 27">
                <a:extLst>
                  <a:ext uri="{FF2B5EF4-FFF2-40B4-BE49-F238E27FC236}">
                    <a16:creationId xmlns:a16="http://schemas.microsoft.com/office/drawing/2014/main" id="{9F80BC62-5F28-F6B3-05DF-558D588300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7405" y="3757622"/>
                <a:ext cx="28263" cy="42395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7 h 32"/>
                  <a:gd name="T14" fmla="*/ 16 w 21"/>
                  <a:gd name="T15" fmla="*/ 16 h 32"/>
                  <a:gd name="T16" fmla="*/ 11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1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38" name="Freeform 28">
                <a:extLst>
                  <a:ext uri="{FF2B5EF4-FFF2-40B4-BE49-F238E27FC236}">
                    <a16:creationId xmlns:a16="http://schemas.microsoft.com/office/drawing/2014/main" id="{CB11C25E-1342-7CBB-2FE7-EB6E1893F0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8536" y="3900069"/>
                <a:ext cx="24306" cy="41830"/>
              </a:xfrm>
              <a:custGeom>
                <a:avLst/>
                <a:gdLst>
                  <a:gd name="T0" fmla="*/ 19 w 43"/>
                  <a:gd name="T1" fmla="*/ 14 h 74"/>
                  <a:gd name="T2" fmla="*/ 5 w 43"/>
                  <a:gd name="T3" fmla="*/ 24 h 74"/>
                  <a:gd name="T4" fmla="*/ 0 w 43"/>
                  <a:gd name="T5" fmla="*/ 14 h 74"/>
                  <a:gd name="T6" fmla="*/ 22 w 43"/>
                  <a:gd name="T7" fmla="*/ 0 h 74"/>
                  <a:gd name="T8" fmla="*/ 34 w 43"/>
                  <a:gd name="T9" fmla="*/ 0 h 74"/>
                  <a:gd name="T10" fmla="*/ 34 w 43"/>
                  <a:gd name="T11" fmla="*/ 64 h 74"/>
                  <a:gd name="T12" fmla="*/ 43 w 43"/>
                  <a:gd name="T13" fmla="*/ 64 h 74"/>
                  <a:gd name="T14" fmla="*/ 43 w 43"/>
                  <a:gd name="T15" fmla="*/ 74 h 74"/>
                  <a:gd name="T16" fmla="*/ 10 w 43"/>
                  <a:gd name="T17" fmla="*/ 74 h 74"/>
                  <a:gd name="T18" fmla="*/ 10 w 43"/>
                  <a:gd name="T19" fmla="*/ 64 h 74"/>
                  <a:gd name="T20" fmla="*/ 19 w 43"/>
                  <a:gd name="T21" fmla="*/ 64 h 74"/>
                  <a:gd name="T22" fmla="*/ 19 w 43"/>
                  <a:gd name="T23" fmla="*/ 1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4">
                    <a:moveTo>
                      <a:pt x="19" y="14"/>
                    </a:moveTo>
                    <a:lnTo>
                      <a:pt x="5" y="24"/>
                    </a:lnTo>
                    <a:lnTo>
                      <a:pt x="0" y="14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4"/>
                    </a:lnTo>
                    <a:lnTo>
                      <a:pt x="10" y="74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39" name="Freeform 29">
                <a:extLst>
                  <a:ext uri="{FF2B5EF4-FFF2-40B4-BE49-F238E27FC236}">
                    <a16:creationId xmlns:a16="http://schemas.microsoft.com/office/drawing/2014/main" id="{463BD6DD-BC0F-D27F-CCE3-DFC6A93909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7405" y="3971293"/>
                <a:ext cx="28263" cy="42395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8 h 32"/>
                  <a:gd name="T14" fmla="*/ 16 w 21"/>
                  <a:gd name="T15" fmla="*/ 16 h 32"/>
                  <a:gd name="T16" fmla="*/ 11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1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1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40" name="Freeform 30">
                <a:extLst>
                  <a:ext uri="{FF2B5EF4-FFF2-40B4-BE49-F238E27FC236}">
                    <a16:creationId xmlns:a16="http://schemas.microsoft.com/office/drawing/2014/main" id="{8E00AF7A-D753-DE4A-F134-B6D2AB647C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8536" y="4043082"/>
                <a:ext cx="24306" cy="4126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4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4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41" name="Freeform 31">
                <a:extLst>
                  <a:ext uri="{FF2B5EF4-FFF2-40B4-BE49-F238E27FC236}">
                    <a16:creationId xmlns:a16="http://schemas.microsoft.com/office/drawing/2014/main" id="{72CD0F3C-B87C-B0A3-194B-AD49B9A365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7405" y="4113739"/>
                <a:ext cx="28263" cy="42960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7 h 32"/>
                  <a:gd name="T14" fmla="*/ 16 w 21"/>
                  <a:gd name="T15" fmla="*/ 16 h 32"/>
                  <a:gd name="T16" fmla="*/ 11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1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42" name="Freeform 32">
                <a:extLst>
                  <a:ext uri="{FF2B5EF4-FFF2-40B4-BE49-F238E27FC236}">
                    <a16:creationId xmlns:a16="http://schemas.microsoft.com/office/drawing/2014/main" id="{3B149C8C-E2F5-784A-0FF7-90B48E413A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8536" y="4186094"/>
                <a:ext cx="24306" cy="40134"/>
              </a:xfrm>
              <a:custGeom>
                <a:avLst/>
                <a:gdLst>
                  <a:gd name="T0" fmla="*/ 19 w 43"/>
                  <a:gd name="T1" fmla="*/ 12 h 71"/>
                  <a:gd name="T2" fmla="*/ 5 w 43"/>
                  <a:gd name="T3" fmla="*/ 21 h 71"/>
                  <a:gd name="T4" fmla="*/ 0 w 43"/>
                  <a:gd name="T5" fmla="*/ 12 h 71"/>
                  <a:gd name="T6" fmla="*/ 22 w 43"/>
                  <a:gd name="T7" fmla="*/ 0 h 71"/>
                  <a:gd name="T8" fmla="*/ 34 w 43"/>
                  <a:gd name="T9" fmla="*/ 0 h 71"/>
                  <a:gd name="T10" fmla="*/ 34 w 43"/>
                  <a:gd name="T11" fmla="*/ 64 h 71"/>
                  <a:gd name="T12" fmla="*/ 43 w 43"/>
                  <a:gd name="T13" fmla="*/ 64 h 71"/>
                  <a:gd name="T14" fmla="*/ 43 w 43"/>
                  <a:gd name="T15" fmla="*/ 71 h 71"/>
                  <a:gd name="T16" fmla="*/ 10 w 43"/>
                  <a:gd name="T17" fmla="*/ 71 h 71"/>
                  <a:gd name="T18" fmla="*/ 10 w 43"/>
                  <a:gd name="T19" fmla="*/ 64 h 71"/>
                  <a:gd name="T20" fmla="*/ 19 w 43"/>
                  <a:gd name="T21" fmla="*/ 64 h 71"/>
                  <a:gd name="T22" fmla="*/ 19 w 43"/>
                  <a:gd name="T23" fmla="*/ 1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1">
                    <a:moveTo>
                      <a:pt x="19" y="12"/>
                    </a:moveTo>
                    <a:lnTo>
                      <a:pt x="5" y="21"/>
                    </a:lnTo>
                    <a:lnTo>
                      <a:pt x="0" y="12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1"/>
                    </a:lnTo>
                    <a:lnTo>
                      <a:pt x="10" y="71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43" name="Freeform 33">
                <a:extLst>
                  <a:ext uri="{FF2B5EF4-FFF2-40B4-BE49-F238E27FC236}">
                    <a16:creationId xmlns:a16="http://schemas.microsoft.com/office/drawing/2014/main" id="{4F8D52E2-C86A-E985-FDE5-B40C57E8A2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8536" y="4256752"/>
                <a:ext cx="24306" cy="4126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4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4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44" name="Freeform 34">
                <a:extLst>
                  <a:ext uri="{FF2B5EF4-FFF2-40B4-BE49-F238E27FC236}">
                    <a16:creationId xmlns:a16="http://schemas.microsoft.com/office/drawing/2014/main" id="{E60E7C09-6CB5-84EA-C4A1-D68E5F6DE9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8536" y="4327410"/>
                <a:ext cx="24306" cy="4126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4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4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45" name="Freeform 43">
                <a:extLst>
                  <a:ext uri="{FF2B5EF4-FFF2-40B4-BE49-F238E27FC236}">
                    <a16:creationId xmlns:a16="http://schemas.microsoft.com/office/drawing/2014/main" id="{E9C06FD5-E492-C2C9-C681-8C79F5C0D7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2050" y="3475555"/>
                <a:ext cx="23741" cy="3504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5" y="0"/>
                      <a:pt x="18" y="5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46" name="Freeform 44">
                <a:extLst>
                  <a:ext uri="{FF2B5EF4-FFF2-40B4-BE49-F238E27FC236}">
                    <a16:creationId xmlns:a16="http://schemas.microsoft.com/office/drawing/2014/main" id="{6E15BDA8-FE69-E435-4FC1-003A00D819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2050" y="3533212"/>
                <a:ext cx="23741" cy="34481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1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47" name="Freeform 45">
                <a:extLst>
                  <a:ext uri="{FF2B5EF4-FFF2-40B4-BE49-F238E27FC236}">
                    <a16:creationId xmlns:a16="http://schemas.microsoft.com/office/drawing/2014/main" id="{E33ED3C5-D471-B0DC-CE9B-76403F2BB7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3181" y="3647960"/>
                <a:ext cx="18654" cy="33351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49 h 59"/>
                  <a:gd name="T20" fmla="*/ 17 w 33"/>
                  <a:gd name="T21" fmla="*/ 49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48" name="Freeform 46">
                <a:extLst>
                  <a:ext uri="{FF2B5EF4-FFF2-40B4-BE49-F238E27FC236}">
                    <a16:creationId xmlns:a16="http://schemas.microsoft.com/office/drawing/2014/main" id="{220A23BD-8CC7-59F1-6A0C-E0DD758E07B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2050" y="3703922"/>
                <a:ext cx="23741" cy="34481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49" name="Freeform 47">
                <a:extLst>
                  <a:ext uri="{FF2B5EF4-FFF2-40B4-BE49-F238E27FC236}">
                    <a16:creationId xmlns:a16="http://schemas.microsoft.com/office/drawing/2014/main" id="{C8C3CB9E-3186-8266-FE7D-FEBA5CBA2C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2050" y="3761579"/>
                <a:ext cx="23741" cy="33351"/>
              </a:xfrm>
              <a:custGeom>
                <a:avLst/>
                <a:gdLst>
                  <a:gd name="T0" fmla="*/ 18 w 18"/>
                  <a:gd name="T1" fmla="*/ 13 h 25"/>
                  <a:gd name="T2" fmla="*/ 9 w 18"/>
                  <a:gd name="T3" fmla="*/ 25 h 25"/>
                  <a:gd name="T4" fmla="*/ 0 w 18"/>
                  <a:gd name="T5" fmla="*/ 12 h 25"/>
                  <a:gd name="T6" fmla="*/ 9 w 18"/>
                  <a:gd name="T7" fmla="*/ 0 h 25"/>
                  <a:gd name="T8" fmla="*/ 18 w 18"/>
                  <a:gd name="T9" fmla="*/ 13 h 25"/>
                  <a:gd name="T10" fmla="*/ 5 w 18"/>
                  <a:gd name="T11" fmla="*/ 12 h 25"/>
                  <a:gd name="T12" fmla="*/ 9 w 18"/>
                  <a:gd name="T13" fmla="*/ 22 h 25"/>
                  <a:gd name="T14" fmla="*/ 13 w 18"/>
                  <a:gd name="T15" fmla="*/ 13 h 25"/>
                  <a:gd name="T16" fmla="*/ 9 w 18"/>
                  <a:gd name="T17" fmla="*/ 3 h 25"/>
                  <a:gd name="T18" fmla="*/ 5 w 18"/>
                  <a:gd name="T1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5">
                    <a:moveTo>
                      <a:pt x="18" y="13"/>
                    </a:moveTo>
                    <a:cubicBezTo>
                      <a:pt x="18" y="21"/>
                      <a:pt x="15" y="25"/>
                      <a:pt x="9" y="25"/>
                    </a:cubicBezTo>
                    <a:cubicBezTo>
                      <a:pt x="3" y="25"/>
                      <a:pt x="0" y="21"/>
                      <a:pt x="0" y="12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2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6"/>
                      <a:pt x="12" y="3"/>
                      <a:pt x="9" y="3"/>
                    </a:cubicBezTo>
                    <a:cubicBezTo>
                      <a:pt x="6" y="3"/>
                      <a:pt x="5" y="6"/>
                      <a:pt x="5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50" name="Freeform 48">
                <a:extLst>
                  <a:ext uri="{FF2B5EF4-FFF2-40B4-BE49-F238E27FC236}">
                    <a16:creationId xmlns:a16="http://schemas.microsoft.com/office/drawing/2014/main" id="{0C0F3E27-2B98-CCF8-39DF-015A0ACEB1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3181" y="3876328"/>
                <a:ext cx="18654" cy="31655"/>
              </a:xfrm>
              <a:custGeom>
                <a:avLst/>
                <a:gdLst>
                  <a:gd name="T0" fmla="*/ 17 w 33"/>
                  <a:gd name="T1" fmla="*/ 9 h 56"/>
                  <a:gd name="T2" fmla="*/ 5 w 33"/>
                  <a:gd name="T3" fmla="*/ 16 h 56"/>
                  <a:gd name="T4" fmla="*/ 0 w 33"/>
                  <a:gd name="T5" fmla="*/ 9 h 56"/>
                  <a:gd name="T6" fmla="*/ 19 w 33"/>
                  <a:gd name="T7" fmla="*/ 0 h 56"/>
                  <a:gd name="T8" fmla="*/ 26 w 33"/>
                  <a:gd name="T9" fmla="*/ 0 h 56"/>
                  <a:gd name="T10" fmla="*/ 26 w 33"/>
                  <a:gd name="T11" fmla="*/ 49 h 56"/>
                  <a:gd name="T12" fmla="*/ 33 w 33"/>
                  <a:gd name="T13" fmla="*/ 49 h 56"/>
                  <a:gd name="T14" fmla="*/ 33 w 33"/>
                  <a:gd name="T15" fmla="*/ 56 h 56"/>
                  <a:gd name="T16" fmla="*/ 10 w 33"/>
                  <a:gd name="T17" fmla="*/ 56 h 56"/>
                  <a:gd name="T18" fmla="*/ 10 w 33"/>
                  <a:gd name="T19" fmla="*/ 49 h 56"/>
                  <a:gd name="T20" fmla="*/ 17 w 33"/>
                  <a:gd name="T21" fmla="*/ 49 h 56"/>
                  <a:gd name="T22" fmla="*/ 17 w 33"/>
                  <a:gd name="T23" fmla="*/ 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6">
                    <a:moveTo>
                      <a:pt x="17" y="9"/>
                    </a:moveTo>
                    <a:lnTo>
                      <a:pt x="5" y="16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6"/>
                    </a:lnTo>
                    <a:lnTo>
                      <a:pt x="10" y="56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51" name="Freeform 49">
                <a:extLst>
                  <a:ext uri="{FF2B5EF4-FFF2-40B4-BE49-F238E27FC236}">
                    <a16:creationId xmlns:a16="http://schemas.microsoft.com/office/drawing/2014/main" id="{236033F7-29EF-B45D-DD50-16D69984D0B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2050" y="3932289"/>
                <a:ext cx="23741" cy="33351"/>
              </a:xfrm>
              <a:custGeom>
                <a:avLst/>
                <a:gdLst>
                  <a:gd name="T0" fmla="*/ 18 w 18"/>
                  <a:gd name="T1" fmla="*/ 13 h 25"/>
                  <a:gd name="T2" fmla="*/ 9 w 18"/>
                  <a:gd name="T3" fmla="*/ 25 h 25"/>
                  <a:gd name="T4" fmla="*/ 0 w 18"/>
                  <a:gd name="T5" fmla="*/ 13 h 25"/>
                  <a:gd name="T6" fmla="*/ 9 w 18"/>
                  <a:gd name="T7" fmla="*/ 0 h 25"/>
                  <a:gd name="T8" fmla="*/ 18 w 18"/>
                  <a:gd name="T9" fmla="*/ 13 h 25"/>
                  <a:gd name="T10" fmla="*/ 5 w 18"/>
                  <a:gd name="T11" fmla="*/ 13 h 25"/>
                  <a:gd name="T12" fmla="*/ 9 w 18"/>
                  <a:gd name="T13" fmla="*/ 22 h 25"/>
                  <a:gd name="T14" fmla="*/ 13 w 18"/>
                  <a:gd name="T15" fmla="*/ 13 h 25"/>
                  <a:gd name="T16" fmla="*/ 9 w 18"/>
                  <a:gd name="T17" fmla="*/ 3 h 25"/>
                  <a:gd name="T18" fmla="*/ 5 w 18"/>
                  <a:gd name="T19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5">
                    <a:moveTo>
                      <a:pt x="18" y="13"/>
                    </a:moveTo>
                    <a:cubicBezTo>
                      <a:pt x="18" y="21"/>
                      <a:pt x="15" y="25"/>
                      <a:pt x="9" y="25"/>
                    </a:cubicBezTo>
                    <a:cubicBezTo>
                      <a:pt x="3" y="25"/>
                      <a:pt x="0" y="21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6"/>
                      <a:pt x="12" y="3"/>
                      <a:pt x="9" y="3"/>
                    </a:cubicBezTo>
                    <a:cubicBezTo>
                      <a:pt x="6" y="3"/>
                      <a:pt x="5" y="6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52" name="Freeform 50">
                <a:extLst>
                  <a:ext uri="{FF2B5EF4-FFF2-40B4-BE49-F238E27FC236}">
                    <a16:creationId xmlns:a16="http://schemas.microsoft.com/office/drawing/2014/main" id="{46152D50-918A-922A-FE9C-E55CA386D9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3181" y="3989946"/>
                <a:ext cx="18654" cy="33351"/>
              </a:xfrm>
              <a:custGeom>
                <a:avLst/>
                <a:gdLst>
                  <a:gd name="T0" fmla="*/ 17 w 33"/>
                  <a:gd name="T1" fmla="*/ 11 h 59"/>
                  <a:gd name="T2" fmla="*/ 5 w 33"/>
                  <a:gd name="T3" fmla="*/ 18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52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52 h 59"/>
                  <a:gd name="T20" fmla="*/ 17 w 33"/>
                  <a:gd name="T21" fmla="*/ 49 h 59"/>
                  <a:gd name="T22" fmla="*/ 17 w 33"/>
                  <a:gd name="T23" fmla="*/ 11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1"/>
                    </a:moveTo>
                    <a:lnTo>
                      <a:pt x="5" y="18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52"/>
                    </a:lnTo>
                    <a:lnTo>
                      <a:pt x="17" y="49"/>
                    </a:lnTo>
                    <a:lnTo>
                      <a:pt x="17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53" name="Freeform 51">
                <a:extLst>
                  <a:ext uri="{FF2B5EF4-FFF2-40B4-BE49-F238E27FC236}">
                    <a16:creationId xmlns:a16="http://schemas.microsoft.com/office/drawing/2014/main" id="{C46C1656-3057-0900-E91D-660EC7B7985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2050" y="4045908"/>
                <a:ext cx="23741" cy="34481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54" name="Freeform 52">
                <a:extLst>
                  <a:ext uri="{FF2B5EF4-FFF2-40B4-BE49-F238E27FC236}">
                    <a16:creationId xmlns:a16="http://schemas.microsoft.com/office/drawing/2014/main" id="{6D35BE26-1899-E528-E52F-956CE5E3C1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3181" y="4102999"/>
                <a:ext cx="18654" cy="33351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12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52 h 59"/>
                  <a:gd name="T12" fmla="*/ 33 w 33"/>
                  <a:gd name="T13" fmla="*/ 52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52 h 59"/>
                  <a:gd name="T20" fmla="*/ 17 w 33"/>
                  <a:gd name="T21" fmla="*/ 52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52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52"/>
                    </a:lnTo>
                    <a:lnTo>
                      <a:pt x="17" y="52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55" name="Freeform 53">
                <a:extLst>
                  <a:ext uri="{FF2B5EF4-FFF2-40B4-BE49-F238E27FC236}">
                    <a16:creationId xmlns:a16="http://schemas.microsoft.com/office/drawing/2014/main" id="{637FA19A-7F7E-4EBA-F571-F4B0982BC1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3181" y="4160657"/>
                <a:ext cx="18654" cy="33351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52 h 59"/>
                  <a:gd name="T12" fmla="*/ 33 w 33"/>
                  <a:gd name="T13" fmla="*/ 52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52 h 59"/>
                  <a:gd name="T20" fmla="*/ 17 w 33"/>
                  <a:gd name="T21" fmla="*/ 52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52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52"/>
                    </a:lnTo>
                    <a:lnTo>
                      <a:pt x="17" y="52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56" name="Freeform 54">
                <a:extLst>
                  <a:ext uri="{FF2B5EF4-FFF2-40B4-BE49-F238E27FC236}">
                    <a16:creationId xmlns:a16="http://schemas.microsoft.com/office/drawing/2014/main" id="{F6FBF721-CB81-6CB0-8802-7A35F9E604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3181" y="4218314"/>
                <a:ext cx="18654" cy="31655"/>
              </a:xfrm>
              <a:custGeom>
                <a:avLst/>
                <a:gdLst>
                  <a:gd name="T0" fmla="*/ 17 w 33"/>
                  <a:gd name="T1" fmla="*/ 9 h 56"/>
                  <a:gd name="T2" fmla="*/ 5 w 33"/>
                  <a:gd name="T3" fmla="*/ 16 h 56"/>
                  <a:gd name="T4" fmla="*/ 0 w 33"/>
                  <a:gd name="T5" fmla="*/ 9 h 56"/>
                  <a:gd name="T6" fmla="*/ 19 w 33"/>
                  <a:gd name="T7" fmla="*/ 0 h 56"/>
                  <a:gd name="T8" fmla="*/ 26 w 33"/>
                  <a:gd name="T9" fmla="*/ 0 h 56"/>
                  <a:gd name="T10" fmla="*/ 26 w 33"/>
                  <a:gd name="T11" fmla="*/ 49 h 56"/>
                  <a:gd name="T12" fmla="*/ 33 w 33"/>
                  <a:gd name="T13" fmla="*/ 49 h 56"/>
                  <a:gd name="T14" fmla="*/ 33 w 33"/>
                  <a:gd name="T15" fmla="*/ 56 h 56"/>
                  <a:gd name="T16" fmla="*/ 10 w 33"/>
                  <a:gd name="T17" fmla="*/ 56 h 56"/>
                  <a:gd name="T18" fmla="*/ 10 w 33"/>
                  <a:gd name="T19" fmla="*/ 49 h 56"/>
                  <a:gd name="T20" fmla="*/ 17 w 33"/>
                  <a:gd name="T21" fmla="*/ 49 h 56"/>
                  <a:gd name="T22" fmla="*/ 17 w 33"/>
                  <a:gd name="T23" fmla="*/ 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6">
                    <a:moveTo>
                      <a:pt x="17" y="9"/>
                    </a:moveTo>
                    <a:lnTo>
                      <a:pt x="5" y="16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6"/>
                    </a:lnTo>
                    <a:lnTo>
                      <a:pt x="10" y="56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57" name="Freeform 55">
                <a:extLst>
                  <a:ext uri="{FF2B5EF4-FFF2-40B4-BE49-F238E27FC236}">
                    <a16:creationId xmlns:a16="http://schemas.microsoft.com/office/drawing/2014/main" id="{485CCE35-E753-41C0-3AB2-D53548D428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2050" y="4387893"/>
                <a:ext cx="23741" cy="34481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58" name="Freeform 56">
                <a:extLst>
                  <a:ext uri="{FF2B5EF4-FFF2-40B4-BE49-F238E27FC236}">
                    <a16:creationId xmlns:a16="http://schemas.microsoft.com/office/drawing/2014/main" id="{73B7639F-80C6-FAFF-0181-5E90D223BB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2050" y="4444985"/>
                <a:ext cx="23741" cy="33351"/>
              </a:xfrm>
              <a:custGeom>
                <a:avLst/>
                <a:gdLst>
                  <a:gd name="T0" fmla="*/ 18 w 18"/>
                  <a:gd name="T1" fmla="*/ 13 h 25"/>
                  <a:gd name="T2" fmla="*/ 9 w 18"/>
                  <a:gd name="T3" fmla="*/ 25 h 25"/>
                  <a:gd name="T4" fmla="*/ 0 w 18"/>
                  <a:gd name="T5" fmla="*/ 13 h 25"/>
                  <a:gd name="T6" fmla="*/ 9 w 18"/>
                  <a:gd name="T7" fmla="*/ 0 h 25"/>
                  <a:gd name="T8" fmla="*/ 18 w 18"/>
                  <a:gd name="T9" fmla="*/ 13 h 25"/>
                  <a:gd name="T10" fmla="*/ 5 w 18"/>
                  <a:gd name="T11" fmla="*/ 13 h 25"/>
                  <a:gd name="T12" fmla="*/ 9 w 18"/>
                  <a:gd name="T13" fmla="*/ 22 h 25"/>
                  <a:gd name="T14" fmla="*/ 13 w 18"/>
                  <a:gd name="T15" fmla="*/ 13 h 25"/>
                  <a:gd name="T16" fmla="*/ 9 w 18"/>
                  <a:gd name="T17" fmla="*/ 4 h 25"/>
                  <a:gd name="T18" fmla="*/ 5 w 18"/>
                  <a:gd name="T19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5">
                    <a:moveTo>
                      <a:pt x="18" y="13"/>
                    </a:moveTo>
                    <a:cubicBezTo>
                      <a:pt x="18" y="21"/>
                      <a:pt x="15" y="25"/>
                      <a:pt x="9" y="25"/>
                    </a:cubicBezTo>
                    <a:cubicBezTo>
                      <a:pt x="3" y="25"/>
                      <a:pt x="0" y="21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59" name="Freeform 63">
                <a:extLst>
                  <a:ext uri="{FF2B5EF4-FFF2-40B4-BE49-F238E27FC236}">
                    <a16:creationId xmlns:a16="http://schemas.microsoft.com/office/drawing/2014/main" id="{011AE629-F9EF-2EF4-228D-ECE2DDFA384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81768" y="3475555"/>
                <a:ext cx="22611" cy="3504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4" y="0"/>
                      <a:pt x="17" y="5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60" name="Freeform 64">
                <a:extLst>
                  <a:ext uri="{FF2B5EF4-FFF2-40B4-BE49-F238E27FC236}">
                    <a16:creationId xmlns:a16="http://schemas.microsoft.com/office/drawing/2014/main" id="{35F975F3-9264-6ECD-9AD3-86E19A6066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81768" y="3533212"/>
                <a:ext cx="22611" cy="34481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1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61" name="Freeform 65">
                <a:extLst>
                  <a:ext uri="{FF2B5EF4-FFF2-40B4-BE49-F238E27FC236}">
                    <a16:creationId xmlns:a16="http://schemas.microsoft.com/office/drawing/2014/main" id="{0D11AB4A-6603-3409-231E-5B0ED85DA1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3464" y="3647960"/>
                <a:ext cx="18654" cy="33351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49 h 59"/>
                  <a:gd name="T20" fmla="*/ 16 w 33"/>
                  <a:gd name="T21" fmla="*/ 49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62" name="Freeform 66">
                <a:extLst>
                  <a:ext uri="{FF2B5EF4-FFF2-40B4-BE49-F238E27FC236}">
                    <a16:creationId xmlns:a16="http://schemas.microsoft.com/office/drawing/2014/main" id="{1A0D8F78-318D-FA03-36B5-51DF68BE102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81768" y="3703922"/>
                <a:ext cx="22611" cy="34481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63" name="Freeform 67">
                <a:extLst>
                  <a:ext uri="{FF2B5EF4-FFF2-40B4-BE49-F238E27FC236}">
                    <a16:creationId xmlns:a16="http://schemas.microsoft.com/office/drawing/2014/main" id="{FCC598B1-E40A-1769-8E3B-8186787D89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81768" y="3761579"/>
                <a:ext cx="22611" cy="33351"/>
              </a:xfrm>
              <a:custGeom>
                <a:avLst/>
                <a:gdLst>
                  <a:gd name="T0" fmla="*/ 17 w 17"/>
                  <a:gd name="T1" fmla="*/ 13 h 25"/>
                  <a:gd name="T2" fmla="*/ 9 w 17"/>
                  <a:gd name="T3" fmla="*/ 25 h 25"/>
                  <a:gd name="T4" fmla="*/ 0 w 17"/>
                  <a:gd name="T5" fmla="*/ 12 h 25"/>
                  <a:gd name="T6" fmla="*/ 9 w 17"/>
                  <a:gd name="T7" fmla="*/ 0 h 25"/>
                  <a:gd name="T8" fmla="*/ 17 w 17"/>
                  <a:gd name="T9" fmla="*/ 13 h 25"/>
                  <a:gd name="T10" fmla="*/ 4 w 17"/>
                  <a:gd name="T11" fmla="*/ 12 h 25"/>
                  <a:gd name="T12" fmla="*/ 9 w 17"/>
                  <a:gd name="T13" fmla="*/ 22 h 25"/>
                  <a:gd name="T14" fmla="*/ 13 w 17"/>
                  <a:gd name="T15" fmla="*/ 13 h 25"/>
                  <a:gd name="T16" fmla="*/ 9 w 17"/>
                  <a:gd name="T17" fmla="*/ 3 h 25"/>
                  <a:gd name="T18" fmla="*/ 4 w 17"/>
                  <a:gd name="T1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5">
                    <a:moveTo>
                      <a:pt x="17" y="13"/>
                    </a:moveTo>
                    <a:cubicBezTo>
                      <a:pt x="17" y="21"/>
                      <a:pt x="14" y="25"/>
                      <a:pt x="9" y="25"/>
                    </a:cubicBezTo>
                    <a:cubicBezTo>
                      <a:pt x="3" y="25"/>
                      <a:pt x="0" y="21"/>
                      <a:pt x="0" y="12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2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6"/>
                      <a:pt x="11" y="3"/>
                      <a:pt x="9" y="3"/>
                    </a:cubicBezTo>
                    <a:cubicBezTo>
                      <a:pt x="6" y="3"/>
                      <a:pt x="4" y="6"/>
                      <a:pt x="4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64" name="Freeform 68">
                <a:extLst>
                  <a:ext uri="{FF2B5EF4-FFF2-40B4-BE49-F238E27FC236}">
                    <a16:creationId xmlns:a16="http://schemas.microsoft.com/office/drawing/2014/main" id="{6B68F4CF-55A0-83CA-7AFE-E1CCB570D3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3464" y="3876328"/>
                <a:ext cx="18654" cy="31655"/>
              </a:xfrm>
              <a:custGeom>
                <a:avLst/>
                <a:gdLst>
                  <a:gd name="T0" fmla="*/ 16 w 33"/>
                  <a:gd name="T1" fmla="*/ 9 h 56"/>
                  <a:gd name="T2" fmla="*/ 4 w 33"/>
                  <a:gd name="T3" fmla="*/ 16 h 56"/>
                  <a:gd name="T4" fmla="*/ 0 w 33"/>
                  <a:gd name="T5" fmla="*/ 9 h 56"/>
                  <a:gd name="T6" fmla="*/ 16 w 33"/>
                  <a:gd name="T7" fmla="*/ 0 h 56"/>
                  <a:gd name="T8" fmla="*/ 26 w 33"/>
                  <a:gd name="T9" fmla="*/ 0 h 56"/>
                  <a:gd name="T10" fmla="*/ 26 w 33"/>
                  <a:gd name="T11" fmla="*/ 49 h 56"/>
                  <a:gd name="T12" fmla="*/ 33 w 33"/>
                  <a:gd name="T13" fmla="*/ 49 h 56"/>
                  <a:gd name="T14" fmla="*/ 33 w 33"/>
                  <a:gd name="T15" fmla="*/ 56 h 56"/>
                  <a:gd name="T16" fmla="*/ 7 w 33"/>
                  <a:gd name="T17" fmla="*/ 56 h 56"/>
                  <a:gd name="T18" fmla="*/ 7 w 33"/>
                  <a:gd name="T19" fmla="*/ 49 h 56"/>
                  <a:gd name="T20" fmla="*/ 16 w 33"/>
                  <a:gd name="T21" fmla="*/ 49 h 56"/>
                  <a:gd name="T22" fmla="*/ 16 w 33"/>
                  <a:gd name="T23" fmla="*/ 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6">
                    <a:moveTo>
                      <a:pt x="16" y="9"/>
                    </a:moveTo>
                    <a:lnTo>
                      <a:pt x="4" y="16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6"/>
                    </a:lnTo>
                    <a:lnTo>
                      <a:pt x="7" y="56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65" name="Freeform 69">
                <a:extLst>
                  <a:ext uri="{FF2B5EF4-FFF2-40B4-BE49-F238E27FC236}">
                    <a16:creationId xmlns:a16="http://schemas.microsoft.com/office/drawing/2014/main" id="{B3A8AA7F-9794-B915-ED99-9D13B659CC4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81768" y="3932289"/>
                <a:ext cx="22611" cy="33351"/>
              </a:xfrm>
              <a:custGeom>
                <a:avLst/>
                <a:gdLst>
                  <a:gd name="T0" fmla="*/ 17 w 17"/>
                  <a:gd name="T1" fmla="*/ 13 h 25"/>
                  <a:gd name="T2" fmla="*/ 9 w 17"/>
                  <a:gd name="T3" fmla="*/ 25 h 25"/>
                  <a:gd name="T4" fmla="*/ 0 w 17"/>
                  <a:gd name="T5" fmla="*/ 13 h 25"/>
                  <a:gd name="T6" fmla="*/ 9 w 17"/>
                  <a:gd name="T7" fmla="*/ 0 h 25"/>
                  <a:gd name="T8" fmla="*/ 17 w 17"/>
                  <a:gd name="T9" fmla="*/ 13 h 25"/>
                  <a:gd name="T10" fmla="*/ 4 w 17"/>
                  <a:gd name="T11" fmla="*/ 13 h 25"/>
                  <a:gd name="T12" fmla="*/ 9 w 17"/>
                  <a:gd name="T13" fmla="*/ 22 h 25"/>
                  <a:gd name="T14" fmla="*/ 13 w 17"/>
                  <a:gd name="T15" fmla="*/ 13 h 25"/>
                  <a:gd name="T16" fmla="*/ 9 w 17"/>
                  <a:gd name="T17" fmla="*/ 3 h 25"/>
                  <a:gd name="T18" fmla="*/ 4 w 17"/>
                  <a:gd name="T19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5">
                    <a:moveTo>
                      <a:pt x="17" y="13"/>
                    </a:moveTo>
                    <a:cubicBezTo>
                      <a:pt x="17" y="21"/>
                      <a:pt x="14" y="25"/>
                      <a:pt x="9" y="25"/>
                    </a:cubicBezTo>
                    <a:cubicBezTo>
                      <a:pt x="3" y="25"/>
                      <a:pt x="0" y="21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6"/>
                      <a:pt x="11" y="3"/>
                      <a:pt x="9" y="3"/>
                    </a:cubicBezTo>
                    <a:cubicBezTo>
                      <a:pt x="6" y="3"/>
                      <a:pt x="4" y="6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66" name="Freeform 70">
                <a:extLst>
                  <a:ext uri="{FF2B5EF4-FFF2-40B4-BE49-F238E27FC236}">
                    <a16:creationId xmlns:a16="http://schemas.microsoft.com/office/drawing/2014/main" id="{60669007-C97C-182C-0BB1-00B5F29BDB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3464" y="3989946"/>
                <a:ext cx="18654" cy="33351"/>
              </a:xfrm>
              <a:custGeom>
                <a:avLst/>
                <a:gdLst>
                  <a:gd name="T0" fmla="*/ 16 w 33"/>
                  <a:gd name="T1" fmla="*/ 11 h 59"/>
                  <a:gd name="T2" fmla="*/ 4 w 33"/>
                  <a:gd name="T3" fmla="*/ 18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52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52 h 59"/>
                  <a:gd name="T20" fmla="*/ 16 w 33"/>
                  <a:gd name="T21" fmla="*/ 49 h 59"/>
                  <a:gd name="T22" fmla="*/ 16 w 33"/>
                  <a:gd name="T23" fmla="*/ 11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1"/>
                    </a:moveTo>
                    <a:lnTo>
                      <a:pt x="4" y="18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52"/>
                    </a:lnTo>
                    <a:lnTo>
                      <a:pt x="16" y="49"/>
                    </a:lnTo>
                    <a:lnTo>
                      <a:pt x="16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67" name="Freeform 71">
                <a:extLst>
                  <a:ext uri="{FF2B5EF4-FFF2-40B4-BE49-F238E27FC236}">
                    <a16:creationId xmlns:a16="http://schemas.microsoft.com/office/drawing/2014/main" id="{E2A5C1A4-BB82-241B-2020-D620CDC7927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81768" y="4045908"/>
                <a:ext cx="22611" cy="34481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68" name="Freeform 72">
                <a:extLst>
                  <a:ext uri="{FF2B5EF4-FFF2-40B4-BE49-F238E27FC236}">
                    <a16:creationId xmlns:a16="http://schemas.microsoft.com/office/drawing/2014/main" id="{1421F804-DB24-D9D9-D1F0-DE3EED92DF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3464" y="4102999"/>
                <a:ext cx="18654" cy="33351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12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52 h 59"/>
                  <a:gd name="T12" fmla="*/ 33 w 33"/>
                  <a:gd name="T13" fmla="*/ 52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52 h 59"/>
                  <a:gd name="T20" fmla="*/ 16 w 33"/>
                  <a:gd name="T21" fmla="*/ 52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12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52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52"/>
                    </a:lnTo>
                    <a:lnTo>
                      <a:pt x="16" y="52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69" name="Freeform 73">
                <a:extLst>
                  <a:ext uri="{FF2B5EF4-FFF2-40B4-BE49-F238E27FC236}">
                    <a16:creationId xmlns:a16="http://schemas.microsoft.com/office/drawing/2014/main" id="{04833AEF-B0CB-BD99-C9AD-EDE33AF2C8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3464" y="4160657"/>
                <a:ext cx="18654" cy="33351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52 h 59"/>
                  <a:gd name="T12" fmla="*/ 33 w 33"/>
                  <a:gd name="T13" fmla="*/ 52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52 h 59"/>
                  <a:gd name="T20" fmla="*/ 16 w 33"/>
                  <a:gd name="T21" fmla="*/ 52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52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52"/>
                    </a:lnTo>
                    <a:lnTo>
                      <a:pt x="16" y="52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70" name="Freeform 74">
                <a:extLst>
                  <a:ext uri="{FF2B5EF4-FFF2-40B4-BE49-F238E27FC236}">
                    <a16:creationId xmlns:a16="http://schemas.microsoft.com/office/drawing/2014/main" id="{CB661586-CE9E-9BAE-C0DF-49798C6013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3464" y="4218314"/>
                <a:ext cx="18654" cy="31655"/>
              </a:xfrm>
              <a:custGeom>
                <a:avLst/>
                <a:gdLst>
                  <a:gd name="T0" fmla="*/ 16 w 33"/>
                  <a:gd name="T1" fmla="*/ 9 h 56"/>
                  <a:gd name="T2" fmla="*/ 4 w 33"/>
                  <a:gd name="T3" fmla="*/ 16 h 56"/>
                  <a:gd name="T4" fmla="*/ 0 w 33"/>
                  <a:gd name="T5" fmla="*/ 9 h 56"/>
                  <a:gd name="T6" fmla="*/ 16 w 33"/>
                  <a:gd name="T7" fmla="*/ 0 h 56"/>
                  <a:gd name="T8" fmla="*/ 26 w 33"/>
                  <a:gd name="T9" fmla="*/ 0 h 56"/>
                  <a:gd name="T10" fmla="*/ 26 w 33"/>
                  <a:gd name="T11" fmla="*/ 49 h 56"/>
                  <a:gd name="T12" fmla="*/ 33 w 33"/>
                  <a:gd name="T13" fmla="*/ 49 h 56"/>
                  <a:gd name="T14" fmla="*/ 33 w 33"/>
                  <a:gd name="T15" fmla="*/ 56 h 56"/>
                  <a:gd name="T16" fmla="*/ 7 w 33"/>
                  <a:gd name="T17" fmla="*/ 56 h 56"/>
                  <a:gd name="T18" fmla="*/ 7 w 33"/>
                  <a:gd name="T19" fmla="*/ 49 h 56"/>
                  <a:gd name="T20" fmla="*/ 16 w 33"/>
                  <a:gd name="T21" fmla="*/ 49 h 56"/>
                  <a:gd name="T22" fmla="*/ 16 w 33"/>
                  <a:gd name="T23" fmla="*/ 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6">
                    <a:moveTo>
                      <a:pt x="16" y="9"/>
                    </a:moveTo>
                    <a:lnTo>
                      <a:pt x="4" y="16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6"/>
                    </a:lnTo>
                    <a:lnTo>
                      <a:pt x="7" y="56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71" name="Freeform 75">
                <a:extLst>
                  <a:ext uri="{FF2B5EF4-FFF2-40B4-BE49-F238E27FC236}">
                    <a16:creationId xmlns:a16="http://schemas.microsoft.com/office/drawing/2014/main" id="{0AF58345-0144-10A8-8BD8-B029A8909D6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81768" y="4387893"/>
                <a:ext cx="22611" cy="34481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72" name="Freeform 76">
                <a:extLst>
                  <a:ext uri="{FF2B5EF4-FFF2-40B4-BE49-F238E27FC236}">
                    <a16:creationId xmlns:a16="http://schemas.microsoft.com/office/drawing/2014/main" id="{DD475673-6049-478F-54C6-BCF594D85C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81768" y="4444985"/>
                <a:ext cx="22611" cy="33351"/>
              </a:xfrm>
              <a:custGeom>
                <a:avLst/>
                <a:gdLst>
                  <a:gd name="T0" fmla="*/ 17 w 17"/>
                  <a:gd name="T1" fmla="*/ 13 h 25"/>
                  <a:gd name="T2" fmla="*/ 9 w 17"/>
                  <a:gd name="T3" fmla="*/ 25 h 25"/>
                  <a:gd name="T4" fmla="*/ 0 w 17"/>
                  <a:gd name="T5" fmla="*/ 13 h 25"/>
                  <a:gd name="T6" fmla="*/ 9 w 17"/>
                  <a:gd name="T7" fmla="*/ 0 h 25"/>
                  <a:gd name="T8" fmla="*/ 17 w 17"/>
                  <a:gd name="T9" fmla="*/ 13 h 25"/>
                  <a:gd name="T10" fmla="*/ 4 w 17"/>
                  <a:gd name="T11" fmla="*/ 13 h 25"/>
                  <a:gd name="T12" fmla="*/ 9 w 17"/>
                  <a:gd name="T13" fmla="*/ 22 h 25"/>
                  <a:gd name="T14" fmla="*/ 13 w 17"/>
                  <a:gd name="T15" fmla="*/ 13 h 25"/>
                  <a:gd name="T16" fmla="*/ 9 w 17"/>
                  <a:gd name="T17" fmla="*/ 4 h 25"/>
                  <a:gd name="T18" fmla="*/ 4 w 17"/>
                  <a:gd name="T19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5">
                    <a:moveTo>
                      <a:pt x="17" y="13"/>
                    </a:moveTo>
                    <a:cubicBezTo>
                      <a:pt x="17" y="21"/>
                      <a:pt x="14" y="25"/>
                      <a:pt x="9" y="25"/>
                    </a:cubicBezTo>
                    <a:cubicBezTo>
                      <a:pt x="3" y="25"/>
                      <a:pt x="0" y="21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73" name="Freeform 83">
                <a:extLst>
                  <a:ext uri="{FF2B5EF4-FFF2-40B4-BE49-F238E27FC236}">
                    <a16:creationId xmlns:a16="http://schemas.microsoft.com/office/drawing/2014/main" id="{A458165A-45B0-0FEB-7861-C1594E794B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23954" y="3478381"/>
                <a:ext cx="34481" cy="58788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3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74" name="Freeform 84">
                <a:extLst>
                  <a:ext uri="{FF2B5EF4-FFF2-40B4-BE49-F238E27FC236}">
                    <a16:creationId xmlns:a16="http://schemas.microsoft.com/office/drawing/2014/main" id="{3C39F28A-8FCF-3DA1-C859-BF64CCEEB6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22824" y="3578433"/>
                <a:ext cx="41265" cy="61614"/>
              </a:xfrm>
              <a:custGeom>
                <a:avLst/>
                <a:gdLst>
                  <a:gd name="T0" fmla="*/ 31 w 31"/>
                  <a:gd name="T1" fmla="*/ 23 h 46"/>
                  <a:gd name="T2" fmla="*/ 15 w 31"/>
                  <a:gd name="T3" fmla="*/ 46 h 46"/>
                  <a:gd name="T4" fmla="*/ 0 w 31"/>
                  <a:gd name="T5" fmla="*/ 23 h 46"/>
                  <a:gd name="T6" fmla="*/ 15 w 31"/>
                  <a:gd name="T7" fmla="*/ 0 h 46"/>
                  <a:gd name="T8" fmla="*/ 31 w 31"/>
                  <a:gd name="T9" fmla="*/ 23 h 46"/>
                  <a:gd name="T10" fmla="*/ 8 w 31"/>
                  <a:gd name="T11" fmla="*/ 23 h 46"/>
                  <a:gd name="T12" fmla="*/ 15 w 31"/>
                  <a:gd name="T13" fmla="*/ 39 h 46"/>
                  <a:gd name="T14" fmla="*/ 23 w 31"/>
                  <a:gd name="T15" fmla="*/ 23 h 46"/>
                  <a:gd name="T16" fmla="*/ 15 w 31"/>
                  <a:gd name="T17" fmla="*/ 7 h 46"/>
                  <a:gd name="T18" fmla="*/ 8 w 31"/>
                  <a:gd name="T19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6">
                    <a:moveTo>
                      <a:pt x="31" y="23"/>
                    </a:moveTo>
                    <a:cubicBezTo>
                      <a:pt x="31" y="38"/>
                      <a:pt x="26" y="46"/>
                      <a:pt x="15" y="46"/>
                    </a:cubicBezTo>
                    <a:cubicBezTo>
                      <a:pt x="5" y="46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7"/>
                      <a:pt x="15" y="7"/>
                    </a:cubicBezTo>
                    <a:cubicBezTo>
                      <a:pt x="10" y="7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75" name="Freeform 85">
                <a:extLst>
                  <a:ext uri="{FF2B5EF4-FFF2-40B4-BE49-F238E27FC236}">
                    <a16:creationId xmlns:a16="http://schemas.microsoft.com/office/drawing/2014/main" id="{3688888D-C63C-5A10-18DB-3D132B5F64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22824" y="3680181"/>
                <a:ext cx="41265" cy="59918"/>
              </a:xfrm>
              <a:custGeom>
                <a:avLst/>
                <a:gdLst>
                  <a:gd name="T0" fmla="*/ 31 w 31"/>
                  <a:gd name="T1" fmla="*/ 23 h 45"/>
                  <a:gd name="T2" fmla="*/ 15 w 31"/>
                  <a:gd name="T3" fmla="*/ 45 h 45"/>
                  <a:gd name="T4" fmla="*/ 0 w 31"/>
                  <a:gd name="T5" fmla="*/ 23 h 45"/>
                  <a:gd name="T6" fmla="*/ 15 w 31"/>
                  <a:gd name="T7" fmla="*/ 0 h 45"/>
                  <a:gd name="T8" fmla="*/ 31 w 31"/>
                  <a:gd name="T9" fmla="*/ 23 h 45"/>
                  <a:gd name="T10" fmla="*/ 8 w 31"/>
                  <a:gd name="T11" fmla="*/ 23 h 45"/>
                  <a:gd name="T12" fmla="*/ 15 w 31"/>
                  <a:gd name="T13" fmla="*/ 39 h 45"/>
                  <a:gd name="T14" fmla="*/ 23 w 31"/>
                  <a:gd name="T15" fmla="*/ 23 h 45"/>
                  <a:gd name="T16" fmla="*/ 15 w 31"/>
                  <a:gd name="T17" fmla="*/ 6 h 45"/>
                  <a:gd name="T18" fmla="*/ 8 w 31"/>
                  <a:gd name="T19" fmla="*/ 2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31" y="23"/>
                    </a:moveTo>
                    <a:cubicBezTo>
                      <a:pt x="31" y="38"/>
                      <a:pt x="26" y="45"/>
                      <a:pt x="15" y="45"/>
                    </a:cubicBezTo>
                    <a:cubicBezTo>
                      <a:pt x="5" y="45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6"/>
                      <a:pt x="15" y="6"/>
                    </a:cubicBezTo>
                    <a:cubicBezTo>
                      <a:pt x="10" y="6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76" name="Freeform 86">
                <a:extLst>
                  <a:ext uri="{FF2B5EF4-FFF2-40B4-BE49-F238E27FC236}">
                    <a16:creationId xmlns:a16="http://schemas.microsoft.com/office/drawing/2014/main" id="{98643E66-247A-C551-B85F-E004F43138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23954" y="3782494"/>
                <a:ext cx="34481" cy="58788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4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4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77" name="Freeform 87">
                <a:extLst>
                  <a:ext uri="{FF2B5EF4-FFF2-40B4-BE49-F238E27FC236}">
                    <a16:creationId xmlns:a16="http://schemas.microsoft.com/office/drawing/2014/main" id="{9F0225D4-BEE5-90F3-4BBD-98E3D32E46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23954" y="3884242"/>
                <a:ext cx="34481" cy="58788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1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1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78" name="Freeform 88">
                <a:extLst>
                  <a:ext uri="{FF2B5EF4-FFF2-40B4-BE49-F238E27FC236}">
                    <a16:creationId xmlns:a16="http://schemas.microsoft.com/office/drawing/2014/main" id="{B007D71C-98B1-9C79-2FEC-F66B383471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23954" y="3985989"/>
                <a:ext cx="34481" cy="58223"/>
              </a:xfrm>
              <a:custGeom>
                <a:avLst/>
                <a:gdLst>
                  <a:gd name="T0" fmla="*/ 31 w 61"/>
                  <a:gd name="T1" fmla="*/ 18 h 103"/>
                  <a:gd name="T2" fmla="*/ 10 w 61"/>
                  <a:gd name="T3" fmla="*/ 30 h 103"/>
                  <a:gd name="T4" fmla="*/ 0 w 61"/>
                  <a:gd name="T5" fmla="*/ 18 h 103"/>
                  <a:gd name="T6" fmla="*/ 31 w 61"/>
                  <a:gd name="T7" fmla="*/ 0 h 103"/>
                  <a:gd name="T8" fmla="*/ 47 w 61"/>
                  <a:gd name="T9" fmla="*/ 0 h 103"/>
                  <a:gd name="T10" fmla="*/ 47 w 61"/>
                  <a:gd name="T11" fmla="*/ 89 h 103"/>
                  <a:gd name="T12" fmla="*/ 61 w 61"/>
                  <a:gd name="T13" fmla="*/ 89 h 103"/>
                  <a:gd name="T14" fmla="*/ 61 w 61"/>
                  <a:gd name="T15" fmla="*/ 103 h 103"/>
                  <a:gd name="T16" fmla="*/ 17 w 61"/>
                  <a:gd name="T17" fmla="*/ 103 h 103"/>
                  <a:gd name="T18" fmla="*/ 17 w 61"/>
                  <a:gd name="T19" fmla="*/ 89 h 103"/>
                  <a:gd name="T20" fmla="*/ 31 w 61"/>
                  <a:gd name="T21" fmla="*/ 89 h 103"/>
                  <a:gd name="T22" fmla="*/ 31 w 61"/>
                  <a:gd name="T23" fmla="*/ 18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3">
                    <a:moveTo>
                      <a:pt x="31" y="18"/>
                    </a:moveTo>
                    <a:lnTo>
                      <a:pt x="10" y="30"/>
                    </a:lnTo>
                    <a:lnTo>
                      <a:pt x="0" y="18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89"/>
                    </a:lnTo>
                    <a:lnTo>
                      <a:pt x="61" y="89"/>
                    </a:lnTo>
                    <a:lnTo>
                      <a:pt x="61" y="103"/>
                    </a:lnTo>
                    <a:lnTo>
                      <a:pt x="17" y="103"/>
                    </a:lnTo>
                    <a:lnTo>
                      <a:pt x="17" y="89"/>
                    </a:lnTo>
                    <a:lnTo>
                      <a:pt x="31" y="89"/>
                    </a:lnTo>
                    <a:lnTo>
                      <a:pt x="31" y="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79" name="Freeform 89">
                <a:extLst>
                  <a:ext uri="{FF2B5EF4-FFF2-40B4-BE49-F238E27FC236}">
                    <a16:creationId xmlns:a16="http://schemas.microsoft.com/office/drawing/2014/main" id="{350E8BE5-6BA2-CB90-F1D4-E392605D92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22824" y="4086042"/>
                <a:ext cx="41265" cy="59918"/>
              </a:xfrm>
              <a:custGeom>
                <a:avLst/>
                <a:gdLst>
                  <a:gd name="T0" fmla="*/ 31 w 31"/>
                  <a:gd name="T1" fmla="*/ 23 h 45"/>
                  <a:gd name="T2" fmla="*/ 15 w 31"/>
                  <a:gd name="T3" fmla="*/ 45 h 45"/>
                  <a:gd name="T4" fmla="*/ 0 w 31"/>
                  <a:gd name="T5" fmla="*/ 22 h 45"/>
                  <a:gd name="T6" fmla="*/ 15 w 31"/>
                  <a:gd name="T7" fmla="*/ 0 h 45"/>
                  <a:gd name="T8" fmla="*/ 31 w 31"/>
                  <a:gd name="T9" fmla="*/ 23 h 45"/>
                  <a:gd name="T10" fmla="*/ 8 w 31"/>
                  <a:gd name="T11" fmla="*/ 22 h 45"/>
                  <a:gd name="T12" fmla="*/ 15 w 31"/>
                  <a:gd name="T13" fmla="*/ 39 h 45"/>
                  <a:gd name="T14" fmla="*/ 23 w 31"/>
                  <a:gd name="T15" fmla="*/ 23 h 45"/>
                  <a:gd name="T16" fmla="*/ 15 w 31"/>
                  <a:gd name="T17" fmla="*/ 6 h 45"/>
                  <a:gd name="T18" fmla="*/ 8 w 31"/>
                  <a:gd name="T19" fmla="*/ 2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31" y="23"/>
                    </a:moveTo>
                    <a:cubicBezTo>
                      <a:pt x="31" y="38"/>
                      <a:pt x="26" y="45"/>
                      <a:pt x="15" y="45"/>
                    </a:cubicBezTo>
                    <a:cubicBezTo>
                      <a:pt x="5" y="45"/>
                      <a:pt x="0" y="38"/>
                      <a:pt x="0" y="22"/>
                    </a:cubicBezTo>
                    <a:cubicBezTo>
                      <a:pt x="0" y="7"/>
                      <a:pt x="5" y="0"/>
                      <a:pt x="15" y="0"/>
                    </a:cubicBezTo>
                    <a:cubicBezTo>
                      <a:pt x="26" y="0"/>
                      <a:pt x="31" y="7"/>
                      <a:pt x="31" y="23"/>
                    </a:cubicBezTo>
                    <a:close/>
                    <a:moveTo>
                      <a:pt x="8" y="22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1"/>
                      <a:pt x="20" y="6"/>
                      <a:pt x="15" y="6"/>
                    </a:cubicBezTo>
                    <a:cubicBezTo>
                      <a:pt x="10" y="6"/>
                      <a:pt x="8" y="11"/>
                      <a:pt x="8" y="2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80" name="Freeform 90">
                <a:extLst>
                  <a:ext uri="{FF2B5EF4-FFF2-40B4-BE49-F238E27FC236}">
                    <a16:creationId xmlns:a16="http://schemas.microsoft.com/office/drawing/2014/main" id="{5EAE2ECB-CDFE-EB6A-4629-C538396C82F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22824" y="4390154"/>
                <a:ext cx="41265" cy="60484"/>
              </a:xfrm>
              <a:custGeom>
                <a:avLst/>
                <a:gdLst>
                  <a:gd name="T0" fmla="*/ 31 w 31"/>
                  <a:gd name="T1" fmla="*/ 22 h 45"/>
                  <a:gd name="T2" fmla="*/ 15 w 31"/>
                  <a:gd name="T3" fmla="*/ 45 h 45"/>
                  <a:gd name="T4" fmla="*/ 0 w 31"/>
                  <a:gd name="T5" fmla="*/ 22 h 45"/>
                  <a:gd name="T6" fmla="*/ 15 w 31"/>
                  <a:gd name="T7" fmla="*/ 0 h 45"/>
                  <a:gd name="T8" fmla="*/ 31 w 31"/>
                  <a:gd name="T9" fmla="*/ 22 h 45"/>
                  <a:gd name="T10" fmla="*/ 8 w 31"/>
                  <a:gd name="T11" fmla="*/ 22 h 45"/>
                  <a:gd name="T12" fmla="*/ 15 w 31"/>
                  <a:gd name="T13" fmla="*/ 39 h 45"/>
                  <a:gd name="T14" fmla="*/ 23 w 31"/>
                  <a:gd name="T15" fmla="*/ 22 h 45"/>
                  <a:gd name="T16" fmla="*/ 15 w 31"/>
                  <a:gd name="T17" fmla="*/ 6 h 45"/>
                  <a:gd name="T18" fmla="*/ 8 w 31"/>
                  <a:gd name="T19" fmla="*/ 2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31" y="22"/>
                    </a:moveTo>
                    <a:cubicBezTo>
                      <a:pt x="31" y="38"/>
                      <a:pt x="26" y="45"/>
                      <a:pt x="15" y="45"/>
                    </a:cubicBezTo>
                    <a:cubicBezTo>
                      <a:pt x="5" y="45"/>
                      <a:pt x="0" y="38"/>
                      <a:pt x="0" y="22"/>
                    </a:cubicBezTo>
                    <a:cubicBezTo>
                      <a:pt x="0" y="7"/>
                      <a:pt x="5" y="0"/>
                      <a:pt x="15" y="0"/>
                    </a:cubicBezTo>
                    <a:cubicBezTo>
                      <a:pt x="26" y="0"/>
                      <a:pt x="31" y="7"/>
                      <a:pt x="31" y="22"/>
                    </a:cubicBezTo>
                    <a:close/>
                    <a:moveTo>
                      <a:pt x="8" y="22"/>
                    </a:moveTo>
                    <a:cubicBezTo>
                      <a:pt x="8" y="33"/>
                      <a:pt x="10" y="39"/>
                      <a:pt x="15" y="39"/>
                    </a:cubicBezTo>
                    <a:cubicBezTo>
                      <a:pt x="20" y="39"/>
                      <a:pt x="23" y="33"/>
                      <a:pt x="23" y="22"/>
                    </a:cubicBezTo>
                    <a:cubicBezTo>
                      <a:pt x="23" y="11"/>
                      <a:pt x="20" y="6"/>
                      <a:pt x="15" y="6"/>
                    </a:cubicBezTo>
                    <a:cubicBezTo>
                      <a:pt x="10" y="6"/>
                      <a:pt x="8" y="11"/>
                      <a:pt x="8" y="2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81" name="Freeform 95">
                <a:extLst>
                  <a:ext uri="{FF2B5EF4-FFF2-40B4-BE49-F238E27FC236}">
                    <a16:creationId xmlns:a16="http://schemas.microsoft.com/office/drawing/2014/main" id="{087AC2D8-2262-2F88-9445-8B52666E8A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5702" y="3147135"/>
                <a:ext cx="19784" cy="32220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82" name="Freeform 96">
                <a:extLst>
                  <a:ext uri="{FF2B5EF4-FFF2-40B4-BE49-F238E27FC236}">
                    <a16:creationId xmlns:a16="http://schemas.microsoft.com/office/drawing/2014/main" id="{151E1638-DF0E-2E36-891E-A918107B21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4006" y="3201966"/>
                <a:ext cx="25437" cy="32220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83" name="Freeform 97">
                <a:extLst>
                  <a:ext uri="{FF2B5EF4-FFF2-40B4-BE49-F238E27FC236}">
                    <a16:creationId xmlns:a16="http://schemas.microsoft.com/office/drawing/2014/main" id="{8B4A8BC5-A832-7338-E470-B80F3CDD2B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5702" y="3256797"/>
                <a:ext cx="19784" cy="31655"/>
              </a:xfrm>
              <a:custGeom>
                <a:avLst/>
                <a:gdLst>
                  <a:gd name="T0" fmla="*/ 16 w 35"/>
                  <a:gd name="T1" fmla="*/ 14 h 56"/>
                  <a:gd name="T2" fmla="*/ 7 w 35"/>
                  <a:gd name="T3" fmla="*/ 21 h 56"/>
                  <a:gd name="T4" fmla="*/ 0 w 35"/>
                  <a:gd name="T5" fmla="*/ 11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4"/>
                    </a:moveTo>
                    <a:lnTo>
                      <a:pt x="7" y="21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84" name="Freeform 98">
                <a:extLst>
                  <a:ext uri="{FF2B5EF4-FFF2-40B4-BE49-F238E27FC236}">
                    <a16:creationId xmlns:a16="http://schemas.microsoft.com/office/drawing/2014/main" id="{315BF0C8-520D-1211-266B-514C639D6E1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4006" y="3311627"/>
                <a:ext cx="25437" cy="31655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85" name="Freeform 99">
                <a:extLst>
                  <a:ext uri="{FF2B5EF4-FFF2-40B4-BE49-F238E27FC236}">
                    <a16:creationId xmlns:a16="http://schemas.microsoft.com/office/drawing/2014/main" id="{95C0BE5A-4B99-9680-E391-6A74C134E1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5702" y="3365893"/>
                <a:ext cx="19784" cy="32220"/>
              </a:xfrm>
              <a:custGeom>
                <a:avLst/>
                <a:gdLst>
                  <a:gd name="T0" fmla="*/ 16 w 35"/>
                  <a:gd name="T1" fmla="*/ 15 h 57"/>
                  <a:gd name="T2" fmla="*/ 7 w 35"/>
                  <a:gd name="T3" fmla="*/ 22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8 h 57"/>
                  <a:gd name="T12" fmla="*/ 35 w 35"/>
                  <a:gd name="T13" fmla="*/ 48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8 h 57"/>
                  <a:gd name="T20" fmla="*/ 16 w 35"/>
                  <a:gd name="T21" fmla="*/ 48 h 57"/>
                  <a:gd name="T22" fmla="*/ 16 w 35"/>
                  <a:gd name="T23" fmla="*/ 1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5"/>
                    </a:moveTo>
                    <a:lnTo>
                      <a:pt x="7" y="22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86" name="Freeform 100">
                <a:extLst>
                  <a:ext uri="{FF2B5EF4-FFF2-40B4-BE49-F238E27FC236}">
                    <a16:creationId xmlns:a16="http://schemas.microsoft.com/office/drawing/2014/main" id="{D33953D9-97A7-00D9-A5A5-F400DFF6F0A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4006" y="3420724"/>
                <a:ext cx="25437" cy="32220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0059B8A0-8795-71DD-2C40-CBCE358D54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5702" y="3475555"/>
                <a:ext cx="19784" cy="32220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88" name="Freeform 102">
                <a:extLst>
                  <a:ext uri="{FF2B5EF4-FFF2-40B4-BE49-F238E27FC236}">
                    <a16:creationId xmlns:a16="http://schemas.microsoft.com/office/drawing/2014/main" id="{88481939-48F2-6854-49BD-D1555457F6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5702" y="3530385"/>
                <a:ext cx="19784" cy="32220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89" name="Freeform 103">
                <a:extLst>
                  <a:ext uri="{FF2B5EF4-FFF2-40B4-BE49-F238E27FC236}">
                    <a16:creationId xmlns:a16="http://schemas.microsoft.com/office/drawing/2014/main" id="{6156AD7C-8257-FAB8-C60C-0687F1C13D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5702" y="3586347"/>
                <a:ext cx="19784" cy="31090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5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5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90" name="Freeform 104">
                <a:extLst>
                  <a:ext uri="{FF2B5EF4-FFF2-40B4-BE49-F238E27FC236}">
                    <a16:creationId xmlns:a16="http://schemas.microsoft.com/office/drawing/2014/main" id="{3DAC564B-7A1D-72B3-4719-CDBBF2CDFB6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4006" y="3640047"/>
                <a:ext cx="25437" cy="33351"/>
              </a:xfrm>
              <a:custGeom>
                <a:avLst/>
                <a:gdLst>
                  <a:gd name="T0" fmla="*/ 17 w 19"/>
                  <a:gd name="T1" fmla="*/ 4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4 h 25"/>
                  <a:gd name="T16" fmla="*/ 6 w 19"/>
                  <a:gd name="T17" fmla="*/ 12 h 25"/>
                  <a:gd name="T18" fmla="*/ 10 w 19"/>
                  <a:gd name="T19" fmla="*/ 20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3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91" name="Freeform 105">
                <a:extLst>
                  <a:ext uri="{FF2B5EF4-FFF2-40B4-BE49-F238E27FC236}">
                    <a16:creationId xmlns:a16="http://schemas.microsoft.com/office/drawing/2014/main" id="{8BD1A366-389D-CB2C-13C3-35D8738066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5702" y="3696008"/>
                <a:ext cx="19784" cy="30524"/>
              </a:xfrm>
              <a:custGeom>
                <a:avLst/>
                <a:gdLst>
                  <a:gd name="T0" fmla="*/ 16 w 35"/>
                  <a:gd name="T1" fmla="*/ 12 h 54"/>
                  <a:gd name="T2" fmla="*/ 7 w 35"/>
                  <a:gd name="T3" fmla="*/ 19 h 54"/>
                  <a:gd name="T4" fmla="*/ 0 w 35"/>
                  <a:gd name="T5" fmla="*/ 9 h 54"/>
                  <a:gd name="T6" fmla="*/ 19 w 35"/>
                  <a:gd name="T7" fmla="*/ 0 h 54"/>
                  <a:gd name="T8" fmla="*/ 28 w 35"/>
                  <a:gd name="T9" fmla="*/ 0 h 54"/>
                  <a:gd name="T10" fmla="*/ 28 w 35"/>
                  <a:gd name="T11" fmla="*/ 45 h 54"/>
                  <a:gd name="T12" fmla="*/ 35 w 35"/>
                  <a:gd name="T13" fmla="*/ 45 h 54"/>
                  <a:gd name="T14" fmla="*/ 35 w 35"/>
                  <a:gd name="T15" fmla="*/ 54 h 54"/>
                  <a:gd name="T16" fmla="*/ 9 w 35"/>
                  <a:gd name="T17" fmla="*/ 54 h 54"/>
                  <a:gd name="T18" fmla="*/ 9 w 35"/>
                  <a:gd name="T19" fmla="*/ 45 h 54"/>
                  <a:gd name="T20" fmla="*/ 16 w 35"/>
                  <a:gd name="T21" fmla="*/ 45 h 54"/>
                  <a:gd name="T22" fmla="*/ 16 w 35"/>
                  <a:gd name="T23" fmla="*/ 1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4">
                    <a:moveTo>
                      <a:pt x="16" y="12"/>
                    </a:moveTo>
                    <a:lnTo>
                      <a:pt x="7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4"/>
                    </a:lnTo>
                    <a:lnTo>
                      <a:pt x="9" y="54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92" name="Freeform 106">
                <a:extLst>
                  <a:ext uri="{FF2B5EF4-FFF2-40B4-BE49-F238E27FC236}">
                    <a16:creationId xmlns:a16="http://schemas.microsoft.com/office/drawing/2014/main" id="{B9838672-8C54-B27E-9BAF-48C007874B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4006" y="3749143"/>
                <a:ext cx="25437" cy="33351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2 h 25"/>
                  <a:gd name="T18" fmla="*/ 10 w 19"/>
                  <a:gd name="T19" fmla="*/ 21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93" name="Freeform 107">
                <a:extLst>
                  <a:ext uri="{FF2B5EF4-FFF2-40B4-BE49-F238E27FC236}">
                    <a16:creationId xmlns:a16="http://schemas.microsoft.com/office/drawing/2014/main" id="{EEEA44D8-14DC-E99C-A375-B675CA3C1B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4006" y="3803974"/>
                <a:ext cx="25437" cy="33351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2 h 25"/>
                  <a:gd name="T18" fmla="*/ 10 w 19"/>
                  <a:gd name="T19" fmla="*/ 21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94" name="Freeform 108">
                <a:extLst>
                  <a:ext uri="{FF2B5EF4-FFF2-40B4-BE49-F238E27FC236}">
                    <a16:creationId xmlns:a16="http://schemas.microsoft.com/office/drawing/2014/main" id="{27A64B4A-40C9-37A0-E2EB-362FC60631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5702" y="3859935"/>
                <a:ext cx="19784" cy="31090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8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8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8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8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95" name="Freeform 109">
                <a:extLst>
                  <a:ext uri="{FF2B5EF4-FFF2-40B4-BE49-F238E27FC236}">
                    <a16:creationId xmlns:a16="http://schemas.microsoft.com/office/drawing/2014/main" id="{01600F86-D3E6-FF74-4420-B46E1760BC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5702" y="3914766"/>
                <a:ext cx="19784" cy="31090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8 h 55"/>
                  <a:gd name="T12" fmla="*/ 35 w 35"/>
                  <a:gd name="T13" fmla="*/ 48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8 h 55"/>
                  <a:gd name="T20" fmla="*/ 16 w 35"/>
                  <a:gd name="T21" fmla="*/ 48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96" name="Freeform 110">
                <a:extLst>
                  <a:ext uri="{FF2B5EF4-FFF2-40B4-BE49-F238E27FC236}">
                    <a16:creationId xmlns:a16="http://schemas.microsoft.com/office/drawing/2014/main" id="{8B041D2C-876B-F674-BAF6-C4B1468EBD1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4006" y="3968466"/>
                <a:ext cx="25437" cy="33351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3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1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3 h 25"/>
                  <a:gd name="T18" fmla="*/ 10 w 19"/>
                  <a:gd name="T19" fmla="*/ 21 h 25"/>
                  <a:gd name="T20" fmla="*/ 14 w 19"/>
                  <a:gd name="T21" fmla="*/ 13 h 25"/>
                  <a:gd name="T22" fmla="*/ 10 w 19"/>
                  <a:gd name="T23" fmla="*/ 5 h 25"/>
                  <a:gd name="T24" fmla="*/ 6 w 19"/>
                  <a:gd name="T25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7"/>
                      <a:pt x="19" y="9"/>
                      <a:pt x="19" y="13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1"/>
                    </a:cubicBezTo>
                    <a:cubicBezTo>
                      <a:pt x="1" y="19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3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3"/>
                    </a:cubicBezTo>
                    <a:cubicBezTo>
                      <a:pt x="14" y="7"/>
                      <a:pt x="12" y="5"/>
                      <a:pt x="10" y="5"/>
                    </a:cubicBezTo>
                    <a:cubicBezTo>
                      <a:pt x="7" y="5"/>
                      <a:pt x="6" y="7"/>
                      <a:pt x="6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97" name="Freeform 111">
                <a:extLst>
                  <a:ext uri="{FF2B5EF4-FFF2-40B4-BE49-F238E27FC236}">
                    <a16:creationId xmlns:a16="http://schemas.microsoft.com/office/drawing/2014/main" id="{83489619-C0D5-D985-8E6F-D8C540CA9B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5702" y="4024428"/>
                <a:ext cx="19784" cy="30524"/>
              </a:xfrm>
              <a:custGeom>
                <a:avLst/>
                <a:gdLst>
                  <a:gd name="T0" fmla="*/ 16 w 35"/>
                  <a:gd name="T1" fmla="*/ 12 h 54"/>
                  <a:gd name="T2" fmla="*/ 7 w 35"/>
                  <a:gd name="T3" fmla="*/ 19 h 54"/>
                  <a:gd name="T4" fmla="*/ 0 w 35"/>
                  <a:gd name="T5" fmla="*/ 9 h 54"/>
                  <a:gd name="T6" fmla="*/ 19 w 35"/>
                  <a:gd name="T7" fmla="*/ 0 h 54"/>
                  <a:gd name="T8" fmla="*/ 28 w 35"/>
                  <a:gd name="T9" fmla="*/ 0 h 54"/>
                  <a:gd name="T10" fmla="*/ 28 w 35"/>
                  <a:gd name="T11" fmla="*/ 47 h 54"/>
                  <a:gd name="T12" fmla="*/ 35 w 35"/>
                  <a:gd name="T13" fmla="*/ 47 h 54"/>
                  <a:gd name="T14" fmla="*/ 35 w 35"/>
                  <a:gd name="T15" fmla="*/ 54 h 54"/>
                  <a:gd name="T16" fmla="*/ 9 w 35"/>
                  <a:gd name="T17" fmla="*/ 54 h 54"/>
                  <a:gd name="T18" fmla="*/ 9 w 35"/>
                  <a:gd name="T19" fmla="*/ 47 h 54"/>
                  <a:gd name="T20" fmla="*/ 16 w 35"/>
                  <a:gd name="T21" fmla="*/ 47 h 54"/>
                  <a:gd name="T22" fmla="*/ 16 w 35"/>
                  <a:gd name="T23" fmla="*/ 1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4">
                    <a:moveTo>
                      <a:pt x="16" y="12"/>
                    </a:moveTo>
                    <a:lnTo>
                      <a:pt x="7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4"/>
                    </a:lnTo>
                    <a:lnTo>
                      <a:pt x="9" y="54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98" name="Freeform 112">
                <a:extLst>
                  <a:ext uri="{FF2B5EF4-FFF2-40B4-BE49-F238E27FC236}">
                    <a16:creationId xmlns:a16="http://schemas.microsoft.com/office/drawing/2014/main" id="{773430D9-1E5B-0729-82EC-DA7D57608B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4006" y="4078128"/>
                <a:ext cx="25437" cy="33351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3 h 25"/>
                  <a:gd name="T4" fmla="*/ 17 w 19"/>
                  <a:gd name="T5" fmla="*/ 22 h 25"/>
                  <a:gd name="T6" fmla="*/ 10 w 19"/>
                  <a:gd name="T7" fmla="*/ 25 h 25"/>
                  <a:gd name="T8" fmla="*/ 2 w 19"/>
                  <a:gd name="T9" fmla="*/ 21 h 25"/>
                  <a:gd name="T10" fmla="*/ 0 w 19"/>
                  <a:gd name="T11" fmla="*/ 13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3 h 25"/>
                  <a:gd name="T18" fmla="*/ 10 w 19"/>
                  <a:gd name="T19" fmla="*/ 21 h 25"/>
                  <a:gd name="T20" fmla="*/ 14 w 19"/>
                  <a:gd name="T21" fmla="*/ 13 h 25"/>
                  <a:gd name="T22" fmla="*/ 10 w 19"/>
                  <a:gd name="T23" fmla="*/ 5 h 25"/>
                  <a:gd name="T24" fmla="*/ 6 w 19"/>
                  <a:gd name="T25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7"/>
                      <a:pt x="19" y="9"/>
                      <a:pt x="19" y="13"/>
                    </a:cubicBezTo>
                    <a:cubicBezTo>
                      <a:pt x="19" y="17"/>
                      <a:pt x="18" y="20"/>
                      <a:pt x="17" y="22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1"/>
                    </a:cubicBezTo>
                    <a:cubicBezTo>
                      <a:pt x="1" y="19"/>
                      <a:pt x="0" y="16"/>
                      <a:pt x="0" y="13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3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3"/>
                    </a:cubicBezTo>
                    <a:cubicBezTo>
                      <a:pt x="14" y="7"/>
                      <a:pt x="12" y="5"/>
                      <a:pt x="10" y="5"/>
                    </a:cubicBezTo>
                    <a:cubicBezTo>
                      <a:pt x="7" y="5"/>
                      <a:pt x="6" y="7"/>
                      <a:pt x="6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99" name="Freeform 113">
                <a:extLst>
                  <a:ext uri="{FF2B5EF4-FFF2-40B4-BE49-F238E27FC236}">
                    <a16:creationId xmlns:a16="http://schemas.microsoft.com/office/drawing/2014/main" id="{4B7DD9F3-44E6-63B0-9A7A-8791979662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5702" y="4134089"/>
                <a:ext cx="19784" cy="31655"/>
              </a:xfrm>
              <a:custGeom>
                <a:avLst/>
                <a:gdLst>
                  <a:gd name="T0" fmla="*/ 16 w 35"/>
                  <a:gd name="T1" fmla="*/ 12 h 56"/>
                  <a:gd name="T2" fmla="*/ 7 w 35"/>
                  <a:gd name="T3" fmla="*/ 19 h 56"/>
                  <a:gd name="T4" fmla="*/ 0 w 35"/>
                  <a:gd name="T5" fmla="*/ 9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2"/>
                    </a:moveTo>
                    <a:lnTo>
                      <a:pt x="7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00" name="Freeform 114">
                <a:extLst>
                  <a:ext uri="{FF2B5EF4-FFF2-40B4-BE49-F238E27FC236}">
                    <a16:creationId xmlns:a16="http://schemas.microsoft.com/office/drawing/2014/main" id="{07CA3DDB-14B0-20B9-016E-120F4AD827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5702" y="4188920"/>
                <a:ext cx="19784" cy="31655"/>
              </a:xfrm>
              <a:custGeom>
                <a:avLst/>
                <a:gdLst>
                  <a:gd name="T0" fmla="*/ 16 w 35"/>
                  <a:gd name="T1" fmla="*/ 11 h 56"/>
                  <a:gd name="T2" fmla="*/ 7 w 35"/>
                  <a:gd name="T3" fmla="*/ 18 h 56"/>
                  <a:gd name="T4" fmla="*/ 0 w 35"/>
                  <a:gd name="T5" fmla="*/ 9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1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1"/>
                    </a:moveTo>
                    <a:lnTo>
                      <a:pt x="7" y="18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01" name="Freeform 115">
                <a:extLst>
                  <a:ext uri="{FF2B5EF4-FFF2-40B4-BE49-F238E27FC236}">
                    <a16:creationId xmlns:a16="http://schemas.microsoft.com/office/drawing/2014/main" id="{47E0DBA1-971F-9D30-D5E6-66600268C7B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4006" y="4243185"/>
                <a:ext cx="25437" cy="32220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8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5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7"/>
                      <a:pt x="7" y="20"/>
                      <a:pt x="10" y="20"/>
                    </a:cubicBezTo>
                    <a:cubicBezTo>
                      <a:pt x="12" y="20"/>
                      <a:pt x="14" y="17"/>
                      <a:pt x="14" y="12"/>
                    </a:cubicBezTo>
                    <a:cubicBezTo>
                      <a:pt x="14" y="6"/>
                      <a:pt x="12" y="4"/>
                      <a:pt x="10" y="4"/>
                    </a:cubicBezTo>
                    <a:cubicBezTo>
                      <a:pt x="7" y="4"/>
                      <a:pt x="6" y="6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02" name="Freeform 116">
                <a:extLst>
                  <a:ext uri="{FF2B5EF4-FFF2-40B4-BE49-F238E27FC236}">
                    <a16:creationId xmlns:a16="http://schemas.microsoft.com/office/drawing/2014/main" id="{83EB5EE8-DF2E-551F-DDC6-9BD6D9CA334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4006" y="4298016"/>
                <a:ext cx="25437" cy="32220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8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5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7"/>
                      <a:pt x="7" y="20"/>
                      <a:pt x="10" y="20"/>
                    </a:cubicBezTo>
                    <a:cubicBezTo>
                      <a:pt x="12" y="20"/>
                      <a:pt x="14" y="17"/>
                      <a:pt x="14" y="12"/>
                    </a:cubicBezTo>
                    <a:cubicBezTo>
                      <a:pt x="14" y="6"/>
                      <a:pt x="12" y="4"/>
                      <a:pt x="10" y="4"/>
                    </a:cubicBezTo>
                    <a:cubicBezTo>
                      <a:pt x="7" y="4"/>
                      <a:pt x="6" y="6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03" name="Freeform 117">
                <a:extLst>
                  <a:ext uri="{FF2B5EF4-FFF2-40B4-BE49-F238E27FC236}">
                    <a16:creationId xmlns:a16="http://schemas.microsoft.com/office/drawing/2014/main" id="{04F6D091-0C01-4FCA-B882-68E27AEE365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4006" y="4352847"/>
                <a:ext cx="25437" cy="32220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8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5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7"/>
                      <a:pt x="7" y="20"/>
                      <a:pt x="10" y="20"/>
                    </a:cubicBezTo>
                    <a:cubicBezTo>
                      <a:pt x="12" y="20"/>
                      <a:pt x="14" y="17"/>
                      <a:pt x="14" y="12"/>
                    </a:cubicBezTo>
                    <a:cubicBezTo>
                      <a:pt x="14" y="6"/>
                      <a:pt x="12" y="4"/>
                      <a:pt x="10" y="4"/>
                    </a:cubicBezTo>
                    <a:cubicBezTo>
                      <a:pt x="7" y="4"/>
                      <a:pt x="6" y="6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04" name="Freeform 118">
                <a:extLst>
                  <a:ext uri="{FF2B5EF4-FFF2-40B4-BE49-F238E27FC236}">
                    <a16:creationId xmlns:a16="http://schemas.microsoft.com/office/drawing/2014/main" id="{1C4C9B5B-4BB1-E4EB-23CF-CF943E8E24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5702" y="4407678"/>
                <a:ext cx="19784" cy="32220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05" name="Freeform 119">
                <a:extLst>
                  <a:ext uri="{FF2B5EF4-FFF2-40B4-BE49-F238E27FC236}">
                    <a16:creationId xmlns:a16="http://schemas.microsoft.com/office/drawing/2014/main" id="{FB595CBF-BA9F-1457-A5B5-8D93894909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4006" y="4462509"/>
                <a:ext cx="25437" cy="32220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8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5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6"/>
                      <a:pt x="12" y="4"/>
                      <a:pt x="10" y="4"/>
                    </a:cubicBezTo>
                    <a:cubicBezTo>
                      <a:pt x="7" y="4"/>
                      <a:pt x="6" y="6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06" name="Freeform 135">
                <a:extLst>
                  <a:ext uri="{FF2B5EF4-FFF2-40B4-BE49-F238E27FC236}">
                    <a16:creationId xmlns:a16="http://schemas.microsoft.com/office/drawing/2014/main" id="{E854255D-0956-8BEC-2CC9-5DD9B25A6A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9945" y="3284495"/>
                <a:ext cx="22611" cy="41830"/>
              </a:xfrm>
              <a:custGeom>
                <a:avLst/>
                <a:gdLst>
                  <a:gd name="T0" fmla="*/ 19 w 40"/>
                  <a:gd name="T1" fmla="*/ 14 h 74"/>
                  <a:gd name="T2" fmla="*/ 4 w 40"/>
                  <a:gd name="T3" fmla="*/ 24 h 74"/>
                  <a:gd name="T4" fmla="*/ 0 w 40"/>
                  <a:gd name="T5" fmla="*/ 14 h 74"/>
                  <a:gd name="T6" fmla="*/ 21 w 40"/>
                  <a:gd name="T7" fmla="*/ 0 h 74"/>
                  <a:gd name="T8" fmla="*/ 30 w 40"/>
                  <a:gd name="T9" fmla="*/ 0 h 74"/>
                  <a:gd name="T10" fmla="*/ 30 w 40"/>
                  <a:gd name="T11" fmla="*/ 64 h 74"/>
                  <a:gd name="T12" fmla="*/ 40 w 40"/>
                  <a:gd name="T13" fmla="*/ 64 h 74"/>
                  <a:gd name="T14" fmla="*/ 40 w 40"/>
                  <a:gd name="T15" fmla="*/ 74 h 74"/>
                  <a:gd name="T16" fmla="*/ 9 w 40"/>
                  <a:gd name="T17" fmla="*/ 74 h 74"/>
                  <a:gd name="T18" fmla="*/ 9 w 40"/>
                  <a:gd name="T19" fmla="*/ 64 h 74"/>
                  <a:gd name="T20" fmla="*/ 19 w 40"/>
                  <a:gd name="T21" fmla="*/ 64 h 74"/>
                  <a:gd name="T22" fmla="*/ 19 w 40"/>
                  <a:gd name="T23" fmla="*/ 1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4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4"/>
                    </a:lnTo>
                    <a:lnTo>
                      <a:pt x="9" y="74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07" name="Freeform 136">
                <a:extLst>
                  <a:ext uri="{FF2B5EF4-FFF2-40B4-BE49-F238E27FC236}">
                    <a16:creationId xmlns:a16="http://schemas.microsoft.com/office/drawing/2014/main" id="{194CDAB6-5B91-4A00-E12C-1418DF1A475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18250" y="3355153"/>
                <a:ext cx="28263" cy="42960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8 h 32"/>
                  <a:gd name="T14" fmla="*/ 16 w 21"/>
                  <a:gd name="T15" fmla="*/ 16 h 32"/>
                  <a:gd name="T16" fmla="*/ 10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0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0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08" name="Freeform 137">
                <a:extLst>
                  <a:ext uri="{FF2B5EF4-FFF2-40B4-BE49-F238E27FC236}">
                    <a16:creationId xmlns:a16="http://schemas.microsoft.com/office/drawing/2014/main" id="{F56E1305-5B38-FF4F-A5DB-317B4B0E885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18250" y="3498165"/>
                <a:ext cx="28263" cy="42960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6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09" name="Freeform 138">
                <a:extLst>
                  <a:ext uri="{FF2B5EF4-FFF2-40B4-BE49-F238E27FC236}">
                    <a16:creationId xmlns:a16="http://schemas.microsoft.com/office/drawing/2014/main" id="{2737AE15-7A72-521E-B0AA-491FC66521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9945" y="3570519"/>
                <a:ext cx="22611" cy="40134"/>
              </a:xfrm>
              <a:custGeom>
                <a:avLst/>
                <a:gdLst>
                  <a:gd name="T0" fmla="*/ 19 w 40"/>
                  <a:gd name="T1" fmla="*/ 12 h 71"/>
                  <a:gd name="T2" fmla="*/ 4 w 40"/>
                  <a:gd name="T3" fmla="*/ 21 h 71"/>
                  <a:gd name="T4" fmla="*/ 0 w 40"/>
                  <a:gd name="T5" fmla="*/ 12 h 71"/>
                  <a:gd name="T6" fmla="*/ 21 w 40"/>
                  <a:gd name="T7" fmla="*/ 0 h 71"/>
                  <a:gd name="T8" fmla="*/ 30 w 40"/>
                  <a:gd name="T9" fmla="*/ 0 h 71"/>
                  <a:gd name="T10" fmla="*/ 30 w 40"/>
                  <a:gd name="T11" fmla="*/ 64 h 71"/>
                  <a:gd name="T12" fmla="*/ 40 w 40"/>
                  <a:gd name="T13" fmla="*/ 64 h 71"/>
                  <a:gd name="T14" fmla="*/ 40 w 40"/>
                  <a:gd name="T15" fmla="*/ 71 h 71"/>
                  <a:gd name="T16" fmla="*/ 9 w 40"/>
                  <a:gd name="T17" fmla="*/ 71 h 71"/>
                  <a:gd name="T18" fmla="*/ 9 w 40"/>
                  <a:gd name="T19" fmla="*/ 64 h 71"/>
                  <a:gd name="T20" fmla="*/ 19 w 40"/>
                  <a:gd name="T21" fmla="*/ 64 h 71"/>
                  <a:gd name="T22" fmla="*/ 19 w 40"/>
                  <a:gd name="T23" fmla="*/ 1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1">
                    <a:moveTo>
                      <a:pt x="19" y="12"/>
                    </a:moveTo>
                    <a:lnTo>
                      <a:pt x="4" y="21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1"/>
                    </a:lnTo>
                    <a:lnTo>
                      <a:pt x="9" y="71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10" name="Freeform 139">
                <a:extLst>
                  <a:ext uri="{FF2B5EF4-FFF2-40B4-BE49-F238E27FC236}">
                    <a16:creationId xmlns:a16="http://schemas.microsoft.com/office/drawing/2014/main" id="{AA64F828-75AE-9C77-E679-AAD1A025E9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9945" y="3641177"/>
                <a:ext cx="22611" cy="4126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11" name="Freeform 140">
                <a:extLst>
                  <a:ext uri="{FF2B5EF4-FFF2-40B4-BE49-F238E27FC236}">
                    <a16:creationId xmlns:a16="http://schemas.microsoft.com/office/drawing/2014/main" id="{E5C80AC9-34F4-05DE-B0BF-E155B2BAEC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9945" y="3711836"/>
                <a:ext cx="22611" cy="4126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12" name="Freeform 141">
                <a:extLst>
                  <a:ext uri="{FF2B5EF4-FFF2-40B4-BE49-F238E27FC236}">
                    <a16:creationId xmlns:a16="http://schemas.microsoft.com/office/drawing/2014/main" id="{82FF8B92-7AA7-D4C8-F4A5-B56DA61258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9945" y="3784190"/>
                <a:ext cx="22611" cy="4126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1 h 73"/>
                  <a:gd name="T4" fmla="*/ 0 w 40"/>
                  <a:gd name="T5" fmla="*/ 12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1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13" name="Freeform 142">
                <a:extLst>
                  <a:ext uri="{FF2B5EF4-FFF2-40B4-BE49-F238E27FC236}">
                    <a16:creationId xmlns:a16="http://schemas.microsoft.com/office/drawing/2014/main" id="{0F4A5B93-0DD6-CA6E-0E3F-DD6053BBE4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18250" y="3854848"/>
                <a:ext cx="28263" cy="41265"/>
              </a:xfrm>
              <a:custGeom>
                <a:avLst/>
                <a:gdLst>
                  <a:gd name="T0" fmla="*/ 21 w 21"/>
                  <a:gd name="T1" fmla="*/ 15 h 31"/>
                  <a:gd name="T2" fmla="*/ 10 w 21"/>
                  <a:gd name="T3" fmla="*/ 31 h 31"/>
                  <a:gd name="T4" fmla="*/ 0 w 21"/>
                  <a:gd name="T5" fmla="*/ 15 h 31"/>
                  <a:gd name="T6" fmla="*/ 10 w 21"/>
                  <a:gd name="T7" fmla="*/ 0 h 31"/>
                  <a:gd name="T8" fmla="*/ 21 w 21"/>
                  <a:gd name="T9" fmla="*/ 15 h 31"/>
                  <a:gd name="T10" fmla="*/ 5 w 21"/>
                  <a:gd name="T11" fmla="*/ 15 h 31"/>
                  <a:gd name="T12" fmla="*/ 10 w 21"/>
                  <a:gd name="T13" fmla="*/ 27 h 31"/>
                  <a:gd name="T14" fmla="*/ 16 w 21"/>
                  <a:gd name="T15" fmla="*/ 15 h 31"/>
                  <a:gd name="T16" fmla="*/ 10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5"/>
                    </a:moveTo>
                    <a:cubicBezTo>
                      <a:pt x="21" y="26"/>
                      <a:pt x="18" y="31"/>
                      <a:pt x="10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5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0" y="27"/>
                    </a:cubicBezTo>
                    <a:cubicBezTo>
                      <a:pt x="14" y="27"/>
                      <a:pt x="16" y="23"/>
                      <a:pt x="16" y="15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14" name="Freeform 143">
                <a:extLst>
                  <a:ext uri="{FF2B5EF4-FFF2-40B4-BE49-F238E27FC236}">
                    <a16:creationId xmlns:a16="http://schemas.microsoft.com/office/drawing/2014/main" id="{284378CC-C43A-9018-CDAF-B203C8DEF7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18250" y="3925506"/>
                <a:ext cx="28263" cy="42960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15" name="Freeform 144">
                <a:extLst>
                  <a:ext uri="{FF2B5EF4-FFF2-40B4-BE49-F238E27FC236}">
                    <a16:creationId xmlns:a16="http://schemas.microsoft.com/office/drawing/2014/main" id="{DCE64A6A-ADDF-8E6A-7D40-BC4B0F3903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18250" y="4209835"/>
                <a:ext cx="28263" cy="42960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8 h 32"/>
                  <a:gd name="T14" fmla="*/ 16 w 21"/>
                  <a:gd name="T15" fmla="*/ 16 h 32"/>
                  <a:gd name="T16" fmla="*/ 10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0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0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16" name="Freeform 145">
                <a:extLst>
                  <a:ext uri="{FF2B5EF4-FFF2-40B4-BE49-F238E27FC236}">
                    <a16:creationId xmlns:a16="http://schemas.microsoft.com/office/drawing/2014/main" id="{FB3DA7EA-E65E-FE6A-2100-D8DCDB7543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18250" y="4282189"/>
                <a:ext cx="28263" cy="41265"/>
              </a:xfrm>
              <a:custGeom>
                <a:avLst/>
                <a:gdLst>
                  <a:gd name="T0" fmla="*/ 21 w 21"/>
                  <a:gd name="T1" fmla="*/ 16 h 31"/>
                  <a:gd name="T2" fmla="*/ 10 w 21"/>
                  <a:gd name="T3" fmla="*/ 31 h 31"/>
                  <a:gd name="T4" fmla="*/ 0 w 21"/>
                  <a:gd name="T5" fmla="*/ 15 h 31"/>
                  <a:gd name="T6" fmla="*/ 10 w 21"/>
                  <a:gd name="T7" fmla="*/ 0 h 31"/>
                  <a:gd name="T8" fmla="*/ 21 w 21"/>
                  <a:gd name="T9" fmla="*/ 16 h 31"/>
                  <a:gd name="T10" fmla="*/ 5 w 21"/>
                  <a:gd name="T11" fmla="*/ 15 h 31"/>
                  <a:gd name="T12" fmla="*/ 10 w 21"/>
                  <a:gd name="T13" fmla="*/ 27 h 31"/>
                  <a:gd name="T14" fmla="*/ 16 w 21"/>
                  <a:gd name="T15" fmla="*/ 16 h 31"/>
                  <a:gd name="T16" fmla="*/ 10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0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0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17" name="Freeform 146">
                <a:extLst>
                  <a:ext uri="{FF2B5EF4-FFF2-40B4-BE49-F238E27FC236}">
                    <a16:creationId xmlns:a16="http://schemas.microsoft.com/office/drawing/2014/main" id="{F0481A32-0B3C-2C9C-70D3-7651826E4B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18250" y="4352847"/>
                <a:ext cx="28263" cy="42960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18" name="Freeform 147">
                <a:extLst>
                  <a:ext uri="{FF2B5EF4-FFF2-40B4-BE49-F238E27FC236}">
                    <a16:creationId xmlns:a16="http://schemas.microsoft.com/office/drawing/2014/main" id="{AC4E2B38-DC90-781E-9B95-01E78B8167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9945" y="4425201"/>
                <a:ext cx="22611" cy="4126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3 h 73"/>
                  <a:gd name="T4" fmla="*/ 0 w 40"/>
                  <a:gd name="T5" fmla="*/ 12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3 h 73"/>
                  <a:gd name="T12" fmla="*/ 40 w 40"/>
                  <a:gd name="T13" fmla="*/ 63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3 h 73"/>
                  <a:gd name="T20" fmla="*/ 19 w 40"/>
                  <a:gd name="T21" fmla="*/ 63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3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3"/>
                    </a:lnTo>
                    <a:lnTo>
                      <a:pt x="40" y="63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3"/>
                    </a:lnTo>
                    <a:lnTo>
                      <a:pt x="19" y="63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19" name="Freeform 149">
                <a:extLst>
                  <a:ext uri="{FF2B5EF4-FFF2-40B4-BE49-F238E27FC236}">
                    <a16:creationId xmlns:a16="http://schemas.microsoft.com/office/drawing/2014/main" id="{C40D1865-2F0E-8918-D83C-682C924E5B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7759" y="3151092"/>
                <a:ext cx="34481" cy="61614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20" name="Freeform 150">
                <a:extLst>
                  <a:ext uri="{FF2B5EF4-FFF2-40B4-BE49-F238E27FC236}">
                    <a16:creationId xmlns:a16="http://schemas.microsoft.com/office/drawing/2014/main" id="{D5176CE0-23C9-0AD3-F618-AB2ED31CDC8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74932" y="3256797"/>
                <a:ext cx="42960" cy="63875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21" name="Freeform 151">
                <a:extLst>
                  <a:ext uri="{FF2B5EF4-FFF2-40B4-BE49-F238E27FC236}">
                    <a16:creationId xmlns:a16="http://schemas.microsoft.com/office/drawing/2014/main" id="{2587CA79-66DD-E359-F4CB-0763CFF764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7759" y="3364762"/>
                <a:ext cx="34481" cy="61614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22" name="Freeform 152">
                <a:extLst>
                  <a:ext uri="{FF2B5EF4-FFF2-40B4-BE49-F238E27FC236}">
                    <a16:creationId xmlns:a16="http://schemas.microsoft.com/office/drawing/2014/main" id="{C7BF4B79-01E3-71D7-ED59-3F18C296612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74932" y="3470467"/>
                <a:ext cx="42960" cy="63875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23" name="Freeform 153">
                <a:extLst>
                  <a:ext uri="{FF2B5EF4-FFF2-40B4-BE49-F238E27FC236}">
                    <a16:creationId xmlns:a16="http://schemas.microsoft.com/office/drawing/2014/main" id="{B21124A5-62A3-AABA-54B0-50087CCE15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7759" y="3578433"/>
                <a:ext cx="34481" cy="61614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24" name="Freeform 154">
                <a:extLst>
                  <a:ext uri="{FF2B5EF4-FFF2-40B4-BE49-F238E27FC236}">
                    <a16:creationId xmlns:a16="http://schemas.microsoft.com/office/drawing/2014/main" id="{7D0739EE-8547-BA79-07DB-8BA457D510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7759" y="3685268"/>
                <a:ext cx="34481" cy="61614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25" name="Freeform 155">
                <a:extLst>
                  <a:ext uri="{FF2B5EF4-FFF2-40B4-BE49-F238E27FC236}">
                    <a16:creationId xmlns:a16="http://schemas.microsoft.com/office/drawing/2014/main" id="{2A89363E-8E46-E7C2-9941-A1F2F6F651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7759" y="3792103"/>
                <a:ext cx="34481" cy="61614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7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7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7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7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26" name="Freeform 156">
                <a:extLst>
                  <a:ext uri="{FF2B5EF4-FFF2-40B4-BE49-F238E27FC236}">
                    <a16:creationId xmlns:a16="http://schemas.microsoft.com/office/drawing/2014/main" id="{D2B6AADE-29AF-34AF-6F68-1C71886AB3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7759" y="3898938"/>
                <a:ext cx="34481" cy="61614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5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7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7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5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7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7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27" name="Freeform 157">
                <a:extLst>
                  <a:ext uri="{FF2B5EF4-FFF2-40B4-BE49-F238E27FC236}">
                    <a16:creationId xmlns:a16="http://schemas.microsoft.com/office/drawing/2014/main" id="{73F32051-B735-BA78-6070-32C041D01E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74932" y="4004643"/>
                <a:ext cx="42960" cy="63875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28" name="Freeform 158">
                <a:extLst>
                  <a:ext uri="{FF2B5EF4-FFF2-40B4-BE49-F238E27FC236}">
                    <a16:creationId xmlns:a16="http://schemas.microsoft.com/office/drawing/2014/main" id="{943398CC-B0AD-2E76-EBE7-A8A7F65221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74932" y="4111478"/>
                <a:ext cx="42960" cy="63875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2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2"/>
                      <a:pt x="16" y="42"/>
                    </a:cubicBezTo>
                    <a:cubicBezTo>
                      <a:pt x="22" y="42"/>
                      <a:pt x="24" y="36"/>
                      <a:pt x="24" y="24"/>
                    </a:cubicBezTo>
                    <a:cubicBezTo>
                      <a:pt x="24" y="13"/>
                      <a:pt x="22" y="7"/>
                      <a:pt x="16" y="7"/>
                    </a:cubicBezTo>
                    <a:cubicBezTo>
                      <a:pt x="11" y="7"/>
                      <a:pt x="8" y="13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29" name="Freeform 159">
                <a:extLst>
                  <a:ext uri="{FF2B5EF4-FFF2-40B4-BE49-F238E27FC236}">
                    <a16:creationId xmlns:a16="http://schemas.microsoft.com/office/drawing/2014/main" id="{1468D80A-3694-8946-1CBE-60E26C562DB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74932" y="4218314"/>
                <a:ext cx="42960" cy="63875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2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2"/>
                      <a:pt x="16" y="42"/>
                    </a:cubicBezTo>
                    <a:cubicBezTo>
                      <a:pt x="22" y="42"/>
                      <a:pt x="24" y="36"/>
                      <a:pt x="24" y="24"/>
                    </a:cubicBezTo>
                    <a:cubicBezTo>
                      <a:pt x="24" y="13"/>
                      <a:pt x="22" y="7"/>
                      <a:pt x="16" y="7"/>
                    </a:cubicBezTo>
                    <a:cubicBezTo>
                      <a:pt x="11" y="7"/>
                      <a:pt x="8" y="13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30" name="Freeform 160">
                <a:extLst>
                  <a:ext uri="{FF2B5EF4-FFF2-40B4-BE49-F238E27FC236}">
                    <a16:creationId xmlns:a16="http://schemas.microsoft.com/office/drawing/2014/main" id="{0F220CE2-5CAC-DA33-C5DD-B20D7155B0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74932" y="4325149"/>
                <a:ext cx="42960" cy="63875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2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1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2"/>
                      <a:pt x="16" y="42"/>
                    </a:cubicBezTo>
                    <a:cubicBezTo>
                      <a:pt x="22" y="42"/>
                      <a:pt x="24" y="36"/>
                      <a:pt x="24" y="24"/>
                    </a:cubicBezTo>
                    <a:cubicBezTo>
                      <a:pt x="24" y="13"/>
                      <a:pt x="22" y="7"/>
                      <a:pt x="16" y="7"/>
                    </a:cubicBezTo>
                    <a:cubicBezTo>
                      <a:pt x="11" y="7"/>
                      <a:pt x="8" y="13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31" name="Freeform 161">
                <a:extLst>
                  <a:ext uri="{FF2B5EF4-FFF2-40B4-BE49-F238E27FC236}">
                    <a16:creationId xmlns:a16="http://schemas.microsoft.com/office/drawing/2014/main" id="{988CE084-AEC9-DEE1-BF2C-AE1145E0B7B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74932" y="4433115"/>
                <a:ext cx="42960" cy="62745"/>
              </a:xfrm>
              <a:custGeom>
                <a:avLst/>
                <a:gdLst>
                  <a:gd name="T0" fmla="*/ 32 w 32"/>
                  <a:gd name="T1" fmla="*/ 23 h 47"/>
                  <a:gd name="T2" fmla="*/ 16 w 32"/>
                  <a:gd name="T3" fmla="*/ 47 h 47"/>
                  <a:gd name="T4" fmla="*/ 0 w 32"/>
                  <a:gd name="T5" fmla="*/ 23 h 47"/>
                  <a:gd name="T6" fmla="*/ 16 w 32"/>
                  <a:gd name="T7" fmla="*/ 0 h 47"/>
                  <a:gd name="T8" fmla="*/ 32 w 32"/>
                  <a:gd name="T9" fmla="*/ 23 h 47"/>
                  <a:gd name="T10" fmla="*/ 8 w 32"/>
                  <a:gd name="T11" fmla="*/ 23 h 47"/>
                  <a:gd name="T12" fmla="*/ 16 w 32"/>
                  <a:gd name="T13" fmla="*/ 41 h 47"/>
                  <a:gd name="T14" fmla="*/ 24 w 32"/>
                  <a:gd name="T15" fmla="*/ 23 h 47"/>
                  <a:gd name="T16" fmla="*/ 16 w 32"/>
                  <a:gd name="T17" fmla="*/ 6 h 47"/>
                  <a:gd name="T18" fmla="*/ 8 w 32"/>
                  <a:gd name="T19" fmla="*/ 2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7">
                    <a:moveTo>
                      <a:pt x="32" y="23"/>
                    </a:moveTo>
                    <a:cubicBezTo>
                      <a:pt x="32" y="39"/>
                      <a:pt x="27" y="47"/>
                      <a:pt x="16" y="47"/>
                    </a:cubicBezTo>
                    <a:cubicBezTo>
                      <a:pt x="5" y="47"/>
                      <a:pt x="0" y="40"/>
                      <a:pt x="0" y="23"/>
                    </a:cubicBezTo>
                    <a:cubicBezTo>
                      <a:pt x="0" y="7"/>
                      <a:pt x="5" y="0"/>
                      <a:pt x="16" y="0"/>
                    </a:cubicBezTo>
                    <a:cubicBezTo>
                      <a:pt x="27" y="0"/>
                      <a:pt x="32" y="7"/>
                      <a:pt x="32" y="23"/>
                    </a:cubicBezTo>
                    <a:close/>
                    <a:moveTo>
                      <a:pt x="8" y="23"/>
                    </a:moveTo>
                    <a:cubicBezTo>
                      <a:pt x="8" y="35"/>
                      <a:pt x="11" y="41"/>
                      <a:pt x="16" y="41"/>
                    </a:cubicBezTo>
                    <a:cubicBezTo>
                      <a:pt x="22" y="41"/>
                      <a:pt x="24" y="35"/>
                      <a:pt x="24" y="23"/>
                    </a:cubicBezTo>
                    <a:cubicBezTo>
                      <a:pt x="24" y="12"/>
                      <a:pt x="22" y="6"/>
                      <a:pt x="16" y="6"/>
                    </a:cubicBezTo>
                    <a:cubicBezTo>
                      <a:pt x="11" y="6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32" name="Line 8">
                <a:extLst>
                  <a:ext uri="{FF2B5EF4-FFF2-40B4-BE49-F238E27FC236}">
                    <a16:creationId xmlns:a16="http://schemas.microsoft.com/office/drawing/2014/main" id="{0EE56ADE-93CA-16ED-7B2B-CC99E914AF6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623106" y="3979773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33" name="Line 9">
                <a:extLst>
                  <a:ext uri="{FF2B5EF4-FFF2-40B4-BE49-F238E27FC236}">
                    <a16:creationId xmlns:a16="http://schemas.microsoft.com/office/drawing/2014/main" id="{C3CEC000-349A-D80F-9047-BEDF2906102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623106" y="3979773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34" name="Freeform 10">
                <a:extLst>
                  <a:ext uri="{FF2B5EF4-FFF2-40B4-BE49-F238E27FC236}">
                    <a16:creationId xmlns:a16="http://schemas.microsoft.com/office/drawing/2014/main" id="{10E545FF-6DCA-A4B8-F4F5-D2C3F37A9A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60466" y="4380547"/>
                <a:ext cx="37308" cy="58788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8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7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7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8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7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7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35" name="Freeform 11">
                <a:extLst>
                  <a:ext uri="{FF2B5EF4-FFF2-40B4-BE49-F238E27FC236}">
                    <a16:creationId xmlns:a16="http://schemas.microsoft.com/office/drawing/2014/main" id="{E6AB307A-DC3C-8949-F40C-1CF74483558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55378" y="4480599"/>
                <a:ext cx="45221" cy="61614"/>
              </a:xfrm>
              <a:custGeom>
                <a:avLst/>
                <a:gdLst>
                  <a:gd name="T0" fmla="*/ 32 w 34"/>
                  <a:gd name="T1" fmla="*/ 8 h 46"/>
                  <a:gd name="T2" fmla="*/ 34 w 34"/>
                  <a:gd name="T3" fmla="*/ 23 h 46"/>
                  <a:gd name="T4" fmla="*/ 31 w 34"/>
                  <a:gd name="T5" fmla="*/ 39 h 46"/>
                  <a:gd name="T6" fmla="*/ 17 w 34"/>
                  <a:gd name="T7" fmla="*/ 46 h 46"/>
                  <a:gd name="T8" fmla="*/ 3 w 34"/>
                  <a:gd name="T9" fmla="*/ 37 h 46"/>
                  <a:gd name="T10" fmla="*/ 0 w 34"/>
                  <a:gd name="T11" fmla="*/ 23 h 46"/>
                  <a:gd name="T12" fmla="*/ 17 w 34"/>
                  <a:gd name="T13" fmla="*/ 0 h 46"/>
                  <a:gd name="T14" fmla="*/ 32 w 34"/>
                  <a:gd name="T15" fmla="*/ 8 h 46"/>
                  <a:gd name="T16" fmla="*/ 10 w 34"/>
                  <a:gd name="T17" fmla="*/ 23 h 46"/>
                  <a:gd name="T18" fmla="*/ 17 w 34"/>
                  <a:gd name="T19" fmla="*/ 38 h 46"/>
                  <a:gd name="T20" fmla="*/ 25 w 34"/>
                  <a:gd name="T21" fmla="*/ 23 h 46"/>
                  <a:gd name="T22" fmla="*/ 17 w 34"/>
                  <a:gd name="T23" fmla="*/ 8 h 46"/>
                  <a:gd name="T24" fmla="*/ 10 w 34"/>
                  <a:gd name="T25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46">
                    <a:moveTo>
                      <a:pt x="32" y="8"/>
                    </a:moveTo>
                    <a:cubicBezTo>
                      <a:pt x="34" y="12"/>
                      <a:pt x="34" y="16"/>
                      <a:pt x="34" y="23"/>
                    </a:cubicBezTo>
                    <a:cubicBezTo>
                      <a:pt x="34" y="31"/>
                      <a:pt x="33" y="36"/>
                      <a:pt x="31" y="39"/>
                    </a:cubicBezTo>
                    <a:cubicBezTo>
                      <a:pt x="28" y="43"/>
                      <a:pt x="23" y="46"/>
                      <a:pt x="17" y="46"/>
                    </a:cubicBezTo>
                    <a:cubicBezTo>
                      <a:pt x="11" y="46"/>
                      <a:pt x="6" y="43"/>
                      <a:pt x="3" y="37"/>
                    </a:cubicBezTo>
                    <a:cubicBezTo>
                      <a:pt x="1" y="34"/>
                      <a:pt x="0" y="29"/>
                      <a:pt x="0" y="23"/>
                    </a:cubicBezTo>
                    <a:cubicBezTo>
                      <a:pt x="0" y="8"/>
                      <a:pt x="6" y="0"/>
                      <a:pt x="17" y="0"/>
                    </a:cubicBezTo>
                    <a:cubicBezTo>
                      <a:pt x="24" y="0"/>
                      <a:pt x="29" y="3"/>
                      <a:pt x="32" y="8"/>
                    </a:cubicBezTo>
                    <a:close/>
                    <a:moveTo>
                      <a:pt x="10" y="23"/>
                    </a:moveTo>
                    <a:cubicBezTo>
                      <a:pt x="10" y="33"/>
                      <a:pt x="12" y="38"/>
                      <a:pt x="17" y="38"/>
                    </a:cubicBezTo>
                    <a:cubicBezTo>
                      <a:pt x="22" y="38"/>
                      <a:pt x="25" y="33"/>
                      <a:pt x="25" y="23"/>
                    </a:cubicBezTo>
                    <a:cubicBezTo>
                      <a:pt x="25" y="13"/>
                      <a:pt x="22" y="8"/>
                      <a:pt x="17" y="8"/>
                    </a:cubicBezTo>
                    <a:cubicBezTo>
                      <a:pt x="12" y="8"/>
                      <a:pt x="10" y="13"/>
                      <a:pt x="10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36" name="Freeform 23">
                <a:extLst>
                  <a:ext uri="{FF2B5EF4-FFF2-40B4-BE49-F238E27FC236}">
                    <a16:creationId xmlns:a16="http://schemas.microsoft.com/office/drawing/2014/main" id="{24E84C7B-61E5-6D31-1B50-6C2FA1199F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75215" y="4110915"/>
                <a:ext cx="28263" cy="42395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8 h 32"/>
                  <a:gd name="T14" fmla="*/ 16 w 21"/>
                  <a:gd name="T15" fmla="*/ 16 h 32"/>
                  <a:gd name="T16" fmla="*/ 11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1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1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37" name="Freeform 24">
                <a:extLst>
                  <a:ext uri="{FF2B5EF4-FFF2-40B4-BE49-F238E27FC236}">
                    <a16:creationId xmlns:a16="http://schemas.microsoft.com/office/drawing/2014/main" id="{EAB81CE1-AEFD-B064-44F6-579702AA6F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75215" y="4182704"/>
                <a:ext cx="28263" cy="41830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5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38" name="Freeform 25">
                <a:extLst>
                  <a:ext uri="{FF2B5EF4-FFF2-40B4-BE49-F238E27FC236}">
                    <a16:creationId xmlns:a16="http://schemas.microsoft.com/office/drawing/2014/main" id="{4A9F20E1-BFA5-45C2-40CA-6ABCD457AB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78041" y="4325716"/>
                <a:ext cx="24306" cy="4126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2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2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39" name="Freeform 26">
                <a:extLst>
                  <a:ext uri="{FF2B5EF4-FFF2-40B4-BE49-F238E27FC236}">
                    <a16:creationId xmlns:a16="http://schemas.microsoft.com/office/drawing/2014/main" id="{A6D69C71-8929-A9E4-CDF4-13FB545E833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75215" y="4396374"/>
                <a:ext cx="28263" cy="41830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6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40" name="Freeform 27">
                <a:extLst>
                  <a:ext uri="{FF2B5EF4-FFF2-40B4-BE49-F238E27FC236}">
                    <a16:creationId xmlns:a16="http://schemas.microsoft.com/office/drawing/2014/main" id="{8000DCCF-30AF-195D-B825-193E3576FAC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75215" y="4467598"/>
                <a:ext cx="28263" cy="42395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7 h 32"/>
                  <a:gd name="T14" fmla="*/ 16 w 21"/>
                  <a:gd name="T15" fmla="*/ 16 h 32"/>
                  <a:gd name="T16" fmla="*/ 11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1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41" name="Freeform 43">
                <a:extLst>
                  <a:ext uri="{FF2B5EF4-FFF2-40B4-BE49-F238E27FC236}">
                    <a16:creationId xmlns:a16="http://schemas.microsoft.com/office/drawing/2014/main" id="{A8D9C707-780D-90F6-42B0-22BBE77A50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65092" y="4185530"/>
                <a:ext cx="23741" cy="3504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5" y="0"/>
                      <a:pt x="18" y="5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42" name="Freeform 44">
                <a:extLst>
                  <a:ext uri="{FF2B5EF4-FFF2-40B4-BE49-F238E27FC236}">
                    <a16:creationId xmlns:a16="http://schemas.microsoft.com/office/drawing/2014/main" id="{F90EAE4A-B735-51B2-567C-48CFE09297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65092" y="4243187"/>
                <a:ext cx="23741" cy="34481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1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43" name="Freeform 45">
                <a:extLst>
                  <a:ext uri="{FF2B5EF4-FFF2-40B4-BE49-F238E27FC236}">
                    <a16:creationId xmlns:a16="http://schemas.microsoft.com/office/drawing/2014/main" id="{A16C40E9-76C0-5A8E-3DB5-DDCE82F3B5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69049" y="4357936"/>
                <a:ext cx="18654" cy="33351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49 h 59"/>
                  <a:gd name="T20" fmla="*/ 17 w 33"/>
                  <a:gd name="T21" fmla="*/ 49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44" name="Freeform 46">
                <a:extLst>
                  <a:ext uri="{FF2B5EF4-FFF2-40B4-BE49-F238E27FC236}">
                    <a16:creationId xmlns:a16="http://schemas.microsoft.com/office/drawing/2014/main" id="{F8852104-00B9-7FE8-4B20-CC7EB3B352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65092" y="4413897"/>
                <a:ext cx="23741" cy="34481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45" name="Freeform 47">
                <a:extLst>
                  <a:ext uri="{FF2B5EF4-FFF2-40B4-BE49-F238E27FC236}">
                    <a16:creationId xmlns:a16="http://schemas.microsoft.com/office/drawing/2014/main" id="{D0EAD15E-D89E-6619-1D29-6737DC25F3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65092" y="4471555"/>
                <a:ext cx="23741" cy="33351"/>
              </a:xfrm>
              <a:custGeom>
                <a:avLst/>
                <a:gdLst>
                  <a:gd name="T0" fmla="*/ 18 w 18"/>
                  <a:gd name="T1" fmla="*/ 13 h 25"/>
                  <a:gd name="T2" fmla="*/ 9 w 18"/>
                  <a:gd name="T3" fmla="*/ 25 h 25"/>
                  <a:gd name="T4" fmla="*/ 0 w 18"/>
                  <a:gd name="T5" fmla="*/ 12 h 25"/>
                  <a:gd name="T6" fmla="*/ 9 w 18"/>
                  <a:gd name="T7" fmla="*/ 0 h 25"/>
                  <a:gd name="T8" fmla="*/ 18 w 18"/>
                  <a:gd name="T9" fmla="*/ 13 h 25"/>
                  <a:gd name="T10" fmla="*/ 5 w 18"/>
                  <a:gd name="T11" fmla="*/ 12 h 25"/>
                  <a:gd name="T12" fmla="*/ 9 w 18"/>
                  <a:gd name="T13" fmla="*/ 22 h 25"/>
                  <a:gd name="T14" fmla="*/ 13 w 18"/>
                  <a:gd name="T15" fmla="*/ 13 h 25"/>
                  <a:gd name="T16" fmla="*/ 9 w 18"/>
                  <a:gd name="T17" fmla="*/ 3 h 25"/>
                  <a:gd name="T18" fmla="*/ 5 w 18"/>
                  <a:gd name="T1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5">
                    <a:moveTo>
                      <a:pt x="18" y="13"/>
                    </a:moveTo>
                    <a:cubicBezTo>
                      <a:pt x="18" y="21"/>
                      <a:pt x="15" y="25"/>
                      <a:pt x="9" y="25"/>
                    </a:cubicBezTo>
                    <a:cubicBezTo>
                      <a:pt x="3" y="25"/>
                      <a:pt x="0" y="21"/>
                      <a:pt x="0" y="12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2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6"/>
                      <a:pt x="12" y="3"/>
                      <a:pt x="9" y="3"/>
                    </a:cubicBezTo>
                    <a:cubicBezTo>
                      <a:pt x="6" y="3"/>
                      <a:pt x="5" y="6"/>
                      <a:pt x="5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46" name="Freeform 63">
                <a:extLst>
                  <a:ext uri="{FF2B5EF4-FFF2-40B4-BE49-F238E27FC236}">
                    <a16:creationId xmlns:a16="http://schemas.microsoft.com/office/drawing/2014/main" id="{4C820301-1E49-9E38-C790-17D28443B4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06505" y="4185530"/>
                <a:ext cx="22611" cy="3504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4" y="0"/>
                      <a:pt x="17" y="5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47" name="Freeform 64">
                <a:extLst>
                  <a:ext uri="{FF2B5EF4-FFF2-40B4-BE49-F238E27FC236}">
                    <a16:creationId xmlns:a16="http://schemas.microsoft.com/office/drawing/2014/main" id="{37318592-B2DC-CDE2-432F-ABE6077945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06505" y="4243187"/>
                <a:ext cx="22611" cy="34481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1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48" name="Freeform 65">
                <a:extLst>
                  <a:ext uri="{FF2B5EF4-FFF2-40B4-BE49-F238E27FC236}">
                    <a16:creationId xmlns:a16="http://schemas.microsoft.com/office/drawing/2014/main" id="{C8D4910D-2A8E-A6F8-F9D8-121D905C02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8766" y="4357936"/>
                <a:ext cx="18654" cy="33351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49 h 59"/>
                  <a:gd name="T20" fmla="*/ 16 w 33"/>
                  <a:gd name="T21" fmla="*/ 49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49" name="Freeform 66">
                <a:extLst>
                  <a:ext uri="{FF2B5EF4-FFF2-40B4-BE49-F238E27FC236}">
                    <a16:creationId xmlns:a16="http://schemas.microsoft.com/office/drawing/2014/main" id="{136181FC-1F67-2932-711D-188EF12569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06505" y="4413897"/>
                <a:ext cx="22611" cy="34481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50" name="Freeform 67">
                <a:extLst>
                  <a:ext uri="{FF2B5EF4-FFF2-40B4-BE49-F238E27FC236}">
                    <a16:creationId xmlns:a16="http://schemas.microsoft.com/office/drawing/2014/main" id="{AB5C21E8-9DEA-30F8-FDF4-4C281647CF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06505" y="4471555"/>
                <a:ext cx="22611" cy="33351"/>
              </a:xfrm>
              <a:custGeom>
                <a:avLst/>
                <a:gdLst>
                  <a:gd name="T0" fmla="*/ 17 w 17"/>
                  <a:gd name="T1" fmla="*/ 13 h 25"/>
                  <a:gd name="T2" fmla="*/ 9 w 17"/>
                  <a:gd name="T3" fmla="*/ 25 h 25"/>
                  <a:gd name="T4" fmla="*/ 0 w 17"/>
                  <a:gd name="T5" fmla="*/ 12 h 25"/>
                  <a:gd name="T6" fmla="*/ 9 w 17"/>
                  <a:gd name="T7" fmla="*/ 0 h 25"/>
                  <a:gd name="T8" fmla="*/ 17 w 17"/>
                  <a:gd name="T9" fmla="*/ 13 h 25"/>
                  <a:gd name="T10" fmla="*/ 4 w 17"/>
                  <a:gd name="T11" fmla="*/ 12 h 25"/>
                  <a:gd name="T12" fmla="*/ 9 w 17"/>
                  <a:gd name="T13" fmla="*/ 22 h 25"/>
                  <a:gd name="T14" fmla="*/ 13 w 17"/>
                  <a:gd name="T15" fmla="*/ 13 h 25"/>
                  <a:gd name="T16" fmla="*/ 9 w 17"/>
                  <a:gd name="T17" fmla="*/ 3 h 25"/>
                  <a:gd name="T18" fmla="*/ 4 w 17"/>
                  <a:gd name="T1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5">
                    <a:moveTo>
                      <a:pt x="17" y="13"/>
                    </a:moveTo>
                    <a:cubicBezTo>
                      <a:pt x="17" y="21"/>
                      <a:pt x="14" y="25"/>
                      <a:pt x="9" y="25"/>
                    </a:cubicBezTo>
                    <a:cubicBezTo>
                      <a:pt x="3" y="25"/>
                      <a:pt x="0" y="21"/>
                      <a:pt x="0" y="12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2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6"/>
                      <a:pt x="11" y="3"/>
                      <a:pt x="9" y="3"/>
                    </a:cubicBezTo>
                    <a:cubicBezTo>
                      <a:pt x="6" y="3"/>
                      <a:pt x="4" y="6"/>
                      <a:pt x="4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51" name="Freeform 83">
                <a:extLst>
                  <a:ext uri="{FF2B5EF4-FFF2-40B4-BE49-F238E27FC236}">
                    <a16:creationId xmlns:a16="http://schemas.microsoft.com/office/drawing/2014/main" id="{6B80778A-567C-4EEF-AA1B-AB7743DA6E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2448" y="4188356"/>
                <a:ext cx="34481" cy="58788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3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52" name="Freeform 84">
                <a:extLst>
                  <a:ext uri="{FF2B5EF4-FFF2-40B4-BE49-F238E27FC236}">
                    <a16:creationId xmlns:a16="http://schemas.microsoft.com/office/drawing/2014/main" id="{42EE68E7-37EB-C9D6-EA96-6C6516BFCC3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46795" y="4288408"/>
                <a:ext cx="41265" cy="61614"/>
              </a:xfrm>
              <a:custGeom>
                <a:avLst/>
                <a:gdLst>
                  <a:gd name="T0" fmla="*/ 31 w 31"/>
                  <a:gd name="T1" fmla="*/ 23 h 46"/>
                  <a:gd name="T2" fmla="*/ 15 w 31"/>
                  <a:gd name="T3" fmla="*/ 46 h 46"/>
                  <a:gd name="T4" fmla="*/ 0 w 31"/>
                  <a:gd name="T5" fmla="*/ 23 h 46"/>
                  <a:gd name="T6" fmla="*/ 15 w 31"/>
                  <a:gd name="T7" fmla="*/ 0 h 46"/>
                  <a:gd name="T8" fmla="*/ 31 w 31"/>
                  <a:gd name="T9" fmla="*/ 23 h 46"/>
                  <a:gd name="T10" fmla="*/ 8 w 31"/>
                  <a:gd name="T11" fmla="*/ 23 h 46"/>
                  <a:gd name="T12" fmla="*/ 15 w 31"/>
                  <a:gd name="T13" fmla="*/ 39 h 46"/>
                  <a:gd name="T14" fmla="*/ 23 w 31"/>
                  <a:gd name="T15" fmla="*/ 23 h 46"/>
                  <a:gd name="T16" fmla="*/ 15 w 31"/>
                  <a:gd name="T17" fmla="*/ 7 h 46"/>
                  <a:gd name="T18" fmla="*/ 8 w 31"/>
                  <a:gd name="T19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6">
                    <a:moveTo>
                      <a:pt x="31" y="23"/>
                    </a:moveTo>
                    <a:cubicBezTo>
                      <a:pt x="31" y="38"/>
                      <a:pt x="26" y="46"/>
                      <a:pt x="15" y="46"/>
                    </a:cubicBezTo>
                    <a:cubicBezTo>
                      <a:pt x="5" y="46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7"/>
                      <a:pt x="15" y="7"/>
                    </a:cubicBezTo>
                    <a:cubicBezTo>
                      <a:pt x="10" y="7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53" name="Freeform 85">
                <a:extLst>
                  <a:ext uri="{FF2B5EF4-FFF2-40B4-BE49-F238E27FC236}">
                    <a16:creationId xmlns:a16="http://schemas.microsoft.com/office/drawing/2014/main" id="{32965EB1-2EBA-29AC-70DB-81696782680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46795" y="4390156"/>
                <a:ext cx="41265" cy="59918"/>
              </a:xfrm>
              <a:custGeom>
                <a:avLst/>
                <a:gdLst>
                  <a:gd name="T0" fmla="*/ 31 w 31"/>
                  <a:gd name="T1" fmla="*/ 23 h 45"/>
                  <a:gd name="T2" fmla="*/ 15 w 31"/>
                  <a:gd name="T3" fmla="*/ 45 h 45"/>
                  <a:gd name="T4" fmla="*/ 0 w 31"/>
                  <a:gd name="T5" fmla="*/ 23 h 45"/>
                  <a:gd name="T6" fmla="*/ 15 w 31"/>
                  <a:gd name="T7" fmla="*/ 0 h 45"/>
                  <a:gd name="T8" fmla="*/ 31 w 31"/>
                  <a:gd name="T9" fmla="*/ 23 h 45"/>
                  <a:gd name="T10" fmla="*/ 8 w 31"/>
                  <a:gd name="T11" fmla="*/ 23 h 45"/>
                  <a:gd name="T12" fmla="*/ 15 w 31"/>
                  <a:gd name="T13" fmla="*/ 39 h 45"/>
                  <a:gd name="T14" fmla="*/ 23 w 31"/>
                  <a:gd name="T15" fmla="*/ 23 h 45"/>
                  <a:gd name="T16" fmla="*/ 15 w 31"/>
                  <a:gd name="T17" fmla="*/ 6 h 45"/>
                  <a:gd name="T18" fmla="*/ 8 w 31"/>
                  <a:gd name="T19" fmla="*/ 2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31" y="23"/>
                    </a:moveTo>
                    <a:cubicBezTo>
                      <a:pt x="31" y="38"/>
                      <a:pt x="26" y="45"/>
                      <a:pt x="15" y="45"/>
                    </a:cubicBezTo>
                    <a:cubicBezTo>
                      <a:pt x="5" y="45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6"/>
                      <a:pt x="15" y="6"/>
                    </a:cubicBezTo>
                    <a:cubicBezTo>
                      <a:pt x="10" y="6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54" name="Freeform 95">
                <a:extLst>
                  <a:ext uri="{FF2B5EF4-FFF2-40B4-BE49-F238E27FC236}">
                    <a16:creationId xmlns:a16="http://schemas.microsoft.com/office/drawing/2014/main" id="{0CFE8A9A-FEF3-86EE-5344-8339DD9333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5397" y="3857111"/>
                <a:ext cx="19784" cy="32220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55" name="Freeform 96">
                <a:extLst>
                  <a:ext uri="{FF2B5EF4-FFF2-40B4-BE49-F238E27FC236}">
                    <a16:creationId xmlns:a16="http://schemas.microsoft.com/office/drawing/2014/main" id="{BE7C2C0C-A9EC-1BFC-51CB-A0498E310E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61440" y="3911941"/>
                <a:ext cx="25437" cy="32220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56" name="Freeform 97">
                <a:extLst>
                  <a:ext uri="{FF2B5EF4-FFF2-40B4-BE49-F238E27FC236}">
                    <a16:creationId xmlns:a16="http://schemas.microsoft.com/office/drawing/2014/main" id="{08744EDC-6CDE-7048-D75E-AD5C5CCA69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5397" y="3966772"/>
                <a:ext cx="19784" cy="31655"/>
              </a:xfrm>
              <a:custGeom>
                <a:avLst/>
                <a:gdLst>
                  <a:gd name="T0" fmla="*/ 16 w 35"/>
                  <a:gd name="T1" fmla="*/ 14 h 56"/>
                  <a:gd name="T2" fmla="*/ 7 w 35"/>
                  <a:gd name="T3" fmla="*/ 21 h 56"/>
                  <a:gd name="T4" fmla="*/ 0 w 35"/>
                  <a:gd name="T5" fmla="*/ 11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4"/>
                    </a:moveTo>
                    <a:lnTo>
                      <a:pt x="7" y="21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57" name="Freeform 98">
                <a:extLst>
                  <a:ext uri="{FF2B5EF4-FFF2-40B4-BE49-F238E27FC236}">
                    <a16:creationId xmlns:a16="http://schemas.microsoft.com/office/drawing/2014/main" id="{CE894BE9-B948-9748-A189-27713FB38F1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61440" y="4021603"/>
                <a:ext cx="25437" cy="31655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58" name="Freeform 99">
                <a:extLst>
                  <a:ext uri="{FF2B5EF4-FFF2-40B4-BE49-F238E27FC236}">
                    <a16:creationId xmlns:a16="http://schemas.microsoft.com/office/drawing/2014/main" id="{CB2DE63A-B28B-6EE5-335D-68FC93CBD4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5397" y="4075868"/>
                <a:ext cx="19784" cy="32220"/>
              </a:xfrm>
              <a:custGeom>
                <a:avLst/>
                <a:gdLst>
                  <a:gd name="T0" fmla="*/ 16 w 35"/>
                  <a:gd name="T1" fmla="*/ 15 h 57"/>
                  <a:gd name="T2" fmla="*/ 7 w 35"/>
                  <a:gd name="T3" fmla="*/ 22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8 h 57"/>
                  <a:gd name="T12" fmla="*/ 35 w 35"/>
                  <a:gd name="T13" fmla="*/ 48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8 h 57"/>
                  <a:gd name="T20" fmla="*/ 16 w 35"/>
                  <a:gd name="T21" fmla="*/ 48 h 57"/>
                  <a:gd name="T22" fmla="*/ 16 w 35"/>
                  <a:gd name="T23" fmla="*/ 1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5"/>
                    </a:moveTo>
                    <a:lnTo>
                      <a:pt x="7" y="22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5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59" name="Freeform 100">
                <a:extLst>
                  <a:ext uri="{FF2B5EF4-FFF2-40B4-BE49-F238E27FC236}">
                    <a16:creationId xmlns:a16="http://schemas.microsoft.com/office/drawing/2014/main" id="{A871D7F2-55A8-0EA7-A81C-648C56A0F6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61440" y="4130699"/>
                <a:ext cx="25437" cy="32220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60" name="Freeform 101">
                <a:extLst>
                  <a:ext uri="{FF2B5EF4-FFF2-40B4-BE49-F238E27FC236}">
                    <a16:creationId xmlns:a16="http://schemas.microsoft.com/office/drawing/2014/main" id="{B2F92EAB-5B76-2A84-98E3-2414F09536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5397" y="4185530"/>
                <a:ext cx="19784" cy="32220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61" name="Freeform 102">
                <a:extLst>
                  <a:ext uri="{FF2B5EF4-FFF2-40B4-BE49-F238E27FC236}">
                    <a16:creationId xmlns:a16="http://schemas.microsoft.com/office/drawing/2014/main" id="{284E75C8-6716-2235-10E2-B5E5175924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5397" y="4240361"/>
                <a:ext cx="19784" cy="32220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62" name="Freeform 103">
                <a:extLst>
                  <a:ext uri="{FF2B5EF4-FFF2-40B4-BE49-F238E27FC236}">
                    <a16:creationId xmlns:a16="http://schemas.microsoft.com/office/drawing/2014/main" id="{81A2C3D6-4632-FE8E-B86B-9BBB307309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5397" y="4296322"/>
                <a:ext cx="19784" cy="31090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5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5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63" name="Freeform 104">
                <a:extLst>
                  <a:ext uri="{FF2B5EF4-FFF2-40B4-BE49-F238E27FC236}">
                    <a16:creationId xmlns:a16="http://schemas.microsoft.com/office/drawing/2014/main" id="{E041A534-A02A-5157-3DDA-655BDA3CDA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61440" y="4350022"/>
                <a:ext cx="25437" cy="33351"/>
              </a:xfrm>
              <a:custGeom>
                <a:avLst/>
                <a:gdLst>
                  <a:gd name="T0" fmla="*/ 17 w 19"/>
                  <a:gd name="T1" fmla="*/ 4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4 h 25"/>
                  <a:gd name="T16" fmla="*/ 6 w 19"/>
                  <a:gd name="T17" fmla="*/ 12 h 25"/>
                  <a:gd name="T18" fmla="*/ 10 w 19"/>
                  <a:gd name="T19" fmla="*/ 20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3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64" name="Freeform 105">
                <a:extLst>
                  <a:ext uri="{FF2B5EF4-FFF2-40B4-BE49-F238E27FC236}">
                    <a16:creationId xmlns:a16="http://schemas.microsoft.com/office/drawing/2014/main" id="{19D92279-96BA-6E21-34CD-D85F40B77A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5397" y="4405984"/>
                <a:ext cx="19784" cy="30524"/>
              </a:xfrm>
              <a:custGeom>
                <a:avLst/>
                <a:gdLst>
                  <a:gd name="T0" fmla="*/ 16 w 35"/>
                  <a:gd name="T1" fmla="*/ 12 h 54"/>
                  <a:gd name="T2" fmla="*/ 7 w 35"/>
                  <a:gd name="T3" fmla="*/ 19 h 54"/>
                  <a:gd name="T4" fmla="*/ 0 w 35"/>
                  <a:gd name="T5" fmla="*/ 9 h 54"/>
                  <a:gd name="T6" fmla="*/ 19 w 35"/>
                  <a:gd name="T7" fmla="*/ 0 h 54"/>
                  <a:gd name="T8" fmla="*/ 28 w 35"/>
                  <a:gd name="T9" fmla="*/ 0 h 54"/>
                  <a:gd name="T10" fmla="*/ 28 w 35"/>
                  <a:gd name="T11" fmla="*/ 45 h 54"/>
                  <a:gd name="T12" fmla="*/ 35 w 35"/>
                  <a:gd name="T13" fmla="*/ 45 h 54"/>
                  <a:gd name="T14" fmla="*/ 35 w 35"/>
                  <a:gd name="T15" fmla="*/ 54 h 54"/>
                  <a:gd name="T16" fmla="*/ 9 w 35"/>
                  <a:gd name="T17" fmla="*/ 54 h 54"/>
                  <a:gd name="T18" fmla="*/ 9 w 35"/>
                  <a:gd name="T19" fmla="*/ 45 h 54"/>
                  <a:gd name="T20" fmla="*/ 16 w 35"/>
                  <a:gd name="T21" fmla="*/ 45 h 54"/>
                  <a:gd name="T22" fmla="*/ 16 w 35"/>
                  <a:gd name="T23" fmla="*/ 1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4">
                    <a:moveTo>
                      <a:pt x="16" y="12"/>
                    </a:moveTo>
                    <a:lnTo>
                      <a:pt x="7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4"/>
                    </a:lnTo>
                    <a:lnTo>
                      <a:pt x="9" y="54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65" name="Freeform 106">
                <a:extLst>
                  <a:ext uri="{FF2B5EF4-FFF2-40B4-BE49-F238E27FC236}">
                    <a16:creationId xmlns:a16="http://schemas.microsoft.com/office/drawing/2014/main" id="{17C4CA3C-4A93-BAF2-8040-14FF64AE1CC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61440" y="4459119"/>
                <a:ext cx="25437" cy="33351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2 h 25"/>
                  <a:gd name="T18" fmla="*/ 10 w 19"/>
                  <a:gd name="T19" fmla="*/ 21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66" name="Freeform 135">
                <a:extLst>
                  <a:ext uri="{FF2B5EF4-FFF2-40B4-BE49-F238E27FC236}">
                    <a16:creationId xmlns:a16="http://schemas.microsoft.com/office/drawing/2014/main" id="{83429A8B-B5A8-0432-B2A5-237EC43525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68328" y="3994470"/>
                <a:ext cx="22611" cy="41830"/>
              </a:xfrm>
              <a:custGeom>
                <a:avLst/>
                <a:gdLst>
                  <a:gd name="T0" fmla="*/ 19 w 40"/>
                  <a:gd name="T1" fmla="*/ 14 h 74"/>
                  <a:gd name="T2" fmla="*/ 4 w 40"/>
                  <a:gd name="T3" fmla="*/ 24 h 74"/>
                  <a:gd name="T4" fmla="*/ 0 w 40"/>
                  <a:gd name="T5" fmla="*/ 14 h 74"/>
                  <a:gd name="T6" fmla="*/ 21 w 40"/>
                  <a:gd name="T7" fmla="*/ 0 h 74"/>
                  <a:gd name="T8" fmla="*/ 30 w 40"/>
                  <a:gd name="T9" fmla="*/ 0 h 74"/>
                  <a:gd name="T10" fmla="*/ 30 w 40"/>
                  <a:gd name="T11" fmla="*/ 64 h 74"/>
                  <a:gd name="T12" fmla="*/ 40 w 40"/>
                  <a:gd name="T13" fmla="*/ 64 h 74"/>
                  <a:gd name="T14" fmla="*/ 40 w 40"/>
                  <a:gd name="T15" fmla="*/ 74 h 74"/>
                  <a:gd name="T16" fmla="*/ 9 w 40"/>
                  <a:gd name="T17" fmla="*/ 74 h 74"/>
                  <a:gd name="T18" fmla="*/ 9 w 40"/>
                  <a:gd name="T19" fmla="*/ 64 h 74"/>
                  <a:gd name="T20" fmla="*/ 19 w 40"/>
                  <a:gd name="T21" fmla="*/ 64 h 74"/>
                  <a:gd name="T22" fmla="*/ 19 w 40"/>
                  <a:gd name="T23" fmla="*/ 1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4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4"/>
                    </a:lnTo>
                    <a:lnTo>
                      <a:pt x="9" y="74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67" name="Freeform 136">
                <a:extLst>
                  <a:ext uri="{FF2B5EF4-FFF2-40B4-BE49-F238E27FC236}">
                    <a16:creationId xmlns:a16="http://schemas.microsoft.com/office/drawing/2014/main" id="{F294A596-1DEB-6652-98E4-47B03281A76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64370" y="4065128"/>
                <a:ext cx="28263" cy="42960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8 h 32"/>
                  <a:gd name="T14" fmla="*/ 16 w 21"/>
                  <a:gd name="T15" fmla="*/ 16 h 32"/>
                  <a:gd name="T16" fmla="*/ 10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0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0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68" name="Freeform 137">
                <a:extLst>
                  <a:ext uri="{FF2B5EF4-FFF2-40B4-BE49-F238E27FC236}">
                    <a16:creationId xmlns:a16="http://schemas.microsoft.com/office/drawing/2014/main" id="{6FAA2577-B4A8-C1B1-F1DC-6C19EA5E47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64370" y="4208141"/>
                <a:ext cx="28263" cy="42960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6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69" name="Freeform 138">
                <a:extLst>
                  <a:ext uri="{FF2B5EF4-FFF2-40B4-BE49-F238E27FC236}">
                    <a16:creationId xmlns:a16="http://schemas.microsoft.com/office/drawing/2014/main" id="{E1475340-4C30-173E-396C-8CB58C5AF4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68329" y="4280495"/>
                <a:ext cx="22611" cy="40134"/>
              </a:xfrm>
              <a:custGeom>
                <a:avLst/>
                <a:gdLst>
                  <a:gd name="T0" fmla="*/ 19 w 40"/>
                  <a:gd name="T1" fmla="*/ 12 h 71"/>
                  <a:gd name="T2" fmla="*/ 4 w 40"/>
                  <a:gd name="T3" fmla="*/ 21 h 71"/>
                  <a:gd name="T4" fmla="*/ 0 w 40"/>
                  <a:gd name="T5" fmla="*/ 12 h 71"/>
                  <a:gd name="T6" fmla="*/ 21 w 40"/>
                  <a:gd name="T7" fmla="*/ 0 h 71"/>
                  <a:gd name="T8" fmla="*/ 30 w 40"/>
                  <a:gd name="T9" fmla="*/ 0 h 71"/>
                  <a:gd name="T10" fmla="*/ 30 w 40"/>
                  <a:gd name="T11" fmla="*/ 64 h 71"/>
                  <a:gd name="T12" fmla="*/ 40 w 40"/>
                  <a:gd name="T13" fmla="*/ 64 h 71"/>
                  <a:gd name="T14" fmla="*/ 40 w 40"/>
                  <a:gd name="T15" fmla="*/ 71 h 71"/>
                  <a:gd name="T16" fmla="*/ 9 w 40"/>
                  <a:gd name="T17" fmla="*/ 71 h 71"/>
                  <a:gd name="T18" fmla="*/ 9 w 40"/>
                  <a:gd name="T19" fmla="*/ 64 h 71"/>
                  <a:gd name="T20" fmla="*/ 19 w 40"/>
                  <a:gd name="T21" fmla="*/ 64 h 71"/>
                  <a:gd name="T22" fmla="*/ 19 w 40"/>
                  <a:gd name="T23" fmla="*/ 1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1">
                    <a:moveTo>
                      <a:pt x="19" y="12"/>
                    </a:moveTo>
                    <a:lnTo>
                      <a:pt x="4" y="21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1"/>
                    </a:lnTo>
                    <a:lnTo>
                      <a:pt x="9" y="71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70" name="Freeform 139">
                <a:extLst>
                  <a:ext uri="{FF2B5EF4-FFF2-40B4-BE49-F238E27FC236}">
                    <a16:creationId xmlns:a16="http://schemas.microsoft.com/office/drawing/2014/main" id="{CB717576-048D-CCE4-8022-EE22C4FDBA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68329" y="4351153"/>
                <a:ext cx="22611" cy="4126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71" name="Freeform 140">
                <a:extLst>
                  <a:ext uri="{FF2B5EF4-FFF2-40B4-BE49-F238E27FC236}">
                    <a16:creationId xmlns:a16="http://schemas.microsoft.com/office/drawing/2014/main" id="{DA8AD131-713D-9831-E9B5-E6AC4DED67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68329" y="4421811"/>
                <a:ext cx="22611" cy="4126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72" name="Freeform 149">
                <a:extLst>
                  <a:ext uri="{FF2B5EF4-FFF2-40B4-BE49-F238E27FC236}">
                    <a16:creationId xmlns:a16="http://schemas.microsoft.com/office/drawing/2014/main" id="{65D2650E-2E80-BAFB-0680-EF21EFAB81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8644" y="3861067"/>
                <a:ext cx="34481" cy="61614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73" name="Freeform 150">
                <a:extLst>
                  <a:ext uri="{FF2B5EF4-FFF2-40B4-BE49-F238E27FC236}">
                    <a16:creationId xmlns:a16="http://schemas.microsoft.com/office/drawing/2014/main" id="{9AEAEF25-7508-BE07-9588-D3DC281E920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92992" y="3966772"/>
                <a:ext cx="42960" cy="63875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74" name="Freeform 151">
                <a:extLst>
                  <a:ext uri="{FF2B5EF4-FFF2-40B4-BE49-F238E27FC236}">
                    <a16:creationId xmlns:a16="http://schemas.microsoft.com/office/drawing/2014/main" id="{102D4FF7-0C48-EC54-F5AF-5D2336C50C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8644" y="4074738"/>
                <a:ext cx="34481" cy="61614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75" name="Freeform 152">
                <a:extLst>
                  <a:ext uri="{FF2B5EF4-FFF2-40B4-BE49-F238E27FC236}">
                    <a16:creationId xmlns:a16="http://schemas.microsoft.com/office/drawing/2014/main" id="{1475CB9F-2C7F-0D14-AF79-3D671CA226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92992" y="4180443"/>
                <a:ext cx="42960" cy="63875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76" name="Freeform 153">
                <a:extLst>
                  <a:ext uri="{FF2B5EF4-FFF2-40B4-BE49-F238E27FC236}">
                    <a16:creationId xmlns:a16="http://schemas.microsoft.com/office/drawing/2014/main" id="{A2E6ABEF-88F7-A9E2-8675-FD2D25042F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8644" y="4288408"/>
                <a:ext cx="34481" cy="61614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77" name="Freeform 154">
                <a:extLst>
                  <a:ext uri="{FF2B5EF4-FFF2-40B4-BE49-F238E27FC236}">
                    <a16:creationId xmlns:a16="http://schemas.microsoft.com/office/drawing/2014/main" id="{9B25B61E-AFC9-EF0C-8052-6422996A9E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8644" y="4395244"/>
                <a:ext cx="34481" cy="61614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78" name="Freeform 63">
                <a:extLst>
                  <a:ext uri="{FF2B5EF4-FFF2-40B4-BE49-F238E27FC236}">
                    <a16:creationId xmlns:a16="http://schemas.microsoft.com/office/drawing/2014/main" id="{5F596D27-8751-C151-4A3B-D0DAA977E7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03776" y="4262972"/>
                <a:ext cx="22611" cy="3504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4" y="0"/>
                      <a:pt x="17" y="5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79" name="Freeform 64">
                <a:extLst>
                  <a:ext uri="{FF2B5EF4-FFF2-40B4-BE49-F238E27FC236}">
                    <a16:creationId xmlns:a16="http://schemas.microsoft.com/office/drawing/2014/main" id="{23B58FF2-C4D5-019B-8448-64AAD58A480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03777" y="4320629"/>
                <a:ext cx="22611" cy="34481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1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80" name="Freeform 65">
                <a:extLst>
                  <a:ext uri="{FF2B5EF4-FFF2-40B4-BE49-F238E27FC236}">
                    <a16:creationId xmlns:a16="http://schemas.microsoft.com/office/drawing/2014/main" id="{EE4124AD-C6A4-1D6E-0A05-2F340EB496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5472" y="4435377"/>
                <a:ext cx="18654" cy="33351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49 h 59"/>
                  <a:gd name="T20" fmla="*/ 16 w 33"/>
                  <a:gd name="T21" fmla="*/ 49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81" name="Freeform 95">
                <a:extLst>
                  <a:ext uri="{FF2B5EF4-FFF2-40B4-BE49-F238E27FC236}">
                    <a16:creationId xmlns:a16="http://schemas.microsoft.com/office/drawing/2014/main" id="{0764A304-2AA9-F620-8D9F-8C3D197D20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7710" y="3934551"/>
                <a:ext cx="19784" cy="32220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82" name="Freeform 96">
                <a:extLst>
                  <a:ext uri="{FF2B5EF4-FFF2-40B4-BE49-F238E27FC236}">
                    <a16:creationId xmlns:a16="http://schemas.microsoft.com/office/drawing/2014/main" id="{6D089495-35FD-8B3A-8AC5-CED7468303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46015" y="3989382"/>
                <a:ext cx="25437" cy="32220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83" name="Freeform 97">
                <a:extLst>
                  <a:ext uri="{FF2B5EF4-FFF2-40B4-BE49-F238E27FC236}">
                    <a16:creationId xmlns:a16="http://schemas.microsoft.com/office/drawing/2014/main" id="{8B9F60C0-74EA-B44F-E093-77D5B82C73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7710" y="4044213"/>
                <a:ext cx="19784" cy="31655"/>
              </a:xfrm>
              <a:custGeom>
                <a:avLst/>
                <a:gdLst>
                  <a:gd name="T0" fmla="*/ 16 w 35"/>
                  <a:gd name="T1" fmla="*/ 14 h 56"/>
                  <a:gd name="T2" fmla="*/ 7 w 35"/>
                  <a:gd name="T3" fmla="*/ 21 h 56"/>
                  <a:gd name="T4" fmla="*/ 0 w 35"/>
                  <a:gd name="T5" fmla="*/ 11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4"/>
                    </a:moveTo>
                    <a:lnTo>
                      <a:pt x="7" y="21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84" name="Freeform 98">
                <a:extLst>
                  <a:ext uri="{FF2B5EF4-FFF2-40B4-BE49-F238E27FC236}">
                    <a16:creationId xmlns:a16="http://schemas.microsoft.com/office/drawing/2014/main" id="{C3400BBD-1BDF-2A9E-5517-5D4F8DB469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46015" y="4099044"/>
                <a:ext cx="25437" cy="31655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85" name="Freeform 99">
                <a:extLst>
                  <a:ext uri="{FF2B5EF4-FFF2-40B4-BE49-F238E27FC236}">
                    <a16:creationId xmlns:a16="http://schemas.microsoft.com/office/drawing/2014/main" id="{07152965-D27B-03FA-7CB0-D5B89F8D92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7710" y="4153309"/>
                <a:ext cx="19784" cy="32220"/>
              </a:xfrm>
              <a:custGeom>
                <a:avLst/>
                <a:gdLst>
                  <a:gd name="T0" fmla="*/ 16 w 35"/>
                  <a:gd name="T1" fmla="*/ 15 h 57"/>
                  <a:gd name="T2" fmla="*/ 7 w 35"/>
                  <a:gd name="T3" fmla="*/ 22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8 h 57"/>
                  <a:gd name="T12" fmla="*/ 35 w 35"/>
                  <a:gd name="T13" fmla="*/ 48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8 h 57"/>
                  <a:gd name="T20" fmla="*/ 16 w 35"/>
                  <a:gd name="T21" fmla="*/ 48 h 57"/>
                  <a:gd name="T22" fmla="*/ 16 w 35"/>
                  <a:gd name="T23" fmla="*/ 1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5"/>
                    </a:moveTo>
                    <a:lnTo>
                      <a:pt x="7" y="22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5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86" name="Freeform 100">
                <a:extLst>
                  <a:ext uri="{FF2B5EF4-FFF2-40B4-BE49-F238E27FC236}">
                    <a16:creationId xmlns:a16="http://schemas.microsoft.com/office/drawing/2014/main" id="{85EF8EE3-B832-C0B3-2A1E-8B22FE5184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46015" y="4208140"/>
                <a:ext cx="25437" cy="32220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87" name="Freeform 101">
                <a:extLst>
                  <a:ext uri="{FF2B5EF4-FFF2-40B4-BE49-F238E27FC236}">
                    <a16:creationId xmlns:a16="http://schemas.microsoft.com/office/drawing/2014/main" id="{BF7E96F7-5EF4-4DA8-AD8C-ABC4C1E4F0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7710" y="4262971"/>
                <a:ext cx="19784" cy="32220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88" name="Freeform 102">
                <a:extLst>
                  <a:ext uri="{FF2B5EF4-FFF2-40B4-BE49-F238E27FC236}">
                    <a16:creationId xmlns:a16="http://schemas.microsoft.com/office/drawing/2014/main" id="{10ABDDF0-C064-2533-FA7C-FEBE515D94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7710" y="4317801"/>
                <a:ext cx="19784" cy="32220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89" name="Freeform 103">
                <a:extLst>
                  <a:ext uri="{FF2B5EF4-FFF2-40B4-BE49-F238E27FC236}">
                    <a16:creationId xmlns:a16="http://schemas.microsoft.com/office/drawing/2014/main" id="{5BA8D9FE-DF9D-2DC7-D17F-555755D12B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7710" y="4373763"/>
                <a:ext cx="19784" cy="31090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5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5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90" name="Freeform 104">
                <a:extLst>
                  <a:ext uri="{FF2B5EF4-FFF2-40B4-BE49-F238E27FC236}">
                    <a16:creationId xmlns:a16="http://schemas.microsoft.com/office/drawing/2014/main" id="{94EBBA22-3F65-BD98-8512-7BEAF4030F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46015" y="4427463"/>
                <a:ext cx="25437" cy="33351"/>
              </a:xfrm>
              <a:custGeom>
                <a:avLst/>
                <a:gdLst>
                  <a:gd name="T0" fmla="*/ 17 w 19"/>
                  <a:gd name="T1" fmla="*/ 4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4 h 25"/>
                  <a:gd name="T16" fmla="*/ 6 w 19"/>
                  <a:gd name="T17" fmla="*/ 12 h 25"/>
                  <a:gd name="T18" fmla="*/ 10 w 19"/>
                  <a:gd name="T19" fmla="*/ 20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3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91" name="Freeform 105">
                <a:extLst>
                  <a:ext uri="{FF2B5EF4-FFF2-40B4-BE49-F238E27FC236}">
                    <a16:creationId xmlns:a16="http://schemas.microsoft.com/office/drawing/2014/main" id="{0E80D49D-0C3C-DFE7-7B57-6D07CD3CC9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7710" y="4483424"/>
                <a:ext cx="19784" cy="30524"/>
              </a:xfrm>
              <a:custGeom>
                <a:avLst/>
                <a:gdLst>
                  <a:gd name="T0" fmla="*/ 16 w 35"/>
                  <a:gd name="T1" fmla="*/ 12 h 54"/>
                  <a:gd name="T2" fmla="*/ 7 w 35"/>
                  <a:gd name="T3" fmla="*/ 19 h 54"/>
                  <a:gd name="T4" fmla="*/ 0 w 35"/>
                  <a:gd name="T5" fmla="*/ 9 h 54"/>
                  <a:gd name="T6" fmla="*/ 19 w 35"/>
                  <a:gd name="T7" fmla="*/ 0 h 54"/>
                  <a:gd name="T8" fmla="*/ 28 w 35"/>
                  <a:gd name="T9" fmla="*/ 0 h 54"/>
                  <a:gd name="T10" fmla="*/ 28 w 35"/>
                  <a:gd name="T11" fmla="*/ 45 h 54"/>
                  <a:gd name="T12" fmla="*/ 35 w 35"/>
                  <a:gd name="T13" fmla="*/ 45 h 54"/>
                  <a:gd name="T14" fmla="*/ 35 w 35"/>
                  <a:gd name="T15" fmla="*/ 54 h 54"/>
                  <a:gd name="T16" fmla="*/ 9 w 35"/>
                  <a:gd name="T17" fmla="*/ 54 h 54"/>
                  <a:gd name="T18" fmla="*/ 9 w 35"/>
                  <a:gd name="T19" fmla="*/ 45 h 54"/>
                  <a:gd name="T20" fmla="*/ 16 w 35"/>
                  <a:gd name="T21" fmla="*/ 45 h 54"/>
                  <a:gd name="T22" fmla="*/ 16 w 35"/>
                  <a:gd name="T23" fmla="*/ 1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4">
                    <a:moveTo>
                      <a:pt x="16" y="12"/>
                    </a:moveTo>
                    <a:lnTo>
                      <a:pt x="7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4"/>
                    </a:lnTo>
                    <a:lnTo>
                      <a:pt x="9" y="54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92" name="Freeform 149">
                <a:extLst>
                  <a:ext uri="{FF2B5EF4-FFF2-40B4-BE49-F238E27FC236}">
                    <a16:creationId xmlns:a16="http://schemas.microsoft.com/office/drawing/2014/main" id="{0821C437-6710-31AB-E18D-4622155863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9768" y="3938508"/>
                <a:ext cx="34481" cy="61614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93" name="Freeform 150">
                <a:extLst>
                  <a:ext uri="{FF2B5EF4-FFF2-40B4-BE49-F238E27FC236}">
                    <a16:creationId xmlns:a16="http://schemas.microsoft.com/office/drawing/2014/main" id="{ABE7FCEA-F37D-0A34-8ACC-0987D09FE8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96934" y="4044213"/>
                <a:ext cx="42960" cy="63875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94" name="Freeform 151">
                <a:extLst>
                  <a:ext uri="{FF2B5EF4-FFF2-40B4-BE49-F238E27FC236}">
                    <a16:creationId xmlns:a16="http://schemas.microsoft.com/office/drawing/2014/main" id="{2D95714D-9482-9D53-9133-53587A258B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9760" y="4152178"/>
                <a:ext cx="34481" cy="61614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95" name="Freeform 152">
                <a:extLst>
                  <a:ext uri="{FF2B5EF4-FFF2-40B4-BE49-F238E27FC236}">
                    <a16:creationId xmlns:a16="http://schemas.microsoft.com/office/drawing/2014/main" id="{3316C595-0455-632D-0841-2904C379E2F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96924" y="4257883"/>
                <a:ext cx="42960" cy="63875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96" name="Freeform 153">
                <a:extLst>
                  <a:ext uri="{FF2B5EF4-FFF2-40B4-BE49-F238E27FC236}">
                    <a16:creationId xmlns:a16="http://schemas.microsoft.com/office/drawing/2014/main" id="{B6DE1E6B-8389-066E-9C49-72A35D23F6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9743" y="4365847"/>
                <a:ext cx="34481" cy="61614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97" name="Freeform 154">
                <a:extLst>
                  <a:ext uri="{FF2B5EF4-FFF2-40B4-BE49-F238E27FC236}">
                    <a16:creationId xmlns:a16="http://schemas.microsoft.com/office/drawing/2014/main" id="{944F58CA-6AC7-9B74-B73A-5A6438AB0A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9732" y="4472682"/>
                <a:ext cx="34481" cy="61614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</p:grpSp>
        <p:grpSp>
          <p:nvGrpSpPr>
            <p:cNvPr id="498" name="Gruppieren 2">
              <a:extLst>
                <a:ext uri="{FF2B5EF4-FFF2-40B4-BE49-F238E27FC236}">
                  <a16:creationId xmlns:a16="http://schemas.microsoft.com/office/drawing/2014/main" id="{9B2574E6-7E3B-2E61-A60E-E9EA884604AC}"/>
                </a:ext>
              </a:extLst>
            </p:cNvPr>
            <p:cNvGrpSpPr/>
            <p:nvPr/>
          </p:nvGrpSpPr>
          <p:grpSpPr>
            <a:xfrm>
              <a:off x="6935261" y="5541389"/>
              <a:ext cx="4335028" cy="1394352"/>
              <a:chOff x="667960" y="3350946"/>
              <a:chExt cx="11591926" cy="3728517"/>
            </a:xfrm>
          </p:grpSpPr>
          <p:sp>
            <p:nvSpPr>
              <p:cNvPr id="499" name="Line 8">
                <a:extLst>
                  <a:ext uri="{FF2B5EF4-FFF2-40B4-BE49-F238E27FC236}">
                    <a16:creationId xmlns:a16="http://schemas.microsoft.com/office/drawing/2014/main" id="{E3E8FBBB-65D5-545E-85FD-ECBF40237AA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645410" y="5893530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00" name="Line 9">
                <a:extLst>
                  <a:ext uri="{FF2B5EF4-FFF2-40B4-BE49-F238E27FC236}">
                    <a16:creationId xmlns:a16="http://schemas.microsoft.com/office/drawing/2014/main" id="{BE62840D-D3BF-4F27-FA75-0E87F03B146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645410" y="5893530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01" name="Freeform 23">
                <a:extLst>
                  <a:ext uri="{FF2B5EF4-FFF2-40B4-BE49-F238E27FC236}">
                    <a16:creationId xmlns:a16="http://schemas.microsoft.com/office/drawing/2014/main" id="{B16136C6-7E5B-38AA-36D4-03B5D87B74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96082" y="6244022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8 h 32"/>
                  <a:gd name="T14" fmla="*/ 16 w 21"/>
                  <a:gd name="T15" fmla="*/ 16 h 32"/>
                  <a:gd name="T16" fmla="*/ 11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1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1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02" name="Freeform 24">
                <a:extLst>
                  <a:ext uri="{FF2B5EF4-FFF2-40B4-BE49-F238E27FC236}">
                    <a16:creationId xmlns:a16="http://schemas.microsoft.com/office/drawing/2014/main" id="{6E8B5D6E-7D00-7B07-31CD-8D1F8ACCFF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96082" y="6435886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5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03" name="Freeform 25">
                <a:extLst>
                  <a:ext uri="{FF2B5EF4-FFF2-40B4-BE49-F238E27FC236}">
                    <a16:creationId xmlns:a16="http://schemas.microsoft.com/office/drawing/2014/main" id="{85EDADC9-DCA6-5614-61F3-FE2111F9D3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9103" y="6818104"/>
                <a:ext cx="64962" cy="11028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2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2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04" name="Freeform 43">
                <a:extLst>
                  <a:ext uri="{FF2B5EF4-FFF2-40B4-BE49-F238E27FC236}">
                    <a16:creationId xmlns:a16="http://schemas.microsoft.com/office/drawing/2014/main" id="{E1E470AF-3FC6-3E16-0EA2-C82A84A362A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7960" y="6443440"/>
                <a:ext cx="63451" cy="9366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5" y="0"/>
                      <a:pt x="18" y="5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05" name="Freeform 44">
                <a:extLst>
                  <a:ext uri="{FF2B5EF4-FFF2-40B4-BE49-F238E27FC236}">
                    <a16:creationId xmlns:a16="http://schemas.microsoft.com/office/drawing/2014/main" id="{05D02FD3-779A-4554-6AEC-19D505178B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7960" y="6597536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1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06" name="Freeform 45">
                <a:extLst>
                  <a:ext uri="{FF2B5EF4-FFF2-40B4-BE49-F238E27FC236}">
                    <a16:creationId xmlns:a16="http://schemas.microsoft.com/office/drawing/2014/main" id="{188306AE-C0AF-9042-670A-CFD4C6C9CB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0981" y="6904216"/>
                <a:ext cx="49855" cy="89134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49 h 59"/>
                  <a:gd name="T20" fmla="*/ 17 w 33"/>
                  <a:gd name="T21" fmla="*/ 49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07" name="Freeform 63">
                <a:extLst>
                  <a:ext uri="{FF2B5EF4-FFF2-40B4-BE49-F238E27FC236}">
                    <a16:creationId xmlns:a16="http://schemas.microsoft.com/office/drawing/2014/main" id="{76AD594D-E523-FD1E-C9FD-A84325CDF7D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98397" y="6443440"/>
                <a:ext cx="60430" cy="9366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4" y="0"/>
                      <a:pt x="17" y="5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08" name="Freeform 64">
                <a:extLst>
                  <a:ext uri="{FF2B5EF4-FFF2-40B4-BE49-F238E27FC236}">
                    <a16:creationId xmlns:a16="http://schemas.microsoft.com/office/drawing/2014/main" id="{EFA2D9F9-3BBB-9CF3-C0FE-139C7D90DA1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98397" y="6597536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1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09" name="Freeform 65">
                <a:extLst>
                  <a:ext uri="{FF2B5EF4-FFF2-40B4-BE49-F238E27FC236}">
                    <a16:creationId xmlns:a16="http://schemas.microsoft.com/office/drawing/2014/main" id="{31489B98-14EA-29C9-2377-6E9C21142E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2929" y="6904216"/>
                <a:ext cx="49855" cy="89134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49 h 59"/>
                  <a:gd name="T20" fmla="*/ 16 w 33"/>
                  <a:gd name="T21" fmla="*/ 49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10" name="Freeform 83">
                <a:extLst>
                  <a:ext uri="{FF2B5EF4-FFF2-40B4-BE49-F238E27FC236}">
                    <a16:creationId xmlns:a16="http://schemas.microsoft.com/office/drawing/2014/main" id="{D511D702-EF50-1EEA-D2B4-17E863F648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2097" y="6450993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3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11" name="Freeform 84">
                <a:extLst>
                  <a:ext uri="{FF2B5EF4-FFF2-40B4-BE49-F238E27FC236}">
                    <a16:creationId xmlns:a16="http://schemas.microsoft.com/office/drawing/2014/main" id="{41260325-D6D7-5133-EACD-BE1BE8E1CB6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39076" y="6718395"/>
                <a:ext cx="110285" cy="164671"/>
              </a:xfrm>
              <a:custGeom>
                <a:avLst/>
                <a:gdLst>
                  <a:gd name="T0" fmla="*/ 31 w 31"/>
                  <a:gd name="T1" fmla="*/ 23 h 46"/>
                  <a:gd name="T2" fmla="*/ 15 w 31"/>
                  <a:gd name="T3" fmla="*/ 46 h 46"/>
                  <a:gd name="T4" fmla="*/ 0 w 31"/>
                  <a:gd name="T5" fmla="*/ 23 h 46"/>
                  <a:gd name="T6" fmla="*/ 15 w 31"/>
                  <a:gd name="T7" fmla="*/ 0 h 46"/>
                  <a:gd name="T8" fmla="*/ 31 w 31"/>
                  <a:gd name="T9" fmla="*/ 23 h 46"/>
                  <a:gd name="T10" fmla="*/ 8 w 31"/>
                  <a:gd name="T11" fmla="*/ 23 h 46"/>
                  <a:gd name="T12" fmla="*/ 15 w 31"/>
                  <a:gd name="T13" fmla="*/ 39 h 46"/>
                  <a:gd name="T14" fmla="*/ 23 w 31"/>
                  <a:gd name="T15" fmla="*/ 23 h 46"/>
                  <a:gd name="T16" fmla="*/ 15 w 31"/>
                  <a:gd name="T17" fmla="*/ 7 h 46"/>
                  <a:gd name="T18" fmla="*/ 8 w 31"/>
                  <a:gd name="T19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6">
                    <a:moveTo>
                      <a:pt x="31" y="23"/>
                    </a:moveTo>
                    <a:cubicBezTo>
                      <a:pt x="31" y="38"/>
                      <a:pt x="26" y="46"/>
                      <a:pt x="15" y="46"/>
                    </a:cubicBezTo>
                    <a:cubicBezTo>
                      <a:pt x="5" y="46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7"/>
                      <a:pt x="15" y="7"/>
                    </a:cubicBezTo>
                    <a:cubicBezTo>
                      <a:pt x="10" y="7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12" name="Freeform 95">
                <a:extLst>
                  <a:ext uri="{FF2B5EF4-FFF2-40B4-BE49-F238E27FC236}">
                    <a16:creationId xmlns:a16="http://schemas.microsoft.com/office/drawing/2014/main" id="{840D3161-1991-8B43-FCF5-0AB065C7E3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4031" y="5565699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13" name="Freeform 96">
                <a:extLst>
                  <a:ext uri="{FF2B5EF4-FFF2-40B4-BE49-F238E27FC236}">
                    <a16:creationId xmlns:a16="http://schemas.microsoft.com/office/drawing/2014/main" id="{DE59E0D7-6083-57B8-16F3-E605A05C3D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09499" y="5712241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14" name="Freeform 97">
                <a:extLst>
                  <a:ext uri="{FF2B5EF4-FFF2-40B4-BE49-F238E27FC236}">
                    <a16:creationId xmlns:a16="http://schemas.microsoft.com/office/drawing/2014/main" id="{00067C04-E452-BB84-5300-ACE8BF1CAF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4031" y="5858783"/>
                <a:ext cx="52876" cy="84602"/>
              </a:xfrm>
              <a:custGeom>
                <a:avLst/>
                <a:gdLst>
                  <a:gd name="T0" fmla="*/ 16 w 35"/>
                  <a:gd name="T1" fmla="*/ 14 h 56"/>
                  <a:gd name="T2" fmla="*/ 7 w 35"/>
                  <a:gd name="T3" fmla="*/ 21 h 56"/>
                  <a:gd name="T4" fmla="*/ 0 w 35"/>
                  <a:gd name="T5" fmla="*/ 11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4"/>
                    </a:moveTo>
                    <a:lnTo>
                      <a:pt x="7" y="21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15" name="Freeform 98">
                <a:extLst>
                  <a:ext uri="{FF2B5EF4-FFF2-40B4-BE49-F238E27FC236}">
                    <a16:creationId xmlns:a16="http://schemas.microsoft.com/office/drawing/2014/main" id="{FC3C726E-53B0-AAB8-185D-9BC6F59F73E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09499" y="6005325"/>
                <a:ext cx="67984" cy="84602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16" name="Freeform 99">
                <a:extLst>
                  <a:ext uri="{FF2B5EF4-FFF2-40B4-BE49-F238E27FC236}">
                    <a16:creationId xmlns:a16="http://schemas.microsoft.com/office/drawing/2014/main" id="{007FCCD4-C0E6-0258-EBDB-6ED03E4CB9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4031" y="6150356"/>
                <a:ext cx="52876" cy="86113"/>
              </a:xfrm>
              <a:custGeom>
                <a:avLst/>
                <a:gdLst>
                  <a:gd name="T0" fmla="*/ 16 w 35"/>
                  <a:gd name="T1" fmla="*/ 15 h 57"/>
                  <a:gd name="T2" fmla="*/ 7 w 35"/>
                  <a:gd name="T3" fmla="*/ 22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8 h 57"/>
                  <a:gd name="T12" fmla="*/ 35 w 35"/>
                  <a:gd name="T13" fmla="*/ 48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8 h 57"/>
                  <a:gd name="T20" fmla="*/ 16 w 35"/>
                  <a:gd name="T21" fmla="*/ 48 h 57"/>
                  <a:gd name="T22" fmla="*/ 16 w 35"/>
                  <a:gd name="T23" fmla="*/ 1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5"/>
                    </a:moveTo>
                    <a:lnTo>
                      <a:pt x="7" y="22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5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17" name="Freeform 100">
                <a:extLst>
                  <a:ext uri="{FF2B5EF4-FFF2-40B4-BE49-F238E27FC236}">
                    <a16:creationId xmlns:a16="http://schemas.microsoft.com/office/drawing/2014/main" id="{2BC218C0-A37E-0C91-FD16-FF07459D27C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09499" y="6296898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18" name="Freeform 101">
                <a:extLst>
                  <a:ext uri="{FF2B5EF4-FFF2-40B4-BE49-F238E27FC236}">
                    <a16:creationId xmlns:a16="http://schemas.microsoft.com/office/drawing/2014/main" id="{DE10409F-E14C-EB15-233C-21BCEC47CC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4031" y="6443440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19" name="Freeform 102">
                <a:extLst>
                  <a:ext uri="{FF2B5EF4-FFF2-40B4-BE49-F238E27FC236}">
                    <a16:creationId xmlns:a16="http://schemas.microsoft.com/office/drawing/2014/main" id="{9C148A68-9433-5903-49DE-9B66BCA1C3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4031" y="6589982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20" name="Freeform 103">
                <a:extLst>
                  <a:ext uri="{FF2B5EF4-FFF2-40B4-BE49-F238E27FC236}">
                    <a16:creationId xmlns:a16="http://schemas.microsoft.com/office/drawing/2014/main" id="{837FD717-7FA0-D4E1-F0F4-6EB1FD254D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4031" y="6739546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5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5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21" name="Freeform 104">
                <a:extLst>
                  <a:ext uri="{FF2B5EF4-FFF2-40B4-BE49-F238E27FC236}">
                    <a16:creationId xmlns:a16="http://schemas.microsoft.com/office/drawing/2014/main" id="{A03DFD8F-2672-7197-EB1F-4838315CFD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09499" y="6883066"/>
                <a:ext cx="67984" cy="89134"/>
              </a:xfrm>
              <a:custGeom>
                <a:avLst/>
                <a:gdLst>
                  <a:gd name="T0" fmla="*/ 17 w 19"/>
                  <a:gd name="T1" fmla="*/ 4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4 h 25"/>
                  <a:gd name="T16" fmla="*/ 6 w 19"/>
                  <a:gd name="T17" fmla="*/ 12 h 25"/>
                  <a:gd name="T18" fmla="*/ 10 w 19"/>
                  <a:gd name="T19" fmla="*/ 20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3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22" name="Freeform 135">
                <a:extLst>
                  <a:ext uri="{FF2B5EF4-FFF2-40B4-BE49-F238E27FC236}">
                    <a16:creationId xmlns:a16="http://schemas.microsoft.com/office/drawing/2014/main" id="{EBEEE142-0B99-DCA6-2A9A-B11C2B62C9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4121" y="5932809"/>
                <a:ext cx="60430" cy="111795"/>
              </a:xfrm>
              <a:custGeom>
                <a:avLst/>
                <a:gdLst>
                  <a:gd name="T0" fmla="*/ 19 w 40"/>
                  <a:gd name="T1" fmla="*/ 14 h 74"/>
                  <a:gd name="T2" fmla="*/ 4 w 40"/>
                  <a:gd name="T3" fmla="*/ 24 h 74"/>
                  <a:gd name="T4" fmla="*/ 0 w 40"/>
                  <a:gd name="T5" fmla="*/ 14 h 74"/>
                  <a:gd name="T6" fmla="*/ 21 w 40"/>
                  <a:gd name="T7" fmla="*/ 0 h 74"/>
                  <a:gd name="T8" fmla="*/ 30 w 40"/>
                  <a:gd name="T9" fmla="*/ 0 h 74"/>
                  <a:gd name="T10" fmla="*/ 30 w 40"/>
                  <a:gd name="T11" fmla="*/ 64 h 74"/>
                  <a:gd name="T12" fmla="*/ 40 w 40"/>
                  <a:gd name="T13" fmla="*/ 64 h 74"/>
                  <a:gd name="T14" fmla="*/ 40 w 40"/>
                  <a:gd name="T15" fmla="*/ 74 h 74"/>
                  <a:gd name="T16" fmla="*/ 9 w 40"/>
                  <a:gd name="T17" fmla="*/ 74 h 74"/>
                  <a:gd name="T18" fmla="*/ 9 w 40"/>
                  <a:gd name="T19" fmla="*/ 64 h 74"/>
                  <a:gd name="T20" fmla="*/ 19 w 40"/>
                  <a:gd name="T21" fmla="*/ 64 h 74"/>
                  <a:gd name="T22" fmla="*/ 19 w 40"/>
                  <a:gd name="T23" fmla="*/ 1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4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4"/>
                    </a:lnTo>
                    <a:lnTo>
                      <a:pt x="9" y="74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23" name="Freeform 136">
                <a:extLst>
                  <a:ext uri="{FF2B5EF4-FFF2-40B4-BE49-F238E27FC236}">
                    <a16:creationId xmlns:a16="http://schemas.microsoft.com/office/drawing/2014/main" id="{545D49BD-FA92-A67B-CA7D-A264F9DAB14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459589" y="6121652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8 h 32"/>
                  <a:gd name="T14" fmla="*/ 16 w 21"/>
                  <a:gd name="T15" fmla="*/ 16 h 32"/>
                  <a:gd name="T16" fmla="*/ 10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0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0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24" name="Freeform 137">
                <a:extLst>
                  <a:ext uri="{FF2B5EF4-FFF2-40B4-BE49-F238E27FC236}">
                    <a16:creationId xmlns:a16="http://schemas.microsoft.com/office/drawing/2014/main" id="{9C19E2FA-A3F6-C72E-C13E-BAC3B066E1F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459589" y="6503870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6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25" name="Freeform 138">
                <a:extLst>
                  <a:ext uri="{FF2B5EF4-FFF2-40B4-BE49-F238E27FC236}">
                    <a16:creationId xmlns:a16="http://schemas.microsoft.com/office/drawing/2014/main" id="{FEDB490F-BD25-5414-CB06-B362341E57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4121" y="6697245"/>
                <a:ext cx="60430" cy="107263"/>
              </a:xfrm>
              <a:custGeom>
                <a:avLst/>
                <a:gdLst>
                  <a:gd name="T0" fmla="*/ 19 w 40"/>
                  <a:gd name="T1" fmla="*/ 12 h 71"/>
                  <a:gd name="T2" fmla="*/ 4 w 40"/>
                  <a:gd name="T3" fmla="*/ 21 h 71"/>
                  <a:gd name="T4" fmla="*/ 0 w 40"/>
                  <a:gd name="T5" fmla="*/ 12 h 71"/>
                  <a:gd name="T6" fmla="*/ 21 w 40"/>
                  <a:gd name="T7" fmla="*/ 0 h 71"/>
                  <a:gd name="T8" fmla="*/ 30 w 40"/>
                  <a:gd name="T9" fmla="*/ 0 h 71"/>
                  <a:gd name="T10" fmla="*/ 30 w 40"/>
                  <a:gd name="T11" fmla="*/ 64 h 71"/>
                  <a:gd name="T12" fmla="*/ 40 w 40"/>
                  <a:gd name="T13" fmla="*/ 64 h 71"/>
                  <a:gd name="T14" fmla="*/ 40 w 40"/>
                  <a:gd name="T15" fmla="*/ 71 h 71"/>
                  <a:gd name="T16" fmla="*/ 9 w 40"/>
                  <a:gd name="T17" fmla="*/ 71 h 71"/>
                  <a:gd name="T18" fmla="*/ 9 w 40"/>
                  <a:gd name="T19" fmla="*/ 64 h 71"/>
                  <a:gd name="T20" fmla="*/ 19 w 40"/>
                  <a:gd name="T21" fmla="*/ 64 h 71"/>
                  <a:gd name="T22" fmla="*/ 19 w 40"/>
                  <a:gd name="T23" fmla="*/ 1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1">
                    <a:moveTo>
                      <a:pt x="19" y="12"/>
                    </a:moveTo>
                    <a:lnTo>
                      <a:pt x="4" y="21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1"/>
                    </a:lnTo>
                    <a:lnTo>
                      <a:pt x="9" y="71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26" name="Freeform 139">
                <a:extLst>
                  <a:ext uri="{FF2B5EF4-FFF2-40B4-BE49-F238E27FC236}">
                    <a16:creationId xmlns:a16="http://schemas.microsoft.com/office/drawing/2014/main" id="{1AD36BF0-9932-19DD-5F9B-BC562345AC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4121" y="6886087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27" name="Freeform 149">
                <a:extLst>
                  <a:ext uri="{FF2B5EF4-FFF2-40B4-BE49-F238E27FC236}">
                    <a16:creationId xmlns:a16="http://schemas.microsoft.com/office/drawing/2014/main" id="{68686874-7316-8145-B287-04BD023BBE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0421" y="5576274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28" name="Freeform 150">
                <a:extLst>
                  <a:ext uri="{FF2B5EF4-FFF2-40B4-BE49-F238E27FC236}">
                    <a16:creationId xmlns:a16="http://schemas.microsoft.com/office/drawing/2014/main" id="{8398D8F6-C02E-DD7D-33C2-07BADF717F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12867" y="5858783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29" name="Freeform 151">
                <a:extLst>
                  <a:ext uri="{FF2B5EF4-FFF2-40B4-BE49-F238E27FC236}">
                    <a16:creationId xmlns:a16="http://schemas.microsoft.com/office/drawing/2014/main" id="{3C254CD7-DF64-F4F6-B115-CC7AD8BB06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0421" y="6147335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30" name="Freeform 152">
                <a:extLst>
                  <a:ext uri="{FF2B5EF4-FFF2-40B4-BE49-F238E27FC236}">
                    <a16:creationId xmlns:a16="http://schemas.microsoft.com/office/drawing/2014/main" id="{0A7C1B79-2450-375E-2CFB-D579642C752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12867" y="6429843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31" name="Freeform 153">
                <a:extLst>
                  <a:ext uri="{FF2B5EF4-FFF2-40B4-BE49-F238E27FC236}">
                    <a16:creationId xmlns:a16="http://schemas.microsoft.com/office/drawing/2014/main" id="{02C48B26-1334-4265-30AB-1458D911D7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0421" y="6718395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32" name="Line 8">
                <a:extLst>
                  <a:ext uri="{FF2B5EF4-FFF2-40B4-BE49-F238E27FC236}">
                    <a16:creationId xmlns:a16="http://schemas.microsoft.com/office/drawing/2014/main" id="{F056DE82-79E2-5F7F-31A5-DAFAA477511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81365" y="5104923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33" name="Line 9">
                <a:extLst>
                  <a:ext uri="{FF2B5EF4-FFF2-40B4-BE49-F238E27FC236}">
                    <a16:creationId xmlns:a16="http://schemas.microsoft.com/office/drawing/2014/main" id="{0EF50001-9AB8-1E84-F6D4-F164031AE1A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81365" y="5104923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34" name="Freeform 10">
                <a:extLst>
                  <a:ext uri="{FF2B5EF4-FFF2-40B4-BE49-F238E27FC236}">
                    <a16:creationId xmlns:a16="http://schemas.microsoft.com/office/drawing/2014/main" id="{06FEDF70-BCAC-001A-78B5-A0376A8C42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8475" y="6176038"/>
                <a:ext cx="99709" cy="157117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8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7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7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8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7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7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35" name="Freeform 11">
                <a:extLst>
                  <a:ext uri="{FF2B5EF4-FFF2-40B4-BE49-F238E27FC236}">
                    <a16:creationId xmlns:a16="http://schemas.microsoft.com/office/drawing/2014/main" id="{3616F2D2-4468-D245-BF5A-302B05864BD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34879" y="6443440"/>
                <a:ext cx="120859" cy="164671"/>
              </a:xfrm>
              <a:custGeom>
                <a:avLst/>
                <a:gdLst>
                  <a:gd name="T0" fmla="*/ 32 w 34"/>
                  <a:gd name="T1" fmla="*/ 8 h 46"/>
                  <a:gd name="T2" fmla="*/ 34 w 34"/>
                  <a:gd name="T3" fmla="*/ 23 h 46"/>
                  <a:gd name="T4" fmla="*/ 31 w 34"/>
                  <a:gd name="T5" fmla="*/ 39 h 46"/>
                  <a:gd name="T6" fmla="*/ 17 w 34"/>
                  <a:gd name="T7" fmla="*/ 46 h 46"/>
                  <a:gd name="T8" fmla="*/ 3 w 34"/>
                  <a:gd name="T9" fmla="*/ 37 h 46"/>
                  <a:gd name="T10" fmla="*/ 0 w 34"/>
                  <a:gd name="T11" fmla="*/ 23 h 46"/>
                  <a:gd name="T12" fmla="*/ 17 w 34"/>
                  <a:gd name="T13" fmla="*/ 0 h 46"/>
                  <a:gd name="T14" fmla="*/ 32 w 34"/>
                  <a:gd name="T15" fmla="*/ 8 h 46"/>
                  <a:gd name="T16" fmla="*/ 10 w 34"/>
                  <a:gd name="T17" fmla="*/ 23 h 46"/>
                  <a:gd name="T18" fmla="*/ 17 w 34"/>
                  <a:gd name="T19" fmla="*/ 38 h 46"/>
                  <a:gd name="T20" fmla="*/ 25 w 34"/>
                  <a:gd name="T21" fmla="*/ 23 h 46"/>
                  <a:gd name="T22" fmla="*/ 17 w 34"/>
                  <a:gd name="T23" fmla="*/ 8 h 46"/>
                  <a:gd name="T24" fmla="*/ 10 w 34"/>
                  <a:gd name="T25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46">
                    <a:moveTo>
                      <a:pt x="32" y="8"/>
                    </a:moveTo>
                    <a:cubicBezTo>
                      <a:pt x="34" y="12"/>
                      <a:pt x="34" y="16"/>
                      <a:pt x="34" y="23"/>
                    </a:cubicBezTo>
                    <a:cubicBezTo>
                      <a:pt x="34" y="31"/>
                      <a:pt x="33" y="36"/>
                      <a:pt x="31" y="39"/>
                    </a:cubicBezTo>
                    <a:cubicBezTo>
                      <a:pt x="28" y="43"/>
                      <a:pt x="23" y="46"/>
                      <a:pt x="17" y="46"/>
                    </a:cubicBezTo>
                    <a:cubicBezTo>
                      <a:pt x="11" y="46"/>
                      <a:pt x="6" y="43"/>
                      <a:pt x="3" y="37"/>
                    </a:cubicBezTo>
                    <a:cubicBezTo>
                      <a:pt x="1" y="34"/>
                      <a:pt x="0" y="29"/>
                      <a:pt x="0" y="23"/>
                    </a:cubicBezTo>
                    <a:cubicBezTo>
                      <a:pt x="0" y="8"/>
                      <a:pt x="6" y="0"/>
                      <a:pt x="17" y="0"/>
                    </a:cubicBezTo>
                    <a:cubicBezTo>
                      <a:pt x="24" y="0"/>
                      <a:pt x="29" y="3"/>
                      <a:pt x="32" y="8"/>
                    </a:cubicBezTo>
                    <a:close/>
                    <a:moveTo>
                      <a:pt x="10" y="23"/>
                    </a:moveTo>
                    <a:cubicBezTo>
                      <a:pt x="10" y="33"/>
                      <a:pt x="12" y="38"/>
                      <a:pt x="17" y="38"/>
                    </a:cubicBezTo>
                    <a:cubicBezTo>
                      <a:pt x="22" y="38"/>
                      <a:pt x="25" y="33"/>
                      <a:pt x="25" y="23"/>
                    </a:cubicBezTo>
                    <a:cubicBezTo>
                      <a:pt x="25" y="13"/>
                      <a:pt x="22" y="8"/>
                      <a:pt x="17" y="8"/>
                    </a:cubicBezTo>
                    <a:cubicBezTo>
                      <a:pt x="12" y="8"/>
                      <a:pt x="10" y="13"/>
                      <a:pt x="10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36" name="Freeform 12">
                <a:extLst>
                  <a:ext uri="{FF2B5EF4-FFF2-40B4-BE49-F238E27FC236}">
                    <a16:creationId xmlns:a16="http://schemas.microsoft.com/office/drawing/2014/main" id="{A2A26301-017C-6698-FE54-9214CDBE49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8475" y="6718395"/>
                <a:ext cx="99709" cy="157117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6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7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7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6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7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7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37" name="Freeform 23">
                <a:extLst>
                  <a:ext uri="{FF2B5EF4-FFF2-40B4-BE49-F238E27FC236}">
                    <a16:creationId xmlns:a16="http://schemas.microsoft.com/office/drawing/2014/main" id="{18AD7A40-2334-0DF5-A58E-2F554DF6CAC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55156" y="5455415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8 h 32"/>
                  <a:gd name="T14" fmla="*/ 16 w 21"/>
                  <a:gd name="T15" fmla="*/ 16 h 32"/>
                  <a:gd name="T16" fmla="*/ 11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1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1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38" name="Freeform 24">
                <a:extLst>
                  <a:ext uri="{FF2B5EF4-FFF2-40B4-BE49-F238E27FC236}">
                    <a16:creationId xmlns:a16="http://schemas.microsoft.com/office/drawing/2014/main" id="{453F0633-2201-8518-E6DD-E6242F81205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55156" y="5647279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5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39" name="Freeform 25">
                <a:extLst>
                  <a:ext uri="{FF2B5EF4-FFF2-40B4-BE49-F238E27FC236}">
                    <a16:creationId xmlns:a16="http://schemas.microsoft.com/office/drawing/2014/main" id="{923AF22F-4170-036B-7BAD-D715E3FED7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2709" y="6029497"/>
                <a:ext cx="64962" cy="11028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2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2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40" name="Freeform 26">
                <a:extLst>
                  <a:ext uri="{FF2B5EF4-FFF2-40B4-BE49-F238E27FC236}">
                    <a16:creationId xmlns:a16="http://schemas.microsoft.com/office/drawing/2014/main" id="{4EDB73E8-8A06-E3D3-0272-ECB7C6943E6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55156" y="6218339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6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41" name="Freeform 27">
                <a:extLst>
                  <a:ext uri="{FF2B5EF4-FFF2-40B4-BE49-F238E27FC236}">
                    <a16:creationId xmlns:a16="http://schemas.microsoft.com/office/drawing/2014/main" id="{9206F923-AA69-C5BC-62B3-0A8269C7863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55156" y="6408693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7 h 32"/>
                  <a:gd name="T14" fmla="*/ 16 w 21"/>
                  <a:gd name="T15" fmla="*/ 16 h 32"/>
                  <a:gd name="T16" fmla="*/ 11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1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42" name="Freeform 28">
                <a:extLst>
                  <a:ext uri="{FF2B5EF4-FFF2-40B4-BE49-F238E27FC236}">
                    <a16:creationId xmlns:a16="http://schemas.microsoft.com/office/drawing/2014/main" id="{9B0F2295-AC56-8E25-BD47-B72DC24843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2709" y="6789400"/>
                <a:ext cx="64962" cy="111795"/>
              </a:xfrm>
              <a:custGeom>
                <a:avLst/>
                <a:gdLst>
                  <a:gd name="T0" fmla="*/ 19 w 43"/>
                  <a:gd name="T1" fmla="*/ 14 h 74"/>
                  <a:gd name="T2" fmla="*/ 5 w 43"/>
                  <a:gd name="T3" fmla="*/ 24 h 74"/>
                  <a:gd name="T4" fmla="*/ 0 w 43"/>
                  <a:gd name="T5" fmla="*/ 14 h 74"/>
                  <a:gd name="T6" fmla="*/ 22 w 43"/>
                  <a:gd name="T7" fmla="*/ 0 h 74"/>
                  <a:gd name="T8" fmla="*/ 34 w 43"/>
                  <a:gd name="T9" fmla="*/ 0 h 74"/>
                  <a:gd name="T10" fmla="*/ 34 w 43"/>
                  <a:gd name="T11" fmla="*/ 64 h 74"/>
                  <a:gd name="T12" fmla="*/ 43 w 43"/>
                  <a:gd name="T13" fmla="*/ 64 h 74"/>
                  <a:gd name="T14" fmla="*/ 43 w 43"/>
                  <a:gd name="T15" fmla="*/ 74 h 74"/>
                  <a:gd name="T16" fmla="*/ 10 w 43"/>
                  <a:gd name="T17" fmla="*/ 74 h 74"/>
                  <a:gd name="T18" fmla="*/ 10 w 43"/>
                  <a:gd name="T19" fmla="*/ 64 h 74"/>
                  <a:gd name="T20" fmla="*/ 19 w 43"/>
                  <a:gd name="T21" fmla="*/ 64 h 74"/>
                  <a:gd name="T22" fmla="*/ 19 w 43"/>
                  <a:gd name="T23" fmla="*/ 1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4">
                    <a:moveTo>
                      <a:pt x="19" y="14"/>
                    </a:moveTo>
                    <a:lnTo>
                      <a:pt x="5" y="24"/>
                    </a:lnTo>
                    <a:lnTo>
                      <a:pt x="0" y="14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4"/>
                    </a:lnTo>
                    <a:lnTo>
                      <a:pt x="10" y="74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43" name="Freeform 43">
                <a:extLst>
                  <a:ext uri="{FF2B5EF4-FFF2-40B4-BE49-F238E27FC236}">
                    <a16:creationId xmlns:a16="http://schemas.microsoft.com/office/drawing/2014/main" id="{064DD16D-4060-5552-4DC2-33F8BB751C9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5364" y="5654833"/>
                <a:ext cx="63451" cy="9366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5" y="0"/>
                      <a:pt x="18" y="5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44" name="Freeform 44">
                <a:extLst>
                  <a:ext uri="{FF2B5EF4-FFF2-40B4-BE49-F238E27FC236}">
                    <a16:creationId xmlns:a16="http://schemas.microsoft.com/office/drawing/2014/main" id="{7875FF18-B9D9-86A2-4F1A-9FD8AEE9D3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5364" y="5808928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1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45" name="Freeform 45">
                <a:extLst>
                  <a:ext uri="{FF2B5EF4-FFF2-40B4-BE49-F238E27FC236}">
                    <a16:creationId xmlns:a16="http://schemas.microsoft.com/office/drawing/2014/main" id="{9D0B5026-E270-FFA1-94BD-108B7CD63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5938" y="6115609"/>
                <a:ext cx="49855" cy="89134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49 h 59"/>
                  <a:gd name="T20" fmla="*/ 17 w 33"/>
                  <a:gd name="T21" fmla="*/ 49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46" name="Freeform 46">
                <a:extLst>
                  <a:ext uri="{FF2B5EF4-FFF2-40B4-BE49-F238E27FC236}">
                    <a16:creationId xmlns:a16="http://schemas.microsoft.com/office/drawing/2014/main" id="{6877A6DC-95C0-2CD2-0E4E-04F1C45A429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5364" y="6265173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47" name="Freeform 47">
                <a:extLst>
                  <a:ext uri="{FF2B5EF4-FFF2-40B4-BE49-F238E27FC236}">
                    <a16:creationId xmlns:a16="http://schemas.microsoft.com/office/drawing/2014/main" id="{D52CE433-DB2E-CF1A-E293-B0B8E59D844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5364" y="6419268"/>
                <a:ext cx="63451" cy="89134"/>
              </a:xfrm>
              <a:custGeom>
                <a:avLst/>
                <a:gdLst>
                  <a:gd name="T0" fmla="*/ 18 w 18"/>
                  <a:gd name="T1" fmla="*/ 13 h 25"/>
                  <a:gd name="T2" fmla="*/ 9 w 18"/>
                  <a:gd name="T3" fmla="*/ 25 h 25"/>
                  <a:gd name="T4" fmla="*/ 0 w 18"/>
                  <a:gd name="T5" fmla="*/ 12 h 25"/>
                  <a:gd name="T6" fmla="*/ 9 w 18"/>
                  <a:gd name="T7" fmla="*/ 0 h 25"/>
                  <a:gd name="T8" fmla="*/ 18 w 18"/>
                  <a:gd name="T9" fmla="*/ 13 h 25"/>
                  <a:gd name="T10" fmla="*/ 5 w 18"/>
                  <a:gd name="T11" fmla="*/ 12 h 25"/>
                  <a:gd name="T12" fmla="*/ 9 w 18"/>
                  <a:gd name="T13" fmla="*/ 22 h 25"/>
                  <a:gd name="T14" fmla="*/ 13 w 18"/>
                  <a:gd name="T15" fmla="*/ 13 h 25"/>
                  <a:gd name="T16" fmla="*/ 9 w 18"/>
                  <a:gd name="T17" fmla="*/ 3 h 25"/>
                  <a:gd name="T18" fmla="*/ 5 w 18"/>
                  <a:gd name="T1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5">
                    <a:moveTo>
                      <a:pt x="18" y="13"/>
                    </a:moveTo>
                    <a:cubicBezTo>
                      <a:pt x="18" y="21"/>
                      <a:pt x="15" y="25"/>
                      <a:pt x="9" y="25"/>
                    </a:cubicBezTo>
                    <a:cubicBezTo>
                      <a:pt x="3" y="25"/>
                      <a:pt x="0" y="21"/>
                      <a:pt x="0" y="12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2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6"/>
                      <a:pt x="12" y="3"/>
                      <a:pt x="9" y="3"/>
                    </a:cubicBezTo>
                    <a:cubicBezTo>
                      <a:pt x="6" y="3"/>
                      <a:pt x="5" y="6"/>
                      <a:pt x="5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48" name="Freeform 48">
                <a:extLst>
                  <a:ext uri="{FF2B5EF4-FFF2-40B4-BE49-F238E27FC236}">
                    <a16:creationId xmlns:a16="http://schemas.microsoft.com/office/drawing/2014/main" id="{A7E33B22-94EA-A945-29BA-42C59C10D5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5938" y="6725948"/>
                <a:ext cx="49855" cy="84602"/>
              </a:xfrm>
              <a:custGeom>
                <a:avLst/>
                <a:gdLst>
                  <a:gd name="T0" fmla="*/ 17 w 33"/>
                  <a:gd name="T1" fmla="*/ 9 h 56"/>
                  <a:gd name="T2" fmla="*/ 5 w 33"/>
                  <a:gd name="T3" fmla="*/ 16 h 56"/>
                  <a:gd name="T4" fmla="*/ 0 w 33"/>
                  <a:gd name="T5" fmla="*/ 9 h 56"/>
                  <a:gd name="T6" fmla="*/ 19 w 33"/>
                  <a:gd name="T7" fmla="*/ 0 h 56"/>
                  <a:gd name="T8" fmla="*/ 26 w 33"/>
                  <a:gd name="T9" fmla="*/ 0 h 56"/>
                  <a:gd name="T10" fmla="*/ 26 w 33"/>
                  <a:gd name="T11" fmla="*/ 49 h 56"/>
                  <a:gd name="T12" fmla="*/ 33 w 33"/>
                  <a:gd name="T13" fmla="*/ 49 h 56"/>
                  <a:gd name="T14" fmla="*/ 33 w 33"/>
                  <a:gd name="T15" fmla="*/ 56 h 56"/>
                  <a:gd name="T16" fmla="*/ 10 w 33"/>
                  <a:gd name="T17" fmla="*/ 56 h 56"/>
                  <a:gd name="T18" fmla="*/ 10 w 33"/>
                  <a:gd name="T19" fmla="*/ 49 h 56"/>
                  <a:gd name="T20" fmla="*/ 17 w 33"/>
                  <a:gd name="T21" fmla="*/ 49 h 56"/>
                  <a:gd name="T22" fmla="*/ 17 w 33"/>
                  <a:gd name="T23" fmla="*/ 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6">
                    <a:moveTo>
                      <a:pt x="17" y="9"/>
                    </a:moveTo>
                    <a:lnTo>
                      <a:pt x="5" y="16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6"/>
                    </a:lnTo>
                    <a:lnTo>
                      <a:pt x="10" y="56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9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49" name="Freeform 49">
                <a:extLst>
                  <a:ext uri="{FF2B5EF4-FFF2-40B4-BE49-F238E27FC236}">
                    <a16:creationId xmlns:a16="http://schemas.microsoft.com/office/drawing/2014/main" id="{BD57B9DB-0172-1FE1-D522-EDEE909409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5364" y="6875512"/>
                <a:ext cx="63451" cy="89134"/>
              </a:xfrm>
              <a:custGeom>
                <a:avLst/>
                <a:gdLst>
                  <a:gd name="T0" fmla="*/ 18 w 18"/>
                  <a:gd name="T1" fmla="*/ 13 h 25"/>
                  <a:gd name="T2" fmla="*/ 9 w 18"/>
                  <a:gd name="T3" fmla="*/ 25 h 25"/>
                  <a:gd name="T4" fmla="*/ 0 w 18"/>
                  <a:gd name="T5" fmla="*/ 13 h 25"/>
                  <a:gd name="T6" fmla="*/ 9 w 18"/>
                  <a:gd name="T7" fmla="*/ 0 h 25"/>
                  <a:gd name="T8" fmla="*/ 18 w 18"/>
                  <a:gd name="T9" fmla="*/ 13 h 25"/>
                  <a:gd name="T10" fmla="*/ 5 w 18"/>
                  <a:gd name="T11" fmla="*/ 13 h 25"/>
                  <a:gd name="T12" fmla="*/ 9 w 18"/>
                  <a:gd name="T13" fmla="*/ 22 h 25"/>
                  <a:gd name="T14" fmla="*/ 13 w 18"/>
                  <a:gd name="T15" fmla="*/ 13 h 25"/>
                  <a:gd name="T16" fmla="*/ 9 w 18"/>
                  <a:gd name="T17" fmla="*/ 3 h 25"/>
                  <a:gd name="T18" fmla="*/ 5 w 18"/>
                  <a:gd name="T19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5">
                    <a:moveTo>
                      <a:pt x="18" y="13"/>
                    </a:moveTo>
                    <a:cubicBezTo>
                      <a:pt x="18" y="21"/>
                      <a:pt x="15" y="25"/>
                      <a:pt x="9" y="25"/>
                    </a:cubicBezTo>
                    <a:cubicBezTo>
                      <a:pt x="3" y="25"/>
                      <a:pt x="0" y="21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6"/>
                      <a:pt x="12" y="3"/>
                      <a:pt x="9" y="3"/>
                    </a:cubicBezTo>
                    <a:cubicBezTo>
                      <a:pt x="6" y="3"/>
                      <a:pt x="5" y="6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50" name="Freeform 63">
                <a:extLst>
                  <a:ext uri="{FF2B5EF4-FFF2-40B4-BE49-F238E27FC236}">
                    <a16:creationId xmlns:a16="http://schemas.microsoft.com/office/drawing/2014/main" id="{5E40DFE8-CFE1-5F60-5776-5016F0140EB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67948" y="5654833"/>
                <a:ext cx="60430" cy="9366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4" y="0"/>
                      <a:pt x="17" y="5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51" name="Freeform 64">
                <a:extLst>
                  <a:ext uri="{FF2B5EF4-FFF2-40B4-BE49-F238E27FC236}">
                    <a16:creationId xmlns:a16="http://schemas.microsoft.com/office/drawing/2014/main" id="{478D4D4B-4037-1074-C198-FB340F6BC60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67948" y="5808928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1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52" name="Freeform 65">
                <a:extLst>
                  <a:ext uri="{FF2B5EF4-FFF2-40B4-BE49-F238E27FC236}">
                    <a16:creationId xmlns:a16="http://schemas.microsoft.com/office/drawing/2014/main" id="{F03415ED-2B56-5475-5020-1296B11B24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3991" y="6115609"/>
                <a:ext cx="49855" cy="89134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49 h 59"/>
                  <a:gd name="T20" fmla="*/ 16 w 33"/>
                  <a:gd name="T21" fmla="*/ 49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53" name="Freeform 66">
                <a:extLst>
                  <a:ext uri="{FF2B5EF4-FFF2-40B4-BE49-F238E27FC236}">
                    <a16:creationId xmlns:a16="http://schemas.microsoft.com/office/drawing/2014/main" id="{13341B44-6E1E-F716-3B1E-530F0C8D4AF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67948" y="6265173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54" name="Freeform 67">
                <a:extLst>
                  <a:ext uri="{FF2B5EF4-FFF2-40B4-BE49-F238E27FC236}">
                    <a16:creationId xmlns:a16="http://schemas.microsoft.com/office/drawing/2014/main" id="{51C4E507-42A0-EC21-71F6-8AF77ACC0EA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67948" y="6419268"/>
                <a:ext cx="60430" cy="89134"/>
              </a:xfrm>
              <a:custGeom>
                <a:avLst/>
                <a:gdLst>
                  <a:gd name="T0" fmla="*/ 17 w 17"/>
                  <a:gd name="T1" fmla="*/ 13 h 25"/>
                  <a:gd name="T2" fmla="*/ 9 w 17"/>
                  <a:gd name="T3" fmla="*/ 25 h 25"/>
                  <a:gd name="T4" fmla="*/ 0 w 17"/>
                  <a:gd name="T5" fmla="*/ 12 h 25"/>
                  <a:gd name="T6" fmla="*/ 9 w 17"/>
                  <a:gd name="T7" fmla="*/ 0 h 25"/>
                  <a:gd name="T8" fmla="*/ 17 w 17"/>
                  <a:gd name="T9" fmla="*/ 13 h 25"/>
                  <a:gd name="T10" fmla="*/ 4 w 17"/>
                  <a:gd name="T11" fmla="*/ 12 h 25"/>
                  <a:gd name="T12" fmla="*/ 9 w 17"/>
                  <a:gd name="T13" fmla="*/ 22 h 25"/>
                  <a:gd name="T14" fmla="*/ 13 w 17"/>
                  <a:gd name="T15" fmla="*/ 13 h 25"/>
                  <a:gd name="T16" fmla="*/ 9 w 17"/>
                  <a:gd name="T17" fmla="*/ 3 h 25"/>
                  <a:gd name="T18" fmla="*/ 4 w 17"/>
                  <a:gd name="T1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5">
                    <a:moveTo>
                      <a:pt x="17" y="13"/>
                    </a:moveTo>
                    <a:cubicBezTo>
                      <a:pt x="17" y="21"/>
                      <a:pt x="14" y="25"/>
                      <a:pt x="9" y="25"/>
                    </a:cubicBezTo>
                    <a:cubicBezTo>
                      <a:pt x="3" y="25"/>
                      <a:pt x="0" y="21"/>
                      <a:pt x="0" y="12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2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6"/>
                      <a:pt x="11" y="3"/>
                      <a:pt x="9" y="3"/>
                    </a:cubicBezTo>
                    <a:cubicBezTo>
                      <a:pt x="6" y="3"/>
                      <a:pt x="4" y="6"/>
                      <a:pt x="4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55" name="Freeform 68">
                <a:extLst>
                  <a:ext uri="{FF2B5EF4-FFF2-40B4-BE49-F238E27FC236}">
                    <a16:creationId xmlns:a16="http://schemas.microsoft.com/office/drawing/2014/main" id="{4DD284F8-968B-CD3E-22C0-5DB69CEC9A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3991" y="6725948"/>
                <a:ext cx="49855" cy="84602"/>
              </a:xfrm>
              <a:custGeom>
                <a:avLst/>
                <a:gdLst>
                  <a:gd name="T0" fmla="*/ 16 w 33"/>
                  <a:gd name="T1" fmla="*/ 9 h 56"/>
                  <a:gd name="T2" fmla="*/ 4 w 33"/>
                  <a:gd name="T3" fmla="*/ 16 h 56"/>
                  <a:gd name="T4" fmla="*/ 0 w 33"/>
                  <a:gd name="T5" fmla="*/ 9 h 56"/>
                  <a:gd name="T6" fmla="*/ 16 w 33"/>
                  <a:gd name="T7" fmla="*/ 0 h 56"/>
                  <a:gd name="T8" fmla="*/ 26 w 33"/>
                  <a:gd name="T9" fmla="*/ 0 h 56"/>
                  <a:gd name="T10" fmla="*/ 26 w 33"/>
                  <a:gd name="T11" fmla="*/ 49 h 56"/>
                  <a:gd name="T12" fmla="*/ 33 w 33"/>
                  <a:gd name="T13" fmla="*/ 49 h 56"/>
                  <a:gd name="T14" fmla="*/ 33 w 33"/>
                  <a:gd name="T15" fmla="*/ 56 h 56"/>
                  <a:gd name="T16" fmla="*/ 7 w 33"/>
                  <a:gd name="T17" fmla="*/ 56 h 56"/>
                  <a:gd name="T18" fmla="*/ 7 w 33"/>
                  <a:gd name="T19" fmla="*/ 49 h 56"/>
                  <a:gd name="T20" fmla="*/ 16 w 33"/>
                  <a:gd name="T21" fmla="*/ 49 h 56"/>
                  <a:gd name="T22" fmla="*/ 16 w 33"/>
                  <a:gd name="T23" fmla="*/ 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6">
                    <a:moveTo>
                      <a:pt x="16" y="9"/>
                    </a:moveTo>
                    <a:lnTo>
                      <a:pt x="4" y="16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6"/>
                    </a:lnTo>
                    <a:lnTo>
                      <a:pt x="7" y="56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9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56" name="Freeform 69">
                <a:extLst>
                  <a:ext uri="{FF2B5EF4-FFF2-40B4-BE49-F238E27FC236}">
                    <a16:creationId xmlns:a16="http://schemas.microsoft.com/office/drawing/2014/main" id="{AEC3BB2E-0F26-A6B8-0781-200FDCB574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67948" y="6875512"/>
                <a:ext cx="60430" cy="89134"/>
              </a:xfrm>
              <a:custGeom>
                <a:avLst/>
                <a:gdLst>
                  <a:gd name="T0" fmla="*/ 17 w 17"/>
                  <a:gd name="T1" fmla="*/ 13 h 25"/>
                  <a:gd name="T2" fmla="*/ 9 w 17"/>
                  <a:gd name="T3" fmla="*/ 25 h 25"/>
                  <a:gd name="T4" fmla="*/ 0 w 17"/>
                  <a:gd name="T5" fmla="*/ 13 h 25"/>
                  <a:gd name="T6" fmla="*/ 9 w 17"/>
                  <a:gd name="T7" fmla="*/ 0 h 25"/>
                  <a:gd name="T8" fmla="*/ 17 w 17"/>
                  <a:gd name="T9" fmla="*/ 13 h 25"/>
                  <a:gd name="T10" fmla="*/ 4 w 17"/>
                  <a:gd name="T11" fmla="*/ 13 h 25"/>
                  <a:gd name="T12" fmla="*/ 9 w 17"/>
                  <a:gd name="T13" fmla="*/ 22 h 25"/>
                  <a:gd name="T14" fmla="*/ 13 w 17"/>
                  <a:gd name="T15" fmla="*/ 13 h 25"/>
                  <a:gd name="T16" fmla="*/ 9 w 17"/>
                  <a:gd name="T17" fmla="*/ 3 h 25"/>
                  <a:gd name="T18" fmla="*/ 4 w 17"/>
                  <a:gd name="T19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5">
                    <a:moveTo>
                      <a:pt x="17" y="13"/>
                    </a:moveTo>
                    <a:cubicBezTo>
                      <a:pt x="17" y="21"/>
                      <a:pt x="14" y="25"/>
                      <a:pt x="9" y="25"/>
                    </a:cubicBezTo>
                    <a:cubicBezTo>
                      <a:pt x="3" y="25"/>
                      <a:pt x="0" y="21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6"/>
                      <a:pt x="11" y="3"/>
                      <a:pt x="9" y="3"/>
                    </a:cubicBezTo>
                    <a:cubicBezTo>
                      <a:pt x="6" y="3"/>
                      <a:pt x="4" y="6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57" name="Freeform 83">
                <a:extLst>
                  <a:ext uri="{FF2B5EF4-FFF2-40B4-BE49-F238E27FC236}">
                    <a16:creationId xmlns:a16="http://schemas.microsoft.com/office/drawing/2014/main" id="{BF08328A-0D01-F484-9D61-7F351A3817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2522" y="5662386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3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58" name="Freeform 84">
                <a:extLst>
                  <a:ext uri="{FF2B5EF4-FFF2-40B4-BE49-F238E27FC236}">
                    <a16:creationId xmlns:a16="http://schemas.microsoft.com/office/drawing/2014/main" id="{4CAF9E16-96F6-9727-3B4F-FC352ACD159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77415" y="5929788"/>
                <a:ext cx="110285" cy="164671"/>
              </a:xfrm>
              <a:custGeom>
                <a:avLst/>
                <a:gdLst>
                  <a:gd name="T0" fmla="*/ 31 w 31"/>
                  <a:gd name="T1" fmla="*/ 23 h 46"/>
                  <a:gd name="T2" fmla="*/ 15 w 31"/>
                  <a:gd name="T3" fmla="*/ 46 h 46"/>
                  <a:gd name="T4" fmla="*/ 0 w 31"/>
                  <a:gd name="T5" fmla="*/ 23 h 46"/>
                  <a:gd name="T6" fmla="*/ 15 w 31"/>
                  <a:gd name="T7" fmla="*/ 0 h 46"/>
                  <a:gd name="T8" fmla="*/ 31 w 31"/>
                  <a:gd name="T9" fmla="*/ 23 h 46"/>
                  <a:gd name="T10" fmla="*/ 8 w 31"/>
                  <a:gd name="T11" fmla="*/ 23 h 46"/>
                  <a:gd name="T12" fmla="*/ 15 w 31"/>
                  <a:gd name="T13" fmla="*/ 39 h 46"/>
                  <a:gd name="T14" fmla="*/ 23 w 31"/>
                  <a:gd name="T15" fmla="*/ 23 h 46"/>
                  <a:gd name="T16" fmla="*/ 15 w 31"/>
                  <a:gd name="T17" fmla="*/ 7 h 46"/>
                  <a:gd name="T18" fmla="*/ 8 w 31"/>
                  <a:gd name="T19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6">
                    <a:moveTo>
                      <a:pt x="31" y="23"/>
                    </a:moveTo>
                    <a:cubicBezTo>
                      <a:pt x="31" y="38"/>
                      <a:pt x="26" y="46"/>
                      <a:pt x="15" y="46"/>
                    </a:cubicBezTo>
                    <a:cubicBezTo>
                      <a:pt x="5" y="46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7"/>
                      <a:pt x="15" y="7"/>
                    </a:cubicBezTo>
                    <a:cubicBezTo>
                      <a:pt x="10" y="7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59" name="Freeform 85">
                <a:extLst>
                  <a:ext uri="{FF2B5EF4-FFF2-40B4-BE49-F238E27FC236}">
                    <a16:creationId xmlns:a16="http://schemas.microsoft.com/office/drawing/2014/main" id="{5361FDB2-1E93-B7E7-44C1-6E9C28EDC4A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77415" y="6201721"/>
                <a:ext cx="110285" cy="160139"/>
              </a:xfrm>
              <a:custGeom>
                <a:avLst/>
                <a:gdLst>
                  <a:gd name="T0" fmla="*/ 31 w 31"/>
                  <a:gd name="T1" fmla="*/ 23 h 45"/>
                  <a:gd name="T2" fmla="*/ 15 w 31"/>
                  <a:gd name="T3" fmla="*/ 45 h 45"/>
                  <a:gd name="T4" fmla="*/ 0 w 31"/>
                  <a:gd name="T5" fmla="*/ 23 h 45"/>
                  <a:gd name="T6" fmla="*/ 15 w 31"/>
                  <a:gd name="T7" fmla="*/ 0 h 45"/>
                  <a:gd name="T8" fmla="*/ 31 w 31"/>
                  <a:gd name="T9" fmla="*/ 23 h 45"/>
                  <a:gd name="T10" fmla="*/ 8 w 31"/>
                  <a:gd name="T11" fmla="*/ 23 h 45"/>
                  <a:gd name="T12" fmla="*/ 15 w 31"/>
                  <a:gd name="T13" fmla="*/ 39 h 45"/>
                  <a:gd name="T14" fmla="*/ 23 w 31"/>
                  <a:gd name="T15" fmla="*/ 23 h 45"/>
                  <a:gd name="T16" fmla="*/ 15 w 31"/>
                  <a:gd name="T17" fmla="*/ 6 h 45"/>
                  <a:gd name="T18" fmla="*/ 8 w 31"/>
                  <a:gd name="T19" fmla="*/ 2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31" y="23"/>
                    </a:moveTo>
                    <a:cubicBezTo>
                      <a:pt x="31" y="38"/>
                      <a:pt x="26" y="45"/>
                      <a:pt x="15" y="45"/>
                    </a:cubicBezTo>
                    <a:cubicBezTo>
                      <a:pt x="5" y="45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6"/>
                      <a:pt x="15" y="6"/>
                    </a:cubicBezTo>
                    <a:cubicBezTo>
                      <a:pt x="10" y="6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60" name="Freeform 86">
                <a:extLst>
                  <a:ext uri="{FF2B5EF4-FFF2-40B4-BE49-F238E27FC236}">
                    <a16:creationId xmlns:a16="http://schemas.microsoft.com/office/drawing/2014/main" id="{E0E512E6-3F4C-E764-849C-A36660F836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2522" y="6475165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4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4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61" name="Freeform 87">
                <a:extLst>
                  <a:ext uri="{FF2B5EF4-FFF2-40B4-BE49-F238E27FC236}">
                    <a16:creationId xmlns:a16="http://schemas.microsoft.com/office/drawing/2014/main" id="{581899C4-4E2D-2668-D1C0-DA0C58D67C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2522" y="6747099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1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1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62" name="Freeform 95">
                <a:extLst>
                  <a:ext uri="{FF2B5EF4-FFF2-40B4-BE49-F238E27FC236}">
                    <a16:creationId xmlns:a16="http://schemas.microsoft.com/office/drawing/2014/main" id="{32448EE4-F7B8-6EB7-B033-FC8189CC64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4777091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63" name="Freeform 96">
                <a:extLst>
                  <a:ext uri="{FF2B5EF4-FFF2-40B4-BE49-F238E27FC236}">
                    <a16:creationId xmlns:a16="http://schemas.microsoft.com/office/drawing/2014/main" id="{1904D08D-B21C-660F-A7E8-36E2854E531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9292" y="4923634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64" name="Freeform 97">
                <a:extLst>
                  <a:ext uri="{FF2B5EF4-FFF2-40B4-BE49-F238E27FC236}">
                    <a16:creationId xmlns:a16="http://schemas.microsoft.com/office/drawing/2014/main" id="{5F725F82-0649-4D58-0356-2442F5555C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5070175"/>
                <a:ext cx="52876" cy="84602"/>
              </a:xfrm>
              <a:custGeom>
                <a:avLst/>
                <a:gdLst>
                  <a:gd name="T0" fmla="*/ 16 w 35"/>
                  <a:gd name="T1" fmla="*/ 14 h 56"/>
                  <a:gd name="T2" fmla="*/ 7 w 35"/>
                  <a:gd name="T3" fmla="*/ 21 h 56"/>
                  <a:gd name="T4" fmla="*/ 0 w 35"/>
                  <a:gd name="T5" fmla="*/ 11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4"/>
                    </a:moveTo>
                    <a:lnTo>
                      <a:pt x="7" y="21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65" name="Freeform 98">
                <a:extLst>
                  <a:ext uri="{FF2B5EF4-FFF2-40B4-BE49-F238E27FC236}">
                    <a16:creationId xmlns:a16="http://schemas.microsoft.com/office/drawing/2014/main" id="{896C1816-BFBD-E2D3-C86E-55628BE917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9292" y="5216718"/>
                <a:ext cx="67984" cy="84602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66" name="Freeform 99">
                <a:extLst>
                  <a:ext uri="{FF2B5EF4-FFF2-40B4-BE49-F238E27FC236}">
                    <a16:creationId xmlns:a16="http://schemas.microsoft.com/office/drawing/2014/main" id="{C085E86E-EC57-DDBA-93D0-3FFF620D6C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5361749"/>
                <a:ext cx="52876" cy="86113"/>
              </a:xfrm>
              <a:custGeom>
                <a:avLst/>
                <a:gdLst>
                  <a:gd name="T0" fmla="*/ 16 w 35"/>
                  <a:gd name="T1" fmla="*/ 15 h 57"/>
                  <a:gd name="T2" fmla="*/ 7 w 35"/>
                  <a:gd name="T3" fmla="*/ 22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8 h 57"/>
                  <a:gd name="T12" fmla="*/ 35 w 35"/>
                  <a:gd name="T13" fmla="*/ 48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8 h 57"/>
                  <a:gd name="T20" fmla="*/ 16 w 35"/>
                  <a:gd name="T21" fmla="*/ 48 h 57"/>
                  <a:gd name="T22" fmla="*/ 16 w 35"/>
                  <a:gd name="T23" fmla="*/ 1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5"/>
                    </a:moveTo>
                    <a:lnTo>
                      <a:pt x="7" y="22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5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67" name="Freeform 100">
                <a:extLst>
                  <a:ext uri="{FF2B5EF4-FFF2-40B4-BE49-F238E27FC236}">
                    <a16:creationId xmlns:a16="http://schemas.microsoft.com/office/drawing/2014/main" id="{BF97849F-306E-7214-2F25-CB28F9CA31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9292" y="5508290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68" name="Freeform 101">
                <a:extLst>
                  <a:ext uri="{FF2B5EF4-FFF2-40B4-BE49-F238E27FC236}">
                    <a16:creationId xmlns:a16="http://schemas.microsoft.com/office/drawing/2014/main" id="{D65B5DC8-39D6-2043-1DEE-43D34BACD1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5654833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69" name="Freeform 102">
                <a:extLst>
                  <a:ext uri="{FF2B5EF4-FFF2-40B4-BE49-F238E27FC236}">
                    <a16:creationId xmlns:a16="http://schemas.microsoft.com/office/drawing/2014/main" id="{A66CAF9E-925B-8F32-5F2D-4F2FA184C1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5801374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70" name="Freeform 103">
                <a:extLst>
                  <a:ext uri="{FF2B5EF4-FFF2-40B4-BE49-F238E27FC236}">
                    <a16:creationId xmlns:a16="http://schemas.microsoft.com/office/drawing/2014/main" id="{01AE767C-D795-E0D5-744F-FBDE5F6D91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5950938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5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5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71" name="Freeform 104">
                <a:extLst>
                  <a:ext uri="{FF2B5EF4-FFF2-40B4-BE49-F238E27FC236}">
                    <a16:creationId xmlns:a16="http://schemas.microsoft.com/office/drawing/2014/main" id="{856C235F-041D-EF0E-BD5A-EF9480B27A0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9292" y="6094458"/>
                <a:ext cx="67984" cy="89134"/>
              </a:xfrm>
              <a:custGeom>
                <a:avLst/>
                <a:gdLst>
                  <a:gd name="T0" fmla="*/ 17 w 19"/>
                  <a:gd name="T1" fmla="*/ 4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4 h 25"/>
                  <a:gd name="T16" fmla="*/ 6 w 19"/>
                  <a:gd name="T17" fmla="*/ 12 h 25"/>
                  <a:gd name="T18" fmla="*/ 10 w 19"/>
                  <a:gd name="T19" fmla="*/ 20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3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72" name="Freeform 105">
                <a:extLst>
                  <a:ext uri="{FF2B5EF4-FFF2-40B4-BE49-F238E27FC236}">
                    <a16:creationId xmlns:a16="http://schemas.microsoft.com/office/drawing/2014/main" id="{89BB9CC1-0E4D-564D-C60B-8935FF73BC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6244022"/>
                <a:ext cx="52876" cy="81580"/>
              </a:xfrm>
              <a:custGeom>
                <a:avLst/>
                <a:gdLst>
                  <a:gd name="T0" fmla="*/ 16 w 35"/>
                  <a:gd name="T1" fmla="*/ 12 h 54"/>
                  <a:gd name="T2" fmla="*/ 7 w 35"/>
                  <a:gd name="T3" fmla="*/ 19 h 54"/>
                  <a:gd name="T4" fmla="*/ 0 w 35"/>
                  <a:gd name="T5" fmla="*/ 9 h 54"/>
                  <a:gd name="T6" fmla="*/ 19 w 35"/>
                  <a:gd name="T7" fmla="*/ 0 h 54"/>
                  <a:gd name="T8" fmla="*/ 28 w 35"/>
                  <a:gd name="T9" fmla="*/ 0 h 54"/>
                  <a:gd name="T10" fmla="*/ 28 w 35"/>
                  <a:gd name="T11" fmla="*/ 45 h 54"/>
                  <a:gd name="T12" fmla="*/ 35 w 35"/>
                  <a:gd name="T13" fmla="*/ 45 h 54"/>
                  <a:gd name="T14" fmla="*/ 35 w 35"/>
                  <a:gd name="T15" fmla="*/ 54 h 54"/>
                  <a:gd name="T16" fmla="*/ 9 w 35"/>
                  <a:gd name="T17" fmla="*/ 54 h 54"/>
                  <a:gd name="T18" fmla="*/ 9 w 35"/>
                  <a:gd name="T19" fmla="*/ 45 h 54"/>
                  <a:gd name="T20" fmla="*/ 16 w 35"/>
                  <a:gd name="T21" fmla="*/ 45 h 54"/>
                  <a:gd name="T22" fmla="*/ 16 w 35"/>
                  <a:gd name="T23" fmla="*/ 1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4">
                    <a:moveTo>
                      <a:pt x="16" y="12"/>
                    </a:moveTo>
                    <a:lnTo>
                      <a:pt x="7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4"/>
                    </a:lnTo>
                    <a:lnTo>
                      <a:pt x="9" y="54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73" name="Freeform 106">
                <a:extLst>
                  <a:ext uri="{FF2B5EF4-FFF2-40B4-BE49-F238E27FC236}">
                    <a16:creationId xmlns:a16="http://schemas.microsoft.com/office/drawing/2014/main" id="{626924E2-2EF9-DED3-F6E9-037A432BB9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9292" y="6386032"/>
                <a:ext cx="67984" cy="89134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2 h 25"/>
                  <a:gd name="T18" fmla="*/ 10 w 19"/>
                  <a:gd name="T19" fmla="*/ 21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74" name="Freeform 107">
                <a:extLst>
                  <a:ext uri="{FF2B5EF4-FFF2-40B4-BE49-F238E27FC236}">
                    <a16:creationId xmlns:a16="http://schemas.microsoft.com/office/drawing/2014/main" id="{92DE7B00-14E2-4BD1-8901-0BA9666B24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9292" y="6532573"/>
                <a:ext cx="67984" cy="89134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2 h 25"/>
                  <a:gd name="T18" fmla="*/ 10 w 19"/>
                  <a:gd name="T19" fmla="*/ 21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75" name="Freeform 108">
                <a:extLst>
                  <a:ext uri="{FF2B5EF4-FFF2-40B4-BE49-F238E27FC236}">
                    <a16:creationId xmlns:a16="http://schemas.microsoft.com/office/drawing/2014/main" id="{7FF4E1CF-F360-26AC-EE25-B3D8EFE431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6682137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8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8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8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8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76" name="Freeform 109">
                <a:extLst>
                  <a:ext uri="{FF2B5EF4-FFF2-40B4-BE49-F238E27FC236}">
                    <a16:creationId xmlns:a16="http://schemas.microsoft.com/office/drawing/2014/main" id="{13E42B5B-B483-919A-369E-8C1F925C4A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6828679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8 h 55"/>
                  <a:gd name="T12" fmla="*/ 35 w 35"/>
                  <a:gd name="T13" fmla="*/ 48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8 h 55"/>
                  <a:gd name="T20" fmla="*/ 16 w 35"/>
                  <a:gd name="T21" fmla="*/ 48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77" name="Freeform 135">
                <a:extLst>
                  <a:ext uri="{FF2B5EF4-FFF2-40B4-BE49-F238E27FC236}">
                    <a16:creationId xmlns:a16="http://schemas.microsoft.com/office/drawing/2014/main" id="{923832E1-F971-78AD-6759-1F83E70619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2225" y="5144202"/>
                <a:ext cx="60430" cy="111795"/>
              </a:xfrm>
              <a:custGeom>
                <a:avLst/>
                <a:gdLst>
                  <a:gd name="T0" fmla="*/ 19 w 40"/>
                  <a:gd name="T1" fmla="*/ 14 h 74"/>
                  <a:gd name="T2" fmla="*/ 4 w 40"/>
                  <a:gd name="T3" fmla="*/ 24 h 74"/>
                  <a:gd name="T4" fmla="*/ 0 w 40"/>
                  <a:gd name="T5" fmla="*/ 14 h 74"/>
                  <a:gd name="T6" fmla="*/ 21 w 40"/>
                  <a:gd name="T7" fmla="*/ 0 h 74"/>
                  <a:gd name="T8" fmla="*/ 30 w 40"/>
                  <a:gd name="T9" fmla="*/ 0 h 74"/>
                  <a:gd name="T10" fmla="*/ 30 w 40"/>
                  <a:gd name="T11" fmla="*/ 64 h 74"/>
                  <a:gd name="T12" fmla="*/ 40 w 40"/>
                  <a:gd name="T13" fmla="*/ 64 h 74"/>
                  <a:gd name="T14" fmla="*/ 40 w 40"/>
                  <a:gd name="T15" fmla="*/ 74 h 74"/>
                  <a:gd name="T16" fmla="*/ 9 w 40"/>
                  <a:gd name="T17" fmla="*/ 74 h 74"/>
                  <a:gd name="T18" fmla="*/ 9 w 40"/>
                  <a:gd name="T19" fmla="*/ 64 h 74"/>
                  <a:gd name="T20" fmla="*/ 19 w 40"/>
                  <a:gd name="T21" fmla="*/ 64 h 74"/>
                  <a:gd name="T22" fmla="*/ 19 w 40"/>
                  <a:gd name="T23" fmla="*/ 1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4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4"/>
                    </a:lnTo>
                    <a:lnTo>
                      <a:pt x="9" y="74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78" name="Freeform 136">
                <a:extLst>
                  <a:ext uri="{FF2B5EF4-FFF2-40B4-BE49-F238E27FC236}">
                    <a16:creationId xmlns:a16="http://schemas.microsoft.com/office/drawing/2014/main" id="{0ABB868D-2A6A-66CE-FD50-06CEC53E524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91649" y="5333044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8 h 32"/>
                  <a:gd name="T14" fmla="*/ 16 w 21"/>
                  <a:gd name="T15" fmla="*/ 16 h 32"/>
                  <a:gd name="T16" fmla="*/ 10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0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0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79" name="Freeform 137">
                <a:extLst>
                  <a:ext uri="{FF2B5EF4-FFF2-40B4-BE49-F238E27FC236}">
                    <a16:creationId xmlns:a16="http://schemas.microsoft.com/office/drawing/2014/main" id="{C967FD23-94D3-6C03-A0CB-9EA5D8D230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91649" y="5715262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6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80" name="Freeform 138">
                <a:extLst>
                  <a:ext uri="{FF2B5EF4-FFF2-40B4-BE49-F238E27FC236}">
                    <a16:creationId xmlns:a16="http://schemas.microsoft.com/office/drawing/2014/main" id="{9BB7C5DC-2320-1860-77DF-07F5534F45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2225" y="5908637"/>
                <a:ext cx="60430" cy="107263"/>
              </a:xfrm>
              <a:custGeom>
                <a:avLst/>
                <a:gdLst>
                  <a:gd name="T0" fmla="*/ 19 w 40"/>
                  <a:gd name="T1" fmla="*/ 12 h 71"/>
                  <a:gd name="T2" fmla="*/ 4 w 40"/>
                  <a:gd name="T3" fmla="*/ 21 h 71"/>
                  <a:gd name="T4" fmla="*/ 0 w 40"/>
                  <a:gd name="T5" fmla="*/ 12 h 71"/>
                  <a:gd name="T6" fmla="*/ 21 w 40"/>
                  <a:gd name="T7" fmla="*/ 0 h 71"/>
                  <a:gd name="T8" fmla="*/ 30 w 40"/>
                  <a:gd name="T9" fmla="*/ 0 h 71"/>
                  <a:gd name="T10" fmla="*/ 30 w 40"/>
                  <a:gd name="T11" fmla="*/ 64 h 71"/>
                  <a:gd name="T12" fmla="*/ 40 w 40"/>
                  <a:gd name="T13" fmla="*/ 64 h 71"/>
                  <a:gd name="T14" fmla="*/ 40 w 40"/>
                  <a:gd name="T15" fmla="*/ 71 h 71"/>
                  <a:gd name="T16" fmla="*/ 9 w 40"/>
                  <a:gd name="T17" fmla="*/ 71 h 71"/>
                  <a:gd name="T18" fmla="*/ 9 w 40"/>
                  <a:gd name="T19" fmla="*/ 64 h 71"/>
                  <a:gd name="T20" fmla="*/ 19 w 40"/>
                  <a:gd name="T21" fmla="*/ 64 h 71"/>
                  <a:gd name="T22" fmla="*/ 19 w 40"/>
                  <a:gd name="T23" fmla="*/ 1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1">
                    <a:moveTo>
                      <a:pt x="19" y="12"/>
                    </a:moveTo>
                    <a:lnTo>
                      <a:pt x="4" y="21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1"/>
                    </a:lnTo>
                    <a:lnTo>
                      <a:pt x="9" y="71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81" name="Freeform 139">
                <a:extLst>
                  <a:ext uri="{FF2B5EF4-FFF2-40B4-BE49-F238E27FC236}">
                    <a16:creationId xmlns:a16="http://schemas.microsoft.com/office/drawing/2014/main" id="{B7676CDA-EEA7-8789-97FC-F25C15968E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2225" y="6097480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82" name="Freeform 140">
                <a:extLst>
                  <a:ext uri="{FF2B5EF4-FFF2-40B4-BE49-F238E27FC236}">
                    <a16:creationId xmlns:a16="http://schemas.microsoft.com/office/drawing/2014/main" id="{2899360E-4FB4-41E6-2DB4-A13F8AB97F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2225" y="6286323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83" name="Freeform 141">
                <a:extLst>
                  <a:ext uri="{FF2B5EF4-FFF2-40B4-BE49-F238E27FC236}">
                    <a16:creationId xmlns:a16="http://schemas.microsoft.com/office/drawing/2014/main" id="{2FFAECF3-AF26-5924-A56B-AC939915BD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2225" y="6479698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1 h 73"/>
                  <a:gd name="T4" fmla="*/ 0 w 40"/>
                  <a:gd name="T5" fmla="*/ 12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1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84" name="Freeform 142">
                <a:extLst>
                  <a:ext uri="{FF2B5EF4-FFF2-40B4-BE49-F238E27FC236}">
                    <a16:creationId xmlns:a16="http://schemas.microsoft.com/office/drawing/2014/main" id="{30AFA674-C80C-1879-8F0C-497082DAEF4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91649" y="6668540"/>
                <a:ext cx="75537" cy="110285"/>
              </a:xfrm>
              <a:custGeom>
                <a:avLst/>
                <a:gdLst>
                  <a:gd name="T0" fmla="*/ 21 w 21"/>
                  <a:gd name="T1" fmla="*/ 15 h 31"/>
                  <a:gd name="T2" fmla="*/ 10 w 21"/>
                  <a:gd name="T3" fmla="*/ 31 h 31"/>
                  <a:gd name="T4" fmla="*/ 0 w 21"/>
                  <a:gd name="T5" fmla="*/ 15 h 31"/>
                  <a:gd name="T6" fmla="*/ 10 w 21"/>
                  <a:gd name="T7" fmla="*/ 0 h 31"/>
                  <a:gd name="T8" fmla="*/ 21 w 21"/>
                  <a:gd name="T9" fmla="*/ 15 h 31"/>
                  <a:gd name="T10" fmla="*/ 5 w 21"/>
                  <a:gd name="T11" fmla="*/ 15 h 31"/>
                  <a:gd name="T12" fmla="*/ 10 w 21"/>
                  <a:gd name="T13" fmla="*/ 27 h 31"/>
                  <a:gd name="T14" fmla="*/ 16 w 21"/>
                  <a:gd name="T15" fmla="*/ 15 h 31"/>
                  <a:gd name="T16" fmla="*/ 10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5"/>
                    </a:moveTo>
                    <a:cubicBezTo>
                      <a:pt x="21" y="26"/>
                      <a:pt x="18" y="31"/>
                      <a:pt x="10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5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0" y="27"/>
                    </a:cubicBezTo>
                    <a:cubicBezTo>
                      <a:pt x="14" y="27"/>
                      <a:pt x="16" y="23"/>
                      <a:pt x="16" y="15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85" name="Freeform 143">
                <a:extLst>
                  <a:ext uri="{FF2B5EF4-FFF2-40B4-BE49-F238E27FC236}">
                    <a16:creationId xmlns:a16="http://schemas.microsoft.com/office/drawing/2014/main" id="{A7EE0BBB-BD13-CC42-9E7B-23E57B0C2FF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91649" y="6857383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86" name="Freeform 149">
                <a:extLst>
                  <a:ext uri="{FF2B5EF4-FFF2-40B4-BE49-F238E27FC236}">
                    <a16:creationId xmlns:a16="http://schemas.microsoft.com/office/drawing/2014/main" id="{A020ED8A-AE86-EF66-BC32-B2F8E327B6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4198" y="4787667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87" name="Freeform 150">
                <a:extLst>
                  <a:ext uri="{FF2B5EF4-FFF2-40B4-BE49-F238E27FC236}">
                    <a16:creationId xmlns:a16="http://schemas.microsoft.com/office/drawing/2014/main" id="{8D43F17B-9E18-4EBF-BAAC-DD7153A70F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99092" y="5070175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88" name="Freeform 151">
                <a:extLst>
                  <a:ext uri="{FF2B5EF4-FFF2-40B4-BE49-F238E27FC236}">
                    <a16:creationId xmlns:a16="http://schemas.microsoft.com/office/drawing/2014/main" id="{482293DB-D2D9-7E0F-4DC0-7653354B00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4198" y="5358727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89" name="Freeform 152">
                <a:extLst>
                  <a:ext uri="{FF2B5EF4-FFF2-40B4-BE49-F238E27FC236}">
                    <a16:creationId xmlns:a16="http://schemas.microsoft.com/office/drawing/2014/main" id="{5C675363-4C90-2F45-1B40-365B9C4715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99092" y="5641236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90" name="Freeform 153">
                <a:extLst>
                  <a:ext uri="{FF2B5EF4-FFF2-40B4-BE49-F238E27FC236}">
                    <a16:creationId xmlns:a16="http://schemas.microsoft.com/office/drawing/2014/main" id="{9C20782E-DC20-F382-2381-462C657396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4198" y="5929788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91" name="Freeform 154">
                <a:extLst>
                  <a:ext uri="{FF2B5EF4-FFF2-40B4-BE49-F238E27FC236}">
                    <a16:creationId xmlns:a16="http://schemas.microsoft.com/office/drawing/2014/main" id="{C66A6D8A-BAD9-6D59-20C6-C739771A50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4198" y="6215318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92" name="Freeform 155">
                <a:extLst>
                  <a:ext uri="{FF2B5EF4-FFF2-40B4-BE49-F238E27FC236}">
                    <a16:creationId xmlns:a16="http://schemas.microsoft.com/office/drawing/2014/main" id="{D399DE27-EC3B-3C86-0BC3-CFAEF5855D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4198" y="6500848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7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7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7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7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93" name="Freeform 156">
                <a:extLst>
                  <a:ext uri="{FF2B5EF4-FFF2-40B4-BE49-F238E27FC236}">
                    <a16:creationId xmlns:a16="http://schemas.microsoft.com/office/drawing/2014/main" id="{E4DD5B48-38D9-D05D-4B99-A01ABA04F2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4198" y="6786378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5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7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7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5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7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7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94" name="Line 8">
                <a:extLst>
                  <a:ext uri="{FF2B5EF4-FFF2-40B4-BE49-F238E27FC236}">
                    <a16:creationId xmlns:a16="http://schemas.microsoft.com/office/drawing/2014/main" id="{696856E6-1288-BF33-7F8B-F77459EBB52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049918" y="3678777"/>
                <a:ext cx="0" cy="0"/>
              </a:xfrm>
              <a:prstGeom prst="lin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95" name="Line 9">
                <a:extLst>
                  <a:ext uri="{FF2B5EF4-FFF2-40B4-BE49-F238E27FC236}">
                    <a16:creationId xmlns:a16="http://schemas.microsoft.com/office/drawing/2014/main" id="{6F38E85D-440F-1ED9-4911-F0AD2BC69BB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049918" y="3678777"/>
                <a:ext cx="0" cy="0"/>
              </a:xfrm>
              <a:prstGeom prst="lin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96" name="Freeform 10">
                <a:extLst>
                  <a:ext uri="{FF2B5EF4-FFF2-40B4-BE49-F238E27FC236}">
                    <a16:creationId xmlns:a16="http://schemas.microsoft.com/office/drawing/2014/main" id="{DA6F2196-E612-FD42-1EA9-AADBCB5591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83099" y="4749893"/>
                <a:ext cx="99709" cy="157117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8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7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7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8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7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7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97" name="Freeform 11">
                <a:extLst>
                  <a:ext uri="{FF2B5EF4-FFF2-40B4-BE49-F238E27FC236}">
                    <a16:creationId xmlns:a16="http://schemas.microsoft.com/office/drawing/2014/main" id="{30F0E59C-BB37-E8E5-8AB7-93864174324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75545" y="5017295"/>
                <a:ext cx="120859" cy="164671"/>
              </a:xfrm>
              <a:custGeom>
                <a:avLst/>
                <a:gdLst>
                  <a:gd name="T0" fmla="*/ 32 w 34"/>
                  <a:gd name="T1" fmla="*/ 8 h 46"/>
                  <a:gd name="T2" fmla="*/ 34 w 34"/>
                  <a:gd name="T3" fmla="*/ 23 h 46"/>
                  <a:gd name="T4" fmla="*/ 31 w 34"/>
                  <a:gd name="T5" fmla="*/ 39 h 46"/>
                  <a:gd name="T6" fmla="*/ 17 w 34"/>
                  <a:gd name="T7" fmla="*/ 46 h 46"/>
                  <a:gd name="T8" fmla="*/ 3 w 34"/>
                  <a:gd name="T9" fmla="*/ 37 h 46"/>
                  <a:gd name="T10" fmla="*/ 0 w 34"/>
                  <a:gd name="T11" fmla="*/ 23 h 46"/>
                  <a:gd name="T12" fmla="*/ 17 w 34"/>
                  <a:gd name="T13" fmla="*/ 0 h 46"/>
                  <a:gd name="T14" fmla="*/ 32 w 34"/>
                  <a:gd name="T15" fmla="*/ 8 h 46"/>
                  <a:gd name="T16" fmla="*/ 10 w 34"/>
                  <a:gd name="T17" fmla="*/ 23 h 46"/>
                  <a:gd name="T18" fmla="*/ 17 w 34"/>
                  <a:gd name="T19" fmla="*/ 38 h 46"/>
                  <a:gd name="T20" fmla="*/ 25 w 34"/>
                  <a:gd name="T21" fmla="*/ 23 h 46"/>
                  <a:gd name="T22" fmla="*/ 17 w 34"/>
                  <a:gd name="T23" fmla="*/ 8 h 46"/>
                  <a:gd name="T24" fmla="*/ 10 w 34"/>
                  <a:gd name="T25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46">
                    <a:moveTo>
                      <a:pt x="32" y="8"/>
                    </a:moveTo>
                    <a:cubicBezTo>
                      <a:pt x="34" y="12"/>
                      <a:pt x="34" y="16"/>
                      <a:pt x="34" y="23"/>
                    </a:cubicBezTo>
                    <a:cubicBezTo>
                      <a:pt x="34" y="31"/>
                      <a:pt x="33" y="36"/>
                      <a:pt x="31" y="39"/>
                    </a:cubicBezTo>
                    <a:cubicBezTo>
                      <a:pt x="28" y="43"/>
                      <a:pt x="23" y="46"/>
                      <a:pt x="17" y="46"/>
                    </a:cubicBezTo>
                    <a:cubicBezTo>
                      <a:pt x="11" y="46"/>
                      <a:pt x="6" y="43"/>
                      <a:pt x="3" y="37"/>
                    </a:cubicBezTo>
                    <a:cubicBezTo>
                      <a:pt x="1" y="34"/>
                      <a:pt x="0" y="29"/>
                      <a:pt x="0" y="23"/>
                    </a:cubicBezTo>
                    <a:cubicBezTo>
                      <a:pt x="0" y="8"/>
                      <a:pt x="6" y="0"/>
                      <a:pt x="17" y="0"/>
                    </a:cubicBezTo>
                    <a:cubicBezTo>
                      <a:pt x="24" y="0"/>
                      <a:pt x="29" y="3"/>
                      <a:pt x="32" y="8"/>
                    </a:cubicBezTo>
                    <a:close/>
                    <a:moveTo>
                      <a:pt x="10" y="23"/>
                    </a:moveTo>
                    <a:cubicBezTo>
                      <a:pt x="10" y="33"/>
                      <a:pt x="12" y="38"/>
                      <a:pt x="17" y="38"/>
                    </a:cubicBezTo>
                    <a:cubicBezTo>
                      <a:pt x="22" y="38"/>
                      <a:pt x="25" y="33"/>
                      <a:pt x="25" y="23"/>
                    </a:cubicBezTo>
                    <a:cubicBezTo>
                      <a:pt x="25" y="13"/>
                      <a:pt x="22" y="8"/>
                      <a:pt x="17" y="8"/>
                    </a:cubicBezTo>
                    <a:cubicBezTo>
                      <a:pt x="12" y="8"/>
                      <a:pt x="10" y="13"/>
                      <a:pt x="10" y="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98" name="Freeform 12">
                <a:extLst>
                  <a:ext uri="{FF2B5EF4-FFF2-40B4-BE49-F238E27FC236}">
                    <a16:creationId xmlns:a16="http://schemas.microsoft.com/office/drawing/2014/main" id="{922A74C5-B005-300D-5B09-961A621D0D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83099" y="5292250"/>
                <a:ext cx="99709" cy="157117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6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7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7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6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7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7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99" name="Freeform 13">
                <a:extLst>
                  <a:ext uri="{FF2B5EF4-FFF2-40B4-BE49-F238E27FC236}">
                    <a16:creationId xmlns:a16="http://schemas.microsoft.com/office/drawing/2014/main" id="{59F25142-D7C9-1AA9-5237-12B12DD4EB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83099" y="5564184"/>
                <a:ext cx="99709" cy="157117"/>
              </a:xfrm>
              <a:custGeom>
                <a:avLst/>
                <a:gdLst>
                  <a:gd name="T0" fmla="*/ 30 w 66"/>
                  <a:gd name="T1" fmla="*/ 23 h 104"/>
                  <a:gd name="T2" fmla="*/ 9 w 66"/>
                  <a:gd name="T3" fmla="*/ 35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5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5 h 104"/>
                  <a:gd name="T22" fmla="*/ 30 w 66"/>
                  <a:gd name="T23" fmla="*/ 2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3"/>
                    </a:moveTo>
                    <a:lnTo>
                      <a:pt x="9" y="35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5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5"/>
                    </a:lnTo>
                    <a:lnTo>
                      <a:pt x="30" y="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00" name="Freeform 14">
                <a:extLst>
                  <a:ext uri="{FF2B5EF4-FFF2-40B4-BE49-F238E27FC236}">
                    <a16:creationId xmlns:a16="http://schemas.microsoft.com/office/drawing/2014/main" id="{52C75280-77A3-9C15-DBB9-1E1740C52B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83099" y="5834606"/>
                <a:ext cx="99709" cy="157117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6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5 h 104"/>
                  <a:gd name="T12" fmla="*/ 66 w 66"/>
                  <a:gd name="T13" fmla="*/ 88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8 h 104"/>
                  <a:gd name="T20" fmla="*/ 30 w 66"/>
                  <a:gd name="T21" fmla="*/ 85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6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5"/>
                    </a:lnTo>
                    <a:lnTo>
                      <a:pt x="66" y="88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8"/>
                    </a:lnTo>
                    <a:lnTo>
                      <a:pt x="30" y="85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01" name="Freeform 15">
                <a:extLst>
                  <a:ext uri="{FF2B5EF4-FFF2-40B4-BE49-F238E27FC236}">
                    <a16:creationId xmlns:a16="http://schemas.microsoft.com/office/drawing/2014/main" id="{3D7E332C-400C-CC16-D7F0-3C70E03957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83099" y="6106539"/>
                <a:ext cx="99709" cy="152585"/>
              </a:xfrm>
              <a:custGeom>
                <a:avLst/>
                <a:gdLst>
                  <a:gd name="T0" fmla="*/ 30 w 66"/>
                  <a:gd name="T1" fmla="*/ 23 h 101"/>
                  <a:gd name="T2" fmla="*/ 9 w 66"/>
                  <a:gd name="T3" fmla="*/ 35 h 101"/>
                  <a:gd name="T4" fmla="*/ 0 w 66"/>
                  <a:gd name="T5" fmla="*/ 19 h 101"/>
                  <a:gd name="T6" fmla="*/ 33 w 66"/>
                  <a:gd name="T7" fmla="*/ 0 h 101"/>
                  <a:gd name="T8" fmla="*/ 52 w 66"/>
                  <a:gd name="T9" fmla="*/ 0 h 101"/>
                  <a:gd name="T10" fmla="*/ 52 w 66"/>
                  <a:gd name="T11" fmla="*/ 85 h 101"/>
                  <a:gd name="T12" fmla="*/ 66 w 66"/>
                  <a:gd name="T13" fmla="*/ 85 h 101"/>
                  <a:gd name="T14" fmla="*/ 66 w 66"/>
                  <a:gd name="T15" fmla="*/ 101 h 101"/>
                  <a:gd name="T16" fmla="*/ 16 w 66"/>
                  <a:gd name="T17" fmla="*/ 101 h 101"/>
                  <a:gd name="T18" fmla="*/ 16 w 66"/>
                  <a:gd name="T19" fmla="*/ 85 h 101"/>
                  <a:gd name="T20" fmla="*/ 30 w 66"/>
                  <a:gd name="T21" fmla="*/ 85 h 101"/>
                  <a:gd name="T22" fmla="*/ 30 w 66"/>
                  <a:gd name="T23" fmla="*/ 23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1">
                    <a:moveTo>
                      <a:pt x="30" y="23"/>
                    </a:moveTo>
                    <a:lnTo>
                      <a:pt x="9" y="35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5"/>
                    </a:lnTo>
                    <a:lnTo>
                      <a:pt x="66" y="85"/>
                    </a:lnTo>
                    <a:lnTo>
                      <a:pt x="66" y="101"/>
                    </a:lnTo>
                    <a:lnTo>
                      <a:pt x="16" y="101"/>
                    </a:lnTo>
                    <a:lnTo>
                      <a:pt x="16" y="85"/>
                    </a:lnTo>
                    <a:lnTo>
                      <a:pt x="30" y="85"/>
                    </a:lnTo>
                    <a:lnTo>
                      <a:pt x="30" y="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02" name="Freeform 16">
                <a:extLst>
                  <a:ext uri="{FF2B5EF4-FFF2-40B4-BE49-F238E27FC236}">
                    <a16:creationId xmlns:a16="http://schemas.microsoft.com/office/drawing/2014/main" id="{A476E970-6CB1-B579-A756-6D9154E88FB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75545" y="6644364"/>
                <a:ext cx="120859" cy="161650"/>
              </a:xfrm>
              <a:custGeom>
                <a:avLst/>
                <a:gdLst>
                  <a:gd name="T0" fmla="*/ 32 w 34"/>
                  <a:gd name="T1" fmla="*/ 8 h 45"/>
                  <a:gd name="T2" fmla="*/ 34 w 34"/>
                  <a:gd name="T3" fmla="*/ 22 h 45"/>
                  <a:gd name="T4" fmla="*/ 31 w 34"/>
                  <a:gd name="T5" fmla="*/ 39 h 45"/>
                  <a:gd name="T6" fmla="*/ 17 w 34"/>
                  <a:gd name="T7" fmla="*/ 45 h 45"/>
                  <a:gd name="T8" fmla="*/ 3 w 34"/>
                  <a:gd name="T9" fmla="*/ 37 h 45"/>
                  <a:gd name="T10" fmla="*/ 0 w 34"/>
                  <a:gd name="T11" fmla="*/ 22 h 45"/>
                  <a:gd name="T12" fmla="*/ 17 w 34"/>
                  <a:gd name="T13" fmla="*/ 0 h 45"/>
                  <a:gd name="T14" fmla="*/ 32 w 34"/>
                  <a:gd name="T15" fmla="*/ 8 h 45"/>
                  <a:gd name="T16" fmla="*/ 10 w 34"/>
                  <a:gd name="T17" fmla="*/ 22 h 45"/>
                  <a:gd name="T18" fmla="*/ 17 w 34"/>
                  <a:gd name="T19" fmla="*/ 37 h 45"/>
                  <a:gd name="T20" fmla="*/ 25 w 34"/>
                  <a:gd name="T21" fmla="*/ 22 h 45"/>
                  <a:gd name="T22" fmla="*/ 17 w 34"/>
                  <a:gd name="T23" fmla="*/ 7 h 45"/>
                  <a:gd name="T24" fmla="*/ 10 w 34"/>
                  <a:gd name="T25" fmla="*/ 2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45">
                    <a:moveTo>
                      <a:pt x="32" y="8"/>
                    </a:moveTo>
                    <a:cubicBezTo>
                      <a:pt x="34" y="11"/>
                      <a:pt x="34" y="16"/>
                      <a:pt x="34" y="22"/>
                    </a:cubicBezTo>
                    <a:cubicBezTo>
                      <a:pt x="34" y="30"/>
                      <a:pt x="33" y="35"/>
                      <a:pt x="31" y="39"/>
                    </a:cubicBezTo>
                    <a:cubicBezTo>
                      <a:pt x="28" y="43"/>
                      <a:pt x="23" y="45"/>
                      <a:pt x="17" y="45"/>
                    </a:cubicBezTo>
                    <a:cubicBezTo>
                      <a:pt x="11" y="45"/>
                      <a:pt x="6" y="42"/>
                      <a:pt x="3" y="37"/>
                    </a:cubicBezTo>
                    <a:cubicBezTo>
                      <a:pt x="1" y="33"/>
                      <a:pt x="0" y="29"/>
                      <a:pt x="0" y="22"/>
                    </a:cubicBezTo>
                    <a:cubicBezTo>
                      <a:pt x="0" y="7"/>
                      <a:pt x="6" y="0"/>
                      <a:pt x="17" y="0"/>
                    </a:cubicBezTo>
                    <a:cubicBezTo>
                      <a:pt x="24" y="0"/>
                      <a:pt x="29" y="2"/>
                      <a:pt x="32" y="8"/>
                    </a:cubicBezTo>
                    <a:close/>
                    <a:moveTo>
                      <a:pt x="10" y="22"/>
                    </a:moveTo>
                    <a:cubicBezTo>
                      <a:pt x="10" y="33"/>
                      <a:pt x="12" y="37"/>
                      <a:pt x="17" y="37"/>
                    </a:cubicBezTo>
                    <a:cubicBezTo>
                      <a:pt x="22" y="37"/>
                      <a:pt x="25" y="33"/>
                      <a:pt x="25" y="22"/>
                    </a:cubicBezTo>
                    <a:cubicBezTo>
                      <a:pt x="25" y="12"/>
                      <a:pt x="22" y="7"/>
                      <a:pt x="17" y="7"/>
                    </a:cubicBezTo>
                    <a:cubicBezTo>
                      <a:pt x="12" y="7"/>
                      <a:pt x="10" y="12"/>
                      <a:pt x="10" y="2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03" name="Freeform 17">
                <a:extLst>
                  <a:ext uri="{FF2B5EF4-FFF2-40B4-BE49-F238E27FC236}">
                    <a16:creationId xmlns:a16="http://schemas.microsoft.com/office/drawing/2014/main" id="{D8FE48DE-7D67-7F11-F151-B1D95C8E839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75545" y="6916297"/>
                <a:ext cx="120859" cy="160139"/>
              </a:xfrm>
              <a:custGeom>
                <a:avLst/>
                <a:gdLst>
                  <a:gd name="T0" fmla="*/ 32 w 34"/>
                  <a:gd name="T1" fmla="*/ 8 h 45"/>
                  <a:gd name="T2" fmla="*/ 34 w 34"/>
                  <a:gd name="T3" fmla="*/ 22 h 45"/>
                  <a:gd name="T4" fmla="*/ 31 w 34"/>
                  <a:gd name="T5" fmla="*/ 39 h 45"/>
                  <a:gd name="T6" fmla="*/ 17 w 34"/>
                  <a:gd name="T7" fmla="*/ 45 h 45"/>
                  <a:gd name="T8" fmla="*/ 3 w 34"/>
                  <a:gd name="T9" fmla="*/ 37 h 45"/>
                  <a:gd name="T10" fmla="*/ 0 w 34"/>
                  <a:gd name="T11" fmla="*/ 22 h 45"/>
                  <a:gd name="T12" fmla="*/ 17 w 34"/>
                  <a:gd name="T13" fmla="*/ 0 h 45"/>
                  <a:gd name="T14" fmla="*/ 32 w 34"/>
                  <a:gd name="T15" fmla="*/ 8 h 45"/>
                  <a:gd name="T16" fmla="*/ 10 w 34"/>
                  <a:gd name="T17" fmla="*/ 22 h 45"/>
                  <a:gd name="T18" fmla="*/ 17 w 34"/>
                  <a:gd name="T19" fmla="*/ 37 h 45"/>
                  <a:gd name="T20" fmla="*/ 25 w 34"/>
                  <a:gd name="T21" fmla="*/ 22 h 45"/>
                  <a:gd name="T22" fmla="*/ 17 w 34"/>
                  <a:gd name="T23" fmla="*/ 7 h 45"/>
                  <a:gd name="T24" fmla="*/ 10 w 34"/>
                  <a:gd name="T25" fmla="*/ 2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45">
                    <a:moveTo>
                      <a:pt x="32" y="8"/>
                    </a:moveTo>
                    <a:cubicBezTo>
                      <a:pt x="34" y="11"/>
                      <a:pt x="34" y="16"/>
                      <a:pt x="34" y="22"/>
                    </a:cubicBezTo>
                    <a:cubicBezTo>
                      <a:pt x="34" y="30"/>
                      <a:pt x="33" y="35"/>
                      <a:pt x="31" y="39"/>
                    </a:cubicBezTo>
                    <a:cubicBezTo>
                      <a:pt x="28" y="43"/>
                      <a:pt x="23" y="45"/>
                      <a:pt x="17" y="45"/>
                    </a:cubicBezTo>
                    <a:cubicBezTo>
                      <a:pt x="11" y="45"/>
                      <a:pt x="6" y="42"/>
                      <a:pt x="3" y="37"/>
                    </a:cubicBezTo>
                    <a:cubicBezTo>
                      <a:pt x="1" y="33"/>
                      <a:pt x="0" y="29"/>
                      <a:pt x="0" y="22"/>
                    </a:cubicBezTo>
                    <a:cubicBezTo>
                      <a:pt x="0" y="7"/>
                      <a:pt x="6" y="0"/>
                      <a:pt x="17" y="0"/>
                    </a:cubicBezTo>
                    <a:cubicBezTo>
                      <a:pt x="24" y="0"/>
                      <a:pt x="29" y="2"/>
                      <a:pt x="32" y="8"/>
                    </a:cubicBezTo>
                    <a:close/>
                    <a:moveTo>
                      <a:pt x="10" y="22"/>
                    </a:moveTo>
                    <a:cubicBezTo>
                      <a:pt x="10" y="33"/>
                      <a:pt x="12" y="37"/>
                      <a:pt x="17" y="37"/>
                    </a:cubicBezTo>
                    <a:cubicBezTo>
                      <a:pt x="22" y="37"/>
                      <a:pt x="25" y="33"/>
                      <a:pt x="25" y="22"/>
                    </a:cubicBezTo>
                    <a:cubicBezTo>
                      <a:pt x="25" y="12"/>
                      <a:pt x="22" y="7"/>
                      <a:pt x="17" y="7"/>
                    </a:cubicBezTo>
                    <a:cubicBezTo>
                      <a:pt x="12" y="7"/>
                      <a:pt x="10" y="12"/>
                      <a:pt x="10" y="2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04" name="Freeform 23">
                <a:extLst>
                  <a:ext uri="{FF2B5EF4-FFF2-40B4-BE49-F238E27FC236}">
                    <a16:creationId xmlns:a16="http://schemas.microsoft.com/office/drawing/2014/main" id="{1E54418C-97E7-1CF8-2D06-6F6223C70BA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00590" y="4029270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8 h 32"/>
                  <a:gd name="T14" fmla="*/ 16 w 21"/>
                  <a:gd name="T15" fmla="*/ 16 h 32"/>
                  <a:gd name="T16" fmla="*/ 11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1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1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05" name="Freeform 24">
                <a:extLst>
                  <a:ext uri="{FF2B5EF4-FFF2-40B4-BE49-F238E27FC236}">
                    <a16:creationId xmlns:a16="http://schemas.microsoft.com/office/drawing/2014/main" id="{63C9F86F-182C-D0EB-9030-421273B70E2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00590" y="4221133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5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06" name="Freeform 25">
                <a:extLst>
                  <a:ext uri="{FF2B5EF4-FFF2-40B4-BE49-F238E27FC236}">
                    <a16:creationId xmlns:a16="http://schemas.microsoft.com/office/drawing/2014/main" id="{0C951DD0-35DA-3615-9F99-FE7FA87DEC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3612" y="4603352"/>
                <a:ext cx="64962" cy="11028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2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2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07" name="Freeform 26">
                <a:extLst>
                  <a:ext uri="{FF2B5EF4-FFF2-40B4-BE49-F238E27FC236}">
                    <a16:creationId xmlns:a16="http://schemas.microsoft.com/office/drawing/2014/main" id="{FD400E0B-6A98-43F2-0C50-85F12EA7949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00590" y="4792194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6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08" name="Freeform 27">
                <a:extLst>
                  <a:ext uri="{FF2B5EF4-FFF2-40B4-BE49-F238E27FC236}">
                    <a16:creationId xmlns:a16="http://schemas.microsoft.com/office/drawing/2014/main" id="{69D38021-A46D-C509-EF43-4B2B34005AF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00590" y="4982547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7 h 32"/>
                  <a:gd name="T14" fmla="*/ 16 w 21"/>
                  <a:gd name="T15" fmla="*/ 16 h 32"/>
                  <a:gd name="T16" fmla="*/ 11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1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09" name="Freeform 28">
                <a:extLst>
                  <a:ext uri="{FF2B5EF4-FFF2-40B4-BE49-F238E27FC236}">
                    <a16:creationId xmlns:a16="http://schemas.microsoft.com/office/drawing/2014/main" id="{1DC477F2-21F2-04AA-BE37-4C993B90E8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3612" y="5363254"/>
                <a:ext cx="64962" cy="111795"/>
              </a:xfrm>
              <a:custGeom>
                <a:avLst/>
                <a:gdLst>
                  <a:gd name="T0" fmla="*/ 19 w 43"/>
                  <a:gd name="T1" fmla="*/ 14 h 74"/>
                  <a:gd name="T2" fmla="*/ 5 w 43"/>
                  <a:gd name="T3" fmla="*/ 24 h 74"/>
                  <a:gd name="T4" fmla="*/ 0 w 43"/>
                  <a:gd name="T5" fmla="*/ 14 h 74"/>
                  <a:gd name="T6" fmla="*/ 22 w 43"/>
                  <a:gd name="T7" fmla="*/ 0 h 74"/>
                  <a:gd name="T8" fmla="*/ 34 w 43"/>
                  <a:gd name="T9" fmla="*/ 0 h 74"/>
                  <a:gd name="T10" fmla="*/ 34 w 43"/>
                  <a:gd name="T11" fmla="*/ 64 h 74"/>
                  <a:gd name="T12" fmla="*/ 43 w 43"/>
                  <a:gd name="T13" fmla="*/ 64 h 74"/>
                  <a:gd name="T14" fmla="*/ 43 w 43"/>
                  <a:gd name="T15" fmla="*/ 74 h 74"/>
                  <a:gd name="T16" fmla="*/ 10 w 43"/>
                  <a:gd name="T17" fmla="*/ 74 h 74"/>
                  <a:gd name="T18" fmla="*/ 10 w 43"/>
                  <a:gd name="T19" fmla="*/ 64 h 74"/>
                  <a:gd name="T20" fmla="*/ 19 w 43"/>
                  <a:gd name="T21" fmla="*/ 64 h 74"/>
                  <a:gd name="T22" fmla="*/ 19 w 43"/>
                  <a:gd name="T23" fmla="*/ 1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4">
                    <a:moveTo>
                      <a:pt x="19" y="14"/>
                    </a:moveTo>
                    <a:lnTo>
                      <a:pt x="5" y="24"/>
                    </a:lnTo>
                    <a:lnTo>
                      <a:pt x="0" y="14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4"/>
                    </a:lnTo>
                    <a:lnTo>
                      <a:pt x="10" y="74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10" name="Freeform 29">
                <a:extLst>
                  <a:ext uri="{FF2B5EF4-FFF2-40B4-BE49-F238E27FC236}">
                    <a16:creationId xmlns:a16="http://schemas.microsoft.com/office/drawing/2014/main" id="{17D073CC-5389-20FF-A638-293AC84346A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00590" y="5553608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8 h 32"/>
                  <a:gd name="T14" fmla="*/ 16 w 21"/>
                  <a:gd name="T15" fmla="*/ 16 h 32"/>
                  <a:gd name="T16" fmla="*/ 11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1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1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11" name="Freeform 30">
                <a:extLst>
                  <a:ext uri="{FF2B5EF4-FFF2-40B4-BE49-F238E27FC236}">
                    <a16:creationId xmlns:a16="http://schemas.microsoft.com/office/drawing/2014/main" id="{613097A2-28C2-563F-E8B5-7EDDBBFEB9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3612" y="5745473"/>
                <a:ext cx="64962" cy="11028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4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4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12" name="Freeform 31">
                <a:extLst>
                  <a:ext uri="{FF2B5EF4-FFF2-40B4-BE49-F238E27FC236}">
                    <a16:creationId xmlns:a16="http://schemas.microsoft.com/office/drawing/2014/main" id="{DFB66585-D2A3-0402-477B-3BEA5BB265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00590" y="5934315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7 h 32"/>
                  <a:gd name="T14" fmla="*/ 16 w 21"/>
                  <a:gd name="T15" fmla="*/ 16 h 32"/>
                  <a:gd name="T16" fmla="*/ 11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1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13" name="Freeform 32">
                <a:extLst>
                  <a:ext uri="{FF2B5EF4-FFF2-40B4-BE49-F238E27FC236}">
                    <a16:creationId xmlns:a16="http://schemas.microsoft.com/office/drawing/2014/main" id="{FFE626E1-E600-B457-24D6-D3B94A7BB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3612" y="6127690"/>
                <a:ext cx="64962" cy="107263"/>
              </a:xfrm>
              <a:custGeom>
                <a:avLst/>
                <a:gdLst>
                  <a:gd name="T0" fmla="*/ 19 w 43"/>
                  <a:gd name="T1" fmla="*/ 12 h 71"/>
                  <a:gd name="T2" fmla="*/ 5 w 43"/>
                  <a:gd name="T3" fmla="*/ 21 h 71"/>
                  <a:gd name="T4" fmla="*/ 0 w 43"/>
                  <a:gd name="T5" fmla="*/ 12 h 71"/>
                  <a:gd name="T6" fmla="*/ 22 w 43"/>
                  <a:gd name="T7" fmla="*/ 0 h 71"/>
                  <a:gd name="T8" fmla="*/ 34 w 43"/>
                  <a:gd name="T9" fmla="*/ 0 h 71"/>
                  <a:gd name="T10" fmla="*/ 34 w 43"/>
                  <a:gd name="T11" fmla="*/ 64 h 71"/>
                  <a:gd name="T12" fmla="*/ 43 w 43"/>
                  <a:gd name="T13" fmla="*/ 64 h 71"/>
                  <a:gd name="T14" fmla="*/ 43 w 43"/>
                  <a:gd name="T15" fmla="*/ 71 h 71"/>
                  <a:gd name="T16" fmla="*/ 10 w 43"/>
                  <a:gd name="T17" fmla="*/ 71 h 71"/>
                  <a:gd name="T18" fmla="*/ 10 w 43"/>
                  <a:gd name="T19" fmla="*/ 64 h 71"/>
                  <a:gd name="T20" fmla="*/ 19 w 43"/>
                  <a:gd name="T21" fmla="*/ 64 h 71"/>
                  <a:gd name="T22" fmla="*/ 19 w 43"/>
                  <a:gd name="T23" fmla="*/ 1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1">
                    <a:moveTo>
                      <a:pt x="19" y="12"/>
                    </a:moveTo>
                    <a:lnTo>
                      <a:pt x="5" y="21"/>
                    </a:lnTo>
                    <a:lnTo>
                      <a:pt x="0" y="12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1"/>
                    </a:lnTo>
                    <a:lnTo>
                      <a:pt x="10" y="71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14" name="Freeform 33">
                <a:extLst>
                  <a:ext uri="{FF2B5EF4-FFF2-40B4-BE49-F238E27FC236}">
                    <a16:creationId xmlns:a16="http://schemas.microsoft.com/office/drawing/2014/main" id="{14351863-DD66-A270-CF7F-00537C416B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3612" y="6316533"/>
                <a:ext cx="64962" cy="11028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4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4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15" name="Freeform 34">
                <a:extLst>
                  <a:ext uri="{FF2B5EF4-FFF2-40B4-BE49-F238E27FC236}">
                    <a16:creationId xmlns:a16="http://schemas.microsoft.com/office/drawing/2014/main" id="{90D30BEB-4624-054D-B54C-B2153FA11B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3612" y="6505375"/>
                <a:ext cx="64962" cy="11028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4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4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16" name="Freeform 43">
                <a:extLst>
                  <a:ext uri="{FF2B5EF4-FFF2-40B4-BE49-F238E27FC236}">
                    <a16:creationId xmlns:a16="http://schemas.microsoft.com/office/drawing/2014/main" id="{11684478-A552-5D71-E4CC-C564E5CD96A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2468" y="4228688"/>
                <a:ext cx="63451" cy="9366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5" y="0"/>
                      <a:pt x="18" y="5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17" name="Freeform 44">
                <a:extLst>
                  <a:ext uri="{FF2B5EF4-FFF2-40B4-BE49-F238E27FC236}">
                    <a16:creationId xmlns:a16="http://schemas.microsoft.com/office/drawing/2014/main" id="{98F776C5-E088-D3CB-9AE4-FD94A341B02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2468" y="4382783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1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18" name="Freeform 45">
                <a:extLst>
                  <a:ext uri="{FF2B5EF4-FFF2-40B4-BE49-F238E27FC236}">
                    <a16:creationId xmlns:a16="http://schemas.microsoft.com/office/drawing/2014/main" id="{1430F63B-4017-26A2-AED2-9C5A923221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5490" y="4689463"/>
                <a:ext cx="49855" cy="89134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49 h 59"/>
                  <a:gd name="T20" fmla="*/ 17 w 33"/>
                  <a:gd name="T21" fmla="*/ 49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19" name="Freeform 46">
                <a:extLst>
                  <a:ext uri="{FF2B5EF4-FFF2-40B4-BE49-F238E27FC236}">
                    <a16:creationId xmlns:a16="http://schemas.microsoft.com/office/drawing/2014/main" id="{A601FDB2-D97B-CA73-C270-EAA2F7A7B2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2468" y="4839027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20" name="Freeform 47">
                <a:extLst>
                  <a:ext uri="{FF2B5EF4-FFF2-40B4-BE49-F238E27FC236}">
                    <a16:creationId xmlns:a16="http://schemas.microsoft.com/office/drawing/2014/main" id="{4470A2AE-BD3B-1458-D5B8-860E5A5197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2468" y="4993123"/>
                <a:ext cx="63451" cy="89134"/>
              </a:xfrm>
              <a:custGeom>
                <a:avLst/>
                <a:gdLst>
                  <a:gd name="T0" fmla="*/ 18 w 18"/>
                  <a:gd name="T1" fmla="*/ 13 h 25"/>
                  <a:gd name="T2" fmla="*/ 9 w 18"/>
                  <a:gd name="T3" fmla="*/ 25 h 25"/>
                  <a:gd name="T4" fmla="*/ 0 w 18"/>
                  <a:gd name="T5" fmla="*/ 12 h 25"/>
                  <a:gd name="T6" fmla="*/ 9 w 18"/>
                  <a:gd name="T7" fmla="*/ 0 h 25"/>
                  <a:gd name="T8" fmla="*/ 18 w 18"/>
                  <a:gd name="T9" fmla="*/ 13 h 25"/>
                  <a:gd name="T10" fmla="*/ 5 w 18"/>
                  <a:gd name="T11" fmla="*/ 12 h 25"/>
                  <a:gd name="T12" fmla="*/ 9 w 18"/>
                  <a:gd name="T13" fmla="*/ 22 h 25"/>
                  <a:gd name="T14" fmla="*/ 13 w 18"/>
                  <a:gd name="T15" fmla="*/ 13 h 25"/>
                  <a:gd name="T16" fmla="*/ 9 w 18"/>
                  <a:gd name="T17" fmla="*/ 3 h 25"/>
                  <a:gd name="T18" fmla="*/ 5 w 18"/>
                  <a:gd name="T1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5">
                    <a:moveTo>
                      <a:pt x="18" y="13"/>
                    </a:moveTo>
                    <a:cubicBezTo>
                      <a:pt x="18" y="21"/>
                      <a:pt x="15" y="25"/>
                      <a:pt x="9" y="25"/>
                    </a:cubicBezTo>
                    <a:cubicBezTo>
                      <a:pt x="3" y="25"/>
                      <a:pt x="0" y="21"/>
                      <a:pt x="0" y="12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2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6"/>
                      <a:pt x="12" y="3"/>
                      <a:pt x="9" y="3"/>
                    </a:cubicBezTo>
                    <a:cubicBezTo>
                      <a:pt x="6" y="3"/>
                      <a:pt x="5" y="6"/>
                      <a:pt x="5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21" name="Freeform 48">
                <a:extLst>
                  <a:ext uri="{FF2B5EF4-FFF2-40B4-BE49-F238E27FC236}">
                    <a16:creationId xmlns:a16="http://schemas.microsoft.com/office/drawing/2014/main" id="{E1ABDF0C-BB35-3734-6C16-A4D55291B7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5490" y="5299803"/>
                <a:ext cx="49855" cy="84602"/>
              </a:xfrm>
              <a:custGeom>
                <a:avLst/>
                <a:gdLst>
                  <a:gd name="T0" fmla="*/ 17 w 33"/>
                  <a:gd name="T1" fmla="*/ 9 h 56"/>
                  <a:gd name="T2" fmla="*/ 5 w 33"/>
                  <a:gd name="T3" fmla="*/ 16 h 56"/>
                  <a:gd name="T4" fmla="*/ 0 w 33"/>
                  <a:gd name="T5" fmla="*/ 9 h 56"/>
                  <a:gd name="T6" fmla="*/ 19 w 33"/>
                  <a:gd name="T7" fmla="*/ 0 h 56"/>
                  <a:gd name="T8" fmla="*/ 26 w 33"/>
                  <a:gd name="T9" fmla="*/ 0 h 56"/>
                  <a:gd name="T10" fmla="*/ 26 w 33"/>
                  <a:gd name="T11" fmla="*/ 49 h 56"/>
                  <a:gd name="T12" fmla="*/ 33 w 33"/>
                  <a:gd name="T13" fmla="*/ 49 h 56"/>
                  <a:gd name="T14" fmla="*/ 33 w 33"/>
                  <a:gd name="T15" fmla="*/ 56 h 56"/>
                  <a:gd name="T16" fmla="*/ 10 w 33"/>
                  <a:gd name="T17" fmla="*/ 56 h 56"/>
                  <a:gd name="T18" fmla="*/ 10 w 33"/>
                  <a:gd name="T19" fmla="*/ 49 h 56"/>
                  <a:gd name="T20" fmla="*/ 17 w 33"/>
                  <a:gd name="T21" fmla="*/ 49 h 56"/>
                  <a:gd name="T22" fmla="*/ 17 w 33"/>
                  <a:gd name="T23" fmla="*/ 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6">
                    <a:moveTo>
                      <a:pt x="17" y="9"/>
                    </a:moveTo>
                    <a:lnTo>
                      <a:pt x="5" y="16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6"/>
                    </a:lnTo>
                    <a:lnTo>
                      <a:pt x="10" y="56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22" name="Freeform 49">
                <a:extLst>
                  <a:ext uri="{FF2B5EF4-FFF2-40B4-BE49-F238E27FC236}">
                    <a16:creationId xmlns:a16="http://schemas.microsoft.com/office/drawing/2014/main" id="{A3160965-E55D-3B42-9737-94729A5FA37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2468" y="5449367"/>
                <a:ext cx="63451" cy="89134"/>
              </a:xfrm>
              <a:custGeom>
                <a:avLst/>
                <a:gdLst>
                  <a:gd name="T0" fmla="*/ 18 w 18"/>
                  <a:gd name="T1" fmla="*/ 13 h 25"/>
                  <a:gd name="T2" fmla="*/ 9 w 18"/>
                  <a:gd name="T3" fmla="*/ 25 h 25"/>
                  <a:gd name="T4" fmla="*/ 0 w 18"/>
                  <a:gd name="T5" fmla="*/ 13 h 25"/>
                  <a:gd name="T6" fmla="*/ 9 w 18"/>
                  <a:gd name="T7" fmla="*/ 0 h 25"/>
                  <a:gd name="T8" fmla="*/ 18 w 18"/>
                  <a:gd name="T9" fmla="*/ 13 h 25"/>
                  <a:gd name="T10" fmla="*/ 5 w 18"/>
                  <a:gd name="T11" fmla="*/ 13 h 25"/>
                  <a:gd name="T12" fmla="*/ 9 w 18"/>
                  <a:gd name="T13" fmla="*/ 22 h 25"/>
                  <a:gd name="T14" fmla="*/ 13 w 18"/>
                  <a:gd name="T15" fmla="*/ 13 h 25"/>
                  <a:gd name="T16" fmla="*/ 9 w 18"/>
                  <a:gd name="T17" fmla="*/ 3 h 25"/>
                  <a:gd name="T18" fmla="*/ 5 w 18"/>
                  <a:gd name="T19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5">
                    <a:moveTo>
                      <a:pt x="18" y="13"/>
                    </a:moveTo>
                    <a:cubicBezTo>
                      <a:pt x="18" y="21"/>
                      <a:pt x="15" y="25"/>
                      <a:pt x="9" y="25"/>
                    </a:cubicBezTo>
                    <a:cubicBezTo>
                      <a:pt x="3" y="25"/>
                      <a:pt x="0" y="21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6"/>
                      <a:pt x="12" y="3"/>
                      <a:pt x="9" y="3"/>
                    </a:cubicBezTo>
                    <a:cubicBezTo>
                      <a:pt x="6" y="3"/>
                      <a:pt x="5" y="6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23" name="Freeform 50">
                <a:extLst>
                  <a:ext uri="{FF2B5EF4-FFF2-40B4-BE49-F238E27FC236}">
                    <a16:creationId xmlns:a16="http://schemas.microsoft.com/office/drawing/2014/main" id="{CDAEA578-7712-5BAA-AF43-509C4B5E15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5490" y="5603463"/>
                <a:ext cx="49855" cy="89134"/>
              </a:xfrm>
              <a:custGeom>
                <a:avLst/>
                <a:gdLst>
                  <a:gd name="T0" fmla="*/ 17 w 33"/>
                  <a:gd name="T1" fmla="*/ 11 h 59"/>
                  <a:gd name="T2" fmla="*/ 5 w 33"/>
                  <a:gd name="T3" fmla="*/ 18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52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52 h 59"/>
                  <a:gd name="T20" fmla="*/ 17 w 33"/>
                  <a:gd name="T21" fmla="*/ 49 h 59"/>
                  <a:gd name="T22" fmla="*/ 17 w 33"/>
                  <a:gd name="T23" fmla="*/ 11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1"/>
                    </a:moveTo>
                    <a:lnTo>
                      <a:pt x="5" y="18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52"/>
                    </a:lnTo>
                    <a:lnTo>
                      <a:pt x="17" y="49"/>
                    </a:lnTo>
                    <a:lnTo>
                      <a:pt x="17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24" name="Freeform 51">
                <a:extLst>
                  <a:ext uri="{FF2B5EF4-FFF2-40B4-BE49-F238E27FC236}">
                    <a16:creationId xmlns:a16="http://schemas.microsoft.com/office/drawing/2014/main" id="{13DD32C1-3362-C424-0C53-D7B9FF7C59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2468" y="5753026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25" name="Freeform 52">
                <a:extLst>
                  <a:ext uri="{FF2B5EF4-FFF2-40B4-BE49-F238E27FC236}">
                    <a16:creationId xmlns:a16="http://schemas.microsoft.com/office/drawing/2014/main" id="{599EE940-8A89-2A78-B149-3561AAF38F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5490" y="5905611"/>
                <a:ext cx="49855" cy="89134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12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52 h 59"/>
                  <a:gd name="T12" fmla="*/ 33 w 33"/>
                  <a:gd name="T13" fmla="*/ 52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52 h 59"/>
                  <a:gd name="T20" fmla="*/ 17 w 33"/>
                  <a:gd name="T21" fmla="*/ 52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52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52"/>
                    </a:lnTo>
                    <a:lnTo>
                      <a:pt x="17" y="52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26" name="Freeform 53">
                <a:extLst>
                  <a:ext uri="{FF2B5EF4-FFF2-40B4-BE49-F238E27FC236}">
                    <a16:creationId xmlns:a16="http://schemas.microsoft.com/office/drawing/2014/main" id="{44C42BE4-38E8-4F61-44C2-593667DF84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5490" y="6059707"/>
                <a:ext cx="49855" cy="89134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52 h 59"/>
                  <a:gd name="T12" fmla="*/ 33 w 33"/>
                  <a:gd name="T13" fmla="*/ 52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52 h 59"/>
                  <a:gd name="T20" fmla="*/ 17 w 33"/>
                  <a:gd name="T21" fmla="*/ 52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52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52"/>
                    </a:lnTo>
                    <a:lnTo>
                      <a:pt x="17" y="52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27" name="Freeform 54">
                <a:extLst>
                  <a:ext uri="{FF2B5EF4-FFF2-40B4-BE49-F238E27FC236}">
                    <a16:creationId xmlns:a16="http://schemas.microsoft.com/office/drawing/2014/main" id="{FB34B2D0-4C99-6568-102F-C9F7999F16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5490" y="6213803"/>
                <a:ext cx="49855" cy="84602"/>
              </a:xfrm>
              <a:custGeom>
                <a:avLst/>
                <a:gdLst>
                  <a:gd name="T0" fmla="*/ 17 w 33"/>
                  <a:gd name="T1" fmla="*/ 9 h 56"/>
                  <a:gd name="T2" fmla="*/ 5 w 33"/>
                  <a:gd name="T3" fmla="*/ 16 h 56"/>
                  <a:gd name="T4" fmla="*/ 0 w 33"/>
                  <a:gd name="T5" fmla="*/ 9 h 56"/>
                  <a:gd name="T6" fmla="*/ 19 w 33"/>
                  <a:gd name="T7" fmla="*/ 0 h 56"/>
                  <a:gd name="T8" fmla="*/ 26 w 33"/>
                  <a:gd name="T9" fmla="*/ 0 h 56"/>
                  <a:gd name="T10" fmla="*/ 26 w 33"/>
                  <a:gd name="T11" fmla="*/ 49 h 56"/>
                  <a:gd name="T12" fmla="*/ 33 w 33"/>
                  <a:gd name="T13" fmla="*/ 49 h 56"/>
                  <a:gd name="T14" fmla="*/ 33 w 33"/>
                  <a:gd name="T15" fmla="*/ 56 h 56"/>
                  <a:gd name="T16" fmla="*/ 10 w 33"/>
                  <a:gd name="T17" fmla="*/ 56 h 56"/>
                  <a:gd name="T18" fmla="*/ 10 w 33"/>
                  <a:gd name="T19" fmla="*/ 49 h 56"/>
                  <a:gd name="T20" fmla="*/ 17 w 33"/>
                  <a:gd name="T21" fmla="*/ 49 h 56"/>
                  <a:gd name="T22" fmla="*/ 17 w 33"/>
                  <a:gd name="T23" fmla="*/ 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6">
                    <a:moveTo>
                      <a:pt x="17" y="9"/>
                    </a:moveTo>
                    <a:lnTo>
                      <a:pt x="5" y="16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6"/>
                    </a:lnTo>
                    <a:lnTo>
                      <a:pt x="10" y="56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28" name="Freeform 55">
                <a:extLst>
                  <a:ext uri="{FF2B5EF4-FFF2-40B4-BE49-F238E27FC236}">
                    <a16:creationId xmlns:a16="http://schemas.microsoft.com/office/drawing/2014/main" id="{8227BFA0-8BF2-B430-FEBA-FFB1BFCC66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2468" y="6667025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29" name="Freeform 56">
                <a:extLst>
                  <a:ext uri="{FF2B5EF4-FFF2-40B4-BE49-F238E27FC236}">
                    <a16:creationId xmlns:a16="http://schemas.microsoft.com/office/drawing/2014/main" id="{5BFABDF8-A081-29EE-9BB6-3C186F825E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2468" y="6819610"/>
                <a:ext cx="63451" cy="89134"/>
              </a:xfrm>
              <a:custGeom>
                <a:avLst/>
                <a:gdLst>
                  <a:gd name="T0" fmla="*/ 18 w 18"/>
                  <a:gd name="T1" fmla="*/ 13 h 25"/>
                  <a:gd name="T2" fmla="*/ 9 w 18"/>
                  <a:gd name="T3" fmla="*/ 25 h 25"/>
                  <a:gd name="T4" fmla="*/ 0 w 18"/>
                  <a:gd name="T5" fmla="*/ 13 h 25"/>
                  <a:gd name="T6" fmla="*/ 9 w 18"/>
                  <a:gd name="T7" fmla="*/ 0 h 25"/>
                  <a:gd name="T8" fmla="*/ 18 w 18"/>
                  <a:gd name="T9" fmla="*/ 13 h 25"/>
                  <a:gd name="T10" fmla="*/ 5 w 18"/>
                  <a:gd name="T11" fmla="*/ 13 h 25"/>
                  <a:gd name="T12" fmla="*/ 9 w 18"/>
                  <a:gd name="T13" fmla="*/ 22 h 25"/>
                  <a:gd name="T14" fmla="*/ 13 w 18"/>
                  <a:gd name="T15" fmla="*/ 13 h 25"/>
                  <a:gd name="T16" fmla="*/ 9 w 18"/>
                  <a:gd name="T17" fmla="*/ 4 h 25"/>
                  <a:gd name="T18" fmla="*/ 5 w 18"/>
                  <a:gd name="T19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5">
                    <a:moveTo>
                      <a:pt x="18" y="13"/>
                    </a:moveTo>
                    <a:cubicBezTo>
                      <a:pt x="18" y="21"/>
                      <a:pt x="15" y="25"/>
                      <a:pt x="9" y="25"/>
                    </a:cubicBezTo>
                    <a:cubicBezTo>
                      <a:pt x="3" y="25"/>
                      <a:pt x="0" y="21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30" name="Freeform 63">
                <a:extLst>
                  <a:ext uri="{FF2B5EF4-FFF2-40B4-BE49-F238E27FC236}">
                    <a16:creationId xmlns:a16="http://schemas.microsoft.com/office/drawing/2014/main" id="{A4DF9C09-E858-7516-DC1C-C1495350C8E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02906" y="4228688"/>
                <a:ext cx="60430" cy="9366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4" y="0"/>
                      <a:pt x="17" y="5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31" name="Freeform 64">
                <a:extLst>
                  <a:ext uri="{FF2B5EF4-FFF2-40B4-BE49-F238E27FC236}">
                    <a16:creationId xmlns:a16="http://schemas.microsoft.com/office/drawing/2014/main" id="{FB5748CE-990B-704F-6EDB-1717F9E004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02906" y="4382783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1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32" name="Freeform 65">
                <a:extLst>
                  <a:ext uri="{FF2B5EF4-FFF2-40B4-BE49-F238E27FC236}">
                    <a16:creationId xmlns:a16="http://schemas.microsoft.com/office/drawing/2014/main" id="{173F1272-85E4-5B6B-F0F7-B59C13EC29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07438" y="4689463"/>
                <a:ext cx="49855" cy="89134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49 h 59"/>
                  <a:gd name="T20" fmla="*/ 16 w 33"/>
                  <a:gd name="T21" fmla="*/ 49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33" name="Freeform 66">
                <a:extLst>
                  <a:ext uri="{FF2B5EF4-FFF2-40B4-BE49-F238E27FC236}">
                    <a16:creationId xmlns:a16="http://schemas.microsoft.com/office/drawing/2014/main" id="{4682CD1B-3F6F-7B9C-64D9-BA3725DC91A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02906" y="4839027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34" name="Freeform 67">
                <a:extLst>
                  <a:ext uri="{FF2B5EF4-FFF2-40B4-BE49-F238E27FC236}">
                    <a16:creationId xmlns:a16="http://schemas.microsoft.com/office/drawing/2014/main" id="{812B37D3-3B17-16EB-1B3E-4838D57B251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02906" y="4993123"/>
                <a:ext cx="60430" cy="89134"/>
              </a:xfrm>
              <a:custGeom>
                <a:avLst/>
                <a:gdLst>
                  <a:gd name="T0" fmla="*/ 17 w 17"/>
                  <a:gd name="T1" fmla="*/ 13 h 25"/>
                  <a:gd name="T2" fmla="*/ 9 w 17"/>
                  <a:gd name="T3" fmla="*/ 25 h 25"/>
                  <a:gd name="T4" fmla="*/ 0 w 17"/>
                  <a:gd name="T5" fmla="*/ 12 h 25"/>
                  <a:gd name="T6" fmla="*/ 9 w 17"/>
                  <a:gd name="T7" fmla="*/ 0 h 25"/>
                  <a:gd name="T8" fmla="*/ 17 w 17"/>
                  <a:gd name="T9" fmla="*/ 13 h 25"/>
                  <a:gd name="T10" fmla="*/ 4 w 17"/>
                  <a:gd name="T11" fmla="*/ 12 h 25"/>
                  <a:gd name="T12" fmla="*/ 9 w 17"/>
                  <a:gd name="T13" fmla="*/ 22 h 25"/>
                  <a:gd name="T14" fmla="*/ 13 w 17"/>
                  <a:gd name="T15" fmla="*/ 13 h 25"/>
                  <a:gd name="T16" fmla="*/ 9 w 17"/>
                  <a:gd name="T17" fmla="*/ 3 h 25"/>
                  <a:gd name="T18" fmla="*/ 4 w 17"/>
                  <a:gd name="T1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5">
                    <a:moveTo>
                      <a:pt x="17" y="13"/>
                    </a:moveTo>
                    <a:cubicBezTo>
                      <a:pt x="17" y="21"/>
                      <a:pt x="14" y="25"/>
                      <a:pt x="9" y="25"/>
                    </a:cubicBezTo>
                    <a:cubicBezTo>
                      <a:pt x="3" y="25"/>
                      <a:pt x="0" y="21"/>
                      <a:pt x="0" y="12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2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6"/>
                      <a:pt x="11" y="3"/>
                      <a:pt x="9" y="3"/>
                    </a:cubicBezTo>
                    <a:cubicBezTo>
                      <a:pt x="6" y="3"/>
                      <a:pt x="4" y="6"/>
                      <a:pt x="4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35" name="Freeform 68">
                <a:extLst>
                  <a:ext uri="{FF2B5EF4-FFF2-40B4-BE49-F238E27FC236}">
                    <a16:creationId xmlns:a16="http://schemas.microsoft.com/office/drawing/2014/main" id="{2AE03164-AD91-430A-64B4-BC95A8BA5D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07438" y="5299803"/>
                <a:ext cx="49855" cy="84602"/>
              </a:xfrm>
              <a:custGeom>
                <a:avLst/>
                <a:gdLst>
                  <a:gd name="T0" fmla="*/ 16 w 33"/>
                  <a:gd name="T1" fmla="*/ 9 h 56"/>
                  <a:gd name="T2" fmla="*/ 4 w 33"/>
                  <a:gd name="T3" fmla="*/ 16 h 56"/>
                  <a:gd name="T4" fmla="*/ 0 w 33"/>
                  <a:gd name="T5" fmla="*/ 9 h 56"/>
                  <a:gd name="T6" fmla="*/ 16 w 33"/>
                  <a:gd name="T7" fmla="*/ 0 h 56"/>
                  <a:gd name="T8" fmla="*/ 26 w 33"/>
                  <a:gd name="T9" fmla="*/ 0 h 56"/>
                  <a:gd name="T10" fmla="*/ 26 w 33"/>
                  <a:gd name="T11" fmla="*/ 49 h 56"/>
                  <a:gd name="T12" fmla="*/ 33 w 33"/>
                  <a:gd name="T13" fmla="*/ 49 h 56"/>
                  <a:gd name="T14" fmla="*/ 33 w 33"/>
                  <a:gd name="T15" fmla="*/ 56 h 56"/>
                  <a:gd name="T16" fmla="*/ 7 w 33"/>
                  <a:gd name="T17" fmla="*/ 56 h 56"/>
                  <a:gd name="T18" fmla="*/ 7 w 33"/>
                  <a:gd name="T19" fmla="*/ 49 h 56"/>
                  <a:gd name="T20" fmla="*/ 16 w 33"/>
                  <a:gd name="T21" fmla="*/ 49 h 56"/>
                  <a:gd name="T22" fmla="*/ 16 w 33"/>
                  <a:gd name="T23" fmla="*/ 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6">
                    <a:moveTo>
                      <a:pt x="16" y="9"/>
                    </a:moveTo>
                    <a:lnTo>
                      <a:pt x="4" y="16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6"/>
                    </a:lnTo>
                    <a:lnTo>
                      <a:pt x="7" y="56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36" name="Freeform 69">
                <a:extLst>
                  <a:ext uri="{FF2B5EF4-FFF2-40B4-BE49-F238E27FC236}">
                    <a16:creationId xmlns:a16="http://schemas.microsoft.com/office/drawing/2014/main" id="{F0D8CAEB-8938-CBE2-C714-F84258D239E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02906" y="5449367"/>
                <a:ext cx="60430" cy="89134"/>
              </a:xfrm>
              <a:custGeom>
                <a:avLst/>
                <a:gdLst>
                  <a:gd name="T0" fmla="*/ 17 w 17"/>
                  <a:gd name="T1" fmla="*/ 13 h 25"/>
                  <a:gd name="T2" fmla="*/ 9 w 17"/>
                  <a:gd name="T3" fmla="*/ 25 h 25"/>
                  <a:gd name="T4" fmla="*/ 0 w 17"/>
                  <a:gd name="T5" fmla="*/ 13 h 25"/>
                  <a:gd name="T6" fmla="*/ 9 w 17"/>
                  <a:gd name="T7" fmla="*/ 0 h 25"/>
                  <a:gd name="T8" fmla="*/ 17 w 17"/>
                  <a:gd name="T9" fmla="*/ 13 h 25"/>
                  <a:gd name="T10" fmla="*/ 4 w 17"/>
                  <a:gd name="T11" fmla="*/ 13 h 25"/>
                  <a:gd name="T12" fmla="*/ 9 w 17"/>
                  <a:gd name="T13" fmla="*/ 22 h 25"/>
                  <a:gd name="T14" fmla="*/ 13 w 17"/>
                  <a:gd name="T15" fmla="*/ 13 h 25"/>
                  <a:gd name="T16" fmla="*/ 9 w 17"/>
                  <a:gd name="T17" fmla="*/ 3 h 25"/>
                  <a:gd name="T18" fmla="*/ 4 w 17"/>
                  <a:gd name="T19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5">
                    <a:moveTo>
                      <a:pt x="17" y="13"/>
                    </a:moveTo>
                    <a:cubicBezTo>
                      <a:pt x="17" y="21"/>
                      <a:pt x="14" y="25"/>
                      <a:pt x="9" y="25"/>
                    </a:cubicBezTo>
                    <a:cubicBezTo>
                      <a:pt x="3" y="25"/>
                      <a:pt x="0" y="21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6"/>
                      <a:pt x="11" y="3"/>
                      <a:pt x="9" y="3"/>
                    </a:cubicBezTo>
                    <a:cubicBezTo>
                      <a:pt x="6" y="3"/>
                      <a:pt x="4" y="6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37" name="Freeform 70">
                <a:extLst>
                  <a:ext uri="{FF2B5EF4-FFF2-40B4-BE49-F238E27FC236}">
                    <a16:creationId xmlns:a16="http://schemas.microsoft.com/office/drawing/2014/main" id="{A8ED9C29-DC81-2688-72F2-45F4F99F6C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07438" y="5603463"/>
                <a:ext cx="49855" cy="89134"/>
              </a:xfrm>
              <a:custGeom>
                <a:avLst/>
                <a:gdLst>
                  <a:gd name="T0" fmla="*/ 16 w 33"/>
                  <a:gd name="T1" fmla="*/ 11 h 59"/>
                  <a:gd name="T2" fmla="*/ 4 w 33"/>
                  <a:gd name="T3" fmla="*/ 18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52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52 h 59"/>
                  <a:gd name="T20" fmla="*/ 16 w 33"/>
                  <a:gd name="T21" fmla="*/ 49 h 59"/>
                  <a:gd name="T22" fmla="*/ 16 w 33"/>
                  <a:gd name="T23" fmla="*/ 11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1"/>
                    </a:moveTo>
                    <a:lnTo>
                      <a:pt x="4" y="18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52"/>
                    </a:lnTo>
                    <a:lnTo>
                      <a:pt x="16" y="49"/>
                    </a:lnTo>
                    <a:lnTo>
                      <a:pt x="16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38" name="Freeform 71">
                <a:extLst>
                  <a:ext uri="{FF2B5EF4-FFF2-40B4-BE49-F238E27FC236}">
                    <a16:creationId xmlns:a16="http://schemas.microsoft.com/office/drawing/2014/main" id="{8C3023E5-38AD-73A2-07BA-ABD46230FA7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02906" y="5753026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39" name="Freeform 72">
                <a:extLst>
                  <a:ext uri="{FF2B5EF4-FFF2-40B4-BE49-F238E27FC236}">
                    <a16:creationId xmlns:a16="http://schemas.microsoft.com/office/drawing/2014/main" id="{2D7446F9-0CA6-6AB2-64FE-06715068F2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07438" y="5905611"/>
                <a:ext cx="49855" cy="89134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12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52 h 59"/>
                  <a:gd name="T12" fmla="*/ 33 w 33"/>
                  <a:gd name="T13" fmla="*/ 52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52 h 59"/>
                  <a:gd name="T20" fmla="*/ 16 w 33"/>
                  <a:gd name="T21" fmla="*/ 52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12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52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52"/>
                    </a:lnTo>
                    <a:lnTo>
                      <a:pt x="16" y="52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40" name="Freeform 73">
                <a:extLst>
                  <a:ext uri="{FF2B5EF4-FFF2-40B4-BE49-F238E27FC236}">
                    <a16:creationId xmlns:a16="http://schemas.microsoft.com/office/drawing/2014/main" id="{F4105967-F039-4413-525C-96EB17324B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07438" y="6059707"/>
                <a:ext cx="49855" cy="89134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52 h 59"/>
                  <a:gd name="T12" fmla="*/ 33 w 33"/>
                  <a:gd name="T13" fmla="*/ 52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52 h 59"/>
                  <a:gd name="T20" fmla="*/ 16 w 33"/>
                  <a:gd name="T21" fmla="*/ 52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52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52"/>
                    </a:lnTo>
                    <a:lnTo>
                      <a:pt x="16" y="52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41" name="Freeform 74">
                <a:extLst>
                  <a:ext uri="{FF2B5EF4-FFF2-40B4-BE49-F238E27FC236}">
                    <a16:creationId xmlns:a16="http://schemas.microsoft.com/office/drawing/2014/main" id="{35CC5B16-8177-CF42-EEE5-B675F3C543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07438" y="6213803"/>
                <a:ext cx="49855" cy="84602"/>
              </a:xfrm>
              <a:custGeom>
                <a:avLst/>
                <a:gdLst>
                  <a:gd name="T0" fmla="*/ 16 w 33"/>
                  <a:gd name="T1" fmla="*/ 9 h 56"/>
                  <a:gd name="T2" fmla="*/ 4 w 33"/>
                  <a:gd name="T3" fmla="*/ 16 h 56"/>
                  <a:gd name="T4" fmla="*/ 0 w 33"/>
                  <a:gd name="T5" fmla="*/ 9 h 56"/>
                  <a:gd name="T6" fmla="*/ 16 w 33"/>
                  <a:gd name="T7" fmla="*/ 0 h 56"/>
                  <a:gd name="T8" fmla="*/ 26 w 33"/>
                  <a:gd name="T9" fmla="*/ 0 h 56"/>
                  <a:gd name="T10" fmla="*/ 26 w 33"/>
                  <a:gd name="T11" fmla="*/ 49 h 56"/>
                  <a:gd name="T12" fmla="*/ 33 w 33"/>
                  <a:gd name="T13" fmla="*/ 49 h 56"/>
                  <a:gd name="T14" fmla="*/ 33 w 33"/>
                  <a:gd name="T15" fmla="*/ 56 h 56"/>
                  <a:gd name="T16" fmla="*/ 7 w 33"/>
                  <a:gd name="T17" fmla="*/ 56 h 56"/>
                  <a:gd name="T18" fmla="*/ 7 w 33"/>
                  <a:gd name="T19" fmla="*/ 49 h 56"/>
                  <a:gd name="T20" fmla="*/ 16 w 33"/>
                  <a:gd name="T21" fmla="*/ 49 h 56"/>
                  <a:gd name="T22" fmla="*/ 16 w 33"/>
                  <a:gd name="T23" fmla="*/ 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6">
                    <a:moveTo>
                      <a:pt x="16" y="9"/>
                    </a:moveTo>
                    <a:lnTo>
                      <a:pt x="4" y="16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6"/>
                    </a:lnTo>
                    <a:lnTo>
                      <a:pt x="7" y="56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42" name="Freeform 75">
                <a:extLst>
                  <a:ext uri="{FF2B5EF4-FFF2-40B4-BE49-F238E27FC236}">
                    <a16:creationId xmlns:a16="http://schemas.microsoft.com/office/drawing/2014/main" id="{CD8B2F3D-141C-860C-1385-7BB3A38752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02906" y="6667025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43" name="Freeform 76">
                <a:extLst>
                  <a:ext uri="{FF2B5EF4-FFF2-40B4-BE49-F238E27FC236}">
                    <a16:creationId xmlns:a16="http://schemas.microsoft.com/office/drawing/2014/main" id="{58F8B899-9D00-8C16-32C6-3BA4A0C881D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02906" y="6819610"/>
                <a:ext cx="60430" cy="89134"/>
              </a:xfrm>
              <a:custGeom>
                <a:avLst/>
                <a:gdLst>
                  <a:gd name="T0" fmla="*/ 17 w 17"/>
                  <a:gd name="T1" fmla="*/ 13 h 25"/>
                  <a:gd name="T2" fmla="*/ 9 w 17"/>
                  <a:gd name="T3" fmla="*/ 25 h 25"/>
                  <a:gd name="T4" fmla="*/ 0 w 17"/>
                  <a:gd name="T5" fmla="*/ 13 h 25"/>
                  <a:gd name="T6" fmla="*/ 9 w 17"/>
                  <a:gd name="T7" fmla="*/ 0 h 25"/>
                  <a:gd name="T8" fmla="*/ 17 w 17"/>
                  <a:gd name="T9" fmla="*/ 13 h 25"/>
                  <a:gd name="T10" fmla="*/ 4 w 17"/>
                  <a:gd name="T11" fmla="*/ 13 h 25"/>
                  <a:gd name="T12" fmla="*/ 9 w 17"/>
                  <a:gd name="T13" fmla="*/ 22 h 25"/>
                  <a:gd name="T14" fmla="*/ 13 w 17"/>
                  <a:gd name="T15" fmla="*/ 13 h 25"/>
                  <a:gd name="T16" fmla="*/ 9 w 17"/>
                  <a:gd name="T17" fmla="*/ 4 h 25"/>
                  <a:gd name="T18" fmla="*/ 4 w 17"/>
                  <a:gd name="T19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5">
                    <a:moveTo>
                      <a:pt x="17" y="13"/>
                    </a:moveTo>
                    <a:cubicBezTo>
                      <a:pt x="17" y="21"/>
                      <a:pt x="14" y="25"/>
                      <a:pt x="9" y="25"/>
                    </a:cubicBezTo>
                    <a:cubicBezTo>
                      <a:pt x="3" y="25"/>
                      <a:pt x="0" y="21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44" name="Freeform 83">
                <a:extLst>
                  <a:ext uri="{FF2B5EF4-FFF2-40B4-BE49-F238E27FC236}">
                    <a16:creationId xmlns:a16="http://schemas.microsoft.com/office/drawing/2014/main" id="{8512FE56-ED2B-FE89-CDBE-AAAB7C44D6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46606" y="4236241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3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45" name="Freeform 84">
                <a:extLst>
                  <a:ext uri="{FF2B5EF4-FFF2-40B4-BE49-F238E27FC236}">
                    <a16:creationId xmlns:a16="http://schemas.microsoft.com/office/drawing/2014/main" id="{FF2281E6-4CF0-F655-4C22-F4F052DBA09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43584" y="4503643"/>
                <a:ext cx="110285" cy="164671"/>
              </a:xfrm>
              <a:custGeom>
                <a:avLst/>
                <a:gdLst>
                  <a:gd name="T0" fmla="*/ 31 w 31"/>
                  <a:gd name="T1" fmla="*/ 23 h 46"/>
                  <a:gd name="T2" fmla="*/ 15 w 31"/>
                  <a:gd name="T3" fmla="*/ 46 h 46"/>
                  <a:gd name="T4" fmla="*/ 0 w 31"/>
                  <a:gd name="T5" fmla="*/ 23 h 46"/>
                  <a:gd name="T6" fmla="*/ 15 w 31"/>
                  <a:gd name="T7" fmla="*/ 0 h 46"/>
                  <a:gd name="T8" fmla="*/ 31 w 31"/>
                  <a:gd name="T9" fmla="*/ 23 h 46"/>
                  <a:gd name="T10" fmla="*/ 8 w 31"/>
                  <a:gd name="T11" fmla="*/ 23 h 46"/>
                  <a:gd name="T12" fmla="*/ 15 w 31"/>
                  <a:gd name="T13" fmla="*/ 39 h 46"/>
                  <a:gd name="T14" fmla="*/ 23 w 31"/>
                  <a:gd name="T15" fmla="*/ 23 h 46"/>
                  <a:gd name="T16" fmla="*/ 15 w 31"/>
                  <a:gd name="T17" fmla="*/ 7 h 46"/>
                  <a:gd name="T18" fmla="*/ 8 w 31"/>
                  <a:gd name="T19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6">
                    <a:moveTo>
                      <a:pt x="31" y="23"/>
                    </a:moveTo>
                    <a:cubicBezTo>
                      <a:pt x="31" y="38"/>
                      <a:pt x="26" y="46"/>
                      <a:pt x="15" y="46"/>
                    </a:cubicBezTo>
                    <a:cubicBezTo>
                      <a:pt x="5" y="46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7"/>
                      <a:pt x="15" y="7"/>
                    </a:cubicBezTo>
                    <a:cubicBezTo>
                      <a:pt x="10" y="7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46" name="Freeform 85">
                <a:extLst>
                  <a:ext uri="{FF2B5EF4-FFF2-40B4-BE49-F238E27FC236}">
                    <a16:creationId xmlns:a16="http://schemas.microsoft.com/office/drawing/2014/main" id="{864A716E-4814-E632-EA3D-DD1E1DED3AD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43584" y="4775576"/>
                <a:ext cx="110285" cy="160139"/>
              </a:xfrm>
              <a:custGeom>
                <a:avLst/>
                <a:gdLst>
                  <a:gd name="T0" fmla="*/ 31 w 31"/>
                  <a:gd name="T1" fmla="*/ 23 h 45"/>
                  <a:gd name="T2" fmla="*/ 15 w 31"/>
                  <a:gd name="T3" fmla="*/ 45 h 45"/>
                  <a:gd name="T4" fmla="*/ 0 w 31"/>
                  <a:gd name="T5" fmla="*/ 23 h 45"/>
                  <a:gd name="T6" fmla="*/ 15 w 31"/>
                  <a:gd name="T7" fmla="*/ 0 h 45"/>
                  <a:gd name="T8" fmla="*/ 31 w 31"/>
                  <a:gd name="T9" fmla="*/ 23 h 45"/>
                  <a:gd name="T10" fmla="*/ 8 w 31"/>
                  <a:gd name="T11" fmla="*/ 23 h 45"/>
                  <a:gd name="T12" fmla="*/ 15 w 31"/>
                  <a:gd name="T13" fmla="*/ 39 h 45"/>
                  <a:gd name="T14" fmla="*/ 23 w 31"/>
                  <a:gd name="T15" fmla="*/ 23 h 45"/>
                  <a:gd name="T16" fmla="*/ 15 w 31"/>
                  <a:gd name="T17" fmla="*/ 6 h 45"/>
                  <a:gd name="T18" fmla="*/ 8 w 31"/>
                  <a:gd name="T19" fmla="*/ 2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31" y="23"/>
                    </a:moveTo>
                    <a:cubicBezTo>
                      <a:pt x="31" y="38"/>
                      <a:pt x="26" y="45"/>
                      <a:pt x="15" y="45"/>
                    </a:cubicBezTo>
                    <a:cubicBezTo>
                      <a:pt x="5" y="45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6"/>
                      <a:pt x="15" y="6"/>
                    </a:cubicBezTo>
                    <a:cubicBezTo>
                      <a:pt x="10" y="6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47" name="Freeform 86">
                <a:extLst>
                  <a:ext uri="{FF2B5EF4-FFF2-40B4-BE49-F238E27FC236}">
                    <a16:creationId xmlns:a16="http://schemas.microsoft.com/office/drawing/2014/main" id="{BF029133-F5A5-8B6D-C012-548EF935B3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46606" y="5049020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4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4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48" name="Freeform 87">
                <a:extLst>
                  <a:ext uri="{FF2B5EF4-FFF2-40B4-BE49-F238E27FC236}">
                    <a16:creationId xmlns:a16="http://schemas.microsoft.com/office/drawing/2014/main" id="{CD9EDD40-E57C-8711-2CD3-D70DB6329A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46606" y="5320954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1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1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49" name="Freeform 88">
                <a:extLst>
                  <a:ext uri="{FF2B5EF4-FFF2-40B4-BE49-F238E27FC236}">
                    <a16:creationId xmlns:a16="http://schemas.microsoft.com/office/drawing/2014/main" id="{857E3F4E-722B-708B-D9EF-1CEA367117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46606" y="5592887"/>
                <a:ext cx="92156" cy="155607"/>
              </a:xfrm>
              <a:custGeom>
                <a:avLst/>
                <a:gdLst>
                  <a:gd name="T0" fmla="*/ 31 w 61"/>
                  <a:gd name="T1" fmla="*/ 18 h 103"/>
                  <a:gd name="T2" fmla="*/ 10 w 61"/>
                  <a:gd name="T3" fmla="*/ 30 h 103"/>
                  <a:gd name="T4" fmla="*/ 0 w 61"/>
                  <a:gd name="T5" fmla="*/ 18 h 103"/>
                  <a:gd name="T6" fmla="*/ 31 w 61"/>
                  <a:gd name="T7" fmla="*/ 0 h 103"/>
                  <a:gd name="T8" fmla="*/ 47 w 61"/>
                  <a:gd name="T9" fmla="*/ 0 h 103"/>
                  <a:gd name="T10" fmla="*/ 47 w 61"/>
                  <a:gd name="T11" fmla="*/ 89 h 103"/>
                  <a:gd name="T12" fmla="*/ 61 w 61"/>
                  <a:gd name="T13" fmla="*/ 89 h 103"/>
                  <a:gd name="T14" fmla="*/ 61 w 61"/>
                  <a:gd name="T15" fmla="*/ 103 h 103"/>
                  <a:gd name="T16" fmla="*/ 17 w 61"/>
                  <a:gd name="T17" fmla="*/ 103 h 103"/>
                  <a:gd name="T18" fmla="*/ 17 w 61"/>
                  <a:gd name="T19" fmla="*/ 89 h 103"/>
                  <a:gd name="T20" fmla="*/ 31 w 61"/>
                  <a:gd name="T21" fmla="*/ 89 h 103"/>
                  <a:gd name="T22" fmla="*/ 31 w 61"/>
                  <a:gd name="T23" fmla="*/ 18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3">
                    <a:moveTo>
                      <a:pt x="31" y="18"/>
                    </a:moveTo>
                    <a:lnTo>
                      <a:pt x="10" y="30"/>
                    </a:lnTo>
                    <a:lnTo>
                      <a:pt x="0" y="18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89"/>
                    </a:lnTo>
                    <a:lnTo>
                      <a:pt x="61" y="89"/>
                    </a:lnTo>
                    <a:lnTo>
                      <a:pt x="61" y="103"/>
                    </a:lnTo>
                    <a:lnTo>
                      <a:pt x="17" y="103"/>
                    </a:lnTo>
                    <a:lnTo>
                      <a:pt x="17" y="89"/>
                    </a:lnTo>
                    <a:lnTo>
                      <a:pt x="31" y="89"/>
                    </a:lnTo>
                    <a:lnTo>
                      <a:pt x="31" y="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50" name="Freeform 89">
                <a:extLst>
                  <a:ext uri="{FF2B5EF4-FFF2-40B4-BE49-F238E27FC236}">
                    <a16:creationId xmlns:a16="http://schemas.microsoft.com/office/drawing/2014/main" id="{3D6A7C0D-1ED1-E155-06DF-2F9313F466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43584" y="5860289"/>
                <a:ext cx="110285" cy="160139"/>
              </a:xfrm>
              <a:custGeom>
                <a:avLst/>
                <a:gdLst>
                  <a:gd name="T0" fmla="*/ 31 w 31"/>
                  <a:gd name="T1" fmla="*/ 23 h 45"/>
                  <a:gd name="T2" fmla="*/ 15 w 31"/>
                  <a:gd name="T3" fmla="*/ 45 h 45"/>
                  <a:gd name="T4" fmla="*/ 0 w 31"/>
                  <a:gd name="T5" fmla="*/ 22 h 45"/>
                  <a:gd name="T6" fmla="*/ 15 w 31"/>
                  <a:gd name="T7" fmla="*/ 0 h 45"/>
                  <a:gd name="T8" fmla="*/ 31 w 31"/>
                  <a:gd name="T9" fmla="*/ 23 h 45"/>
                  <a:gd name="T10" fmla="*/ 8 w 31"/>
                  <a:gd name="T11" fmla="*/ 22 h 45"/>
                  <a:gd name="T12" fmla="*/ 15 w 31"/>
                  <a:gd name="T13" fmla="*/ 39 h 45"/>
                  <a:gd name="T14" fmla="*/ 23 w 31"/>
                  <a:gd name="T15" fmla="*/ 23 h 45"/>
                  <a:gd name="T16" fmla="*/ 15 w 31"/>
                  <a:gd name="T17" fmla="*/ 6 h 45"/>
                  <a:gd name="T18" fmla="*/ 8 w 31"/>
                  <a:gd name="T19" fmla="*/ 2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31" y="23"/>
                    </a:moveTo>
                    <a:cubicBezTo>
                      <a:pt x="31" y="38"/>
                      <a:pt x="26" y="45"/>
                      <a:pt x="15" y="45"/>
                    </a:cubicBezTo>
                    <a:cubicBezTo>
                      <a:pt x="5" y="45"/>
                      <a:pt x="0" y="38"/>
                      <a:pt x="0" y="22"/>
                    </a:cubicBezTo>
                    <a:cubicBezTo>
                      <a:pt x="0" y="7"/>
                      <a:pt x="5" y="0"/>
                      <a:pt x="15" y="0"/>
                    </a:cubicBezTo>
                    <a:cubicBezTo>
                      <a:pt x="26" y="0"/>
                      <a:pt x="31" y="7"/>
                      <a:pt x="31" y="23"/>
                    </a:cubicBezTo>
                    <a:close/>
                    <a:moveTo>
                      <a:pt x="8" y="22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1"/>
                      <a:pt x="20" y="6"/>
                      <a:pt x="15" y="6"/>
                    </a:cubicBezTo>
                    <a:cubicBezTo>
                      <a:pt x="10" y="6"/>
                      <a:pt x="8" y="11"/>
                      <a:pt x="8" y="2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51" name="Freeform 90">
                <a:extLst>
                  <a:ext uri="{FF2B5EF4-FFF2-40B4-BE49-F238E27FC236}">
                    <a16:creationId xmlns:a16="http://schemas.microsoft.com/office/drawing/2014/main" id="{C9727A72-9C4D-7B05-FB84-76591D2CB5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43584" y="6673068"/>
                <a:ext cx="110285" cy="161650"/>
              </a:xfrm>
              <a:custGeom>
                <a:avLst/>
                <a:gdLst>
                  <a:gd name="T0" fmla="*/ 31 w 31"/>
                  <a:gd name="T1" fmla="*/ 22 h 45"/>
                  <a:gd name="T2" fmla="*/ 15 w 31"/>
                  <a:gd name="T3" fmla="*/ 45 h 45"/>
                  <a:gd name="T4" fmla="*/ 0 w 31"/>
                  <a:gd name="T5" fmla="*/ 22 h 45"/>
                  <a:gd name="T6" fmla="*/ 15 w 31"/>
                  <a:gd name="T7" fmla="*/ 0 h 45"/>
                  <a:gd name="T8" fmla="*/ 31 w 31"/>
                  <a:gd name="T9" fmla="*/ 22 h 45"/>
                  <a:gd name="T10" fmla="*/ 8 w 31"/>
                  <a:gd name="T11" fmla="*/ 22 h 45"/>
                  <a:gd name="T12" fmla="*/ 15 w 31"/>
                  <a:gd name="T13" fmla="*/ 39 h 45"/>
                  <a:gd name="T14" fmla="*/ 23 w 31"/>
                  <a:gd name="T15" fmla="*/ 22 h 45"/>
                  <a:gd name="T16" fmla="*/ 15 w 31"/>
                  <a:gd name="T17" fmla="*/ 6 h 45"/>
                  <a:gd name="T18" fmla="*/ 8 w 31"/>
                  <a:gd name="T19" fmla="*/ 2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31" y="22"/>
                    </a:moveTo>
                    <a:cubicBezTo>
                      <a:pt x="31" y="38"/>
                      <a:pt x="26" y="45"/>
                      <a:pt x="15" y="45"/>
                    </a:cubicBezTo>
                    <a:cubicBezTo>
                      <a:pt x="5" y="45"/>
                      <a:pt x="0" y="38"/>
                      <a:pt x="0" y="22"/>
                    </a:cubicBezTo>
                    <a:cubicBezTo>
                      <a:pt x="0" y="7"/>
                      <a:pt x="5" y="0"/>
                      <a:pt x="15" y="0"/>
                    </a:cubicBezTo>
                    <a:cubicBezTo>
                      <a:pt x="26" y="0"/>
                      <a:pt x="31" y="7"/>
                      <a:pt x="31" y="22"/>
                    </a:cubicBezTo>
                    <a:close/>
                    <a:moveTo>
                      <a:pt x="8" y="22"/>
                    </a:moveTo>
                    <a:cubicBezTo>
                      <a:pt x="8" y="33"/>
                      <a:pt x="10" y="39"/>
                      <a:pt x="15" y="39"/>
                    </a:cubicBezTo>
                    <a:cubicBezTo>
                      <a:pt x="20" y="39"/>
                      <a:pt x="23" y="33"/>
                      <a:pt x="23" y="22"/>
                    </a:cubicBezTo>
                    <a:cubicBezTo>
                      <a:pt x="23" y="11"/>
                      <a:pt x="20" y="6"/>
                      <a:pt x="15" y="6"/>
                    </a:cubicBezTo>
                    <a:cubicBezTo>
                      <a:pt x="10" y="6"/>
                      <a:pt x="8" y="11"/>
                      <a:pt x="8" y="2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52" name="Freeform 95">
                <a:extLst>
                  <a:ext uri="{FF2B5EF4-FFF2-40B4-BE49-F238E27FC236}">
                    <a16:creationId xmlns:a16="http://schemas.microsoft.com/office/drawing/2014/main" id="{A9E5837D-E153-7C89-2FBA-9EE251D8BD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3350946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53" name="Freeform 96">
                <a:extLst>
                  <a:ext uri="{FF2B5EF4-FFF2-40B4-BE49-F238E27FC236}">
                    <a16:creationId xmlns:a16="http://schemas.microsoft.com/office/drawing/2014/main" id="{6217CD68-FDB2-AF22-A549-605AA2EE94A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3497488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54" name="Freeform 97">
                <a:extLst>
                  <a:ext uri="{FF2B5EF4-FFF2-40B4-BE49-F238E27FC236}">
                    <a16:creationId xmlns:a16="http://schemas.microsoft.com/office/drawing/2014/main" id="{2C39A578-2C12-ED9F-14CE-14F14675CC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3644030"/>
                <a:ext cx="52876" cy="84602"/>
              </a:xfrm>
              <a:custGeom>
                <a:avLst/>
                <a:gdLst>
                  <a:gd name="T0" fmla="*/ 16 w 35"/>
                  <a:gd name="T1" fmla="*/ 14 h 56"/>
                  <a:gd name="T2" fmla="*/ 7 w 35"/>
                  <a:gd name="T3" fmla="*/ 21 h 56"/>
                  <a:gd name="T4" fmla="*/ 0 w 35"/>
                  <a:gd name="T5" fmla="*/ 11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4"/>
                    </a:moveTo>
                    <a:lnTo>
                      <a:pt x="7" y="21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55" name="Freeform 98">
                <a:extLst>
                  <a:ext uri="{FF2B5EF4-FFF2-40B4-BE49-F238E27FC236}">
                    <a16:creationId xmlns:a16="http://schemas.microsoft.com/office/drawing/2014/main" id="{DF8F6634-D5FE-7317-ABE8-6672B687FF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3790572"/>
                <a:ext cx="67984" cy="84602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56" name="Freeform 99">
                <a:extLst>
                  <a:ext uri="{FF2B5EF4-FFF2-40B4-BE49-F238E27FC236}">
                    <a16:creationId xmlns:a16="http://schemas.microsoft.com/office/drawing/2014/main" id="{766B23B0-0C7F-9732-046B-C08C9D2E13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3935604"/>
                <a:ext cx="52876" cy="86113"/>
              </a:xfrm>
              <a:custGeom>
                <a:avLst/>
                <a:gdLst>
                  <a:gd name="T0" fmla="*/ 16 w 35"/>
                  <a:gd name="T1" fmla="*/ 15 h 57"/>
                  <a:gd name="T2" fmla="*/ 7 w 35"/>
                  <a:gd name="T3" fmla="*/ 22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8 h 57"/>
                  <a:gd name="T12" fmla="*/ 35 w 35"/>
                  <a:gd name="T13" fmla="*/ 48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8 h 57"/>
                  <a:gd name="T20" fmla="*/ 16 w 35"/>
                  <a:gd name="T21" fmla="*/ 48 h 57"/>
                  <a:gd name="T22" fmla="*/ 16 w 35"/>
                  <a:gd name="T23" fmla="*/ 1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5"/>
                    </a:moveTo>
                    <a:lnTo>
                      <a:pt x="7" y="22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57" name="Freeform 100">
                <a:extLst>
                  <a:ext uri="{FF2B5EF4-FFF2-40B4-BE49-F238E27FC236}">
                    <a16:creationId xmlns:a16="http://schemas.microsoft.com/office/drawing/2014/main" id="{8159F9F8-1CEA-F4DE-317E-021D793415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4082145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58" name="Freeform 101">
                <a:extLst>
                  <a:ext uri="{FF2B5EF4-FFF2-40B4-BE49-F238E27FC236}">
                    <a16:creationId xmlns:a16="http://schemas.microsoft.com/office/drawing/2014/main" id="{4A62512D-FB5F-733D-687C-F32930B89A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4228688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59" name="Freeform 102">
                <a:extLst>
                  <a:ext uri="{FF2B5EF4-FFF2-40B4-BE49-F238E27FC236}">
                    <a16:creationId xmlns:a16="http://schemas.microsoft.com/office/drawing/2014/main" id="{BF9A4D8C-8F42-A8E1-0C04-6E4CBDF3D1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4375229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60" name="Freeform 103">
                <a:extLst>
                  <a:ext uri="{FF2B5EF4-FFF2-40B4-BE49-F238E27FC236}">
                    <a16:creationId xmlns:a16="http://schemas.microsoft.com/office/drawing/2014/main" id="{5C76A7E9-F361-C594-7847-AAF769611C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4524793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5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5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61" name="Freeform 104">
                <a:extLst>
                  <a:ext uri="{FF2B5EF4-FFF2-40B4-BE49-F238E27FC236}">
                    <a16:creationId xmlns:a16="http://schemas.microsoft.com/office/drawing/2014/main" id="{68FC0420-57FC-28E5-B014-3185721367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4668313"/>
                <a:ext cx="67984" cy="89134"/>
              </a:xfrm>
              <a:custGeom>
                <a:avLst/>
                <a:gdLst>
                  <a:gd name="T0" fmla="*/ 17 w 19"/>
                  <a:gd name="T1" fmla="*/ 4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4 h 25"/>
                  <a:gd name="T16" fmla="*/ 6 w 19"/>
                  <a:gd name="T17" fmla="*/ 12 h 25"/>
                  <a:gd name="T18" fmla="*/ 10 w 19"/>
                  <a:gd name="T19" fmla="*/ 20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3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62" name="Freeform 105">
                <a:extLst>
                  <a:ext uri="{FF2B5EF4-FFF2-40B4-BE49-F238E27FC236}">
                    <a16:creationId xmlns:a16="http://schemas.microsoft.com/office/drawing/2014/main" id="{3E4F4CBD-D004-3F71-28F8-B5863C379E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4817877"/>
                <a:ext cx="52876" cy="81580"/>
              </a:xfrm>
              <a:custGeom>
                <a:avLst/>
                <a:gdLst>
                  <a:gd name="T0" fmla="*/ 16 w 35"/>
                  <a:gd name="T1" fmla="*/ 12 h 54"/>
                  <a:gd name="T2" fmla="*/ 7 w 35"/>
                  <a:gd name="T3" fmla="*/ 19 h 54"/>
                  <a:gd name="T4" fmla="*/ 0 w 35"/>
                  <a:gd name="T5" fmla="*/ 9 h 54"/>
                  <a:gd name="T6" fmla="*/ 19 w 35"/>
                  <a:gd name="T7" fmla="*/ 0 h 54"/>
                  <a:gd name="T8" fmla="*/ 28 w 35"/>
                  <a:gd name="T9" fmla="*/ 0 h 54"/>
                  <a:gd name="T10" fmla="*/ 28 w 35"/>
                  <a:gd name="T11" fmla="*/ 45 h 54"/>
                  <a:gd name="T12" fmla="*/ 35 w 35"/>
                  <a:gd name="T13" fmla="*/ 45 h 54"/>
                  <a:gd name="T14" fmla="*/ 35 w 35"/>
                  <a:gd name="T15" fmla="*/ 54 h 54"/>
                  <a:gd name="T16" fmla="*/ 9 w 35"/>
                  <a:gd name="T17" fmla="*/ 54 h 54"/>
                  <a:gd name="T18" fmla="*/ 9 w 35"/>
                  <a:gd name="T19" fmla="*/ 45 h 54"/>
                  <a:gd name="T20" fmla="*/ 16 w 35"/>
                  <a:gd name="T21" fmla="*/ 45 h 54"/>
                  <a:gd name="T22" fmla="*/ 16 w 35"/>
                  <a:gd name="T23" fmla="*/ 1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4">
                    <a:moveTo>
                      <a:pt x="16" y="12"/>
                    </a:moveTo>
                    <a:lnTo>
                      <a:pt x="7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4"/>
                    </a:lnTo>
                    <a:lnTo>
                      <a:pt x="9" y="54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63" name="Freeform 106">
                <a:extLst>
                  <a:ext uri="{FF2B5EF4-FFF2-40B4-BE49-F238E27FC236}">
                    <a16:creationId xmlns:a16="http://schemas.microsoft.com/office/drawing/2014/main" id="{262F280E-AACA-6530-7B25-BC7220945CB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4959887"/>
                <a:ext cx="67984" cy="89134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2 h 25"/>
                  <a:gd name="T18" fmla="*/ 10 w 19"/>
                  <a:gd name="T19" fmla="*/ 21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64" name="Freeform 107">
                <a:extLst>
                  <a:ext uri="{FF2B5EF4-FFF2-40B4-BE49-F238E27FC236}">
                    <a16:creationId xmlns:a16="http://schemas.microsoft.com/office/drawing/2014/main" id="{73BF9704-599E-58FC-24D1-0E5413C646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5106428"/>
                <a:ext cx="67984" cy="89134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2 h 25"/>
                  <a:gd name="T18" fmla="*/ 10 w 19"/>
                  <a:gd name="T19" fmla="*/ 21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65" name="Freeform 108">
                <a:extLst>
                  <a:ext uri="{FF2B5EF4-FFF2-40B4-BE49-F238E27FC236}">
                    <a16:creationId xmlns:a16="http://schemas.microsoft.com/office/drawing/2014/main" id="{597FF732-724D-B17B-8022-358B4AD88C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5255992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8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8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8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8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66" name="Freeform 109">
                <a:extLst>
                  <a:ext uri="{FF2B5EF4-FFF2-40B4-BE49-F238E27FC236}">
                    <a16:creationId xmlns:a16="http://schemas.microsoft.com/office/drawing/2014/main" id="{1CEE24D7-BE28-3EE0-4115-821D70527F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5402534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8 h 55"/>
                  <a:gd name="T12" fmla="*/ 35 w 35"/>
                  <a:gd name="T13" fmla="*/ 48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8 h 55"/>
                  <a:gd name="T20" fmla="*/ 16 w 35"/>
                  <a:gd name="T21" fmla="*/ 48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67" name="Freeform 110">
                <a:extLst>
                  <a:ext uri="{FF2B5EF4-FFF2-40B4-BE49-F238E27FC236}">
                    <a16:creationId xmlns:a16="http://schemas.microsoft.com/office/drawing/2014/main" id="{D249FFE5-F09B-CFEB-5301-2F311686874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5546055"/>
                <a:ext cx="67984" cy="89134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3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1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3 h 25"/>
                  <a:gd name="T18" fmla="*/ 10 w 19"/>
                  <a:gd name="T19" fmla="*/ 21 h 25"/>
                  <a:gd name="T20" fmla="*/ 14 w 19"/>
                  <a:gd name="T21" fmla="*/ 13 h 25"/>
                  <a:gd name="T22" fmla="*/ 10 w 19"/>
                  <a:gd name="T23" fmla="*/ 5 h 25"/>
                  <a:gd name="T24" fmla="*/ 6 w 19"/>
                  <a:gd name="T25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7"/>
                      <a:pt x="19" y="9"/>
                      <a:pt x="19" y="13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1"/>
                    </a:cubicBezTo>
                    <a:cubicBezTo>
                      <a:pt x="1" y="19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3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3"/>
                    </a:cubicBezTo>
                    <a:cubicBezTo>
                      <a:pt x="14" y="7"/>
                      <a:pt x="12" y="5"/>
                      <a:pt x="10" y="5"/>
                    </a:cubicBezTo>
                    <a:cubicBezTo>
                      <a:pt x="7" y="5"/>
                      <a:pt x="6" y="7"/>
                      <a:pt x="6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68" name="Freeform 111">
                <a:extLst>
                  <a:ext uri="{FF2B5EF4-FFF2-40B4-BE49-F238E27FC236}">
                    <a16:creationId xmlns:a16="http://schemas.microsoft.com/office/drawing/2014/main" id="{532039DD-A0FC-73A5-0AFC-C48D86D72D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5695618"/>
                <a:ext cx="52876" cy="81580"/>
              </a:xfrm>
              <a:custGeom>
                <a:avLst/>
                <a:gdLst>
                  <a:gd name="T0" fmla="*/ 16 w 35"/>
                  <a:gd name="T1" fmla="*/ 12 h 54"/>
                  <a:gd name="T2" fmla="*/ 7 w 35"/>
                  <a:gd name="T3" fmla="*/ 19 h 54"/>
                  <a:gd name="T4" fmla="*/ 0 w 35"/>
                  <a:gd name="T5" fmla="*/ 9 h 54"/>
                  <a:gd name="T6" fmla="*/ 19 w 35"/>
                  <a:gd name="T7" fmla="*/ 0 h 54"/>
                  <a:gd name="T8" fmla="*/ 28 w 35"/>
                  <a:gd name="T9" fmla="*/ 0 h 54"/>
                  <a:gd name="T10" fmla="*/ 28 w 35"/>
                  <a:gd name="T11" fmla="*/ 47 h 54"/>
                  <a:gd name="T12" fmla="*/ 35 w 35"/>
                  <a:gd name="T13" fmla="*/ 47 h 54"/>
                  <a:gd name="T14" fmla="*/ 35 w 35"/>
                  <a:gd name="T15" fmla="*/ 54 h 54"/>
                  <a:gd name="T16" fmla="*/ 9 w 35"/>
                  <a:gd name="T17" fmla="*/ 54 h 54"/>
                  <a:gd name="T18" fmla="*/ 9 w 35"/>
                  <a:gd name="T19" fmla="*/ 47 h 54"/>
                  <a:gd name="T20" fmla="*/ 16 w 35"/>
                  <a:gd name="T21" fmla="*/ 47 h 54"/>
                  <a:gd name="T22" fmla="*/ 16 w 35"/>
                  <a:gd name="T23" fmla="*/ 1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4">
                    <a:moveTo>
                      <a:pt x="16" y="12"/>
                    </a:moveTo>
                    <a:lnTo>
                      <a:pt x="7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4"/>
                    </a:lnTo>
                    <a:lnTo>
                      <a:pt x="9" y="54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69" name="Freeform 112">
                <a:extLst>
                  <a:ext uri="{FF2B5EF4-FFF2-40B4-BE49-F238E27FC236}">
                    <a16:creationId xmlns:a16="http://schemas.microsoft.com/office/drawing/2014/main" id="{A2411F49-6722-4413-2601-F40781848A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5839139"/>
                <a:ext cx="67984" cy="89134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3 h 25"/>
                  <a:gd name="T4" fmla="*/ 17 w 19"/>
                  <a:gd name="T5" fmla="*/ 22 h 25"/>
                  <a:gd name="T6" fmla="*/ 10 w 19"/>
                  <a:gd name="T7" fmla="*/ 25 h 25"/>
                  <a:gd name="T8" fmla="*/ 2 w 19"/>
                  <a:gd name="T9" fmla="*/ 21 h 25"/>
                  <a:gd name="T10" fmla="*/ 0 w 19"/>
                  <a:gd name="T11" fmla="*/ 13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3 h 25"/>
                  <a:gd name="T18" fmla="*/ 10 w 19"/>
                  <a:gd name="T19" fmla="*/ 21 h 25"/>
                  <a:gd name="T20" fmla="*/ 14 w 19"/>
                  <a:gd name="T21" fmla="*/ 13 h 25"/>
                  <a:gd name="T22" fmla="*/ 10 w 19"/>
                  <a:gd name="T23" fmla="*/ 5 h 25"/>
                  <a:gd name="T24" fmla="*/ 6 w 19"/>
                  <a:gd name="T25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7"/>
                      <a:pt x="19" y="9"/>
                      <a:pt x="19" y="13"/>
                    </a:cubicBezTo>
                    <a:cubicBezTo>
                      <a:pt x="19" y="17"/>
                      <a:pt x="18" y="20"/>
                      <a:pt x="17" y="22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1"/>
                    </a:cubicBezTo>
                    <a:cubicBezTo>
                      <a:pt x="1" y="19"/>
                      <a:pt x="0" y="16"/>
                      <a:pt x="0" y="13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3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3"/>
                    </a:cubicBezTo>
                    <a:cubicBezTo>
                      <a:pt x="14" y="7"/>
                      <a:pt x="12" y="5"/>
                      <a:pt x="10" y="5"/>
                    </a:cubicBezTo>
                    <a:cubicBezTo>
                      <a:pt x="7" y="5"/>
                      <a:pt x="6" y="7"/>
                      <a:pt x="6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70" name="Freeform 113">
                <a:extLst>
                  <a:ext uri="{FF2B5EF4-FFF2-40B4-BE49-F238E27FC236}">
                    <a16:creationId xmlns:a16="http://schemas.microsoft.com/office/drawing/2014/main" id="{0A0838EC-ABE1-12CB-89AA-40D527F46F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5988702"/>
                <a:ext cx="52876" cy="84602"/>
              </a:xfrm>
              <a:custGeom>
                <a:avLst/>
                <a:gdLst>
                  <a:gd name="T0" fmla="*/ 16 w 35"/>
                  <a:gd name="T1" fmla="*/ 12 h 56"/>
                  <a:gd name="T2" fmla="*/ 7 w 35"/>
                  <a:gd name="T3" fmla="*/ 19 h 56"/>
                  <a:gd name="T4" fmla="*/ 0 w 35"/>
                  <a:gd name="T5" fmla="*/ 9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2"/>
                    </a:moveTo>
                    <a:lnTo>
                      <a:pt x="7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71" name="Freeform 114">
                <a:extLst>
                  <a:ext uri="{FF2B5EF4-FFF2-40B4-BE49-F238E27FC236}">
                    <a16:creationId xmlns:a16="http://schemas.microsoft.com/office/drawing/2014/main" id="{98C547AB-BF28-174F-E06D-5C579E0BCA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6135244"/>
                <a:ext cx="52876" cy="84602"/>
              </a:xfrm>
              <a:custGeom>
                <a:avLst/>
                <a:gdLst>
                  <a:gd name="T0" fmla="*/ 16 w 35"/>
                  <a:gd name="T1" fmla="*/ 11 h 56"/>
                  <a:gd name="T2" fmla="*/ 7 w 35"/>
                  <a:gd name="T3" fmla="*/ 18 h 56"/>
                  <a:gd name="T4" fmla="*/ 0 w 35"/>
                  <a:gd name="T5" fmla="*/ 9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1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1"/>
                    </a:moveTo>
                    <a:lnTo>
                      <a:pt x="7" y="18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72" name="Freeform 115">
                <a:extLst>
                  <a:ext uri="{FF2B5EF4-FFF2-40B4-BE49-F238E27FC236}">
                    <a16:creationId xmlns:a16="http://schemas.microsoft.com/office/drawing/2014/main" id="{279AADE2-77D5-5A5C-7834-E1E254A6DCA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6280275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8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5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7"/>
                      <a:pt x="7" y="20"/>
                      <a:pt x="10" y="20"/>
                    </a:cubicBezTo>
                    <a:cubicBezTo>
                      <a:pt x="12" y="20"/>
                      <a:pt x="14" y="17"/>
                      <a:pt x="14" y="12"/>
                    </a:cubicBezTo>
                    <a:cubicBezTo>
                      <a:pt x="14" y="6"/>
                      <a:pt x="12" y="4"/>
                      <a:pt x="10" y="4"/>
                    </a:cubicBezTo>
                    <a:cubicBezTo>
                      <a:pt x="7" y="4"/>
                      <a:pt x="6" y="6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73" name="Freeform 116">
                <a:extLst>
                  <a:ext uri="{FF2B5EF4-FFF2-40B4-BE49-F238E27FC236}">
                    <a16:creationId xmlns:a16="http://schemas.microsoft.com/office/drawing/2014/main" id="{68D09042-09FF-852C-D5E4-F502FB9E1B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6426817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8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5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7"/>
                      <a:pt x="7" y="20"/>
                      <a:pt x="10" y="20"/>
                    </a:cubicBezTo>
                    <a:cubicBezTo>
                      <a:pt x="12" y="20"/>
                      <a:pt x="14" y="17"/>
                      <a:pt x="14" y="12"/>
                    </a:cubicBezTo>
                    <a:cubicBezTo>
                      <a:pt x="14" y="6"/>
                      <a:pt x="12" y="4"/>
                      <a:pt x="10" y="4"/>
                    </a:cubicBezTo>
                    <a:cubicBezTo>
                      <a:pt x="7" y="4"/>
                      <a:pt x="6" y="6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74" name="Freeform 117">
                <a:extLst>
                  <a:ext uri="{FF2B5EF4-FFF2-40B4-BE49-F238E27FC236}">
                    <a16:creationId xmlns:a16="http://schemas.microsoft.com/office/drawing/2014/main" id="{860268AD-A813-F20E-57C0-EA4802E6C89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6573359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8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5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7"/>
                      <a:pt x="7" y="20"/>
                      <a:pt x="10" y="20"/>
                    </a:cubicBezTo>
                    <a:cubicBezTo>
                      <a:pt x="12" y="20"/>
                      <a:pt x="14" y="17"/>
                      <a:pt x="14" y="12"/>
                    </a:cubicBezTo>
                    <a:cubicBezTo>
                      <a:pt x="14" y="6"/>
                      <a:pt x="12" y="4"/>
                      <a:pt x="10" y="4"/>
                    </a:cubicBezTo>
                    <a:cubicBezTo>
                      <a:pt x="7" y="4"/>
                      <a:pt x="6" y="6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75" name="Freeform 118">
                <a:extLst>
                  <a:ext uri="{FF2B5EF4-FFF2-40B4-BE49-F238E27FC236}">
                    <a16:creationId xmlns:a16="http://schemas.microsoft.com/office/drawing/2014/main" id="{B07344B1-C8DD-DEC1-6E6F-CBD6B868FA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6719901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76" name="Freeform 119">
                <a:extLst>
                  <a:ext uri="{FF2B5EF4-FFF2-40B4-BE49-F238E27FC236}">
                    <a16:creationId xmlns:a16="http://schemas.microsoft.com/office/drawing/2014/main" id="{38EBB45F-021E-E8FB-BA23-6F7493493F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6866443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8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5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6"/>
                      <a:pt x="12" y="4"/>
                      <a:pt x="10" y="4"/>
                    </a:cubicBezTo>
                    <a:cubicBezTo>
                      <a:pt x="7" y="4"/>
                      <a:pt x="6" y="6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77" name="Freeform 135">
                <a:extLst>
                  <a:ext uri="{FF2B5EF4-FFF2-40B4-BE49-F238E27FC236}">
                    <a16:creationId xmlns:a16="http://schemas.microsoft.com/office/drawing/2014/main" id="{DA6B9C90-5B50-4E6B-DF3F-A59C1F8940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68629" y="3718057"/>
                <a:ext cx="60430" cy="111795"/>
              </a:xfrm>
              <a:custGeom>
                <a:avLst/>
                <a:gdLst>
                  <a:gd name="T0" fmla="*/ 19 w 40"/>
                  <a:gd name="T1" fmla="*/ 14 h 74"/>
                  <a:gd name="T2" fmla="*/ 4 w 40"/>
                  <a:gd name="T3" fmla="*/ 24 h 74"/>
                  <a:gd name="T4" fmla="*/ 0 w 40"/>
                  <a:gd name="T5" fmla="*/ 14 h 74"/>
                  <a:gd name="T6" fmla="*/ 21 w 40"/>
                  <a:gd name="T7" fmla="*/ 0 h 74"/>
                  <a:gd name="T8" fmla="*/ 30 w 40"/>
                  <a:gd name="T9" fmla="*/ 0 h 74"/>
                  <a:gd name="T10" fmla="*/ 30 w 40"/>
                  <a:gd name="T11" fmla="*/ 64 h 74"/>
                  <a:gd name="T12" fmla="*/ 40 w 40"/>
                  <a:gd name="T13" fmla="*/ 64 h 74"/>
                  <a:gd name="T14" fmla="*/ 40 w 40"/>
                  <a:gd name="T15" fmla="*/ 74 h 74"/>
                  <a:gd name="T16" fmla="*/ 9 w 40"/>
                  <a:gd name="T17" fmla="*/ 74 h 74"/>
                  <a:gd name="T18" fmla="*/ 9 w 40"/>
                  <a:gd name="T19" fmla="*/ 64 h 74"/>
                  <a:gd name="T20" fmla="*/ 19 w 40"/>
                  <a:gd name="T21" fmla="*/ 64 h 74"/>
                  <a:gd name="T22" fmla="*/ 19 w 40"/>
                  <a:gd name="T23" fmla="*/ 1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4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4"/>
                    </a:lnTo>
                    <a:lnTo>
                      <a:pt x="9" y="74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78" name="Freeform 136">
                <a:extLst>
                  <a:ext uri="{FF2B5EF4-FFF2-40B4-BE49-F238E27FC236}">
                    <a16:creationId xmlns:a16="http://schemas.microsoft.com/office/drawing/2014/main" id="{B6FE0CDD-C5FF-B0BC-2B08-96A5C69499E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64097" y="3906899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8 h 32"/>
                  <a:gd name="T14" fmla="*/ 16 w 21"/>
                  <a:gd name="T15" fmla="*/ 16 h 32"/>
                  <a:gd name="T16" fmla="*/ 10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0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0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79" name="Freeform 137">
                <a:extLst>
                  <a:ext uri="{FF2B5EF4-FFF2-40B4-BE49-F238E27FC236}">
                    <a16:creationId xmlns:a16="http://schemas.microsoft.com/office/drawing/2014/main" id="{9749A4D2-8ED0-BBA5-83C8-93B6A2E6FE2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64097" y="4289117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6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80" name="Freeform 138">
                <a:extLst>
                  <a:ext uri="{FF2B5EF4-FFF2-40B4-BE49-F238E27FC236}">
                    <a16:creationId xmlns:a16="http://schemas.microsoft.com/office/drawing/2014/main" id="{2F82CA1C-80AB-070E-4A32-ECA2D532D9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68629" y="4482492"/>
                <a:ext cx="60430" cy="107263"/>
              </a:xfrm>
              <a:custGeom>
                <a:avLst/>
                <a:gdLst>
                  <a:gd name="T0" fmla="*/ 19 w 40"/>
                  <a:gd name="T1" fmla="*/ 12 h 71"/>
                  <a:gd name="T2" fmla="*/ 4 w 40"/>
                  <a:gd name="T3" fmla="*/ 21 h 71"/>
                  <a:gd name="T4" fmla="*/ 0 w 40"/>
                  <a:gd name="T5" fmla="*/ 12 h 71"/>
                  <a:gd name="T6" fmla="*/ 21 w 40"/>
                  <a:gd name="T7" fmla="*/ 0 h 71"/>
                  <a:gd name="T8" fmla="*/ 30 w 40"/>
                  <a:gd name="T9" fmla="*/ 0 h 71"/>
                  <a:gd name="T10" fmla="*/ 30 w 40"/>
                  <a:gd name="T11" fmla="*/ 64 h 71"/>
                  <a:gd name="T12" fmla="*/ 40 w 40"/>
                  <a:gd name="T13" fmla="*/ 64 h 71"/>
                  <a:gd name="T14" fmla="*/ 40 w 40"/>
                  <a:gd name="T15" fmla="*/ 71 h 71"/>
                  <a:gd name="T16" fmla="*/ 9 w 40"/>
                  <a:gd name="T17" fmla="*/ 71 h 71"/>
                  <a:gd name="T18" fmla="*/ 9 w 40"/>
                  <a:gd name="T19" fmla="*/ 64 h 71"/>
                  <a:gd name="T20" fmla="*/ 19 w 40"/>
                  <a:gd name="T21" fmla="*/ 64 h 71"/>
                  <a:gd name="T22" fmla="*/ 19 w 40"/>
                  <a:gd name="T23" fmla="*/ 1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1">
                    <a:moveTo>
                      <a:pt x="19" y="12"/>
                    </a:moveTo>
                    <a:lnTo>
                      <a:pt x="4" y="21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1"/>
                    </a:lnTo>
                    <a:lnTo>
                      <a:pt x="9" y="71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81" name="Freeform 139">
                <a:extLst>
                  <a:ext uri="{FF2B5EF4-FFF2-40B4-BE49-F238E27FC236}">
                    <a16:creationId xmlns:a16="http://schemas.microsoft.com/office/drawing/2014/main" id="{99B6C595-D291-40AB-2F63-60C1A7F024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68629" y="4671335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82" name="Freeform 140">
                <a:extLst>
                  <a:ext uri="{FF2B5EF4-FFF2-40B4-BE49-F238E27FC236}">
                    <a16:creationId xmlns:a16="http://schemas.microsoft.com/office/drawing/2014/main" id="{2EF6C123-BEF4-B990-FC4F-6C22466CDA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68629" y="4860178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83" name="Freeform 141">
                <a:extLst>
                  <a:ext uri="{FF2B5EF4-FFF2-40B4-BE49-F238E27FC236}">
                    <a16:creationId xmlns:a16="http://schemas.microsoft.com/office/drawing/2014/main" id="{641DB8C2-7825-4442-AB4E-66F471118E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68629" y="5053553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1 h 73"/>
                  <a:gd name="T4" fmla="*/ 0 w 40"/>
                  <a:gd name="T5" fmla="*/ 12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1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84" name="Freeform 142">
                <a:extLst>
                  <a:ext uri="{FF2B5EF4-FFF2-40B4-BE49-F238E27FC236}">
                    <a16:creationId xmlns:a16="http://schemas.microsoft.com/office/drawing/2014/main" id="{17B1B810-0F14-A57A-82B4-38A5D938049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64097" y="5242395"/>
                <a:ext cx="75537" cy="110285"/>
              </a:xfrm>
              <a:custGeom>
                <a:avLst/>
                <a:gdLst>
                  <a:gd name="T0" fmla="*/ 21 w 21"/>
                  <a:gd name="T1" fmla="*/ 15 h 31"/>
                  <a:gd name="T2" fmla="*/ 10 w 21"/>
                  <a:gd name="T3" fmla="*/ 31 h 31"/>
                  <a:gd name="T4" fmla="*/ 0 w 21"/>
                  <a:gd name="T5" fmla="*/ 15 h 31"/>
                  <a:gd name="T6" fmla="*/ 10 w 21"/>
                  <a:gd name="T7" fmla="*/ 0 h 31"/>
                  <a:gd name="T8" fmla="*/ 21 w 21"/>
                  <a:gd name="T9" fmla="*/ 15 h 31"/>
                  <a:gd name="T10" fmla="*/ 5 w 21"/>
                  <a:gd name="T11" fmla="*/ 15 h 31"/>
                  <a:gd name="T12" fmla="*/ 10 w 21"/>
                  <a:gd name="T13" fmla="*/ 27 h 31"/>
                  <a:gd name="T14" fmla="*/ 16 w 21"/>
                  <a:gd name="T15" fmla="*/ 15 h 31"/>
                  <a:gd name="T16" fmla="*/ 10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5"/>
                    </a:moveTo>
                    <a:cubicBezTo>
                      <a:pt x="21" y="26"/>
                      <a:pt x="18" y="31"/>
                      <a:pt x="10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5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0" y="27"/>
                    </a:cubicBezTo>
                    <a:cubicBezTo>
                      <a:pt x="14" y="27"/>
                      <a:pt x="16" y="23"/>
                      <a:pt x="16" y="15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85" name="Freeform 143">
                <a:extLst>
                  <a:ext uri="{FF2B5EF4-FFF2-40B4-BE49-F238E27FC236}">
                    <a16:creationId xmlns:a16="http://schemas.microsoft.com/office/drawing/2014/main" id="{53D2FD20-C26B-FD39-F189-2B9B9955AD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64097" y="5431238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86" name="Freeform 144">
                <a:extLst>
                  <a:ext uri="{FF2B5EF4-FFF2-40B4-BE49-F238E27FC236}">
                    <a16:creationId xmlns:a16="http://schemas.microsoft.com/office/drawing/2014/main" id="{25257950-D237-D2CC-3315-5744E7E1E2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64097" y="6191141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8 h 32"/>
                  <a:gd name="T14" fmla="*/ 16 w 21"/>
                  <a:gd name="T15" fmla="*/ 16 h 32"/>
                  <a:gd name="T16" fmla="*/ 10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0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0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87" name="Freeform 145">
                <a:extLst>
                  <a:ext uri="{FF2B5EF4-FFF2-40B4-BE49-F238E27FC236}">
                    <a16:creationId xmlns:a16="http://schemas.microsoft.com/office/drawing/2014/main" id="{539D07F2-B0E0-B348-43F7-B8E559D6D6D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64097" y="6384516"/>
                <a:ext cx="75537" cy="110285"/>
              </a:xfrm>
              <a:custGeom>
                <a:avLst/>
                <a:gdLst>
                  <a:gd name="T0" fmla="*/ 21 w 21"/>
                  <a:gd name="T1" fmla="*/ 16 h 31"/>
                  <a:gd name="T2" fmla="*/ 10 w 21"/>
                  <a:gd name="T3" fmla="*/ 31 h 31"/>
                  <a:gd name="T4" fmla="*/ 0 w 21"/>
                  <a:gd name="T5" fmla="*/ 15 h 31"/>
                  <a:gd name="T6" fmla="*/ 10 w 21"/>
                  <a:gd name="T7" fmla="*/ 0 h 31"/>
                  <a:gd name="T8" fmla="*/ 21 w 21"/>
                  <a:gd name="T9" fmla="*/ 16 h 31"/>
                  <a:gd name="T10" fmla="*/ 5 w 21"/>
                  <a:gd name="T11" fmla="*/ 15 h 31"/>
                  <a:gd name="T12" fmla="*/ 10 w 21"/>
                  <a:gd name="T13" fmla="*/ 27 h 31"/>
                  <a:gd name="T14" fmla="*/ 16 w 21"/>
                  <a:gd name="T15" fmla="*/ 16 h 31"/>
                  <a:gd name="T16" fmla="*/ 10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0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0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88" name="Freeform 146">
                <a:extLst>
                  <a:ext uri="{FF2B5EF4-FFF2-40B4-BE49-F238E27FC236}">
                    <a16:creationId xmlns:a16="http://schemas.microsoft.com/office/drawing/2014/main" id="{D81D607F-3CAA-5029-537F-CC1D30D2DB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64097" y="6573359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89" name="Freeform 147">
                <a:extLst>
                  <a:ext uri="{FF2B5EF4-FFF2-40B4-BE49-F238E27FC236}">
                    <a16:creationId xmlns:a16="http://schemas.microsoft.com/office/drawing/2014/main" id="{F39E6708-908C-6DC8-001C-45AC1A9458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68629" y="6766734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3 h 73"/>
                  <a:gd name="T4" fmla="*/ 0 w 40"/>
                  <a:gd name="T5" fmla="*/ 12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3 h 73"/>
                  <a:gd name="T12" fmla="*/ 40 w 40"/>
                  <a:gd name="T13" fmla="*/ 63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3 h 73"/>
                  <a:gd name="T20" fmla="*/ 19 w 40"/>
                  <a:gd name="T21" fmla="*/ 63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3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3"/>
                    </a:lnTo>
                    <a:lnTo>
                      <a:pt x="40" y="63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3"/>
                    </a:lnTo>
                    <a:lnTo>
                      <a:pt x="19" y="63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90" name="Freeform 149">
                <a:extLst>
                  <a:ext uri="{FF2B5EF4-FFF2-40B4-BE49-F238E27FC236}">
                    <a16:creationId xmlns:a16="http://schemas.microsoft.com/office/drawing/2014/main" id="{B3372044-AB02-D7AD-C186-95AA66630F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24929" y="3361522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91" name="Freeform 150">
                <a:extLst>
                  <a:ext uri="{FF2B5EF4-FFF2-40B4-BE49-F238E27FC236}">
                    <a16:creationId xmlns:a16="http://schemas.microsoft.com/office/drawing/2014/main" id="{AC421B79-3058-5602-BF1B-5AA3485C54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17375" y="3644030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92" name="Freeform 151">
                <a:extLst>
                  <a:ext uri="{FF2B5EF4-FFF2-40B4-BE49-F238E27FC236}">
                    <a16:creationId xmlns:a16="http://schemas.microsoft.com/office/drawing/2014/main" id="{9D4D006A-0572-7DE0-872F-5FD4CEE199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24929" y="3932582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93" name="Freeform 152">
                <a:extLst>
                  <a:ext uri="{FF2B5EF4-FFF2-40B4-BE49-F238E27FC236}">
                    <a16:creationId xmlns:a16="http://schemas.microsoft.com/office/drawing/2014/main" id="{E1F371DE-4558-8EB1-8AB5-A1946342935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17375" y="4215090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94" name="Freeform 153">
                <a:extLst>
                  <a:ext uri="{FF2B5EF4-FFF2-40B4-BE49-F238E27FC236}">
                    <a16:creationId xmlns:a16="http://schemas.microsoft.com/office/drawing/2014/main" id="{BC3AA487-EAA9-E0FB-1251-F576F24CB1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24929" y="4503643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95" name="Freeform 154">
                <a:extLst>
                  <a:ext uri="{FF2B5EF4-FFF2-40B4-BE49-F238E27FC236}">
                    <a16:creationId xmlns:a16="http://schemas.microsoft.com/office/drawing/2014/main" id="{02D766E8-0B68-1727-65FF-ED5EDFD69D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24929" y="4789172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96" name="Freeform 155">
                <a:extLst>
                  <a:ext uri="{FF2B5EF4-FFF2-40B4-BE49-F238E27FC236}">
                    <a16:creationId xmlns:a16="http://schemas.microsoft.com/office/drawing/2014/main" id="{2F6014A3-71B9-B5B5-EB10-57C366B5DC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24929" y="5074703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7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7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7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7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97" name="Freeform 156">
                <a:extLst>
                  <a:ext uri="{FF2B5EF4-FFF2-40B4-BE49-F238E27FC236}">
                    <a16:creationId xmlns:a16="http://schemas.microsoft.com/office/drawing/2014/main" id="{FECC7C7D-364B-4D0C-A435-8852E1DF82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24929" y="5360233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5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7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7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5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7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7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98" name="Freeform 157">
                <a:extLst>
                  <a:ext uri="{FF2B5EF4-FFF2-40B4-BE49-F238E27FC236}">
                    <a16:creationId xmlns:a16="http://schemas.microsoft.com/office/drawing/2014/main" id="{EC639942-2477-E2E3-ECC1-E143431E8ED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17375" y="5642742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99" name="Freeform 158">
                <a:extLst>
                  <a:ext uri="{FF2B5EF4-FFF2-40B4-BE49-F238E27FC236}">
                    <a16:creationId xmlns:a16="http://schemas.microsoft.com/office/drawing/2014/main" id="{F50EE1E5-22F3-744E-9CC3-283E5F0AE84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17375" y="5928272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2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2"/>
                      <a:pt x="16" y="42"/>
                    </a:cubicBezTo>
                    <a:cubicBezTo>
                      <a:pt x="22" y="42"/>
                      <a:pt x="24" y="36"/>
                      <a:pt x="24" y="24"/>
                    </a:cubicBezTo>
                    <a:cubicBezTo>
                      <a:pt x="24" y="13"/>
                      <a:pt x="22" y="7"/>
                      <a:pt x="16" y="7"/>
                    </a:cubicBezTo>
                    <a:cubicBezTo>
                      <a:pt x="11" y="7"/>
                      <a:pt x="8" y="13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00" name="Freeform 159">
                <a:extLst>
                  <a:ext uri="{FF2B5EF4-FFF2-40B4-BE49-F238E27FC236}">
                    <a16:creationId xmlns:a16="http://schemas.microsoft.com/office/drawing/2014/main" id="{0201438D-6CAB-D45B-AFD0-2D03005561C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17375" y="6213803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2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2"/>
                      <a:pt x="16" y="42"/>
                    </a:cubicBezTo>
                    <a:cubicBezTo>
                      <a:pt x="22" y="42"/>
                      <a:pt x="24" y="36"/>
                      <a:pt x="24" y="24"/>
                    </a:cubicBezTo>
                    <a:cubicBezTo>
                      <a:pt x="24" y="13"/>
                      <a:pt x="22" y="7"/>
                      <a:pt x="16" y="7"/>
                    </a:cubicBezTo>
                    <a:cubicBezTo>
                      <a:pt x="11" y="7"/>
                      <a:pt x="8" y="13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01" name="Freeform 160">
                <a:extLst>
                  <a:ext uri="{FF2B5EF4-FFF2-40B4-BE49-F238E27FC236}">
                    <a16:creationId xmlns:a16="http://schemas.microsoft.com/office/drawing/2014/main" id="{8DB01CD8-3481-9F6B-6519-8E05A145E34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17375" y="6499332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2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1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2"/>
                      <a:pt x="16" y="42"/>
                    </a:cubicBezTo>
                    <a:cubicBezTo>
                      <a:pt x="22" y="42"/>
                      <a:pt x="24" y="36"/>
                      <a:pt x="24" y="24"/>
                    </a:cubicBezTo>
                    <a:cubicBezTo>
                      <a:pt x="24" y="13"/>
                      <a:pt x="22" y="7"/>
                      <a:pt x="16" y="7"/>
                    </a:cubicBezTo>
                    <a:cubicBezTo>
                      <a:pt x="11" y="7"/>
                      <a:pt x="8" y="13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02" name="Freeform 161">
                <a:extLst>
                  <a:ext uri="{FF2B5EF4-FFF2-40B4-BE49-F238E27FC236}">
                    <a16:creationId xmlns:a16="http://schemas.microsoft.com/office/drawing/2014/main" id="{C295D5A6-C4E8-218D-2C9B-44FEF6F42E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17375" y="6787885"/>
                <a:ext cx="114816" cy="167693"/>
              </a:xfrm>
              <a:custGeom>
                <a:avLst/>
                <a:gdLst>
                  <a:gd name="T0" fmla="*/ 32 w 32"/>
                  <a:gd name="T1" fmla="*/ 23 h 47"/>
                  <a:gd name="T2" fmla="*/ 16 w 32"/>
                  <a:gd name="T3" fmla="*/ 47 h 47"/>
                  <a:gd name="T4" fmla="*/ 0 w 32"/>
                  <a:gd name="T5" fmla="*/ 23 h 47"/>
                  <a:gd name="T6" fmla="*/ 16 w 32"/>
                  <a:gd name="T7" fmla="*/ 0 h 47"/>
                  <a:gd name="T8" fmla="*/ 32 w 32"/>
                  <a:gd name="T9" fmla="*/ 23 h 47"/>
                  <a:gd name="T10" fmla="*/ 8 w 32"/>
                  <a:gd name="T11" fmla="*/ 23 h 47"/>
                  <a:gd name="T12" fmla="*/ 16 w 32"/>
                  <a:gd name="T13" fmla="*/ 41 h 47"/>
                  <a:gd name="T14" fmla="*/ 24 w 32"/>
                  <a:gd name="T15" fmla="*/ 23 h 47"/>
                  <a:gd name="T16" fmla="*/ 16 w 32"/>
                  <a:gd name="T17" fmla="*/ 6 h 47"/>
                  <a:gd name="T18" fmla="*/ 8 w 32"/>
                  <a:gd name="T19" fmla="*/ 2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7">
                    <a:moveTo>
                      <a:pt x="32" y="23"/>
                    </a:moveTo>
                    <a:cubicBezTo>
                      <a:pt x="32" y="39"/>
                      <a:pt x="27" y="47"/>
                      <a:pt x="16" y="47"/>
                    </a:cubicBezTo>
                    <a:cubicBezTo>
                      <a:pt x="5" y="47"/>
                      <a:pt x="0" y="40"/>
                      <a:pt x="0" y="23"/>
                    </a:cubicBezTo>
                    <a:cubicBezTo>
                      <a:pt x="0" y="7"/>
                      <a:pt x="5" y="0"/>
                      <a:pt x="16" y="0"/>
                    </a:cubicBezTo>
                    <a:cubicBezTo>
                      <a:pt x="27" y="0"/>
                      <a:pt x="32" y="7"/>
                      <a:pt x="32" y="23"/>
                    </a:cubicBezTo>
                    <a:close/>
                    <a:moveTo>
                      <a:pt x="8" y="23"/>
                    </a:moveTo>
                    <a:cubicBezTo>
                      <a:pt x="8" y="35"/>
                      <a:pt x="11" y="41"/>
                      <a:pt x="16" y="41"/>
                    </a:cubicBezTo>
                    <a:cubicBezTo>
                      <a:pt x="22" y="41"/>
                      <a:pt x="24" y="35"/>
                      <a:pt x="24" y="23"/>
                    </a:cubicBezTo>
                    <a:cubicBezTo>
                      <a:pt x="24" y="12"/>
                      <a:pt x="22" y="6"/>
                      <a:pt x="16" y="6"/>
                    </a:cubicBezTo>
                    <a:cubicBezTo>
                      <a:pt x="11" y="6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03" name="Line 8">
                <a:extLst>
                  <a:ext uri="{FF2B5EF4-FFF2-40B4-BE49-F238E27FC236}">
                    <a16:creationId xmlns:a16="http://schemas.microsoft.com/office/drawing/2014/main" id="{E1F92115-E2B6-9ACC-4434-F19F37199E5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282436" y="5576274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04" name="Line 9">
                <a:extLst>
                  <a:ext uri="{FF2B5EF4-FFF2-40B4-BE49-F238E27FC236}">
                    <a16:creationId xmlns:a16="http://schemas.microsoft.com/office/drawing/2014/main" id="{F10CB203-9AD7-1FA4-7836-475FD924647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282436" y="5576274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05" name="Freeform 10">
                <a:extLst>
                  <a:ext uri="{FF2B5EF4-FFF2-40B4-BE49-F238E27FC236}">
                    <a16:creationId xmlns:a16="http://schemas.microsoft.com/office/drawing/2014/main" id="{C614ED8B-5BFB-3B9F-4188-C5B7E4127C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49546" y="6647390"/>
                <a:ext cx="99709" cy="157117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8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7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7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8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7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7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06" name="Freeform 11">
                <a:extLst>
                  <a:ext uri="{FF2B5EF4-FFF2-40B4-BE49-F238E27FC236}">
                    <a16:creationId xmlns:a16="http://schemas.microsoft.com/office/drawing/2014/main" id="{D1891869-18EE-96EC-E7F4-4E619D5816E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635950" y="6914792"/>
                <a:ext cx="120859" cy="164671"/>
              </a:xfrm>
              <a:custGeom>
                <a:avLst/>
                <a:gdLst>
                  <a:gd name="T0" fmla="*/ 32 w 34"/>
                  <a:gd name="T1" fmla="*/ 8 h 46"/>
                  <a:gd name="T2" fmla="*/ 34 w 34"/>
                  <a:gd name="T3" fmla="*/ 23 h 46"/>
                  <a:gd name="T4" fmla="*/ 31 w 34"/>
                  <a:gd name="T5" fmla="*/ 39 h 46"/>
                  <a:gd name="T6" fmla="*/ 17 w 34"/>
                  <a:gd name="T7" fmla="*/ 46 h 46"/>
                  <a:gd name="T8" fmla="*/ 3 w 34"/>
                  <a:gd name="T9" fmla="*/ 37 h 46"/>
                  <a:gd name="T10" fmla="*/ 0 w 34"/>
                  <a:gd name="T11" fmla="*/ 23 h 46"/>
                  <a:gd name="T12" fmla="*/ 17 w 34"/>
                  <a:gd name="T13" fmla="*/ 0 h 46"/>
                  <a:gd name="T14" fmla="*/ 32 w 34"/>
                  <a:gd name="T15" fmla="*/ 8 h 46"/>
                  <a:gd name="T16" fmla="*/ 10 w 34"/>
                  <a:gd name="T17" fmla="*/ 23 h 46"/>
                  <a:gd name="T18" fmla="*/ 17 w 34"/>
                  <a:gd name="T19" fmla="*/ 38 h 46"/>
                  <a:gd name="T20" fmla="*/ 25 w 34"/>
                  <a:gd name="T21" fmla="*/ 23 h 46"/>
                  <a:gd name="T22" fmla="*/ 17 w 34"/>
                  <a:gd name="T23" fmla="*/ 8 h 46"/>
                  <a:gd name="T24" fmla="*/ 10 w 34"/>
                  <a:gd name="T25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46">
                    <a:moveTo>
                      <a:pt x="32" y="8"/>
                    </a:moveTo>
                    <a:cubicBezTo>
                      <a:pt x="34" y="12"/>
                      <a:pt x="34" y="16"/>
                      <a:pt x="34" y="23"/>
                    </a:cubicBezTo>
                    <a:cubicBezTo>
                      <a:pt x="34" y="31"/>
                      <a:pt x="33" y="36"/>
                      <a:pt x="31" y="39"/>
                    </a:cubicBezTo>
                    <a:cubicBezTo>
                      <a:pt x="28" y="43"/>
                      <a:pt x="23" y="46"/>
                      <a:pt x="17" y="46"/>
                    </a:cubicBezTo>
                    <a:cubicBezTo>
                      <a:pt x="11" y="46"/>
                      <a:pt x="6" y="43"/>
                      <a:pt x="3" y="37"/>
                    </a:cubicBezTo>
                    <a:cubicBezTo>
                      <a:pt x="1" y="34"/>
                      <a:pt x="0" y="29"/>
                      <a:pt x="0" y="23"/>
                    </a:cubicBezTo>
                    <a:cubicBezTo>
                      <a:pt x="0" y="8"/>
                      <a:pt x="6" y="0"/>
                      <a:pt x="17" y="0"/>
                    </a:cubicBezTo>
                    <a:cubicBezTo>
                      <a:pt x="24" y="0"/>
                      <a:pt x="29" y="3"/>
                      <a:pt x="32" y="8"/>
                    </a:cubicBezTo>
                    <a:close/>
                    <a:moveTo>
                      <a:pt x="10" y="23"/>
                    </a:moveTo>
                    <a:cubicBezTo>
                      <a:pt x="10" y="33"/>
                      <a:pt x="12" y="38"/>
                      <a:pt x="17" y="38"/>
                    </a:cubicBezTo>
                    <a:cubicBezTo>
                      <a:pt x="22" y="38"/>
                      <a:pt x="25" y="33"/>
                      <a:pt x="25" y="23"/>
                    </a:cubicBezTo>
                    <a:cubicBezTo>
                      <a:pt x="25" y="13"/>
                      <a:pt x="22" y="8"/>
                      <a:pt x="17" y="8"/>
                    </a:cubicBezTo>
                    <a:cubicBezTo>
                      <a:pt x="12" y="8"/>
                      <a:pt x="10" y="13"/>
                      <a:pt x="10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07" name="Freeform 23">
                <a:extLst>
                  <a:ext uri="{FF2B5EF4-FFF2-40B4-BE49-F238E27FC236}">
                    <a16:creationId xmlns:a16="http://schemas.microsoft.com/office/drawing/2014/main" id="{9C399FE6-0555-8F03-27E5-7EB7129820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956227" y="5926766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8 h 32"/>
                  <a:gd name="T14" fmla="*/ 16 w 21"/>
                  <a:gd name="T15" fmla="*/ 16 h 32"/>
                  <a:gd name="T16" fmla="*/ 11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1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1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08" name="Freeform 24">
                <a:extLst>
                  <a:ext uri="{FF2B5EF4-FFF2-40B4-BE49-F238E27FC236}">
                    <a16:creationId xmlns:a16="http://schemas.microsoft.com/office/drawing/2014/main" id="{CDB64643-1157-1B82-4F8A-C3AF6EEB3B3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956227" y="6118630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5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09" name="Freeform 25">
                <a:extLst>
                  <a:ext uri="{FF2B5EF4-FFF2-40B4-BE49-F238E27FC236}">
                    <a16:creationId xmlns:a16="http://schemas.microsoft.com/office/drawing/2014/main" id="{C19E8BD4-1133-4A0D-8820-29C06F7F55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63781" y="6500848"/>
                <a:ext cx="64962" cy="11028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2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2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10" name="Freeform 26">
                <a:extLst>
                  <a:ext uri="{FF2B5EF4-FFF2-40B4-BE49-F238E27FC236}">
                    <a16:creationId xmlns:a16="http://schemas.microsoft.com/office/drawing/2014/main" id="{12B04EEF-9010-F3A5-67D9-AD1B1D54A2E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956227" y="6689691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6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11" name="Freeform 27">
                <a:extLst>
                  <a:ext uri="{FF2B5EF4-FFF2-40B4-BE49-F238E27FC236}">
                    <a16:creationId xmlns:a16="http://schemas.microsoft.com/office/drawing/2014/main" id="{566FA293-F836-0271-8362-2D3E9C1824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956227" y="6880044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7 h 32"/>
                  <a:gd name="T14" fmla="*/ 16 w 21"/>
                  <a:gd name="T15" fmla="*/ 16 h 32"/>
                  <a:gd name="T16" fmla="*/ 11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1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12" name="Freeform 43">
                <a:extLst>
                  <a:ext uri="{FF2B5EF4-FFF2-40B4-BE49-F238E27FC236}">
                    <a16:creationId xmlns:a16="http://schemas.microsoft.com/office/drawing/2014/main" id="{A86FA66A-9D16-0D4D-8BF9-665252E766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196435" y="6126184"/>
                <a:ext cx="63451" cy="9366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5" y="0"/>
                      <a:pt x="18" y="5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13" name="Freeform 44">
                <a:extLst>
                  <a:ext uri="{FF2B5EF4-FFF2-40B4-BE49-F238E27FC236}">
                    <a16:creationId xmlns:a16="http://schemas.microsoft.com/office/drawing/2014/main" id="{D58A70A3-03AF-C615-0196-71DFD6A1DC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196435" y="6280280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1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14" name="Freeform 45">
                <a:extLst>
                  <a:ext uri="{FF2B5EF4-FFF2-40B4-BE49-F238E27FC236}">
                    <a16:creationId xmlns:a16="http://schemas.microsoft.com/office/drawing/2014/main" id="{06343509-0E78-D14E-D6D5-DB19EACE50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07010" y="6586960"/>
                <a:ext cx="49855" cy="89134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49 h 59"/>
                  <a:gd name="T20" fmla="*/ 17 w 33"/>
                  <a:gd name="T21" fmla="*/ 49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15" name="Freeform 46">
                <a:extLst>
                  <a:ext uri="{FF2B5EF4-FFF2-40B4-BE49-F238E27FC236}">
                    <a16:creationId xmlns:a16="http://schemas.microsoft.com/office/drawing/2014/main" id="{2A186FE1-C622-A760-00F4-E806A30F0F4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196435" y="6736524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16" name="Freeform 47">
                <a:extLst>
                  <a:ext uri="{FF2B5EF4-FFF2-40B4-BE49-F238E27FC236}">
                    <a16:creationId xmlns:a16="http://schemas.microsoft.com/office/drawing/2014/main" id="{6C2B6A3A-4DB0-D6EB-4A3F-595E61192B0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196435" y="6890620"/>
                <a:ext cx="63451" cy="89134"/>
              </a:xfrm>
              <a:custGeom>
                <a:avLst/>
                <a:gdLst>
                  <a:gd name="T0" fmla="*/ 18 w 18"/>
                  <a:gd name="T1" fmla="*/ 13 h 25"/>
                  <a:gd name="T2" fmla="*/ 9 w 18"/>
                  <a:gd name="T3" fmla="*/ 25 h 25"/>
                  <a:gd name="T4" fmla="*/ 0 w 18"/>
                  <a:gd name="T5" fmla="*/ 12 h 25"/>
                  <a:gd name="T6" fmla="*/ 9 w 18"/>
                  <a:gd name="T7" fmla="*/ 0 h 25"/>
                  <a:gd name="T8" fmla="*/ 18 w 18"/>
                  <a:gd name="T9" fmla="*/ 13 h 25"/>
                  <a:gd name="T10" fmla="*/ 5 w 18"/>
                  <a:gd name="T11" fmla="*/ 12 h 25"/>
                  <a:gd name="T12" fmla="*/ 9 w 18"/>
                  <a:gd name="T13" fmla="*/ 22 h 25"/>
                  <a:gd name="T14" fmla="*/ 13 w 18"/>
                  <a:gd name="T15" fmla="*/ 13 h 25"/>
                  <a:gd name="T16" fmla="*/ 9 w 18"/>
                  <a:gd name="T17" fmla="*/ 3 h 25"/>
                  <a:gd name="T18" fmla="*/ 5 w 18"/>
                  <a:gd name="T1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5">
                    <a:moveTo>
                      <a:pt x="18" y="13"/>
                    </a:moveTo>
                    <a:cubicBezTo>
                      <a:pt x="18" y="21"/>
                      <a:pt x="15" y="25"/>
                      <a:pt x="9" y="25"/>
                    </a:cubicBezTo>
                    <a:cubicBezTo>
                      <a:pt x="3" y="25"/>
                      <a:pt x="0" y="21"/>
                      <a:pt x="0" y="12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2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6"/>
                      <a:pt x="12" y="3"/>
                      <a:pt x="9" y="3"/>
                    </a:cubicBezTo>
                    <a:cubicBezTo>
                      <a:pt x="6" y="3"/>
                      <a:pt x="5" y="6"/>
                      <a:pt x="5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17" name="Freeform 63">
                <a:extLst>
                  <a:ext uri="{FF2B5EF4-FFF2-40B4-BE49-F238E27FC236}">
                    <a16:creationId xmlns:a16="http://schemas.microsoft.com/office/drawing/2014/main" id="{977E3EEB-F5F1-31CE-E578-7618E1B297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69019" y="6126184"/>
                <a:ext cx="60430" cy="9366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4" y="0"/>
                      <a:pt x="17" y="5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18" name="Freeform 64">
                <a:extLst>
                  <a:ext uri="{FF2B5EF4-FFF2-40B4-BE49-F238E27FC236}">
                    <a16:creationId xmlns:a16="http://schemas.microsoft.com/office/drawing/2014/main" id="{5525BA21-1EE1-C58E-B740-674FA79F8D0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69019" y="6280280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1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19" name="Freeform 65">
                <a:extLst>
                  <a:ext uri="{FF2B5EF4-FFF2-40B4-BE49-F238E27FC236}">
                    <a16:creationId xmlns:a16="http://schemas.microsoft.com/office/drawing/2014/main" id="{092EC14D-C067-7067-70F7-9E6F871331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75062" y="6586960"/>
                <a:ext cx="49855" cy="89134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49 h 59"/>
                  <a:gd name="T20" fmla="*/ 16 w 33"/>
                  <a:gd name="T21" fmla="*/ 49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20" name="Freeform 66">
                <a:extLst>
                  <a:ext uri="{FF2B5EF4-FFF2-40B4-BE49-F238E27FC236}">
                    <a16:creationId xmlns:a16="http://schemas.microsoft.com/office/drawing/2014/main" id="{B339561A-BD4E-16FA-AF8F-93464C6E2C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69019" y="6736524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21" name="Freeform 67">
                <a:extLst>
                  <a:ext uri="{FF2B5EF4-FFF2-40B4-BE49-F238E27FC236}">
                    <a16:creationId xmlns:a16="http://schemas.microsoft.com/office/drawing/2014/main" id="{93C71846-8A79-D0D5-6AAF-F6FBFA9C71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69019" y="6890620"/>
                <a:ext cx="60430" cy="89134"/>
              </a:xfrm>
              <a:custGeom>
                <a:avLst/>
                <a:gdLst>
                  <a:gd name="T0" fmla="*/ 17 w 17"/>
                  <a:gd name="T1" fmla="*/ 13 h 25"/>
                  <a:gd name="T2" fmla="*/ 9 w 17"/>
                  <a:gd name="T3" fmla="*/ 25 h 25"/>
                  <a:gd name="T4" fmla="*/ 0 w 17"/>
                  <a:gd name="T5" fmla="*/ 12 h 25"/>
                  <a:gd name="T6" fmla="*/ 9 w 17"/>
                  <a:gd name="T7" fmla="*/ 0 h 25"/>
                  <a:gd name="T8" fmla="*/ 17 w 17"/>
                  <a:gd name="T9" fmla="*/ 13 h 25"/>
                  <a:gd name="T10" fmla="*/ 4 w 17"/>
                  <a:gd name="T11" fmla="*/ 12 h 25"/>
                  <a:gd name="T12" fmla="*/ 9 w 17"/>
                  <a:gd name="T13" fmla="*/ 22 h 25"/>
                  <a:gd name="T14" fmla="*/ 13 w 17"/>
                  <a:gd name="T15" fmla="*/ 13 h 25"/>
                  <a:gd name="T16" fmla="*/ 9 w 17"/>
                  <a:gd name="T17" fmla="*/ 3 h 25"/>
                  <a:gd name="T18" fmla="*/ 4 w 17"/>
                  <a:gd name="T1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5">
                    <a:moveTo>
                      <a:pt x="17" y="13"/>
                    </a:moveTo>
                    <a:cubicBezTo>
                      <a:pt x="17" y="21"/>
                      <a:pt x="14" y="25"/>
                      <a:pt x="9" y="25"/>
                    </a:cubicBezTo>
                    <a:cubicBezTo>
                      <a:pt x="3" y="25"/>
                      <a:pt x="0" y="21"/>
                      <a:pt x="0" y="12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2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6"/>
                      <a:pt x="11" y="3"/>
                      <a:pt x="9" y="3"/>
                    </a:cubicBezTo>
                    <a:cubicBezTo>
                      <a:pt x="6" y="3"/>
                      <a:pt x="4" y="6"/>
                      <a:pt x="4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22" name="Freeform 83">
                <a:extLst>
                  <a:ext uri="{FF2B5EF4-FFF2-40B4-BE49-F238E27FC236}">
                    <a16:creationId xmlns:a16="http://schemas.microsoft.com/office/drawing/2014/main" id="{FFFE8F73-8ACD-1E80-C9E6-D571FD2D23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93593" y="6133738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3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23" name="Freeform 84">
                <a:extLst>
                  <a:ext uri="{FF2B5EF4-FFF2-40B4-BE49-F238E27FC236}">
                    <a16:creationId xmlns:a16="http://schemas.microsoft.com/office/drawing/2014/main" id="{A6D8B6A7-8C71-7393-3DB1-D4DDD9C47F1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78486" y="6401139"/>
                <a:ext cx="110285" cy="164671"/>
              </a:xfrm>
              <a:custGeom>
                <a:avLst/>
                <a:gdLst>
                  <a:gd name="T0" fmla="*/ 31 w 31"/>
                  <a:gd name="T1" fmla="*/ 23 h 46"/>
                  <a:gd name="T2" fmla="*/ 15 w 31"/>
                  <a:gd name="T3" fmla="*/ 46 h 46"/>
                  <a:gd name="T4" fmla="*/ 0 w 31"/>
                  <a:gd name="T5" fmla="*/ 23 h 46"/>
                  <a:gd name="T6" fmla="*/ 15 w 31"/>
                  <a:gd name="T7" fmla="*/ 0 h 46"/>
                  <a:gd name="T8" fmla="*/ 31 w 31"/>
                  <a:gd name="T9" fmla="*/ 23 h 46"/>
                  <a:gd name="T10" fmla="*/ 8 w 31"/>
                  <a:gd name="T11" fmla="*/ 23 h 46"/>
                  <a:gd name="T12" fmla="*/ 15 w 31"/>
                  <a:gd name="T13" fmla="*/ 39 h 46"/>
                  <a:gd name="T14" fmla="*/ 23 w 31"/>
                  <a:gd name="T15" fmla="*/ 23 h 46"/>
                  <a:gd name="T16" fmla="*/ 15 w 31"/>
                  <a:gd name="T17" fmla="*/ 7 h 46"/>
                  <a:gd name="T18" fmla="*/ 8 w 31"/>
                  <a:gd name="T19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6">
                    <a:moveTo>
                      <a:pt x="31" y="23"/>
                    </a:moveTo>
                    <a:cubicBezTo>
                      <a:pt x="31" y="38"/>
                      <a:pt x="26" y="46"/>
                      <a:pt x="15" y="46"/>
                    </a:cubicBezTo>
                    <a:cubicBezTo>
                      <a:pt x="5" y="46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7"/>
                      <a:pt x="15" y="7"/>
                    </a:cubicBezTo>
                    <a:cubicBezTo>
                      <a:pt x="10" y="7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24" name="Freeform 85">
                <a:extLst>
                  <a:ext uri="{FF2B5EF4-FFF2-40B4-BE49-F238E27FC236}">
                    <a16:creationId xmlns:a16="http://schemas.microsoft.com/office/drawing/2014/main" id="{CAD5C87D-4288-5945-458F-E7AD496087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78486" y="6673073"/>
                <a:ext cx="110285" cy="160139"/>
              </a:xfrm>
              <a:custGeom>
                <a:avLst/>
                <a:gdLst>
                  <a:gd name="T0" fmla="*/ 31 w 31"/>
                  <a:gd name="T1" fmla="*/ 23 h 45"/>
                  <a:gd name="T2" fmla="*/ 15 w 31"/>
                  <a:gd name="T3" fmla="*/ 45 h 45"/>
                  <a:gd name="T4" fmla="*/ 0 w 31"/>
                  <a:gd name="T5" fmla="*/ 23 h 45"/>
                  <a:gd name="T6" fmla="*/ 15 w 31"/>
                  <a:gd name="T7" fmla="*/ 0 h 45"/>
                  <a:gd name="T8" fmla="*/ 31 w 31"/>
                  <a:gd name="T9" fmla="*/ 23 h 45"/>
                  <a:gd name="T10" fmla="*/ 8 w 31"/>
                  <a:gd name="T11" fmla="*/ 23 h 45"/>
                  <a:gd name="T12" fmla="*/ 15 w 31"/>
                  <a:gd name="T13" fmla="*/ 39 h 45"/>
                  <a:gd name="T14" fmla="*/ 23 w 31"/>
                  <a:gd name="T15" fmla="*/ 23 h 45"/>
                  <a:gd name="T16" fmla="*/ 15 w 31"/>
                  <a:gd name="T17" fmla="*/ 6 h 45"/>
                  <a:gd name="T18" fmla="*/ 8 w 31"/>
                  <a:gd name="T19" fmla="*/ 2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31" y="23"/>
                    </a:moveTo>
                    <a:cubicBezTo>
                      <a:pt x="31" y="38"/>
                      <a:pt x="26" y="45"/>
                      <a:pt x="15" y="45"/>
                    </a:cubicBezTo>
                    <a:cubicBezTo>
                      <a:pt x="5" y="45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6"/>
                      <a:pt x="15" y="6"/>
                    </a:cubicBezTo>
                    <a:cubicBezTo>
                      <a:pt x="10" y="6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25" name="Freeform 95">
                <a:extLst>
                  <a:ext uri="{FF2B5EF4-FFF2-40B4-BE49-F238E27FC236}">
                    <a16:creationId xmlns:a16="http://schemas.microsoft.com/office/drawing/2014/main" id="{2C107EEC-04CD-98A2-0D39-4E983DFCD2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0939" y="5248443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26" name="Freeform 96">
                <a:extLst>
                  <a:ext uri="{FF2B5EF4-FFF2-40B4-BE49-F238E27FC236}">
                    <a16:creationId xmlns:a16="http://schemas.microsoft.com/office/drawing/2014/main" id="{A64D70DE-F4AF-94DD-6B18-2640D6ACDFE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850363" y="5394985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27" name="Freeform 97">
                <a:extLst>
                  <a:ext uri="{FF2B5EF4-FFF2-40B4-BE49-F238E27FC236}">
                    <a16:creationId xmlns:a16="http://schemas.microsoft.com/office/drawing/2014/main" id="{F3158E80-BB05-BCC4-03B7-477A78C260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0939" y="5541527"/>
                <a:ext cx="52876" cy="84602"/>
              </a:xfrm>
              <a:custGeom>
                <a:avLst/>
                <a:gdLst>
                  <a:gd name="T0" fmla="*/ 16 w 35"/>
                  <a:gd name="T1" fmla="*/ 14 h 56"/>
                  <a:gd name="T2" fmla="*/ 7 w 35"/>
                  <a:gd name="T3" fmla="*/ 21 h 56"/>
                  <a:gd name="T4" fmla="*/ 0 w 35"/>
                  <a:gd name="T5" fmla="*/ 11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4"/>
                    </a:moveTo>
                    <a:lnTo>
                      <a:pt x="7" y="21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28" name="Freeform 98">
                <a:extLst>
                  <a:ext uri="{FF2B5EF4-FFF2-40B4-BE49-F238E27FC236}">
                    <a16:creationId xmlns:a16="http://schemas.microsoft.com/office/drawing/2014/main" id="{841010D8-F704-75FD-82FE-E2C71F01C49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850363" y="5688069"/>
                <a:ext cx="67984" cy="84602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29" name="Freeform 99">
                <a:extLst>
                  <a:ext uri="{FF2B5EF4-FFF2-40B4-BE49-F238E27FC236}">
                    <a16:creationId xmlns:a16="http://schemas.microsoft.com/office/drawing/2014/main" id="{49BCAAB1-B9BE-BB96-2164-22862682CC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0939" y="5833100"/>
                <a:ext cx="52876" cy="86113"/>
              </a:xfrm>
              <a:custGeom>
                <a:avLst/>
                <a:gdLst>
                  <a:gd name="T0" fmla="*/ 16 w 35"/>
                  <a:gd name="T1" fmla="*/ 15 h 57"/>
                  <a:gd name="T2" fmla="*/ 7 w 35"/>
                  <a:gd name="T3" fmla="*/ 22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8 h 57"/>
                  <a:gd name="T12" fmla="*/ 35 w 35"/>
                  <a:gd name="T13" fmla="*/ 48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8 h 57"/>
                  <a:gd name="T20" fmla="*/ 16 w 35"/>
                  <a:gd name="T21" fmla="*/ 48 h 57"/>
                  <a:gd name="T22" fmla="*/ 16 w 35"/>
                  <a:gd name="T23" fmla="*/ 1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5"/>
                    </a:moveTo>
                    <a:lnTo>
                      <a:pt x="7" y="22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5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30" name="Freeform 100">
                <a:extLst>
                  <a:ext uri="{FF2B5EF4-FFF2-40B4-BE49-F238E27FC236}">
                    <a16:creationId xmlns:a16="http://schemas.microsoft.com/office/drawing/2014/main" id="{AE69400E-CBAD-A41C-EE7B-445CA7113FD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850363" y="5979642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31" name="Freeform 101">
                <a:extLst>
                  <a:ext uri="{FF2B5EF4-FFF2-40B4-BE49-F238E27FC236}">
                    <a16:creationId xmlns:a16="http://schemas.microsoft.com/office/drawing/2014/main" id="{165485EA-5758-C644-2982-014800A420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0939" y="6126184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32" name="Freeform 102">
                <a:extLst>
                  <a:ext uri="{FF2B5EF4-FFF2-40B4-BE49-F238E27FC236}">
                    <a16:creationId xmlns:a16="http://schemas.microsoft.com/office/drawing/2014/main" id="{431C2DF7-370D-746D-EE90-9D358BFEC4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0939" y="6272726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33" name="Freeform 103">
                <a:extLst>
                  <a:ext uri="{FF2B5EF4-FFF2-40B4-BE49-F238E27FC236}">
                    <a16:creationId xmlns:a16="http://schemas.microsoft.com/office/drawing/2014/main" id="{C765AC34-44D7-66F1-F98B-A1575272FE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0939" y="6422290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5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5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34" name="Freeform 104">
                <a:extLst>
                  <a:ext uri="{FF2B5EF4-FFF2-40B4-BE49-F238E27FC236}">
                    <a16:creationId xmlns:a16="http://schemas.microsoft.com/office/drawing/2014/main" id="{55DB74BD-0723-F904-3CB4-CF4E06E5EF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850363" y="6565810"/>
                <a:ext cx="67984" cy="89134"/>
              </a:xfrm>
              <a:custGeom>
                <a:avLst/>
                <a:gdLst>
                  <a:gd name="T0" fmla="*/ 17 w 19"/>
                  <a:gd name="T1" fmla="*/ 4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4 h 25"/>
                  <a:gd name="T16" fmla="*/ 6 w 19"/>
                  <a:gd name="T17" fmla="*/ 12 h 25"/>
                  <a:gd name="T18" fmla="*/ 10 w 19"/>
                  <a:gd name="T19" fmla="*/ 20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3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35" name="Freeform 105">
                <a:extLst>
                  <a:ext uri="{FF2B5EF4-FFF2-40B4-BE49-F238E27FC236}">
                    <a16:creationId xmlns:a16="http://schemas.microsoft.com/office/drawing/2014/main" id="{B6562859-6F80-9C92-0017-B11262856E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0939" y="6715374"/>
                <a:ext cx="52876" cy="81580"/>
              </a:xfrm>
              <a:custGeom>
                <a:avLst/>
                <a:gdLst>
                  <a:gd name="T0" fmla="*/ 16 w 35"/>
                  <a:gd name="T1" fmla="*/ 12 h 54"/>
                  <a:gd name="T2" fmla="*/ 7 w 35"/>
                  <a:gd name="T3" fmla="*/ 19 h 54"/>
                  <a:gd name="T4" fmla="*/ 0 w 35"/>
                  <a:gd name="T5" fmla="*/ 9 h 54"/>
                  <a:gd name="T6" fmla="*/ 19 w 35"/>
                  <a:gd name="T7" fmla="*/ 0 h 54"/>
                  <a:gd name="T8" fmla="*/ 28 w 35"/>
                  <a:gd name="T9" fmla="*/ 0 h 54"/>
                  <a:gd name="T10" fmla="*/ 28 w 35"/>
                  <a:gd name="T11" fmla="*/ 45 h 54"/>
                  <a:gd name="T12" fmla="*/ 35 w 35"/>
                  <a:gd name="T13" fmla="*/ 45 h 54"/>
                  <a:gd name="T14" fmla="*/ 35 w 35"/>
                  <a:gd name="T15" fmla="*/ 54 h 54"/>
                  <a:gd name="T16" fmla="*/ 9 w 35"/>
                  <a:gd name="T17" fmla="*/ 54 h 54"/>
                  <a:gd name="T18" fmla="*/ 9 w 35"/>
                  <a:gd name="T19" fmla="*/ 45 h 54"/>
                  <a:gd name="T20" fmla="*/ 16 w 35"/>
                  <a:gd name="T21" fmla="*/ 45 h 54"/>
                  <a:gd name="T22" fmla="*/ 16 w 35"/>
                  <a:gd name="T23" fmla="*/ 1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4">
                    <a:moveTo>
                      <a:pt x="16" y="12"/>
                    </a:moveTo>
                    <a:lnTo>
                      <a:pt x="7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4"/>
                    </a:lnTo>
                    <a:lnTo>
                      <a:pt x="9" y="54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36" name="Freeform 106">
                <a:extLst>
                  <a:ext uri="{FF2B5EF4-FFF2-40B4-BE49-F238E27FC236}">
                    <a16:creationId xmlns:a16="http://schemas.microsoft.com/office/drawing/2014/main" id="{E24C7937-A35D-DC8B-10AA-26695C7CCF1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850363" y="6857383"/>
                <a:ext cx="67984" cy="89134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2 h 25"/>
                  <a:gd name="T18" fmla="*/ 10 w 19"/>
                  <a:gd name="T19" fmla="*/ 21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37" name="Freeform 135">
                <a:extLst>
                  <a:ext uri="{FF2B5EF4-FFF2-40B4-BE49-F238E27FC236}">
                    <a16:creationId xmlns:a16="http://schemas.microsoft.com/office/drawing/2014/main" id="{AFC37F9E-2A96-D883-4314-F50C14A0E0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03296" y="5615554"/>
                <a:ext cx="60430" cy="111795"/>
              </a:xfrm>
              <a:custGeom>
                <a:avLst/>
                <a:gdLst>
                  <a:gd name="T0" fmla="*/ 19 w 40"/>
                  <a:gd name="T1" fmla="*/ 14 h 74"/>
                  <a:gd name="T2" fmla="*/ 4 w 40"/>
                  <a:gd name="T3" fmla="*/ 24 h 74"/>
                  <a:gd name="T4" fmla="*/ 0 w 40"/>
                  <a:gd name="T5" fmla="*/ 14 h 74"/>
                  <a:gd name="T6" fmla="*/ 21 w 40"/>
                  <a:gd name="T7" fmla="*/ 0 h 74"/>
                  <a:gd name="T8" fmla="*/ 30 w 40"/>
                  <a:gd name="T9" fmla="*/ 0 h 74"/>
                  <a:gd name="T10" fmla="*/ 30 w 40"/>
                  <a:gd name="T11" fmla="*/ 64 h 74"/>
                  <a:gd name="T12" fmla="*/ 40 w 40"/>
                  <a:gd name="T13" fmla="*/ 64 h 74"/>
                  <a:gd name="T14" fmla="*/ 40 w 40"/>
                  <a:gd name="T15" fmla="*/ 74 h 74"/>
                  <a:gd name="T16" fmla="*/ 9 w 40"/>
                  <a:gd name="T17" fmla="*/ 74 h 74"/>
                  <a:gd name="T18" fmla="*/ 9 w 40"/>
                  <a:gd name="T19" fmla="*/ 64 h 74"/>
                  <a:gd name="T20" fmla="*/ 19 w 40"/>
                  <a:gd name="T21" fmla="*/ 64 h 74"/>
                  <a:gd name="T22" fmla="*/ 19 w 40"/>
                  <a:gd name="T23" fmla="*/ 1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4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4"/>
                    </a:lnTo>
                    <a:lnTo>
                      <a:pt x="9" y="74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38" name="Freeform 136">
                <a:extLst>
                  <a:ext uri="{FF2B5EF4-FFF2-40B4-BE49-F238E27FC236}">
                    <a16:creationId xmlns:a16="http://schemas.microsoft.com/office/drawing/2014/main" id="{4A5C0618-2277-EB6E-8A05-557FF410C8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392720" y="5804396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8 h 32"/>
                  <a:gd name="T14" fmla="*/ 16 w 21"/>
                  <a:gd name="T15" fmla="*/ 16 h 32"/>
                  <a:gd name="T16" fmla="*/ 10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0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0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39" name="Freeform 137">
                <a:extLst>
                  <a:ext uri="{FF2B5EF4-FFF2-40B4-BE49-F238E27FC236}">
                    <a16:creationId xmlns:a16="http://schemas.microsoft.com/office/drawing/2014/main" id="{A4D9D7CD-9B57-7137-44C0-9CDE94D5F5A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392720" y="6186614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6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40" name="Freeform 138">
                <a:extLst>
                  <a:ext uri="{FF2B5EF4-FFF2-40B4-BE49-F238E27FC236}">
                    <a16:creationId xmlns:a16="http://schemas.microsoft.com/office/drawing/2014/main" id="{A820336E-1B9B-D146-E843-45B5689A4A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03296" y="6379989"/>
                <a:ext cx="60430" cy="107263"/>
              </a:xfrm>
              <a:custGeom>
                <a:avLst/>
                <a:gdLst>
                  <a:gd name="T0" fmla="*/ 19 w 40"/>
                  <a:gd name="T1" fmla="*/ 12 h 71"/>
                  <a:gd name="T2" fmla="*/ 4 w 40"/>
                  <a:gd name="T3" fmla="*/ 21 h 71"/>
                  <a:gd name="T4" fmla="*/ 0 w 40"/>
                  <a:gd name="T5" fmla="*/ 12 h 71"/>
                  <a:gd name="T6" fmla="*/ 21 w 40"/>
                  <a:gd name="T7" fmla="*/ 0 h 71"/>
                  <a:gd name="T8" fmla="*/ 30 w 40"/>
                  <a:gd name="T9" fmla="*/ 0 h 71"/>
                  <a:gd name="T10" fmla="*/ 30 w 40"/>
                  <a:gd name="T11" fmla="*/ 64 h 71"/>
                  <a:gd name="T12" fmla="*/ 40 w 40"/>
                  <a:gd name="T13" fmla="*/ 64 h 71"/>
                  <a:gd name="T14" fmla="*/ 40 w 40"/>
                  <a:gd name="T15" fmla="*/ 71 h 71"/>
                  <a:gd name="T16" fmla="*/ 9 w 40"/>
                  <a:gd name="T17" fmla="*/ 71 h 71"/>
                  <a:gd name="T18" fmla="*/ 9 w 40"/>
                  <a:gd name="T19" fmla="*/ 64 h 71"/>
                  <a:gd name="T20" fmla="*/ 19 w 40"/>
                  <a:gd name="T21" fmla="*/ 64 h 71"/>
                  <a:gd name="T22" fmla="*/ 19 w 40"/>
                  <a:gd name="T23" fmla="*/ 1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1">
                    <a:moveTo>
                      <a:pt x="19" y="12"/>
                    </a:moveTo>
                    <a:lnTo>
                      <a:pt x="4" y="21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1"/>
                    </a:lnTo>
                    <a:lnTo>
                      <a:pt x="9" y="71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41" name="Freeform 139">
                <a:extLst>
                  <a:ext uri="{FF2B5EF4-FFF2-40B4-BE49-F238E27FC236}">
                    <a16:creationId xmlns:a16="http://schemas.microsoft.com/office/drawing/2014/main" id="{B8D56DF3-2282-88FC-5887-A291A1494C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03296" y="6568831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42" name="Freeform 140">
                <a:extLst>
                  <a:ext uri="{FF2B5EF4-FFF2-40B4-BE49-F238E27FC236}">
                    <a16:creationId xmlns:a16="http://schemas.microsoft.com/office/drawing/2014/main" id="{DABD0055-1414-18D7-1844-1CE55E0A76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03296" y="6757674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43" name="Freeform 149">
                <a:extLst>
                  <a:ext uri="{FF2B5EF4-FFF2-40B4-BE49-F238E27FC236}">
                    <a16:creationId xmlns:a16="http://schemas.microsoft.com/office/drawing/2014/main" id="{90D4A485-DED2-D002-B37F-AA22B1CA06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15269" y="5259018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44" name="Freeform 150">
                <a:extLst>
                  <a:ext uri="{FF2B5EF4-FFF2-40B4-BE49-F238E27FC236}">
                    <a16:creationId xmlns:a16="http://schemas.microsoft.com/office/drawing/2014/main" id="{E0DF2FBA-117E-7C54-AD87-1B2B4B32F7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400163" y="5541527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45" name="Freeform 151">
                <a:extLst>
                  <a:ext uri="{FF2B5EF4-FFF2-40B4-BE49-F238E27FC236}">
                    <a16:creationId xmlns:a16="http://schemas.microsoft.com/office/drawing/2014/main" id="{225A21DC-D31C-3BD6-77D2-52E5AD015E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15269" y="5830079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46" name="Freeform 152">
                <a:extLst>
                  <a:ext uri="{FF2B5EF4-FFF2-40B4-BE49-F238E27FC236}">
                    <a16:creationId xmlns:a16="http://schemas.microsoft.com/office/drawing/2014/main" id="{7BA48B97-501B-9608-16FE-CD9C8657193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400163" y="6112587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47" name="Freeform 153">
                <a:extLst>
                  <a:ext uri="{FF2B5EF4-FFF2-40B4-BE49-F238E27FC236}">
                    <a16:creationId xmlns:a16="http://schemas.microsoft.com/office/drawing/2014/main" id="{C0182812-5758-F048-B5C6-3E1FF2EAEE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15269" y="6401139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48" name="Freeform 154">
                <a:extLst>
                  <a:ext uri="{FF2B5EF4-FFF2-40B4-BE49-F238E27FC236}">
                    <a16:creationId xmlns:a16="http://schemas.microsoft.com/office/drawing/2014/main" id="{ABF2F825-ECB1-1FF7-D786-639F84DA42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15269" y="6686669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49" name="Line 8">
                <a:extLst>
                  <a:ext uri="{FF2B5EF4-FFF2-40B4-BE49-F238E27FC236}">
                    <a16:creationId xmlns:a16="http://schemas.microsoft.com/office/drawing/2014/main" id="{87977E31-B6DB-84AD-4A6D-87ECEE786BD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03374" y="5783246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50" name="Line 9">
                <a:extLst>
                  <a:ext uri="{FF2B5EF4-FFF2-40B4-BE49-F238E27FC236}">
                    <a16:creationId xmlns:a16="http://schemas.microsoft.com/office/drawing/2014/main" id="{7723205C-313F-60E9-80A6-D5BF1C1498A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03374" y="5783246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51" name="Freeform 10">
                <a:extLst>
                  <a:ext uri="{FF2B5EF4-FFF2-40B4-BE49-F238E27FC236}">
                    <a16:creationId xmlns:a16="http://schemas.microsoft.com/office/drawing/2014/main" id="{A74BA3AB-C0AD-BDD6-A69C-CCA2A42C81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6556" y="6854362"/>
                <a:ext cx="99709" cy="157117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8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7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7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8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7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7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52" name="Freeform 23">
                <a:extLst>
                  <a:ext uri="{FF2B5EF4-FFF2-40B4-BE49-F238E27FC236}">
                    <a16:creationId xmlns:a16="http://schemas.microsoft.com/office/drawing/2014/main" id="{0CDD7B18-CEC5-4626-2EA2-CE4A560C2AE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54046" y="6133738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8 h 32"/>
                  <a:gd name="T14" fmla="*/ 16 w 21"/>
                  <a:gd name="T15" fmla="*/ 16 h 32"/>
                  <a:gd name="T16" fmla="*/ 11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1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1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53" name="Freeform 24">
                <a:extLst>
                  <a:ext uri="{FF2B5EF4-FFF2-40B4-BE49-F238E27FC236}">
                    <a16:creationId xmlns:a16="http://schemas.microsoft.com/office/drawing/2014/main" id="{04B11314-D8C3-9E9D-11A0-4CE8A85A5EB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54046" y="6325602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5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54" name="Freeform 25">
                <a:extLst>
                  <a:ext uri="{FF2B5EF4-FFF2-40B4-BE49-F238E27FC236}">
                    <a16:creationId xmlns:a16="http://schemas.microsoft.com/office/drawing/2014/main" id="{5A55B802-1401-6CB4-4FE9-5BFD3B4908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57068" y="6707820"/>
                <a:ext cx="64962" cy="11028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2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2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55" name="Freeform 26">
                <a:extLst>
                  <a:ext uri="{FF2B5EF4-FFF2-40B4-BE49-F238E27FC236}">
                    <a16:creationId xmlns:a16="http://schemas.microsoft.com/office/drawing/2014/main" id="{B3516B55-A99A-F165-BF52-5F777C34FBF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54046" y="6896663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6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56" name="Freeform 43">
                <a:extLst>
                  <a:ext uri="{FF2B5EF4-FFF2-40B4-BE49-F238E27FC236}">
                    <a16:creationId xmlns:a16="http://schemas.microsoft.com/office/drawing/2014/main" id="{417209C3-9454-F034-DB4D-FE7DE8453C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25925" y="6333156"/>
                <a:ext cx="63451" cy="9366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5" y="0"/>
                      <a:pt x="18" y="5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57" name="Freeform 44">
                <a:extLst>
                  <a:ext uri="{FF2B5EF4-FFF2-40B4-BE49-F238E27FC236}">
                    <a16:creationId xmlns:a16="http://schemas.microsoft.com/office/drawing/2014/main" id="{D5E25E8E-B724-D5B7-CF35-5C27AB31AC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25925" y="6487252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1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58" name="Freeform 45">
                <a:extLst>
                  <a:ext uri="{FF2B5EF4-FFF2-40B4-BE49-F238E27FC236}">
                    <a16:creationId xmlns:a16="http://schemas.microsoft.com/office/drawing/2014/main" id="{9886C29D-A4AF-18BB-82BF-58B0C7D47B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28946" y="6793932"/>
                <a:ext cx="49855" cy="89134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49 h 59"/>
                  <a:gd name="T20" fmla="*/ 17 w 33"/>
                  <a:gd name="T21" fmla="*/ 49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59" name="Freeform 63">
                <a:extLst>
                  <a:ext uri="{FF2B5EF4-FFF2-40B4-BE49-F238E27FC236}">
                    <a16:creationId xmlns:a16="http://schemas.microsoft.com/office/drawing/2014/main" id="{2B8CA038-F1D3-1038-9FC7-7CC6A76BF0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756362" y="6333156"/>
                <a:ext cx="60430" cy="9366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4" y="0"/>
                      <a:pt x="17" y="5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60" name="Freeform 64">
                <a:extLst>
                  <a:ext uri="{FF2B5EF4-FFF2-40B4-BE49-F238E27FC236}">
                    <a16:creationId xmlns:a16="http://schemas.microsoft.com/office/drawing/2014/main" id="{B5A94128-4A79-F985-B4AF-07106CC7603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756362" y="6487252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1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61" name="Freeform 65">
                <a:extLst>
                  <a:ext uri="{FF2B5EF4-FFF2-40B4-BE49-F238E27FC236}">
                    <a16:creationId xmlns:a16="http://schemas.microsoft.com/office/drawing/2014/main" id="{5F41A01B-8F71-B28C-A5AC-073D68CEDF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60894" y="6793932"/>
                <a:ext cx="49855" cy="89134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49 h 59"/>
                  <a:gd name="T20" fmla="*/ 16 w 33"/>
                  <a:gd name="T21" fmla="*/ 49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62" name="Freeform 83">
                <a:extLst>
                  <a:ext uri="{FF2B5EF4-FFF2-40B4-BE49-F238E27FC236}">
                    <a16:creationId xmlns:a16="http://schemas.microsoft.com/office/drawing/2014/main" id="{BE98A96E-B552-D7A5-6DDF-895BBD0576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00062" y="6340710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3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63" name="Freeform 84">
                <a:extLst>
                  <a:ext uri="{FF2B5EF4-FFF2-40B4-BE49-F238E27FC236}">
                    <a16:creationId xmlns:a16="http://schemas.microsoft.com/office/drawing/2014/main" id="{BE41DCE3-3CB9-AB32-82A7-AD00F9CF2E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97040" y="6608111"/>
                <a:ext cx="110285" cy="164671"/>
              </a:xfrm>
              <a:custGeom>
                <a:avLst/>
                <a:gdLst>
                  <a:gd name="T0" fmla="*/ 31 w 31"/>
                  <a:gd name="T1" fmla="*/ 23 h 46"/>
                  <a:gd name="T2" fmla="*/ 15 w 31"/>
                  <a:gd name="T3" fmla="*/ 46 h 46"/>
                  <a:gd name="T4" fmla="*/ 0 w 31"/>
                  <a:gd name="T5" fmla="*/ 23 h 46"/>
                  <a:gd name="T6" fmla="*/ 15 w 31"/>
                  <a:gd name="T7" fmla="*/ 0 h 46"/>
                  <a:gd name="T8" fmla="*/ 31 w 31"/>
                  <a:gd name="T9" fmla="*/ 23 h 46"/>
                  <a:gd name="T10" fmla="*/ 8 w 31"/>
                  <a:gd name="T11" fmla="*/ 23 h 46"/>
                  <a:gd name="T12" fmla="*/ 15 w 31"/>
                  <a:gd name="T13" fmla="*/ 39 h 46"/>
                  <a:gd name="T14" fmla="*/ 23 w 31"/>
                  <a:gd name="T15" fmla="*/ 23 h 46"/>
                  <a:gd name="T16" fmla="*/ 15 w 31"/>
                  <a:gd name="T17" fmla="*/ 7 h 46"/>
                  <a:gd name="T18" fmla="*/ 8 w 31"/>
                  <a:gd name="T19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6">
                    <a:moveTo>
                      <a:pt x="31" y="23"/>
                    </a:moveTo>
                    <a:cubicBezTo>
                      <a:pt x="31" y="38"/>
                      <a:pt x="26" y="46"/>
                      <a:pt x="15" y="46"/>
                    </a:cubicBezTo>
                    <a:cubicBezTo>
                      <a:pt x="5" y="46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7"/>
                      <a:pt x="15" y="7"/>
                    </a:cubicBezTo>
                    <a:cubicBezTo>
                      <a:pt x="10" y="7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64" name="Freeform 85">
                <a:extLst>
                  <a:ext uri="{FF2B5EF4-FFF2-40B4-BE49-F238E27FC236}">
                    <a16:creationId xmlns:a16="http://schemas.microsoft.com/office/drawing/2014/main" id="{2BE1A29C-743A-CBFC-129C-A5A7F92655E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97040" y="6880045"/>
                <a:ext cx="110285" cy="160139"/>
              </a:xfrm>
              <a:custGeom>
                <a:avLst/>
                <a:gdLst>
                  <a:gd name="T0" fmla="*/ 31 w 31"/>
                  <a:gd name="T1" fmla="*/ 23 h 45"/>
                  <a:gd name="T2" fmla="*/ 15 w 31"/>
                  <a:gd name="T3" fmla="*/ 45 h 45"/>
                  <a:gd name="T4" fmla="*/ 0 w 31"/>
                  <a:gd name="T5" fmla="*/ 23 h 45"/>
                  <a:gd name="T6" fmla="*/ 15 w 31"/>
                  <a:gd name="T7" fmla="*/ 0 h 45"/>
                  <a:gd name="T8" fmla="*/ 31 w 31"/>
                  <a:gd name="T9" fmla="*/ 23 h 45"/>
                  <a:gd name="T10" fmla="*/ 8 w 31"/>
                  <a:gd name="T11" fmla="*/ 23 h 45"/>
                  <a:gd name="T12" fmla="*/ 15 w 31"/>
                  <a:gd name="T13" fmla="*/ 39 h 45"/>
                  <a:gd name="T14" fmla="*/ 23 w 31"/>
                  <a:gd name="T15" fmla="*/ 23 h 45"/>
                  <a:gd name="T16" fmla="*/ 15 w 31"/>
                  <a:gd name="T17" fmla="*/ 6 h 45"/>
                  <a:gd name="T18" fmla="*/ 8 w 31"/>
                  <a:gd name="T19" fmla="*/ 2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31" y="23"/>
                    </a:moveTo>
                    <a:cubicBezTo>
                      <a:pt x="31" y="38"/>
                      <a:pt x="26" y="45"/>
                      <a:pt x="15" y="45"/>
                    </a:cubicBezTo>
                    <a:cubicBezTo>
                      <a:pt x="5" y="45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6"/>
                      <a:pt x="15" y="6"/>
                    </a:cubicBezTo>
                    <a:cubicBezTo>
                      <a:pt x="10" y="6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65" name="Freeform 95">
                <a:extLst>
                  <a:ext uri="{FF2B5EF4-FFF2-40B4-BE49-F238E27FC236}">
                    <a16:creationId xmlns:a16="http://schemas.microsoft.com/office/drawing/2014/main" id="{A3DEFE23-6B59-59DC-564D-9D7AA137C7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1996" y="5455415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66" name="Freeform 96">
                <a:extLst>
                  <a:ext uri="{FF2B5EF4-FFF2-40B4-BE49-F238E27FC236}">
                    <a16:creationId xmlns:a16="http://schemas.microsoft.com/office/drawing/2014/main" id="{2B70D136-9408-4BB5-30CE-406BD2E28FF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67464" y="5601957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67" name="Freeform 97">
                <a:extLst>
                  <a:ext uri="{FF2B5EF4-FFF2-40B4-BE49-F238E27FC236}">
                    <a16:creationId xmlns:a16="http://schemas.microsoft.com/office/drawing/2014/main" id="{C272FA33-9688-7F7E-4040-35A3C7786F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1996" y="5748499"/>
                <a:ext cx="52876" cy="84602"/>
              </a:xfrm>
              <a:custGeom>
                <a:avLst/>
                <a:gdLst>
                  <a:gd name="T0" fmla="*/ 16 w 35"/>
                  <a:gd name="T1" fmla="*/ 14 h 56"/>
                  <a:gd name="T2" fmla="*/ 7 w 35"/>
                  <a:gd name="T3" fmla="*/ 21 h 56"/>
                  <a:gd name="T4" fmla="*/ 0 w 35"/>
                  <a:gd name="T5" fmla="*/ 11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4"/>
                    </a:moveTo>
                    <a:lnTo>
                      <a:pt x="7" y="21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68" name="Freeform 98">
                <a:extLst>
                  <a:ext uri="{FF2B5EF4-FFF2-40B4-BE49-F238E27FC236}">
                    <a16:creationId xmlns:a16="http://schemas.microsoft.com/office/drawing/2014/main" id="{BB638495-E53A-8971-C2F8-96ED41C3970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67464" y="5895041"/>
                <a:ext cx="67984" cy="84602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69" name="Freeform 99">
                <a:extLst>
                  <a:ext uri="{FF2B5EF4-FFF2-40B4-BE49-F238E27FC236}">
                    <a16:creationId xmlns:a16="http://schemas.microsoft.com/office/drawing/2014/main" id="{5C3A6E74-43B0-C28E-1F25-38A7DED156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1996" y="6040072"/>
                <a:ext cx="52876" cy="86113"/>
              </a:xfrm>
              <a:custGeom>
                <a:avLst/>
                <a:gdLst>
                  <a:gd name="T0" fmla="*/ 16 w 35"/>
                  <a:gd name="T1" fmla="*/ 15 h 57"/>
                  <a:gd name="T2" fmla="*/ 7 w 35"/>
                  <a:gd name="T3" fmla="*/ 22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8 h 57"/>
                  <a:gd name="T12" fmla="*/ 35 w 35"/>
                  <a:gd name="T13" fmla="*/ 48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8 h 57"/>
                  <a:gd name="T20" fmla="*/ 16 w 35"/>
                  <a:gd name="T21" fmla="*/ 48 h 57"/>
                  <a:gd name="T22" fmla="*/ 16 w 35"/>
                  <a:gd name="T23" fmla="*/ 1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5"/>
                    </a:moveTo>
                    <a:lnTo>
                      <a:pt x="7" y="22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5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70" name="Freeform 100">
                <a:extLst>
                  <a:ext uri="{FF2B5EF4-FFF2-40B4-BE49-F238E27FC236}">
                    <a16:creationId xmlns:a16="http://schemas.microsoft.com/office/drawing/2014/main" id="{2B4B1E3E-BAA8-44BE-4DD3-B6EDE08D9DF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67464" y="6186614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71" name="Freeform 101">
                <a:extLst>
                  <a:ext uri="{FF2B5EF4-FFF2-40B4-BE49-F238E27FC236}">
                    <a16:creationId xmlns:a16="http://schemas.microsoft.com/office/drawing/2014/main" id="{42934CDF-8602-2192-4427-70696FBD9B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1996" y="6333156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72" name="Freeform 102">
                <a:extLst>
                  <a:ext uri="{FF2B5EF4-FFF2-40B4-BE49-F238E27FC236}">
                    <a16:creationId xmlns:a16="http://schemas.microsoft.com/office/drawing/2014/main" id="{417E632B-D8F0-AAB9-F7E6-193DDCF1C3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1996" y="6479698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73" name="Freeform 103">
                <a:extLst>
                  <a:ext uri="{FF2B5EF4-FFF2-40B4-BE49-F238E27FC236}">
                    <a16:creationId xmlns:a16="http://schemas.microsoft.com/office/drawing/2014/main" id="{0EF76F91-0565-839B-46DD-641210B274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1996" y="6629262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5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5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74" name="Freeform 104">
                <a:extLst>
                  <a:ext uri="{FF2B5EF4-FFF2-40B4-BE49-F238E27FC236}">
                    <a16:creationId xmlns:a16="http://schemas.microsoft.com/office/drawing/2014/main" id="{26B26823-6718-D9EA-5665-62023D10D8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67464" y="6772782"/>
                <a:ext cx="67984" cy="89134"/>
              </a:xfrm>
              <a:custGeom>
                <a:avLst/>
                <a:gdLst>
                  <a:gd name="T0" fmla="*/ 17 w 19"/>
                  <a:gd name="T1" fmla="*/ 4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4 h 25"/>
                  <a:gd name="T16" fmla="*/ 6 w 19"/>
                  <a:gd name="T17" fmla="*/ 12 h 25"/>
                  <a:gd name="T18" fmla="*/ 10 w 19"/>
                  <a:gd name="T19" fmla="*/ 20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3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75" name="Freeform 105">
                <a:extLst>
                  <a:ext uri="{FF2B5EF4-FFF2-40B4-BE49-F238E27FC236}">
                    <a16:creationId xmlns:a16="http://schemas.microsoft.com/office/drawing/2014/main" id="{A04252E3-DDAC-72F3-8A45-CCC8A12808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1996" y="6922346"/>
                <a:ext cx="52876" cy="81580"/>
              </a:xfrm>
              <a:custGeom>
                <a:avLst/>
                <a:gdLst>
                  <a:gd name="T0" fmla="*/ 16 w 35"/>
                  <a:gd name="T1" fmla="*/ 12 h 54"/>
                  <a:gd name="T2" fmla="*/ 7 w 35"/>
                  <a:gd name="T3" fmla="*/ 19 h 54"/>
                  <a:gd name="T4" fmla="*/ 0 w 35"/>
                  <a:gd name="T5" fmla="*/ 9 h 54"/>
                  <a:gd name="T6" fmla="*/ 19 w 35"/>
                  <a:gd name="T7" fmla="*/ 0 h 54"/>
                  <a:gd name="T8" fmla="*/ 28 w 35"/>
                  <a:gd name="T9" fmla="*/ 0 h 54"/>
                  <a:gd name="T10" fmla="*/ 28 w 35"/>
                  <a:gd name="T11" fmla="*/ 45 h 54"/>
                  <a:gd name="T12" fmla="*/ 35 w 35"/>
                  <a:gd name="T13" fmla="*/ 45 h 54"/>
                  <a:gd name="T14" fmla="*/ 35 w 35"/>
                  <a:gd name="T15" fmla="*/ 54 h 54"/>
                  <a:gd name="T16" fmla="*/ 9 w 35"/>
                  <a:gd name="T17" fmla="*/ 54 h 54"/>
                  <a:gd name="T18" fmla="*/ 9 w 35"/>
                  <a:gd name="T19" fmla="*/ 45 h 54"/>
                  <a:gd name="T20" fmla="*/ 16 w 35"/>
                  <a:gd name="T21" fmla="*/ 45 h 54"/>
                  <a:gd name="T22" fmla="*/ 16 w 35"/>
                  <a:gd name="T23" fmla="*/ 1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4">
                    <a:moveTo>
                      <a:pt x="16" y="12"/>
                    </a:moveTo>
                    <a:lnTo>
                      <a:pt x="7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4"/>
                    </a:lnTo>
                    <a:lnTo>
                      <a:pt x="9" y="54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76" name="Freeform 135">
                <a:extLst>
                  <a:ext uri="{FF2B5EF4-FFF2-40B4-BE49-F238E27FC236}">
                    <a16:creationId xmlns:a16="http://schemas.microsoft.com/office/drawing/2014/main" id="{A48C4B03-EB05-FCDE-3C1B-6766257248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22085" y="5822526"/>
                <a:ext cx="60430" cy="111795"/>
              </a:xfrm>
              <a:custGeom>
                <a:avLst/>
                <a:gdLst>
                  <a:gd name="T0" fmla="*/ 19 w 40"/>
                  <a:gd name="T1" fmla="*/ 14 h 74"/>
                  <a:gd name="T2" fmla="*/ 4 w 40"/>
                  <a:gd name="T3" fmla="*/ 24 h 74"/>
                  <a:gd name="T4" fmla="*/ 0 w 40"/>
                  <a:gd name="T5" fmla="*/ 14 h 74"/>
                  <a:gd name="T6" fmla="*/ 21 w 40"/>
                  <a:gd name="T7" fmla="*/ 0 h 74"/>
                  <a:gd name="T8" fmla="*/ 30 w 40"/>
                  <a:gd name="T9" fmla="*/ 0 h 74"/>
                  <a:gd name="T10" fmla="*/ 30 w 40"/>
                  <a:gd name="T11" fmla="*/ 64 h 74"/>
                  <a:gd name="T12" fmla="*/ 40 w 40"/>
                  <a:gd name="T13" fmla="*/ 64 h 74"/>
                  <a:gd name="T14" fmla="*/ 40 w 40"/>
                  <a:gd name="T15" fmla="*/ 74 h 74"/>
                  <a:gd name="T16" fmla="*/ 9 w 40"/>
                  <a:gd name="T17" fmla="*/ 74 h 74"/>
                  <a:gd name="T18" fmla="*/ 9 w 40"/>
                  <a:gd name="T19" fmla="*/ 64 h 74"/>
                  <a:gd name="T20" fmla="*/ 19 w 40"/>
                  <a:gd name="T21" fmla="*/ 64 h 74"/>
                  <a:gd name="T22" fmla="*/ 19 w 40"/>
                  <a:gd name="T23" fmla="*/ 1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4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4"/>
                    </a:lnTo>
                    <a:lnTo>
                      <a:pt x="9" y="74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77" name="Freeform 136">
                <a:extLst>
                  <a:ext uri="{FF2B5EF4-FFF2-40B4-BE49-F238E27FC236}">
                    <a16:creationId xmlns:a16="http://schemas.microsoft.com/office/drawing/2014/main" id="{56E71FCD-6486-0B45-F366-A69A14D8B6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17554" y="6011368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8 h 32"/>
                  <a:gd name="T14" fmla="*/ 16 w 21"/>
                  <a:gd name="T15" fmla="*/ 16 h 32"/>
                  <a:gd name="T16" fmla="*/ 10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0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0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78" name="Freeform 137">
                <a:extLst>
                  <a:ext uri="{FF2B5EF4-FFF2-40B4-BE49-F238E27FC236}">
                    <a16:creationId xmlns:a16="http://schemas.microsoft.com/office/drawing/2014/main" id="{685072CD-62B3-59A1-13CD-DA96CDD5EA8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17554" y="6393586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6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79" name="Freeform 138">
                <a:extLst>
                  <a:ext uri="{FF2B5EF4-FFF2-40B4-BE49-F238E27FC236}">
                    <a16:creationId xmlns:a16="http://schemas.microsoft.com/office/drawing/2014/main" id="{CF9CF1A0-909A-2302-5900-044DB67034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22085" y="6586961"/>
                <a:ext cx="60430" cy="107263"/>
              </a:xfrm>
              <a:custGeom>
                <a:avLst/>
                <a:gdLst>
                  <a:gd name="T0" fmla="*/ 19 w 40"/>
                  <a:gd name="T1" fmla="*/ 12 h 71"/>
                  <a:gd name="T2" fmla="*/ 4 w 40"/>
                  <a:gd name="T3" fmla="*/ 21 h 71"/>
                  <a:gd name="T4" fmla="*/ 0 w 40"/>
                  <a:gd name="T5" fmla="*/ 12 h 71"/>
                  <a:gd name="T6" fmla="*/ 21 w 40"/>
                  <a:gd name="T7" fmla="*/ 0 h 71"/>
                  <a:gd name="T8" fmla="*/ 30 w 40"/>
                  <a:gd name="T9" fmla="*/ 0 h 71"/>
                  <a:gd name="T10" fmla="*/ 30 w 40"/>
                  <a:gd name="T11" fmla="*/ 64 h 71"/>
                  <a:gd name="T12" fmla="*/ 40 w 40"/>
                  <a:gd name="T13" fmla="*/ 64 h 71"/>
                  <a:gd name="T14" fmla="*/ 40 w 40"/>
                  <a:gd name="T15" fmla="*/ 71 h 71"/>
                  <a:gd name="T16" fmla="*/ 9 w 40"/>
                  <a:gd name="T17" fmla="*/ 71 h 71"/>
                  <a:gd name="T18" fmla="*/ 9 w 40"/>
                  <a:gd name="T19" fmla="*/ 64 h 71"/>
                  <a:gd name="T20" fmla="*/ 19 w 40"/>
                  <a:gd name="T21" fmla="*/ 64 h 71"/>
                  <a:gd name="T22" fmla="*/ 19 w 40"/>
                  <a:gd name="T23" fmla="*/ 1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1">
                    <a:moveTo>
                      <a:pt x="19" y="12"/>
                    </a:moveTo>
                    <a:lnTo>
                      <a:pt x="4" y="21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1"/>
                    </a:lnTo>
                    <a:lnTo>
                      <a:pt x="9" y="71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80" name="Freeform 139">
                <a:extLst>
                  <a:ext uri="{FF2B5EF4-FFF2-40B4-BE49-F238E27FC236}">
                    <a16:creationId xmlns:a16="http://schemas.microsoft.com/office/drawing/2014/main" id="{B914D8C5-DE5A-20DC-C405-968AF64D5A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22085" y="6775803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81" name="Freeform 149">
                <a:extLst>
                  <a:ext uri="{FF2B5EF4-FFF2-40B4-BE49-F238E27FC236}">
                    <a16:creationId xmlns:a16="http://schemas.microsoft.com/office/drawing/2014/main" id="{8999CFFA-0A83-3460-38F9-4955D4501C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78386" y="5465991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82" name="Freeform 150">
                <a:extLst>
                  <a:ext uri="{FF2B5EF4-FFF2-40B4-BE49-F238E27FC236}">
                    <a16:creationId xmlns:a16="http://schemas.microsoft.com/office/drawing/2014/main" id="{6237D83B-480C-04EF-8D13-9EC80786C89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470831" y="5748499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83" name="Freeform 151">
                <a:extLst>
                  <a:ext uri="{FF2B5EF4-FFF2-40B4-BE49-F238E27FC236}">
                    <a16:creationId xmlns:a16="http://schemas.microsoft.com/office/drawing/2014/main" id="{61D73812-8E15-9D3E-9211-B1B1E5366B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78386" y="6037051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84" name="Freeform 152">
                <a:extLst>
                  <a:ext uri="{FF2B5EF4-FFF2-40B4-BE49-F238E27FC236}">
                    <a16:creationId xmlns:a16="http://schemas.microsoft.com/office/drawing/2014/main" id="{31B600AB-29B9-9EBA-67DC-99B78C80B2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470831" y="6319559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85" name="Freeform 153">
                <a:extLst>
                  <a:ext uri="{FF2B5EF4-FFF2-40B4-BE49-F238E27FC236}">
                    <a16:creationId xmlns:a16="http://schemas.microsoft.com/office/drawing/2014/main" id="{A1150B77-B107-E7DA-62CB-8AF972D3F5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78386" y="6608111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86" name="Freeform 154">
                <a:extLst>
                  <a:ext uri="{FF2B5EF4-FFF2-40B4-BE49-F238E27FC236}">
                    <a16:creationId xmlns:a16="http://schemas.microsoft.com/office/drawing/2014/main" id="{2BEDD8E2-E8B8-0FF0-CB1B-E670B45603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78386" y="6893641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</p:grpSp>
        <p:sp>
          <p:nvSpPr>
            <p:cNvPr id="814" name="TextBox 813">
              <a:extLst>
                <a:ext uri="{FF2B5EF4-FFF2-40B4-BE49-F238E27FC236}">
                  <a16:creationId xmlns:a16="http://schemas.microsoft.com/office/drawing/2014/main" id="{73924273-0325-B9C3-FB09-B4AFA4249AE4}"/>
                </a:ext>
              </a:extLst>
            </p:cNvPr>
            <p:cNvSpPr txBox="1"/>
            <p:nvPr/>
          </p:nvSpPr>
          <p:spPr>
            <a:xfrm>
              <a:off x="713854" y="5637046"/>
              <a:ext cx="1229356" cy="26093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defTabSz="913486">
                <a:lnSpc>
                  <a:spcPct val="110000"/>
                </a:lnSpc>
                <a:defRPr/>
              </a:pPr>
              <a:r>
                <a:rPr lang="en-US" sz="1200" b="1" dirty="0">
                  <a:solidFill>
                    <a:srgbClr val="00646E"/>
                  </a:solidFill>
                  <a:ea typeface="宋体" pitchFamily="2" charset="-122"/>
                  <a:cs typeface="Arial" charset="0"/>
                </a:rPr>
                <a:t>Data sources</a:t>
              </a:r>
            </a:p>
          </p:txBody>
        </p:sp>
        <p:sp>
          <p:nvSpPr>
            <p:cNvPr id="826" name="Rounded Rectangle 114">
              <a:extLst>
                <a:ext uri="{FF2B5EF4-FFF2-40B4-BE49-F238E27FC236}">
                  <a16:creationId xmlns:a16="http://schemas.microsoft.com/office/drawing/2014/main" id="{E6853CAE-9549-7BC2-F866-C26118605ED9}"/>
                </a:ext>
              </a:extLst>
            </p:cNvPr>
            <p:cNvSpPr/>
            <p:nvPr/>
          </p:nvSpPr>
          <p:spPr bwMode="auto">
            <a:xfrm>
              <a:off x="2451055" y="6334911"/>
              <a:ext cx="1379054" cy="454516"/>
            </a:xfrm>
            <a:prstGeom prst="roundRect">
              <a:avLst/>
            </a:prstGeom>
            <a:solidFill>
              <a:srgbClr val="FFFFFF"/>
            </a:solidFill>
            <a:ln w="25400" cap="flat" cmpd="sng" algn="ctr">
              <a:solidFill>
                <a:srgbClr val="32A0A0"/>
              </a:solidFill>
              <a:prstDash val="solid"/>
            </a:ln>
            <a:effectLst/>
          </p:spPr>
          <p:txBody>
            <a:bodyPr wrap="square" lIns="93357" tIns="46680" rIns="93357" bIns="46680" numCol="1" spcCol="143928" rtlCol="0" anchor="ctr">
              <a:noAutofit/>
            </a:bodyPr>
            <a:lstStyle/>
            <a:p>
              <a:pPr algn="ctr" defTabSz="790551">
                <a:lnSpc>
                  <a:spcPct val="110000"/>
                </a:lnSpc>
                <a:spcBef>
                  <a:spcPct val="0"/>
                </a:spcBef>
                <a:defRPr/>
              </a:pPr>
              <a:r>
                <a:rPr lang="en-US" sz="300" b="1" kern="0" dirty="0">
                  <a:solidFill>
                    <a:srgbClr val="000000"/>
                  </a:solidFill>
                </a:rPr>
                <a:t>Analytics and Optimization Systems</a:t>
              </a:r>
            </a:p>
          </p:txBody>
        </p:sp>
        <p:sp>
          <p:nvSpPr>
            <p:cNvPr id="827" name="Rounded Rectangle 115">
              <a:extLst>
                <a:ext uri="{FF2B5EF4-FFF2-40B4-BE49-F238E27FC236}">
                  <a16:creationId xmlns:a16="http://schemas.microsoft.com/office/drawing/2014/main" id="{B61FBA44-CEB2-3F25-EB34-316AC4049C05}"/>
                </a:ext>
              </a:extLst>
            </p:cNvPr>
            <p:cNvSpPr/>
            <p:nvPr/>
          </p:nvSpPr>
          <p:spPr bwMode="auto">
            <a:xfrm>
              <a:off x="4412381" y="6329529"/>
              <a:ext cx="1401414" cy="468290"/>
            </a:xfrm>
            <a:prstGeom prst="roundRect">
              <a:avLst/>
            </a:prstGeom>
            <a:solidFill>
              <a:srgbClr val="FFFFFF"/>
            </a:solidFill>
            <a:ln w="25400" cap="flat" cmpd="sng" algn="ctr">
              <a:solidFill>
                <a:srgbClr val="32A0A0"/>
              </a:solidFill>
              <a:prstDash val="solid"/>
            </a:ln>
            <a:effectLst/>
          </p:spPr>
          <p:txBody>
            <a:bodyPr wrap="square" lIns="93357" tIns="46680" rIns="93357" bIns="46680" numCol="1" spcCol="143928" rtlCol="0" anchor="ctr">
              <a:noAutofit/>
            </a:bodyPr>
            <a:lstStyle/>
            <a:p>
              <a:pPr algn="ctr" defTabSz="790551">
                <a:lnSpc>
                  <a:spcPct val="110000"/>
                </a:lnSpc>
                <a:spcBef>
                  <a:spcPct val="0"/>
                </a:spcBef>
                <a:defRPr/>
              </a:pPr>
              <a:r>
                <a:rPr lang="en-US" sz="300" b="1" kern="0" dirty="0">
                  <a:solidFill>
                    <a:srgbClr val="000000"/>
                  </a:solidFill>
                </a:rPr>
                <a:t>Business and Cross-Functional Systems</a:t>
              </a:r>
            </a:p>
          </p:txBody>
        </p:sp>
        <p:sp>
          <p:nvSpPr>
            <p:cNvPr id="828" name="Freihandform: Form 134">
              <a:extLst>
                <a:ext uri="{FF2B5EF4-FFF2-40B4-BE49-F238E27FC236}">
                  <a16:creationId xmlns:a16="http://schemas.microsoft.com/office/drawing/2014/main" id="{6BCB7E66-162D-A7A4-21F8-582B93E693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0580" y="5683748"/>
              <a:ext cx="214447" cy="290228"/>
            </a:xfrm>
            <a:custGeom>
              <a:avLst/>
              <a:gdLst>
                <a:gd name="connsiteX0" fmla="*/ 0 w 3200400"/>
                <a:gd name="connsiteY0" fmla="*/ 2746376 h 3870326"/>
                <a:gd name="connsiteX1" fmla="*/ 1609140 w 3200400"/>
                <a:gd name="connsiteY1" fmla="*/ 3121026 h 3870326"/>
                <a:gd name="connsiteX2" fmla="*/ 3200400 w 3200400"/>
                <a:gd name="connsiteY2" fmla="*/ 2746376 h 3870326"/>
                <a:gd name="connsiteX3" fmla="*/ 3200400 w 3200400"/>
                <a:gd name="connsiteY3" fmla="*/ 3495676 h 3870326"/>
                <a:gd name="connsiteX4" fmla="*/ 1609140 w 3200400"/>
                <a:gd name="connsiteY4" fmla="*/ 3870326 h 3870326"/>
                <a:gd name="connsiteX5" fmla="*/ 0 w 3200400"/>
                <a:gd name="connsiteY5" fmla="*/ 3495676 h 3870326"/>
                <a:gd name="connsiteX6" fmla="*/ 0 w 3200400"/>
                <a:gd name="connsiteY6" fmla="*/ 2746376 h 3870326"/>
                <a:gd name="connsiteX7" fmla="*/ 0 w 3200400"/>
                <a:gd name="connsiteY7" fmla="*/ 1717675 h 3870326"/>
                <a:gd name="connsiteX8" fmla="*/ 1609140 w 3200400"/>
                <a:gd name="connsiteY8" fmla="*/ 2092325 h 3870326"/>
                <a:gd name="connsiteX9" fmla="*/ 3200400 w 3200400"/>
                <a:gd name="connsiteY9" fmla="*/ 1717675 h 3870326"/>
                <a:gd name="connsiteX10" fmla="*/ 3200400 w 3200400"/>
                <a:gd name="connsiteY10" fmla="*/ 2466975 h 3870326"/>
                <a:gd name="connsiteX11" fmla="*/ 1609140 w 3200400"/>
                <a:gd name="connsiteY11" fmla="*/ 2841625 h 3870326"/>
                <a:gd name="connsiteX12" fmla="*/ 0 w 3200400"/>
                <a:gd name="connsiteY12" fmla="*/ 2466975 h 3870326"/>
                <a:gd name="connsiteX13" fmla="*/ 0 w 3200400"/>
                <a:gd name="connsiteY13" fmla="*/ 1717675 h 3870326"/>
                <a:gd name="connsiteX14" fmla="*/ 0 w 3200400"/>
                <a:gd name="connsiteY14" fmla="*/ 688975 h 3870326"/>
                <a:gd name="connsiteX15" fmla="*/ 1609140 w 3200400"/>
                <a:gd name="connsiteY15" fmla="*/ 1063625 h 3870326"/>
                <a:gd name="connsiteX16" fmla="*/ 3200400 w 3200400"/>
                <a:gd name="connsiteY16" fmla="*/ 688975 h 3870326"/>
                <a:gd name="connsiteX17" fmla="*/ 3200400 w 3200400"/>
                <a:gd name="connsiteY17" fmla="*/ 1438275 h 3870326"/>
                <a:gd name="connsiteX18" fmla="*/ 1609140 w 3200400"/>
                <a:gd name="connsiteY18" fmla="*/ 1812925 h 3870326"/>
                <a:gd name="connsiteX19" fmla="*/ 0 w 3200400"/>
                <a:gd name="connsiteY19" fmla="*/ 1438275 h 3870326"/>
                <a:gd name="connsiteX20" fmla="*/ 0 w 3200400"/>
                <a:gd name="connsiteY20" fmla="*/ 688975 h 3870326"/>
                <a:gd name="connsiteX21" fmla="*/ 1600200 w 3200400"/>
                <a:gd name="connsiteY21" fmla="*/ 0 h 3870326"/>
                <a:gd name="connsiteX22" fmla="*/ 3200400 w 3200400"/>
                <a:gd name="connsiteY22" fmla="*/ 392113 h 3870326"/>
                <a:gd name="connsiteX23" fmla="*/ 1600200 w 3200400"/>
                <a:gd name="connsiteY23" fmla="*/ 784226 h 3870326"/>
                <a:gd name="connsiteX24" fmla="*/ 0 w 3200400"/>
                <a:gd name="connsiteY24" fmla="*/ 392113 h 3870326"/>
                <a:gd name="connsiteX25" fmla="*/ 1600200 w 3200400"/>
                <a:gd name="connsiteY25" fmla="*/ 0 h 3870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200400" h="3870326">
                  <a:moveTo>
                    <a:pt x="0" y="2746376"/>
                  </a:moveTo>
                  <a:cubicBezTo>
                    <a:pt x="0" y="2960462"/>
                    <a:pt x="715173" y="3121026"/>
                    <a:pt x="1609140" y="3121026"/>
                  </a:cubicBezTo>
                  <a:cubicBezTo>
                    <a:pt x="2485227" y="3121026"/>
                    <a:pt x="3200400" y="2960462"/>
                    <a:pt x="3200400" y="2746376"/>
                  </a:cubicBezTo>
                  <a:cubicBezTo>
                    <a:pt x="3200400" y="2746376"/>
                    <a:pt x="3200400" y="2746376"/>
                    <a:pt x="3200400" y="3495676"/>
                  </a:cubicBezTo>
                  <a:cubicBezTo>
                    <a:pt x="3200400" y="3691921"/>
                    <a:pt x="2485227" y="3870326"/>
                    <a:pt x="1609140" y="3870326"/>
                  </a:cubicBezTo>
                  <a:cubicBezTo>
                    <a:pt x="715173" y="3870326"/>
                    <a:pt x="0" y="3691921"/>
                    <a:pt x="0" y="3495676"/>
                  </a:cubicBezTo>
                  <a:cubicBezTo>
                    <a:pt x="0" y="3495676"/>
                    <a:pt x="0" y="3495676"/>
                    <a:pt x="0" y="2746376"/>
                  </a:cubicBezTo>
                  <a:close/>
                  <a:moveTo>
                    <a:pt x="0" y="1717675"/>
                  </a:moveTo>
                  <a:cubicBezTo>
                    <a:pt x="0" y="1931761"/>
                    <a:pt x="715173" y="2092325"/>
                    <a:pt x="1609140" y="2092325"/>
                  </a:cubicBezTo>
                  <a:cubicBezTo>
                    <a:pt x="2485227" y="2092325"/>
                    <a:pt x="3200400" y="1931761"/>
                    <a:pt x="3200400" y="1717675"/>
                  </a:cubicBezTo>
                  <a:cubicBezTo>
                    <a:pt x="3200400" y="1717675"/>
                    <a:pt x="3200400" y="1717675"/>
                    <a:pt x="3200400" y="2466975"/>
                  </a:cubicBezTo>
                  <a:cubicBezTo>
                    <a:pt x="3200400" y="2663220"/>
                    <a:pt x="2485227" y="2841625"/>
                    <a:pt x="1609140" y="2841625"/>
                  </a:cubicBezTo>
                  <a:cubicBezTo>
                    <a:pt x="715173" y="2841625"/>
                    <a:pt x="0" y="2663220"/>
                    <a:pt x="0" y="2466975"/>
                  </a:cubicBezTo>
                  <a:cubicBezTo>
                    <a:pt x="0" y="2466975"/>
                    <a:pt x="0" y="2466975"/>
                    <a:pt x="0" y="1717675"/>
                  </a:cubicBezTo>
                  <a:close/>
                  <a:moveTo>
                    <a:pt x="0" y="688975"/>
                  </a:moveTo>
                  <a:cubicBezTo>
                    <a:pt x="0" y="903061"/>
                    <a:pt x="715173" y="1063625"/>
                    <a:pt x="1609140" y="1063625"/>
                  </a:cubicBezTo>
                  <a:cubicBezTo>
                    <a:pt x="2485227" y="1063625"/>
                    <a:pt x="3200400" y="903061"/>
                    <a:pt x="3200400" y="688975"/>
                  </a:cubicBezTo>
                  <a:cubicBezTo>
                    <a:pt x="3200400" y="688975"/>
                    <a:pt x="3200400" y="688975"/>
                    <a:pt x="3200400" y="1438275"/>
                  </a:cubicBezTo>
                  <a:cubicBezTo>
                    <a:pt x="3200400" y="1652361"/>
                    <a:pt x="2485227" y="1812925"/>
                    <a:pt x="1609140" y="1812925"/>
                  </a:cubicBezTo>
                  <a:cubicBezTo>
                    <a:pt x="715173" y="1812925"/>
                    <a:pt x="0" y="1652361"/>
                    <a:pt x="0" y="1438275"/>
                  </a:cubicBezTo>
                  <a:cubicBezTo>
                    <a:pt x="0" y="1438275"/>
                    <a:pt x="0" y="1438275"/>
                    <a:pt x="0" y="688975"/>
                  </a:cubicBezTo>
                  <a:close/>
                  <a:moveTo>
                    <a:pt x="1600200" y="0"/>
                  </a:moveTo>
                  <a:cubicBezTo>
                    <a:pt x="2483966" y="0"/>
                    <a:pt x="3200400" y="175555"/>
                    <a:pt x="3200400" y="392113"/>
                  </a:cubicBezTo>
                  <a:cubicBezTo>
                    <a:pt x="3200400" y="608671"/>
                    <a:pt x="2483966" y="784226"/>
                    <a:pt x="1600200" y="784226"/>
                  </a:cubicBezTo>
                  <a:cubicBezTo>
                    <a:pt x="716434" y="784226"/>
                    <a:pt x="0" y="608671"/>
                    <a:pt x="0" y="392113"/>
                  </a:cubicBezTo>
                  <a:cubicBezTo>
                    <a:pt x="0" y="175555"/>
                    <a:pt x="716434" y="0"/>
                    <a:pt x="1600200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  <p:txBody>
            <a:bodyPr vert="horz" wrap="square" lIns="91344" tIns="45672" rIns="91344" bIns="45672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400">
                <a:solidFill>
                  <a:srgbClr val="000000"/>
                </a:solidFill>
              </a:endParaRPr>
            </a:p>
          </p:txBody>
        </p:sp>
        <p:sp>
          <p:nvSpPr>
            <p:cNvPr id="829" name="Freihandform: Form 164">
              <a:extLst>
                <a:ext uri="{FF2B5EF4-FFF2-40B4-BE49-F238E27FC236}">
                  <a16:creationId xmlns:a16="http://schemas.microsoft.com/office/drawing/2014/main" id="{B3289B67-4D63-2FD4-09BC-1B4649B213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36480" y="5683748"/>
              <a:ext cx="214447" cy="290228"/>
            </a:xfrm>
            <a:custGeom>
              <a:avLst/>
              <a:gdLst>
                <a:gd name="connsiteX0" fmla="*/ 0 w 3200400"/>
                <a:gd name="connsiteY0" fmla="*/ 2746376 h 3870326"/>
                <a:gd name="connsiteX1" fmla="*/ 1609140 w 3200400"/>
                <a:gd name="connsiteY1" fmla="*/ 3121026 h 3870326"/>
                <a:gd name="connsiteX2" fmla="*/ 3200400 w 3200400"/>
                <a:gd name="connsiteY2" fmla="*/ 2746376 h 3870326"/>
                <a:gd name="connsiteX3" fmla="*/ 3200400 w 3200400"/>
                <a:gd name="connsiteY3" fmla="*/ 3495676 h 3870326"/>
                <a:gd name="connsiteX4" fmla="*/ 1609140 w 3200400"/>
                <a:gd name="connsiteY4" fmla="*/ 3870326 h 3870326"/>
                <a:gd name="connsiteX5" fmla="*/ 0 w 3200400"/>
                <a:gd name="connsiteY5" fmla="*/ 3495676 h 3870326"/>
                <a:gd name="connsiteX6" fmla="*/ 0 w 3200400"/>
                <a:gd name="connsiteY6" fmla="*/ 2746376 h 3870326"/>
                <a:gd name="connsiteX7" fmla="*/ 0 w 3200400"/>
                <a:gd name="connsiteY7" fmla="*/ 1717675 h 3870326"/>
                <a:gd name="connsiteX8" fmla="*/ 1609140 w 3200400"/>
                <a:gd name="connsiteY8" fmla="*/ 2092325 h 3870326"/>
                <a:gd name="connsiteX9" fmla="*/ 3200400 w 3200400"/>
                <a:gd name="connsiteY9" fmla="*/ 1717675 h 3870326"/>
                <a:gd name="connsiteX10" fmla="*/ 3200400 w 3200400"/>
                <a:gd name="connsiteY10" fmla="*/ 2466975 h 3870326"/>
                <a:gd name="connsiteX11" fmla="*/ 1609140 w 3200400"/>
                <a:gd name="connsiteY11" fmla="*/ 2841625 h 3870326"/>
                <a:gd name="connsiteX12" fmla="*/ 0 w 3200400"/>
                <a:gd name="connsiteY12" fmla="*/ 2466975 h 3870326"/>
                <a:gd name="connsiteX13" fmla="*/ 0 w 3200400"/>
                <a:gd name="connsiteY13" fmla="*/ 1717675 h 3870326"/>
                <a:gd name="connsiteX14" fmla="*/ 0 w 3200400"/>
                <a:gd name="connsiteY14" fmla="*/ 688975 h 3870326"/>
                <a:gd name="connsiteX15" fmla="*/ 1609140 w 3200400"/>
                <a:gd name="connsiteY15" fmla="*/ 1063625 h 3870326"/>
                <a:gd name="connsiteX16" fmla="*/ 3200400 w 3200400"/>
                <a:gd name="connsiteY16" fmla="*/ 688975 h 3870326"/>
                <a:gd name="connsiteX17" fmla="*/ 3200400 w 3200400"/>
                <a:gd name="connsiteY17" fmla="*/ 1438275 h 3870326"/>
                <a:gd name="connsiteX18" fmla="*/ 1609140 w 3200400"/>
                <a:gd name="connsiteY18" fmla="*/ 1812925 h 3870326"/>
                <a:gd name="connsiteX19" fmla="*/ 0 w 3200400"/>
                <a:gd name="connsiteY19" fmla="*/ 1438275 h 3870326"/>
                <a:gd name="connsiteX20" fmla="*/ 0 w 3200400"/>
                <a:gd name="connsiteY20" fmla="*/ 688975 h 3870326"/>
                <a:gd name="connsiteX21" fmla="*/ 1600200 w 3200400"/>
                <a:gd name="connsiteY21" fmla="*/ 0 h 3870326"/>
                <a:gd name="connsiteX22" fmla="*/ 3200400 w 3200400"/>
                <a:gd name="connsiteY22" fmla="*/ 392113 h 3870326"/>
                <a:gd name="connsiteX23" fmla="*/ 1600200 w 3200400"/>
                <a:gd name="connsiteY23" fmla="*/ 784226 h 3870326"/>
                <a:gd name="connsiteX24" fmla="*/ 0 w 3200400"/>
                <a:gd name="connsiteY24" fmla="*/ 392113 h 3870326"/>
                <a:gd name="connsiteX25" fmla="*/ 1600200 w 3200400"/>
                <a:gd name="connsiteY25" fmla="*/ 0 h 3870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200400" h="3870326">
                  <a:moveTo>
                    <a:pt x="0" y="2746376"/>
                  </a:moveTo>
                  <a:cubicBezTo>
                    <a:pt x="0" y="2960462"/>
                    <a:pt x="715173" y="3121026"/>
                    <a:pt x="1609140" y="3121026"/>
                  </a:cubicBezTo>
                  <a:cubicBezTo>
                    <a:pt x="2485227" y="3121026"/>
                    <a:pt x="3200400" y="2960462"/>
                    <a:pt x="3200400" y="2746376"/>
                  </a:cubicBezTo>
                  <a:cubicBezTo>
                    <a:pt x="3200400" y="2746376"/>
                    <a:pt x="3200400" y="2746376"/>
                    <a:pt x="3200400" y="3495676"/>
                  </a:cubicBezTo>
                  <a:cubicBezTo>
                    <a:pt x="3200400" y="3691921"/>
                    <a:pt x="2485227" y="3870326"/>
                    <a:pt x="1609140" y="3870326"/>
                  </a:cubicBezTo>
                  <a:cubicBezTo>
                    <a:pt x="715173" y="3870326"/>
                    <a:pt x="0" y="3691921"/>
                    <a:pt x="0" y="3495676"/>
                  </a:cubicBezTo>
                  <a:cubicBezTo>
                    <a:pt x="0" y="3495676"/>
                    <a:pt x="0" y="3495676"/>
                    <a:pt x="0" y="2746376"/>
                  </a:cubicBezTo>
                  <a:close/>
                  <a:moveTo>
                    <a:pt x="0" y="1717675"/>
                  </a:moveTo>
                  <a:cubicBezTo>
                    <a:pt x="0" y="1931761"/>
                    <a:pt x="715173" y="2092325"/>
                    <a:pt x="1609140" y="2092325"/>
                  </a:cubicBezTo>
                  <a:cubicBezTo>
                    <a:pt x="2485227" y="2092325"/>
                    <a:pt x="3200400" y="1931761"/>
                    <a:pt x="3200400" y="1717675"/>
                  </a:cubicBezTo>
                  <a:cubicBezTo>
                    <a:pt x="3200400" y="1717675"/>
                    <a:pt x="3200400" y="1717675"/>
                    <a:pt x="3200400" y="2466975"/>
                  </a:cubicBezTo>
                  <a:cubicBezTo>
                    <a:pt x="3200400" y="2663220"/>
                    <a:pt x="2485227" y="2841625"/>
                    <a:pt x="1609140" y="2841625"/>
                  </a:cubicBezTo>
                  <a:cubicBezTo>
                    <a:pt x="715173" y="2841625"/>
                    <a:pt x="0" y="2663220"/>
                    <a:pt x="0" y="2466975"/>
                  </a:cubicBezTo>
                  <a:cubicBezTo>
                    <a:pt x="0" y="2466975"/>
                    <a:pt x="0" y="2466975"/>
                    <a:pt x="0" y="1717675"/>
                  </a:cubicBezTo>
                  <a:close/>
                  <a:moveTo>
                    <a:pt x="0" y="688975"/>
                  </a:moveTo>
                  <a:cubicBezTo>
                    <a:pt x="0" y="903061"/>
                    <a:pt x="715173" y="1063625"/>
                    <a:pt x="1609140" y="1063625"/>
                  </a:cubicBezTo>
                  <a:cubicBezTo>
                    <a:pt x="2485227" y="1063625"/>
                    <a:pt x="3200400" y="903061"/>
                    <a:pt x="3200400" y="688975"/>
                  </a:cubicBezTo>
                  <a:cubicBezTo>
                    <a:pt x="3200400" y="688975"/>
                    <a:pt x="3200400" y="688975"/>
                    <a:pt x="3200400" y="1438275"/>
                  </a:cubicBezTo>
                  <a:cubicBezTo>
                    <a:pt x="3200400" y="1652361"/>
                    <a:pt x="2485227" y="1812925"/>
                    <a:pt x="1609140" y="1812925"/>
                  </a:cubicBezTo>
                  <a:cubicBezTo>
                    <a:pt x="715173" y="1812925"/>
                    <a:pt x="0" y="1652361"/>
                    <a:pt x="0" y="1438275"/>
                  </a:cubicBezTo>
                  <a:cubicBezTo>
                    <a:pt x="0" y="1438275"/>
                    <a:pt x="0" y="1438275"/>
                    <a:pt x="0" y="688975"/>
                  </a:cubicBezTo>
                  <a:close/>
                  <a:moveTo>
                    <a:pt x="1600200" y="0"/>
                  </a:moveTo>
                  <a:cubicBezTo>
                    <a:pt x="2483966" y="0"/>
                    <a:pt x="3200400" y="175555"/>
                    <a:pt x="3200400" y="392113"/>
                  </a:cubicBezTo>
                  <a:cubicBezTo>
                    <a:pt x="3200400" y="608671"/>
                    <a:pt x="2483966" y="784226"/>
                    <a:pt x="1600200" y="784226"/>
                  </a:cubicBezTo>
                  <a:cubicBezTo>
                    <a:pt x="716434" y="784226"/>
                    <a:pt x="0" y="608671"/>
                    <a:pt x="0" y="392113"/>
                  </a:cubicBezTo>
                  <a:cubicBezTo>
                    <a:pt x="0" y="175555"/>
                    <a:pt x="716434" y="0"/>
                    <a:pt x="1600200" y="0"/>
                  </a:cubicBezTo>
                  <a:close/>
                </a:path>
              </a:pathLst>
            </a:custGeom>
            <a:solidFill>
              <a:srgbClr val="AAB414"/>
            </a:solidFill>
            <a:ln>
              <a:noFill/>
            </a:ln>
          </p:spPr>
          <p:txBody>
            <a:bodyPr vert="horz" wrap="square" lIns="91344" tIns="45672" rIns="91344" bIns="45672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400">
                <a:solidFill>
                  <a:srgbClr val="000000"/>
                </a:solidFill>
              </a:endParaRPr>
            </a:p>
          </p:txBody>
        </p:sp>
        <p:sp>
          <p:nvSpPr>
            <p:cNvPr id="830" name="Freihandform: Form 161">
              <a:extLst>
                <a:ext uri="{FF2B5EF4-FFF2-40B4-BE49-F238E27FC236}">
                  <a16:creationId xmlns:a16="http://schemas.microsoft.com/office/drawing/2014/main" id="{E7669BA1-8D40-4A8B-5B4D-A6BAFFEABB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01556" y="5687406"/>
              <a:ext cx="214447" cy="290228"/>
            </a:xfrm>
            <a:custGeom>
              <a:avLst/>
              <a:gdLst>
                <a:gd name="connsiteX0" fmla="*/ 0 w 3200400"/>
                <a:gd name="connsiteY0" fmla="*/ 2746376 h 3870326"/>
                <a:gd name="connsiteX1" fmla="*/ 1609140 w 3200400"/>
                <a:gd name="connsiteY1" fmla="*/ 3121026 h 3870326"/>
                <a:gd name="connsiteX2" fmla="*/ 3200400 w 3200400"/>
                <a:gd name="connsiteY2" fmla="*/ 2746376 h 3870326"/>
                <a:gd name="connsiteX3" fmla="*/ 3200400 w 3200400"/>
                <a:gd name="connsiteY3" fmla="*/ 3495676 h 3870326"/>
                <a:gd name="connsiteX4" fmla="*/ 1609140 w 3200400"/>
                <a:gd name="connsiteY4" fmla="*/ 3870326 h 3870326"/>
                <a:gd name="connsiteX5" fmla="*/ 0 w 3200400"/>
                <a:gd name="connsiteY5" fmla="*/ 3495676 h 3870326"/>
                <a:gd name="connsiteX6" fmla="*/ 0 w 3200400"/>
                <a:gd name="connsiteY6" fmla="*/ 2746376 h 3870326"/>
                <a:gd name="connsiteX7" fmla="*/ 0 w 3200400"/>
                <a:gd name="connsiteY7" fmla="*/ 1717675 h 3870326"/>
                <a:gd name="connsiteX8" fmla="*/ 1609140 w 3200400"/>
                <a:gd name="connsiteY8" fmla="*/ 2092325 h 3870326"/>
                <a:gd name="connsiteX9" fmla="*/ 3200400 w 3200400"/>
                <a:gd name="connsiteY9" fmla="*/ 1717675 h 3870326"/>
                <a:gd name="connsiteX10" fmla="*/ 3200400 w 3200400"/>
                <a:gd name="connsiteY10" fmla="*/ 2466975 h 3870326"/>
                <a:gd name="connsiteX11" fmla="*/ 1609140 w 3200400"/>
                <a:gd name="connsiteY11" fmla="*/ 2841625 h 3870326"/>
                <a:gd name="connsiteX12" fmla="*/ 0 w 3200400"/>
                <a:gd name="connsiteY12" fmla="*/ 2466975 h 3870326"/>
                <a:gd name="connsiteX13" fmla="*/ 0 w 3200400"/>
                <a:gd name="connsiteY13" fmla="*/ 1717675 h 3870326"/>
                <a:gd name="connsiteX14" fmla="*/ 0 w 3200400"/>
                <a:gd name="connsiteY14" fmla="*/ 688975 h 3870326"/>
                <a:gd name="connsiteX15" fmla="*/ 1609140 w 3200400"/>
                <a:gd name="connsiteY15" fmla="*/ 1063625 h 3870326"/>
                <a:gd name="connsiteX16" fmla="*/ 3200400 w 3200400"/>
                <a:gd name="connsiteY16" fmla="*/ 688975 h 3870326"/>
                <a:gd name="connsiteX17" fmla="*/ 3200400 w 3200400"/>
                <a:gd name="connsiteY17" fmla="*/ 1438275 h 3870326"/>
                <a:gd name="connsiteX18" fmla="*/ 1609140 w 3200400"/>
                <a:gd name="connsiteY18" fmla="*/ 1812925 h 3870326"/>
                <a:gd name="connsiteX19" fmla="*/ 0 w 3200400"/>
                <a:gd name="connsiteY19" fmla="*/ 1438275 h 3870326"/>
                <a:gd name="connsiteX20" fmla="*/ 0 w 3200400"/>
                <a:gd name="connsiteY20" fmla="*/ 688975 h 3870326"/>
                <a:gd name="connsiteX21" fmla="*/ 1600200 w 3200400"/>
                <a:gd name="connsiteY21" fmla="*/ 0 h 3870326"/>
                <a:gd name="connsiteX22" fmla="*/ 3200400 w 3200400"/>
                <a:gd name="connsiteY22" fmla="*/ 392113 h 3870326"/>
                <a:gd name="connsiteX23" fmla="*/ 1600200 w 3200400"/>
                <a:gd name="connsiteY23" fmla="*/ 784226 h 3870326"/>
                <a:gd name="connsiteX24" fmla="*/ 0 w 3200400"/>
                <a:gd name="connsiteY24" fmla="*/ 392113 h 3870326"/>
                <a:gd name="connsiteX25" fmla="*/ 1600200 w 3200400"/>
                <a:gd name="connsiteY25" fmla="*/ 0 h 3870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200400" h="3870326">
                  <a:moveTo>
                    <a:pt x="0" y="2746376"/>
                  </a:moveTo>
                  <a:cubicBezTo>
                    <a:pt x="0" y="2960462"/>
                    <a:pt x="715173" y="3121026"/>
                    <a:pt x="1609140" y="3121026"/>
                  </a:cubicBezTo>
                  <a:cubicBezTo>
                    <a:pt x="2485227" y="3121026"/>
                    <a:pt x="3200400" y="2960462"/>
                    <a:pt x="3200400" y="2746376"/>
                  </a:cubicBezTo>
                  <a:cubicBezTo>
                    <a:pt x="3200400" y="2746376"/>
                    <a:pt x="3200400" y="2746376"/>
                    <a:pt x="3200400" y="3495676"/>
                  </a:cubicBezTo>
                  <a:cubicBezTo>
                    <a:pt x="3200400" y="3691921"/>
                    <a:pt x="2485227" y="3870326"/>
                    <a:pt x="1609140" y="3870326"/>
                  </a:cubicBezTo>
                  <a:cubicBezTo>
                    <a:pt x="715173" y="3870326"/>
                    <a:pt x="0" y="3691921"/>
                    <a:pt x="0" y="3495676"/>
                  </a:cubicBezTo>
                  <a:cubicBezTo>
                    <a:pt x="0" y="3495676"/>
                    <a:pt x="0" y="3495676"/>
                    <a:pt x="0" y="2746376"/>
                  </a:cubicBezTo>
                  <a:close/>
                  <a:moveTo>
                    <a:pt x="0" y="1717675"/>
                  </a:moveTo>
                  <a:cubicBezTo>
                    <a:pt x="0" y="1931761"/>
                    <a:pt x="715173" y="2092325"/>
                    <a:pt x="1609140" y="2092325"/>
                  </a:cubicBezTo>
                  <a:cubicBezTo>
                    <a:pt x="2485227" y="2092325"/>
                    <a:pt x="3200400" y="1931761"/>
                    <a:pt x="3200400" y="1717675"/>
                  </a:cubicBezTo>
                  <a:cubicBezTo>
                    <a:pt x="3200400" y="1717675"/>
                    <a:pt x="3200400" y="1717675"/>
                    <a:pt x="3200400" y="2466975"/>
                  </a:cubicBezTo>
                  <a:cubicBezTo>
                    <a:pt x="3200400" y="2663220"/>
                    <a:pt x="2485227" y="2841625"/>
                    <a:pt x="1609140" y="2841625"/>
                  </a:cubicBezTo>
                  <a:cubicBezTo>
                    <a:pt x="715173" y="2841625"/>
                    <a:pt x="0" y="2663220"/>
                    <a:pt x="0" y="2466975"/>
                  </a:cubicBezTo>
                  <a:cubicBezTo>
                    <a:pt x="0" y="2466975"/>
                    <a:pt x="0" y="2466975"/>
                    <a:pt x="0" y="1717675"/>
                  </a:cubicBezTo>
                  <a:close/>
                  <a:moveTo>
                    <a:pt x="0" y="688975"/>
                  </a:moveTo>
                  <a:cubicBezTo>
                    <a:pt x="0" y="903061"/>
                    <a:pt x="715173" y="1063625"/>
                    <a:pt x="1609140" y="1063625"/>
                  </a:cubicBezTo>
                  <a:cubicBezTo>
                    <a:pt x="2485227" y="1063625"/>
                    <a:pt x="3200400" y="903061"/>
                    <a:pt x="3200400" y="688975"/>
                  </a:cubicBezTo>
                  <a:cubicBezTo>
                    <a:pt x="3200400" y="688975"/>
                    <a:pt x="3200400" y="688975"/>
                    <a:pt x="3200400" y="1438275"/>
                  </a:cubicBezTo>
                  <a:cubicBezTo>
                    <a:pt x="3200400" y="1652361"/>
                    <a:pt x="2485227" y="1812925"/>
                    <a:pt x="1609140" y="1812925"/>
                  </a:cubicBezTo>
                  <a:cubicBezTo>
                    <a:pt x="715173" y="1812925"/>
                    <a:pt x="0" y="1652361"/>
                    <a:pt x="0" y="1438275"/>
                  </a:cubicBezTo>
                  <a:cubicBezTo>
                    <a:pt x="0" y="1438275"/>
                    <a:pt x="0" y="1438275"/>
                    <a:pt x="0" y="688975"/>
                  </a:cubicBezTo>
                  <a:close/>
                  <a:moveTo>
                    <a:pt x="1600200" y="0"/>
                  </a:moveTo>
                  <a:cubicBezTo>
                    <a:pt x="2483966" y="0"/>
                    <a:pt x="3200400" y="175555"/>
                    <a:pt x="3200400" y="392113"/>
                  </a:cubicBezTo>
                  <a:cubicBezTo>
                    <a:pt x="3200400" y="608671"/>
                    <a:pt x="2483966" y="784226"/>
                    <a:pt x="1600200" y="784226"/>
                  </a:cubicBezTo>
                  <a:cubicBezTo>
                    <a:pt x="716434" y="784226"/>
                    <a:pt x="0" y="608671"/>
                    <a:pt x="0" y="392113"/>
                  </a:cubicBezTo>
                  <a:cubicBezTo>
                    <a:pt x="0" y="175555"/>
                    <a:pt x="716434" y="0"/>
                    <a:pt x="1600200" y="0"/>
                  </a:cubicBez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</p:spPr>
          <p:txBody>
            <a:bodyPr vert="horz" wrap="square" lIns="91344" tIns="45672" rIns="91344" bIns="45672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400">
                <a:solidFill>
                  <a:srgbClr val="000000"/>
                </a:solidFill>
              </a:endParaRPr>
            </a:p>
          </p:txBody>
        </p:sp>
        <p:sp>
          <p:nvSpPr>
            <p:cNvPr id="837" name="Rounded Rectangle 115">
              <a:extLst>
                <a:ext uri="{FF2B5EF4-FFF2-40B4-BE49-F238E27FC236}">
                  <a16:creationId xmlns:a16="http://schemas.microsoft.com/office/drawing/2014/main" id="{5226CF22-95D7-E4F1-88A3-5C5D081683E1}"/>
                </a:ext>
              </a:extLst>
            </p:cNvPr>
            <p:cNvSpPr/>
            <p:nvPr/>
          </p:nvSpPr>
          <p:spPr bwMode="auto">
            <a:xfrm>
              <a:off x="6409055" y="6337343"/>
              <a:ext cx="1401414" cy="468290"/>
            </a:xfrm>
            <a:prstGeom prst="roundRect">
              <a:avLst/>
            </a:prstGeom>
            <a:solidFill>
              <a:srgbClr val="FFFFFF"/>
            </a:solidFill>
            <a:ln w="25400" cap="flat" cmpd="sng" algn="ctr">
              <a:solidFill>
                <a:srgbClr val="32A0A0"/>
              </a:solidFill>
              <a:prstDash val="solid"/>
            </a:ln>
            <a:effectLst/>
          </p:spPr>
          <p:txBody>
            <a:bodyPr wrap="square" lIns="93357" tIns="46680" rIns="93357" bIns="46680" numCol="1" spcCol="143928" rtlCol="0" anchor="ctr">
              <a:noAutofit/>
            </a:bodyPr>
            <a:lstStyle/>
            <a:p>
              <a:pPr algn="ctr" defTabSz="790551">
                <a:lnSpc>
                  <a:spcPct val="110000"/>
                </a:lnSpc>
                <a:spcBef>
                  <a:spcPct val="0"/>
                </a:spcBef>
                <a:defRPr/>
              </a:pPr>
              <a:r>
                <a:rPr lang="en-US" sz="300" b="1" kern="0" dirty="0">
                  <a:solidFill>
                    <a:srgbClr val="000000"/>
                  </a:solidFill>
                </a:rPr>
                <a:t>Plant Systems</a:t>
              </a:r>
            </a:p>
          </p:txBody>
        </p:sp>
        <p:sp>
          <p:nvSpPr>
            <p:cNvPr id="838" name="Rounded Rectangle 115">
              <a:extLst>
                <a:ext uri="{FF2B5EF4-FFF2-40B4-BE49-F238E27FC236}">
                  <a16:creationId xmlns:a16="http://schemas.microsoft.com/office/drawing/2014/main" id="{FC68AFFF-CE30-FC76-E234-250BB4132D81}"/>
                </a:ext>
              </a:extLst>
            </p:cNvPr>
            <p:cNvSpPr/>
            <p:nvPr/>
          </p:nvSpPr>
          <p:spPr bwMode="auto">
            <a:xfrm>
              <a:off x="8346551" y="6334814"/>
              <a:ext cx="1401414" cy="468290"/>
            </a:xfrm>
            <a:prstGeom prst="roundRect">
              <a:avLst/>
            </a:prstGeom>
            <a:solidFill>
              <a:srgbClr val="FFFFFF"/>
            </a:solidFill>
            <a:ln w="25400" cap="flat" cmpd="sng" algn="ctr">
              <a:solidFill>
                <a:srgbClr val="32A0A0"/>
              </a:solidFill>
              <a:prstDash val="solid"/>
            </a:ln>
            <a:effectLst/>
          </p:spPr>
          <p:txBody>
            <a:bodyPr wrap="square" lIns="93357" tIns="46680" rIns="93357" bIns="46680" numCol="1" spcCol="143928" rtlCol="0" anchor="ctr">
              <a:noAutofit/>
            </a:bodyPr>
            <a:lstStyle/>
            <a:p>
              <a:pPr algn="ctr" defTabSz="790551">
                <a:lnSpc>
                  <a:spcPct val="110000"/>
                </a:lnSpc>
                <a:spcBef>
                  <a:spcPct val="0"/>
                </a:spcBef>
                <a:defRPr/>
              </a:pPr>
              <a:r>
                <a:rPr lang="en-US" sz="300" b="1" kern="0" dirty="0">
                  <a:solidFill>
                    <a:srgbClr val="000000"/>
                  </a:solidFill>
                </a:rPr>
                <a:t>Engineering Systems</a:t>
              </a:r>
            </a:p>
          </p:txBody>
        </p:sp>
        <p:sp>
          <p:nvSpPr>
            <p:cNvPr id="842" name="Freeform 85">
              <a:extLst>
                <a:ext uri="{FF2B5EF4-FFF2-40B4-BE49-F238E27FC236}">
                  <a16:creationId xmlns:a16="http://schemas.microsoft.com/office/drawing/2014/main" id="{4E0F8F1E-7A90-A324-65EC-7E6390C50B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09961" y="5695820"/>
              <a:ext cx="394515" cy="254682"/>
            </a:xfrm>
            <a:custGeom>
              <a:avLst/>
              <a:gdLst>
                <a:gd name="T0" fmla="*/ 805 w 996"/>
                <a:gd name="T1" fmla="*/ 240 h 643"/>
                <a:gd name="T2" fmla="*/ 555 w 996"/>
                <a:gd name="T3" fmla="*/ 8 h 643"/>
                <a:gd name="T4" fmla="*/ 307 w 996"/>
                <a:gd name="T5" fmla="*/ 178 h 643"/>
                <a:gd name="T6" fmla="*/ 117 w 996"/>
                <a:gd name="T7" fmla="*/ 361 h 643"/>
                <a:gd name="T8" fmla="*/ 0 w 996"/>
                <a:gd name="T9" fmla="*/ 490 h 643"/>
                <a:gd name="T10" fmla="*/ 134 w 996"/>
                <a:gd name="T11" fmla="*/ 643 h 643"/>
                <a:gd name="T12" fmla="*/ 793 w 996"/>
                <a:gd name="T13" fmla="*/ 643 h 643"/>
                <a:gd name="T14" fmla="*/ 989 w 996"/>
                <a:gd name="T15" fmla="*/ 455 h 643"/>
                <a:gd name="T16" fmla="*/ 805 w 996"/>
                <a:gd name="T17" fmla="*/ 240 h 643"/>
                <a:gd name="T18" fmla="*/ 330 w 996"/>
                <a:gd name="T19" fmla="*/ 598 h 643"/>
                <a:gd name="T20" fmla="*/ 286 w 996"/>
                <a:gd name="T21" fmla="*/ 598 h 643"/>
                <a:gd name="T22" fmla="*/ 286 w 996"/>
                <a:gd name="T23" fmla="*/ 510 h 643"/>
                <a:gd name="T24" fmla="*/ 243 w 996"/>
                <a:gd name="T25" fmla="*/ 468 h 643"/>
                <a:gd name="T26" fmla="*/ 223 w 996"/>
                <a:gd name="T27" fmla="*/ 473 h 643"/>
                <a:gd name="T28" fmla="*/ 172 w 996"/>
                <a:gd name="T29" fmla="*/ 422 h 643"/>
                <a:gd name="T30" fmla="*/ 223 w 996"/>
                <a:gd name="T31" fmla="*/ 371 h 643"/>
                <a:gd name="T32" fmla="*/ 274 w 996"/>
                <a:gd name="T33" fmla="*/ 422 h 643"/>
                <a:gd name="T34" fmla="*/ 271 w 996"/>
                <a:gd name="T35" fmla="*/ 437 h 643"/>
                <a:gd name="T36" fmla="*/ 273 w 996"/>
                <a:gd name="T37" fmla="*/ 436 h 643"/>
                <a:gd name="T38" fmla="*/ 330 w 996"/>
                <a:gd name="T39" fmla="*/ 491 h 643"/>
                <a:gd name="T40" fmla="*/ 330 w 996"/>
                <a:gd name="T41" fmla="*/ 598 h 643"/>
                <a:gd name="T42" fmla="*/ 421 w 996"/>
                <a:gd name="T43" fmla="*/ 434 h 643"/>
                <a:gd name="T44" fmla="*/ 421 w 996"/>
                <a:gd name="T45" fmla="*/ 598 h 643"/>
                <a:gd name="T46" fmla="*/ 377 w 996"/>
                <a:gd name="T47" fmla="*/ 598 h 643"/>
                <a:gd name="T48" fmla="*/ 377 w 996"/>
                <a:gd name="T49" fmla="*/ 434 h 643"/>
                <a:gd name="T50" fmla="*/ 348 w 996"/>
                <a:gd name="T51" fmla="*/ 388 h 643"/>
                <a:gd name="T52" fmla="*/ 399 w 996"/>
                <a:gd name="T53" fmla="*/ 338 h 643"/>
                <a:gd name="T54" fmla="*/ 450 w 996"/>
                <a:gd name="T55" fmla="*/ 388 h 643"/>
                <a:gd name="T56" fmla="*/ 421 w 996"/>
                <a:gd name="T57" fmla="*/ 434 h 643"/>
                <a:gd name="T58" fmla="*/ 534 w 996"/>
                <a:gd name="T59" fmla="*/ 598 h 643"/>
                <a:gd name="T60" fmla="*/ 490 w 996"/>
                <a:gd name="T61" fmla="*/ 598 h 643"/>
                <a:gd name="T62" fmla="*/ 490 w 996"/>
                <a:gd name="T63" fmla="*/ 326 h 643"/>
                <a:gd name="T64" fmla="*/ 566 w 996"/>
                <a:gd name="T65" fmla="*/ 255 h 643"/>
                <a:gd name="T66" fmla="*/ 563 w 996"/>
                <a:gd name="T67" fmla="*/ 240 h 643"/>
                <a:gd name="T68" fmla="*/ 614 w 996"/>
                <a:gd name="T69" fmla="*/ 189 h 643"/>
                <a:gd name="T70" fmla="*/ 665 w 996"/>
                <a:gd name="T71" fmla="*/ 240 h 643"/>
                <a:gd name="T72" fmla="*/ 614 w 996"/>
                <a:gd name="T73" fmla="*/ 291 h 643"/>
                <a:gd name="T74" fmla="*/ 596 w 996"/>
                <a:gd name="T75" fmla="*/ 287 h 643"/>
                <a:gd name="T76" fmla="*/ 534 w 996"/>
                <a:gd name="T77" fmla="*/ 345 h 643"/>
                <a:gd name="T78" fmla="*/ 534 w 996"/>
                <a:gd name="T79" fmla="*/ 598 h 643"/>
                <a:gd name="T80" fmla="*/ 635 w 996"/>
                <a:gd name="T81" fmla="*/ 480 h 643"/>
                <a:gd name="T82" fmla="*/ 635 w 996"/>
                <a:gd name="T83" fmla="*/ 598 h 643"/>
                <a:gd name="T84" fmla="*/ 591 w 996"/>
                <a:gd name="T85" fmla="*/ 598 h 643"/>
                <a:gd name="T86" fmla="*/ 591 w 996"/>
                <a:gd name="T87" fmla="*/ 472 h 643"/>
                <a:gd name="T88" fmla="*/ 615 w 996"/>
                <a:gd name="T89" fmla="*/ 409 h 643"/>
                <a:gd name="T90" fmla="*/ 603 w 996"/>
                <a:gd name="T91" fmla="*/ 376 h 643"/>
                <a:gd name="T92" fmla="*/ 654 w 996"/>
                <a:gd name="T93" fmla="*/ 326 h 643"/>
                <a:gd name="T94" fmla="*/ 705 w 996"/>
                <a:gd name="T95" fmla="*/ 376 h 643"/>
                <a:gd name="T96" fmla="*/ 655 w 996"/>
                <a:gd name="T97" fmla="*/ 427 h 643"/>
                <a:gd name="T98" fmla="*/ 635 w 996"/>
                <a:gd name="T99" fmla="*/ 480 h 643"/>
                <a:gd name="T100" fmla="*/ 761 w 996"/>
                <a:gd name="T101" fmla="*/ 536 h 643"/>
                <a:gd name="T102" fmla="*/ 761 w 996"/>
                <a:gd name="T103" fmla="*/ 598 h 643"/>
                <a:gd name="T104" fmla="*/ 717 w 996"/>
                <a:gd name="T105" fmla="*/ 598 h 643"/>
                <a:gd name="T106" fmla="*/ 717 w 996"/>
                <a:gd name="T107" fmla="*/ 536 h 643"/>
                <a:gd name="T108" fmla="*/ 688 w 996"/>
                <a:gd name="T109" fmla="*/ 490 h 643"/>
                <a:gd name="T110" fmla="*/ 739 w 996"/>
                <a:gd name="T111" fmla="*/ 440 h 643"/>
                <a:gd name="T112" fmla="*/ 790 w 996"/>
                <a:gd name="T113" fmla="*/ 490 h 643"/>
                <a:gd name="T114" fmla="*/ 761 w 996"/>
                <a:gd name="T115" fmla="*/ 536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96" h="643">
                  <a:moveTo>
                    <a:pt x="805" y="240"/>
                  </a:moveTo>
                  <a:cubicBezTo>
                    <a:pt x="761" y="0"/>
                    <a:pt x="555" y="8"/>
                    <a:pt x="555" y="8"/>
                  </a:cubicBezTo>
                  <a:cubicBezTo>
                    <a:pt x="363" y="8"/>
                    <a:pt x="307" y="178"/>
                    <a:pt x="307" y="178"/>
                  </a:cubicBezTo>
                  <a:cubicBezTo>
                    <a:pt x="108" y="178"/>
                    <a:pt x="117" y="361"/>
                    <a:pt x="117" y="361"/>
                  </a:cubicBezTo>
                  <a:cubicBezTo>
                    <a:pt x="0" y="380"/>
                    <a:pt x="0" y="490"/>
                    <a:pt x="0" y="490"/>
                  </a:cubicBezTo>
                  <a:cubicBezTo>
                    <a:pt x="0" y="636"/>
                    <a:pt x="134" y="643"/>
                    <a:pt x="134" y="643"/>
                  </a:cubicBezTo>
                  <a:cubicBezTo>
                    <a:pt x="793" y="643"/>
                    <a:pt x="793" y="643"/>
                    <a:pt x="793" y="643"/>
                  </a:cubicBezTo>
                  <a:cubicBezTo>
                    <a:pt x="989" y="637"/>
                    <a:pt x="989" y="455"/>
                    <a:pt x="989" y="455"/>
                  </a:cubicBezTo>
                  <a:cubicBezTo>
                    <a:pt x="996" y="248"/>
                    <a:pt x="805" y="240"/>
                    <a:pt x="805" y="240"/>
                  </a:cubicBezTo>
                  <a:close/>
                  <a:moveTo>
                    <a:pt x="330" y="598"/>
                  </a:moveTo>
                  <a:cubicBezTo>
                    <a:pt x="286" y="598"/>
                    <a:pt x="286" y="598"/>
                    <a:pt x="286" y="598"/>
                  </a:cubicBezTo>
                  <a:cubicBezTo>
                    <a:pt x="286" y="510"/>
                    <a:pt x="286" y="510"/>
                    <a:pt x="286" y="510"/>
                  </a:cubicBezTo>
                  <a:cubicBezTo>
                    <a:pt x="243" y="468"/>
                    <a:pt x="243" y="468"/>
                    <a:pt x="243" y="468"/>
                  </a:cubicBezTo>
                  <a:cubicBezTo>
                    <a:pt x="237" y="471"/>
                    <a:pt x="230" y="473"/>
                    <a:pt x="223" y="473"/>
                  </a:cubicBezTo>
                  <a:cubicBezTo>
                    <a:pt x="195" y="473"/>
                    <a:pt x="172" y="450"/>
                    <a:pt x="172" y="422"/>
                  </a:cubicBezTo>
                  <a:cubicBezTo>
                    <a:pt x="172" y="394"/>
                    <a:pt x="195" y="371"/>
                    <a:pt x="223" y="371"/>
                  </a:cubicBezTo>
                  <a:cubicBezTo>
                    <a:pt x="251" y="371"/>
                    <a:pt x="274" y="394"/>
                    <a:pt x="274" y="422"/>
                  </a:cubicBezTo>
                  <a:cubicBezTo>
                    <a:pt x="274" y="427"/>
                    <a:pt x="273" y="432"/>
                    <a:pt x="271" y="437"/>
                  </a:cubicBezTo>
                  <a:cubicBezTo>
                    <a:pt x="273" y="436"/>
                    <a:pt x="273" y="436"/>
                    <a:pt x="273" y="436"/>
                  </a:cubicBezTo>
                  <a:cubicBezTo>
                    <a:pt x="330" y="491"/>
                    <a:pt x="330" y="491"/>
                    <a:pt x="330" y="491"/>
                  </a:cubicBezTo>
                  <a:lnTo>
                    <a:pt x="330" y="598"/>
                  </a:lnTo>
                  <a:close/>
                  <a:moveTo>
                    <a:pt x="421" y="434"/>
                  </a:moveTo>
                  <a:cubicBezTo>
                    <a:pt x="421" y="598"/>
                    <a:pt x="421" y="598"/>
                    <a:pt x="421" y="598"/>
                  </a:cubicBezTo>
                  <a:cubicBezTo>
                    <a:pt x="377" y="598"/>
                    <a:pt x="377" y="598"/>
                    <a:pt x="377" y="598"/>
                  </a:cubicBezTo>
                  <a:cubicBezTo>
                    <a:pt x="377" y="434"/>
                    <a:pt x="377" y="434"/>
                    <a:pt x="377" y="434"/>
                  </a:cubicBezTo>
                  <a:cubicBezTo>
                    <a:pt x="360" y="426"/>
                    <a:pt x="348" y="408"/>
                    <a:pt x="348" y="388"/>
                  </a:cubicBezTo>
                  <a:cubicBezTo>
                    <a:pt x="348" y="360"/>
                    <a:pt x="371" y="338"/>
                    <a:pt x="399" y="338"/>
                  </a:cubicBezTo>
                  <a:cubicBezTo>
                    <a:pt x="427" y="338"/>
                    <a:pt x="450" y="360"/>
                    <a:pt x="450" y="388"/>
                  </a:cubicBezTo>
                  <a:cubicBezTo>
                    <a:pt x="450" y="408"/>
                    <a:pt x="438" y="426"/>
                    <a:pt x="421" y="434"/>
                  </a:cubicBezTo>
                  <a:close/>
                  <a:moveTo>
                    <a:pt x="534" y="598"/>
                  </a:moveTo>
                  <a:cubicBezTo>
                    <a:pt x="490" y="598"/>
                    <a:pt x="490" y="598"/>
                    <a:pt x="490" y="598"/>
                  </a:cubicBezTo>
                  <a:cubicBezTo>
                    <a:pt x="490" y="326"/>
                    <a:pt x="490" y="326"/>
                    <a:pt x="490" y="326"/>
                  </a:cubicBezTo>
                  <a:cubicBezTo>
                    <a:pt x="566" y="255"/>
                    <a:pt x="566" y="255"/>
                    <a:pt x="566" y="255"/>
                  </a:cubicBezTo>
                  <a:cubicBezTo>
                    <a:pt x="564" y="250"/>
                    <a:pt x="563" y="245"/>
                    <a:pt x="563" y="240"/>
                  </a:cubicBezTo>
                  <a:cubicBezTo>
                    <a:pt x="563" y="212"/>
                    <a:pt x="586" y="189"/>
                    <a:pt x="614" y="189"/>
                  </a:cubicBezTo>
                  <a:cubicBezTo>
                    <a:pt x="642" y="189"/>
                    <a:pt x="665" y="212"/>
                    <a:pt x="665" y="240"/>
                  </a:cubicBezTo>
                  <a:cubicBezTo>
                    <a:pt x="665" y="268"/>
                    <a:pt x="642" y="291"/>
                    <a:pt x="614" y="291"/>
                  </a:cubicBezTo>
                  <a:cubicBezTo>
                    <a:pt x="608" y="291"/>
                    <a:pt x="601" y="289"/>
                    <a:pt x="596" y="287"/>
                  </a:cubicBezTo>
                  <a:cubicBezTo>
                    <a:pt x="534" y="345"/>
                    <a:pt x="534" y="345"/>
                    <a:pt x="534" y="345"/>
                  </a:cubicBezTo>
                  <a:lnTo>
                    <a:pt x="534" y="598"/>
                  </a:lnTo>
                  <a:close/>
                  <a:moveTo>
                    <a:pt x="635" y="480"/>
                  </a:moveTo>
                  <a:cubicBezTo>
                    <a:pt x="635" y="598"/>
                    <a:pt x="635" y="598"/>
                    <a:pt x="635" y="598"/>
                  </a:cubicBezTo>
                  <a:cubicBezTo>
                    <a:pt x="591" y="598"/>
                    <a:pt x="591" y="598"/>
                    <a:pt x="591" y="598"/>
                  </a:cubicBezTo>
                  <a:cubicBezTo>
                    <a:pt x="591" y="472"/>
                    <a:pt x="591" y="472"/>
                    <a:pt x="591" y="472"/>
                  </a:cubicBezTo>
                  <a:cubicBezTo>
                    <a:pt x="615" y="409"/>
                    <a:pt x="615" y="409"/>
                    <a:pt x="615" y="409"/>
                  </a:cubicBezTo>
                  <a:cubicBezTo>
                    <a:pt x="607" y="400"/>
                    <a:pt x="603" y="389"/>
                    <a:pt x="603" y="376"/>
                  </a:cubicBezTo>
                  <a:cubicBezTo>
                    <a:pt x="603" y="348"/>
                    <a:pt x="626" y="326"/>
                    <a:pt x="654" y="326"/>
                  </a:cubicBezTo>
                  <a:cubicBezTo>
                    <a:pt x="682" y="326"/>
                    <a:pt x="705" y="348"/>
                    <a:pt x="705" y="376"/>
                  </a:cubicBezTo>
                  <a:cubicBezTo>
                    <a:pt x="705" y="404"/>
                    <a:pt x="682" y="427"/>
                    <a:pt x="655" y="427"/>
                  </a:cubicBezTo>
                  <a:lnTo>
                    <a:pt x="635" y="480"/>
                  </a:lnTo>
                  <a:close/>
                  <a:moveTo>
                    <a:pt x="761" y="536"/>
                  </a:moveTo>
                  <a:cubicBezTo>
                    <a:pt x="761" y="598"/>
                    <a:pt x="761" y="598"/>
                    <a:pt x="761" y="598"/>
                  </a:cubicBezTo>
                  <a:cubicBezTo>
                    <a:pt x="717" y="598"/>
                    <a:pt x="717" y="598"/>
                    <a:pt x="717" y="598"/>
                  </a:cubicBezTo>
                  <a:cubicBezTo>
                    <a:pt x="717" y="536"/>
                    <a:pt x="717" y="536"/>
                    <a:pt x="717" y="536"/>
                  </a:cubicBezTo>
                  <a:cubicBezTo>
                    <a:pt x="700" y="528"/>
                    <a:pt x="688" y="511"/>
                    <a:pt x="688" y="490"/>
                  </a:cubicBezTo>
                  <a:cubicBezTo>
                    <a:pt x="688" y="462"/>
                    <a:pt x="711" y="440"/>
                    <a:pt x="739" y="440"/>
                  </a:cubicBezTo>
                  <a:cubicBezTo>
                    <a:pt x="767" y="440"/>
                    <a:pt x="790" y="462"/>
                    <a:pt x="790" y="490"/>
                  </a:cubicBezTo>
                  <a:cubicBezTo>
                    <a:pt x="790" y="511"/>
                    <a:pt x="778" y="528"/>
                    <a:pt x="761" y="536"/>
                  </a:cubicBezTo>
                  <a:close/>
                </a:path>
              </a:pathLst>
            </a:custGeom>
            <a:solidFill>
              <a:srgbClr val="0F8287"/>
            </a:solidFill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43" name="Freeform 51">
              <a:extLst>
                <a:ext uri="{FF2B5EF4-FFF2-40B4-BE49-F238E27FC236}">
                  <a16:creationId xmlns:a16="http://schemas.microsoft.com/office/drawing/2014/main" id="{A549AA80-C83E-586D-055D-E0EF3781A5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61482" y="5684015"/>
              <a:ext cx="214447" cy="279208"/>
            </a:xfrm>
            <a:custGeom>
              <a:avLst/>
              <a:gdLst>
                <a:gd name="T0" fmla="*/ 1285 w 1606"/>
                <a:gd name="T1" fmla="*/ 2091 h 2091"/>
                <a:gd name="T2" fmla="*/ 0 w 1606"/>
                <a:gd name="T3" fmla="*/ 2091 h 2091"/>
                <a:gd name="T4" fmla="*/ 0 w 1606"/>
                <a:gd name="T5" fmla="*/ 215 h 2091"/>
                <a:gd name="T6" fmla="*/ 106 w 1606"/>
                <a:gd name="T7" fmla="*/ 215 h 2091"/>
                <a:gd name="T8" fmla="*/ 106 w 1606"/>
                <a:gd name="T9" fmla="*/ 1983 h 2091"/>
                <a:gd name="T10" fmla="*/ 1285 w 1606"/>
                <a:gd name="T11" fmla="*/ 1983 h 2091"/>
                <a:gd name="T12" fmla="*/ 1285 w 1606"/>
                <a:gd name="T13" fmla="*/ 2091 h 2091"/>
                <a:gd name="T14" fmla="*/ 1231 w 1606"/>
                <a:gd name="T15" fmla="*/ 0 h 2091"/>
                <a:gd name="T16" fmla="*/ 1231 w 1606"/>
                <a:gd name="T17" fmla="*/ 376 h 2091"/>
                <a:gd name="T18" fmla="*/ 1606 w 1606"/>
                <a:gd name="T19" fmla="*/ 376 h 2091"/>
                <a:gd name="T20" fmla="*/ 1231 w 1606"/>
                <a:gd name="T21" fmla="*/ 0 h 2091"/>
                <a:gd name="T22" fmla="*/ 1606 w 1606"/>
                <a:gd name="T23" fmla="*/ 482 h 2091"/>
                <a:gd name="T24" fmla="*/ 1606 w 1606"/>
                <a:gd name="T25" fmla="*/ 1874 h 2091"/>
                <a:gd name="T26" fmla="*/ 215 w 1606"/>
                <a:gd name="T27" fmla="*/ 1874 h 2091"/>
                <a:gd name="T28" fmla="*/ 215 w 1606"/>
                <a:gd name="T29" fmla="*/ 0 h 2091"/>
                <a:gd name="T30" fmla="*/ 1124 w 1606"/>
                <a:gd name="T31" fmla="*/ 0 h 2091"/>
                <a:gd name="T32" fmla="*/ 1124 w 1606"/>
                <a:gd name="T33" fmla="*/ 482 h 2091"/>
                <a:gd name="T34" fmla="*/ 1606 w 1606"/>
                <a:gd name="T35" fmla="*/ 482 h 2091"/>
                <a:gd name="T36" fmla="*/ 321 w 1606"/>
                <a:gd name="T37" fmla="*/ 643 h 2091"/>
                <a:gd name="T38" fmla="*/ 321 w 1606"/>
                <a:gd name="T39" fmla="*/ 752 h 2091"/>
                <a:gd name="T40" fmla="*/ 1339 w 1606"/>
                <a:gd name="T41" fmla="*/ 752 h 2091"/>
                <a:gd name="T42" fmla="*/ 1339 w 1606"/>
                <a:gd name="T43" fmla="*/ 643 h 2091"/>
                <a:gd name="T44" fmla="*/ 321 w 1606"/>
                <a:gd name="T45" fmla="*/ 643 h 2091"/>
                <a:gd name="T46" fmla="*/ 321 w 1606"/>
                <a:gd name="T47" fmla="*/ 376 h 2091"/>
                <a:gd name="T48" fmla="*/ 1018 w 1606"/>
                <a:gd name="T49" fmla="*/ 376 h 2091"/>
                <a:gd name="T50" fmla="*/ 1018 w 1606"/>
                <a:gd name="T51" fmla="*/ 161 h 2091"/>
                <a:gd name="T52" fmla="*/ 321 w 1606"/>
                <a:gd name="T53" fmla="*/ 161 h 2091"/>
                <a:gd name="T54" fmla="*/ 321 w 1606"/>
                <a:gd name="T55" fmla="*/ 376 h 2091"/>
                <a:gd name="T56" fmla="*/ 803 w 1606"/>
                <a:gd name="T57" fmla="*/ 1340 h 2091"/>
                <a:gd name="T58" fmla="*/ 321 w 1606"/>
                <a:gd name="T59" fmla="*/ 1340 h 2091"/>
                <a:gd name="T60" fmla="*/ 321 w 1606"/>
                <a:gd name="T61" fmla="*/ 1446 h 2091"/>
                <a:gd name="T62" fmla="*/ 803 w 1606"/>
                <a:gd name="T63" fmla="*/ 1446 h 2091"/>
                <a:gd name="T64" fmla="*/ 803 w 1606"/>
                <a:gd name="T65" fmla="*/ 1340 h 2091"/>
                <a:gd name="T66" fmla="*/ 964 w 1606"/>
                <a:gd name="T67" fmla="*/ 1125 h 2091"/>
                <a:gd name="T68" fmla="*/ 321 w 1606"/>
                <a:gd name="T69" fmla="*/ 1125 h 2091"/>
                <a:gd name="T70" fmla="*/ 321 w 1606"/>
                <a:gd name="T71" fmla="*/ 1234 h 2091"/>
                <a:gd name="T72" fmla="*/ 964 w 1606"/>
                <a:gd name="T73" fmla="*/ 1234 h 2091"/>
                <a:gd name="T74" fmla="*/ 964 w 1606"/>
                <a:gd name="T75" fmla="*/ 1125 h 2091"/>
                <a:gd name="T76" fmla="*/ 1500 w 1606"/>
                <a:gd name="T77" fmla="*/ 1125 h 2091"/>
                <a:gd name="T78" fmla="*/ 1124 w 1606"/>
                <a:gd name="T79" fmla="*/ 1125 h 2091"/>
                <a:gd name="T80" fmla="*/ 1124 w 1606"/>
                <a:gd name="T81" fmla="*/ 1501 h 2091"/>
                <a:gd name="T82" fmla="*/ 1500 w 1606"/>
                <a:gd name="T83" fmla="*/ 1501 h 2091"/>
                <a:gd name="T84" fmla="*/ 1500 w 1606"/>
                <a:gd name="T85" fmla="*/ 1125 h 2091"/>
                <a:gd name="T86" fmla="*/ 1500 w 1606"/>
                <a:gd name="T87" fmla="*/ 858 h 2091"/>
                <a:gd name="T88" fmla="*/ 321 w 1606"/>
                <a:gd name="T89" fmla="*/ 858 h 2091"/>
                <a:gd name="T90" fmla="*/ 321 w 1606"/>
                <a:gd name="T91" fmla="*/ 964 h 2091"/>
                <a:gd name="T92" fmla="*/ 1500 w 1606"/>
                <a:gd name="T93" fmla="*/ 964 h 2091"/>
                <a:gd name="T94" fmla="*/ 1500 w 1606"/>
                <a:gd name="T95" fmla="*/ 858 h 2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606" h="2091">
                  <a:moveTo>
                    <a:pt x="1285" y="2091"/>
                  </a:moveTo>
                  <a:lnTo>
                    <a:pt x="0" y="2091"/>
                  </a:lnTo>
                  <a:lnTo>
                    <a:pt x="0" y="215"/>
                  </a:lnTo>
                  <a:lnTo>
                    <a:pt x="106" y="215"/>
                  </a:lnTo>
                  <a:lnTo>
                    <a:pt x="106" y="1983"/>
                  </a:lnTo>
                  <a:lnTo>
                    <a:pt x="1285" y="1983"/>
                  </a:lnTo>
                  <a:lnTo>
                    <a:pt x="1285" y="2091"/>
                  </a:lnTo>
                  <a:close/>
                  <a:moveTo>
                    <a:pt x="1231" y="0"/>
                  </a:moveTo>
                  <a:lnTo>
                    <a:pt x="1231" y="376"/>
                  </a:lnTo>
                  <a:lnTo>
                    <a:pt x="1606" y="376"/>
                  </a:lnTo>
                  <a:lnTo>
                    <a:pt x="1231" y="0"/>
                  </a:lnTo>
                  <a:close/>
                  <a:moveTo>
                    <a:pt x="1606" y="482"/>
                  </a:moveTo>
                  <a:lnTo>
                    <a:pt x="1606" y="1874"/>
                  </a:lnTo>
                  <a:lnTo>
                    <a:pt x="215" y="1874"/>
                  </a:lnTo>
                  <a:lnTo>
                    <a:pt x="215" y="0"/>
                  </a:lnTo>
                  <a:lnTo>
                    <a:pt x="1124" y="0"/>
                  </a:lnTo>
                  <a:lnTo>
                    <a:pt x="1124" y="482"/>
                  </a:lnTo>
                  <a:lnTo>
                    <a:pt x="1606" y="482"/>
                  </a:lnTo>
                  <a:close/>
                  <a:moveTo>
                    <a:pt x="321" y="643"/>
                  </a:moveTo>
                  <a:lnTo>
                    <a:pt x="321" y="752"/>
                  </a:lnTo>
                  <a:lnTo>
                    <a:pt x="1339" y="752"/>
                  </a:lnTo>
                  <a:lnTo>
                    <a:pt x="1339" y="643"/>
                  </a:lnTo>
                  <a:lnTo>
                    <a:pt x="321" y="643"/>
                  </a:lnTo>
                  <a:close/>
                  <a:moveTo>
                    <a:pt x="321" y="376"/>
                  </a:moveTo>
                  <a:lnTo>
                    <a:pt x="1018" y="376"/>
                  </a:lnTo>
                  <a:lnTo>
                    <a:pt x="1018" y="161"/>
                  </a:lnTo>
                  <a:lnTo>
                    <a:pt x="321" y="161"/>
                  </a:lnTo>
                  <a:lnTo>
                    <a:pt x="321" y="376"/>
                  </a:lnTo>
                  <a:close/>
                  <a:moveTo>
                    <a:pt x="803" y="1340"/>
                  </a:moveTo>
                  <a:lnTo>
                    <a:pt x="321" y="1340"/>
                  </a:lnTo>
                  <a:lnTo>
                    <a:pt x="321" y="1446"/>
                  </a:lnTo>
                  <a:lnTo>
                    <a:pt x="803" y="1446"/>
                  </a:lnTo>
                  <a:lnTo>
                    <a:pt x="803" y="1340"/>
                  </a:lnTo>
                  <a:close/>
                  <a:moveTo>
                    <a:pt x="964" y="1125"/>
                  </a:moveTo>
                  <a:lnTo>
                    <a:pt x="321" y="1125"/>
                  </a:lnTo>
                  <a:lnTo>
                    <a:pt x="321" y="1234"/>
                  </a:lnTo>
                  <a:lnTo>
                    <a:pt x="964" y="1234"/>
                  </a:lnTo>
                  <a:lnTo>
                    <a:pt x="964" y="1125"/>
                  </a:lnTo>
                  <a:close/>
                  <a:moveTo>
                    <a:pt x="1500" y="1125"/>
                  </a:moveTo>
                  <a:lnTo>
                    <a:pt x="1124" y="1125"/>
                  </a:lnTo>
                  <a:lnTo>
                    <a:pt x="1124" y="1501"/>
                  </a:lnTo>
                  <a:lnTo>
                    <a:pt x="1500" y="1501"/>
                  </a:lnTo>
                  <a:lnTo>
                    <a:pt x="1500" y="1125"/>
                  </a:lnTo>
                  <a:close/>
                  <a:moveTo>
                    <a:pt x="1500" y="858"/>
                  </a:moveTo>
                  <a:lnTo>
                    <a:pt x="321" y="858"/>
                  </a:lnTo>
                  <a:lnTo>
                    <a:pt x="321" y="964"/>
                  </a:lnTo>
                  <a:lnTo>
                    <a:pt x="1500" y="964"/>
                  </a:lnTo>
                  <a:lnTo>
                    <a:pt x="1500" y="858"/>
                  </a:lnTo>
                  <a:close/>
                </a:path>
              </a:pathLst>
            </a:custGeom>
            <a:solidFill>
              <a:srgbClr val="0F8287"/>
            </a:solidFill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54" name="Rectangle 3">
              <a:extLst>
                <a:ext uri="{FF2B5EF4-FFF2-40B4-BE49-F238E27FC236}">
                  <a16:creationId xmlns:a16="http://schemas.microsoft.com/office/drawing/2014/main" id="{5503FF42-0306-CFFF-F4FD-513A9DD20B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5443" y="5602907"/>
              <a:ext cx="10820892" cy="1233599"/>
            </a:xfrm>
            <a:prstGeom prst="rect">
              <a:avLst/>
            </a:prstGeom>
            <a:noFill/>
            <a:ln w="19050">
              <a:solidFill>
                <a:srgbClr val="AAB414"/>
              </a:solidFill>
            </a:ln>
            <a:effectLst/>
          </p:spPr>
          <p:txBody>
            <a:bodyPr lIns="0" tIns="71926" rIns="182690" bIns="71926" rtlCol="0" anchor="t" anchorCtr="0"/>
            <a:lstStyle/>
            <a:p>
              <a:pPr>
                <a:buClr>
                  <a:srgbClr val="FFFFFF"/>
                </a:buClr>
              </a:pPr>
              <a:endParaRPr lang="en-US" sz="300" dirty="0">
                <a:solidFill>
                  <a:srgbClr val="FFFFFF"/>
                </a:solidFill>
              </a:endParaRPr>
            </a:p>
          </p:txBody>
        </p:sp>
        <p:sp>
          <p:nvSpPr>
            <p:cNvPr id="869" name="Freihandform: Form 161">
              <a:extLst>
                <a:ext uri="{FF2B5EF4-FFF2-40B4-BE49-F238E27FC236}">
                  <a16:creationId xmlns:a16="http://schemas.microsoft.com/office/drawing/2014/main" id="{77453578-677F-C70D-6BD1-3BD0383209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44221" y="5672996"/>
              <a:ext cx="214447" cy="290228"/>
            </a:xfrm>
            <a:custGeom>
              <a:avLst/>
              <a:gdLst>
                <a:gd name="connsiteX0" fmla="*/ 0 w 3200400"/>
                <a:gd name="connsiteY0" fmla="*/ 2746376 h 3870326"/>
                <a:gd name="connsiteX1" fmla="*/ 1609140 w 3200400"/>
                <a:gd name="connsiteY1" fmla="*/ 3121026 h 3870326"/>
                <a:gd name="connsiteX2" fmla="*/ 3200400 w 3200400"/>
                <a:gd name="connsiteY2" fmla="*/ 2746376 h 3870326"/>
                <a:gd name="connsiteX3" fmla="*/ 3200400 w 3200400"/>
                <a:gd name="connsiteY3" fmla="*/ 3495676 h 3870326"/>
                <a:gd name="connsiteX4" fmla="*/ 1609140 w 3200400"/>
                <a:gd name="connsiteY4" fmla="*/ 3870326 h 3870326"/>
                <a:gd name="connsiteX5" fmla="*/ 0 w 3200400"/>
                <a:gd name="connsiteY5" fmla="*/ 3495676 h 3870326"/>
                <a:gd name="connsiteX6" fmla="*/ 0 w 3200400"/>
                <a:gd name="connsiteY6" fmla="*/ 2746376 h 3870326"/>
                <a:gd name="connsiteX7" fmla="*/ 0 w 3200400"/>
                <a:gd name="connsiteY7" fmla="*/ 1717675 h 3870326"/>
                <a:gd name="connsiteX8" fmla="*/ 1609140 w 3200400"/>
                <a:gd name="connsiteY8" fmla="*/ 2092325 h 3870326"/>
                <a:gd name="connsiteX9" fmla="*/ 3200400 w 3200400"/>
                <a:gd name="connsiteY9" fmla="*/ 1717675 h 3870326"/>
                <a:gd name="connsiteX10" fmla="*/ 3200400 w 3200400"/>
                <a:gd name="connsiteY10" fmla="*/ 2466975 h 3870326"/>
                <a:gd name="connsiteX11" fmla="*/ 1609140 w 3200400"/>
                <a:gd name="connsiteY11" fmla="*/ 2841625 h 3870326"/>
                <a:gd name="connsiteX12" fmla="*/ 0 w 3200400"/>
                <a:gd name="connsiteY12" fmla="*/ 2466975 h 3870326"/>
                <a:gd name="connsiteX13" fmla="*/ 0 w 3200400"/>
                <a:gd name="connsiteY13" fmla="*/ 1717675 h 3870326"/>
                <a:gd name="connsiteX14" fmla="*/ 0 w 3200400"/>
                <a:gd name="connsiteY14" fmla="*/ 688975 h 3870326"/>
                <a:gd name="connsiteX15" fmla="*/ 1609140 w 3200400"/>
                <a:gd name="connsiteY15" fmla="*/ 1063625 h 3870326"/>
                <a:gd name="connsiteX16" fmla="*/ 3200400 w 3200400"/>
                <a:gd name="connsiteY16" fmla="*/ 688975 h 3870326"/>
                <a:gd name="connsiteX17" fmla="*/ 3200400 w 3200400"/>
                <a:gd name="connsiteY17" fmla="*/ 1438275 h 3870326"/>
                <a:gd name="connsiteX18" fmla="*/ 1609140 w 3200400"/>
                <a:gd name="connsiteY18" fmla="*/ 1812925 h 3870326"/>
                <a:gd name="connsiteX19" fmla="*/ 0 w 3200400"/>
                <a:gd name="connsiteY19" fmla="*/ 1438275 h 3870326"/>
                <a:gd name="connsiteX20" fmla="*/ 0 w 3200400"/>
                <a:gd name="connsiteY20" fmla="*/ 688975 h 3870326"/>
                <a:gd name="connsiteX21" fmla="*/ 1600200 w 3200400"/>
                <a:gd name="connsiteY21" fmla="*/ 0 h 3870326"/>
                <a:gd name="connsiteX22" fmla="*/ 3200400 w 3200400"/>
                <a:gd name="connsiteY22" fmla="*/ 392113 h 3870326"/>
                <a:gd name="connsiteX23" fmla="*/ 1600200 w 3200400"/>
                <a:gd name="connsiteY23" fmla="*/ 784226 h 3870326"/>
                <a:gd name="connsiteX24" fmla="*/ 0 w 3200400"/>
                <a:gd name="connsiteY24" fmla="*/ 392113 h 3870326"/>
                <a:gd name="connsiteX25" fmla="*/ 1600200 w 3200400"/>
                <a:gd name="connsiteY25" fmla="*/ 0 h 3870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200400" h="3870326">
                  <a:moveTo>
                    <a:pt x="0" y="2746376"/>
                  </a:moveTo>
                  <a:cubicBezTo>
                    <a:pt x="0" y="2960462"/>
                    <a:pt x="715173" y="3121026"/>
                    <a:pt x="1609140" y="3121026"/>
                  </a:cubicBezTo>
                  <a:cubicBezTo>
                    <a:pt x="2485227" y="3121026"/>
                    <a:pt x="3200400" y="2960462"/>
                    <a:pt x="3200400" y="2746376"/>
                  </a:cubicBezTo>
                  <a:cubicBezTo>
                    <a:pt x="3200400" y="2746376"/>
                    <a:pt x="3200400" y="2746376"/>
                    <a:pt x="3200400" y="3495676"/>
                  </a:cubicBezTo>
                  <a:cubicBezTo>
                    <a:pt x="3200400" y="3691921"/>
                    <a:pt x="2485227" y="3870326"/>
                    <a:pt x="1609140" y="3870326"/>
                  </a:cubicBezTo>
                  <a:cubicBezTo>
                    <a:pt x="715173" y="3870326"/>
                    <a:pt x="0" y="3691921"/>
                    <a:pt x="0" y="3495676"/>
                  </a:cubicBezTo>
                  <a:cubicBezTo>
                    <a:pt x="0" y="3495676"/>
                    <a:pt x="0" y="3495676"/>
                    <a:pt x="0" y="2746376"/>
                  </a:cubicBezTo>
                  <a:close/>
                  <a:moveTo>
                    <a:pt x="0" y="1717675"/>
                  </a:moveTo>
                  <a:cubicBezTo>
                    <a:pt x="0" y="1931761"/>
                    <a:pt x="715173" y="2092325"/>
                    <a:pt x="1609140" y="2092325"/>
                  </a:cubicBezTo>
                  <a:cubicBezTo>
                    <a:pt x="2485227" y="2092325"/>
                    <a:pt x="3200400" y="1931761"/>
                    <a:pt x="3200400" y="1717675"/>
                  </a:cubicBezTo>
                  <a:cubicBezTo>
                    <a:pt x="3200400" y="1717675"/>
                    <a:pt x="3200400" y="1717675"/>
                    <a:pt x="3200400" y="2466975"/>
                  </a:cubicBezTo>
                  <a:cubicBezTo>
                    <a:pt x="3200400" y="2663220"/>
                    <a:pt x="2485227" y="2841625"/>
                    <a:pt x="1609140" y="2841625"/>
                  </a:cubicBezTo>
                  <a:cubicBezTo>
                    <a:pt x="715173" y="2841625"/>
                    <a:pt x="0" y="2663220"/>
                    <a:pt x="0" y="2466975"/>
                  </a:cubicBezTo>
                  <a:cubicBezTo>
                    <a:pt x="0" y="2466975"/>
                    <a:pt x="0" y="2466975"/>
                    <a:pt x="0" y="1717675"/>
                  </a:cubicBezTo>
                  <a:close/>
                  <a:moveTo>
                    <a:pt x="0" y="688975"/>
                  </a:moveTo>
                  <a:cubicBezTo>
                    <a:pt x="0" y="903061"/>
                    <a:pt x="715173" y="1063625"/>
                    <a:pt x="1609140" y="1063625"/>
                  </a:cubicBezTo>
                  <a:cubicBezTo>
                    <a:pt x="2485227" y="1063625"/>
                    <a:pt x="3200400" y="903061"/>
                    <a:pt x="3200400" y="688975"/>
                  </a:cubicBezTo>
                  <a:cubicBezTo>
                    <a:pt x="3200400" y="688975"/>
                    <a:pt x="3200400" y="688975"/>
                    <a:pt x="3200400" y="1438275"/>
                  </a:cubicBezTo>
                  <a:cubicBezTo>
                    <a:pt x="3200400" y="1652361"/>
                    <a:pt x="2485227" y="1812925"/>
                    <a:pt x="1609140" y="1812925"/>
                  </a:cubicBezTo>
                  <a:cubicBezTo>
                    <a:pt x="715173" y="1812925"/>
                    <a:pt x="0" y="1652361"/>
                    <a:pt x="0" y="1438275"/>
                  </a:cubicBezTo>
                  <a:cubicBezTo>
                    <a:pt x="0" y="1438275"/>
                    <a:pt x="0" y="1438275"/>
                    <a:pt x="0" y="688975"/>
                  </a:cubicBezTo>
                  <a:close/>
                  <a:moveTo>
                    <a:pt x="1600200" y="0"/>
                  </a:moveTo>
                  <a:cubicBezTo>
                    <a:pt x="2483966" y="0"/>
                    <a:pt x="3200400" y="175555"/>
                    <a:pt x="3200400" y="392113"/>
                  </a:cubicBezTo>
                  <a:cubicBezTo>
                    <a:pt x="3200400" y="608671"/>
                    <a:pt x="2483966" y="784226"/>
                    <a:pt x="1600200" y="784226"/>
                  </a:cubicBezTo>
                  <a:cubicBezTo>
                    <a:pt x="716434" y="784226"/>
                    <a:pt x="0" y="608671"/>
                    <a:pt x="0" y="392113"/>
                  </a:cubicBezTo>
                  <a:cubicBezTo>
                    <a:pt x="0" y="175555"/>
                    <a:pt x="716434" y="0"/>
                    <a:pt x="1600200" y="0"/>
                  </a:cubicBezTo>
                  <a:close/>
                </a:path>
              </a:pathLst>
            </a:custGeom>
            <a:solidFill>
              <a:srgbClr val="EB780A"/>
            </a:solidFill>
            <a:ln>
              <a:noFill/>
            </a:ln>
          </p:spPr>
          <p:txBody>
            <a:bodyPr vert="horz" wrap="square" lIns="91344" tIns="45672" rIns="91344" bIns="45672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400">
                <a:solidFill>
                  <a:srgbClr val="000000"/>
                </a:solidFill>
              </a:endParaRPr>
            </a:p>
          </p:txBody>
        </p:sp>
        <p:sp>
          <p:nvSpPr>
            <p:cNvPr id="870" name="Rectangle: Rounded Corners 869">
              <a:extLst>
                <a:ext uri="{FF2B5EF4-FFF2-40B4-BE49-F238E27FC236}">
                  <a16:creationId xmlns:a16="http://schemas.microsoft.com/office/drawing/2014/main" id="{5705A912-E528-FEDA-AEC6-4EE431A56C3D}"/>
                </a:ext>
              </a:extLst>
            </p:cNvPr>
            <p:cNvSpPr/>
            <p:nvPr/>
          </p:nvSpPr>
          <p:spPr bwMode="auto">
            <a:xfrm>
              <a:off x="7145119" y="6029971"/>
              <a:ext cx="991094" cy="220521"/>
            </a:xfrm>
            <a:prstGeom prst="roundRect">
              <a:avLst/>
            </a:prstGeom>
            <a:solidFill>
              <a:srgbClr val="DFE6ED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0" tIns="45696" rIns="0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pt-BR" sz="200" b="1" dirty="0">
                  <a:solidFill>
                    <a:srgbClr val="000000"/>
                  </a:solidFill>
                </a:rPr>
                <a:t>Web Services / API</a:t>
              </a:r>
              <a:endParaRPr lang="en-US" sz="200" b="1" dirty="0" err="1">
                <a:solidFill>
                  <a:srgbClr val="000000"/>
                </a:solidFill>
              </a:endParaRPr>
            </a:p>
          </p:txBody>
        </p:sp>
        <p:sp>
          <p:nvSpPr>
            <p:cNvPr id="876" name="Rectangle: Rounded Corners 875">
              <a:extLst>
                <a:ext uri="{FF2B5EF4-FFF2-40B4-BE49-F238E27FC236}">
                  <a16:creationId xmlns:a16="http://schemas.microsoft.com/office/drawing/2014/main" id="{D3DE495B-B937-874F-4B18-38F284DD49BF}"/>
                </a:ext>
              </a:extLst>
            </p:cNvPr>
            <p:cNvSpPr/>
            <p:nvPr/>
          </p:nvSpPr>
          <p:spPr bwMode="auto">
            <a:xfrm>
              <a:off x="5065295" y="6026664"/>
              <a:ext cx="991094" cy="220521"/>
            </a:xfrm>
            <a:prstGeom prst="roundRect">
              <a:avLst/>
            </a:prstGeom>
            <a:solidFill>
              <a:srgbClr val="DFE6ED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0" tIns="45696" rIns="0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pt-BR" sz="200" b="1" dirty="0">
                  <a:solidFill>
                    <a:srgbClr val="000000"/>
                  </a:solidFill>
                </a:rPr>
                <a:t>BATCH</a:t>
              </a:r>
              <a:endParaRPr lang="en-US" sz="200" b="1" dirty="0" err="1">
                <a:solidFill>
                  <a:srgbClr val="000000"/>
                </a:solidFill>
              </a:endParaRPr>
            </a:p>
          </p:txBody>
        </p:sp>
        <p:sp>
          <p:nvSpPr>
            <p:cNvPr id="877" name="Rectangle: Rounded Corners 876">
              <a:extLst>
                <a:ext uri="{FF2B5EF4-FFF2-40B4-BE49-F238E27FC236}">
                  <a16:creationId xmlns:a16="http://schemas.microsoft.com/office/drawing/2014/main" id="{C9883E1E-7FA3-856D-33DA-EB6405C791CC}"/>
                </a:ext>
              </a:extLst>
            </p:cNvPr>
            <p:cNvSpPr/>
            <p:nvPr/>
          </p:nvSpPr>
          <p:spPr bwMode="auto">
            <a:xfrm>
              <a:off x="6109790" y="6026460"/>
              <a:ext cx="991094" cy="220521"/>
            </a:xfrm>
            <a:prstGeom prst="roundRect">
              <a:avLst/>
            </a:prstGeom>
            <a:solidFill>
              <a:srgbClr val="DFE6ED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0" tIns="45696" rIns="0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pt-BR" sz="200" b="1" dirty="0">
                  <a:solidFill>
                    <a:srgbClr val="000000"/>
                  </a:solidFill>
                </a:rPr>
                <a:t>MindSphere IoT</a:t>
              </a:r>
              <a:endParaRPr lang="en-US" sz="200" b="1" dirty="0" err="1">
                <a:solidFill>
                  <a:srgbClr val="000000"/>
                </a:solidFill>
              </a:endParaRPr>
            </a:p>
          </p:txBody>
        </p:sp>
        <p:sp>
          <p:nvSpPr>
            <p:cNvPr id="878" name="Rectangle: Rounded Corners 877">
              <a:extLst>
                <a:ext uri="{FF2B5EF4-FFF2-40B4-BE49-F238E27FC236}">
                  <a16:creationId xmlns:a16="http://schemas.microsoft.com/office/drawing/2014/main" id="{9F4949C9-4F18-4032-4001-146ABB1E36B6}"/>
                </a:ext>
              </a:extLst>
            </p:cNvPr>
            <p:cNvSpPr/>
            <p:nvPr/>
          </p:nvSpPr>
          <p:spPr bwMode="auto">
            <a:xfrm>
              <a:off x="4025382" y="6026664"/>
              <a:ext cx="991094" cy="220521"/>
            </a:xfrm>
            <a:prstGeom prst="roundRect">
              <a:avLst/>
            </a:prstGeom>
            <a:solidFill>
              <a:srgbClr val="DFE6ED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0" tIns="45696" rIns="0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pt-BR" sz="200" b="1" dirty="0">
                  <a:solidFill>
                    <a:srgbClr val="000000"/>
                  </a:solidFill>
                </a:rPr>
                <a:t>SAP</a:t>
              </a:r>
              <a:endParaRPr lang="en-US" sz="200" b="1" dirty="0" err="1">
                <a:solidFill>
                  <a:srgbClr val="000000"/>
                </a:solidFill>
              </a:endParaRPr>
            </a:p>
          </p:txBody>
        </p:sp>
        <p:sp>
          <p:nvSpPr>
            <p:cNvPr id="879" name="Rectangle: Rounded Corners 878">
              <a:extLst>
                <a:ext uri="{FF2B5EF4-FFF2-40B4-BE49-F238E27FC236}">
                  <a16:creationId xmlns:a16="http://schemas.microsoft.com/office/drawing/2014/main" id="{8E29BD90-F4DE-B084-01E3-B6413BEDF215}"/>
                </a:ext>
              </a:extLst>
            </p:cNvPr>
            <p:cNvSpPr/>
            <p:nvPr/>
          </p:nvSpPr>
          <p:spPr bwMode="auto">
            <a:xfrm>
              <a:off x="2985470" y="6024055"/>
              <a:ext cx="991094" cy="220521"/>
            </a:xfrm>
            <a:prstGeom prst="roundRect">
              <a:avLst/>
            </a:prstGeom>
            <a:solidFill>
              <a:srgbClr val="DFE6ED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0" tIns="45696" rIns="0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pt-BR" sz="200" b="1" dirty="0">
                  <a:solidFill>
                    <a:srgbClr val="000000"/>
                  </a:solidFill>
                </a:rPr>
                <a:t>Relational</a:t>
              </a:r>
              <a:endParaRPr lang="en-US" sz="200" b="1" dirty="0" err="1">
                <a:solidFill>
                  <a:srgbClr val="000000"/>
                </a:solidFill>
              </a:endParaRPr>
            </a:p>
          </p:txBody>
        </p:sp>
        <p:sp>
          <p:nvSpPr>
            <p:cNvPr id="880" name="Rectangle: Rounded Corners 879">
              <a:extLst>
                <a:ext uri="{FF2B5EF4-FFF2-40B4-BE49-F238E27FC236}">
                  <a16:creationId xmlns:a16="http://schemas.microsoft.com/office/drawing/2014/main" id="{1C4F0C97-E18B-1CF0-7E74-3D481FDA6D9F}"/>
                </a:ext>
              </a:extLst>
            </p:cNvPr>
            <p:cNvSpPr/>
            <p:nvPr/>
          </p:nvSpPr>
          <p:spPr bwMode="auto">
            <a:xfrm>
              <a:off x="1943210" y="6024055"/>
              <a:ext cx="991094" cy="220521"/>
            </a:xfrm>
            <a:prstGeom prst="roundRect">
              <a:avLst/>
            </a:prstGeom>
            <a:solidFill>
              <a:srgbClr val="DFE6ED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0" tIns="45696" rIns="0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pt-BR" sz="200" b="1" dirty="0">
                  <a:solidFill>
                    <a:srgbClr val="000000"/>
                  </a:solidFill>
                </a:rPr>
                <a:t>Historian</a:t>
              </a:r>
              <a:endParaRPr lang="en-US" sz="200" b="1" dirty="0" err="1">
                <a:solidFill>
                  <a:srgbClr val="000000"/>
                </a:solidFill>
              </a:endParaRPr>
            </a:p>
          </p:txBody>
        </p:sp>
        <p:sp>
          <p:nvSpPr>
            <p:cNvPr id="881" name="Rectangle: Rounded Corners 880">
              <a:extLst>
                <a:ext uri="{FF2B5EF4-FFF2-40B4-BE49-F238E27FC236}">
                  <a16:creationId xmlns:a16="http://schemas.microsoft.com/office/drawing/2014/main" id="{63CC05EE-00C4-F3C5-7561-126A27CDCD6A}"/>
                </a:ext>
              </a:extLst>
            </p:cNvPr>
            <p:cNvSpPr/>
            <p:nvPr/>
          </p:nvSpPr>
          <p:spPr bwMode="auto">
            <a:xfrm>
              <a:off x="8185032" y="6031696"/>
              <a:ext cx="991094" cy="220521"/>
            </a:xfrm>
            <a:prstGeom prst="roundRect">
              <a:avLst/>
            </a:prstGeom>
            <a:solidFill>
              <a:srgbClr val="DFE6ED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0" tIns="45696" rIns="0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pt-BR" sz="200" b="1" dirty="0">
                  <a:solidFill>
                    <a:srgbClr val="000000"/>
                  </a:solidFill>
                </a:rPr>
                <a:t>Documents</a:t>
              </a:r>
              <a:endParaRPr lang="en-US" sz="200" b="1" dirty="0" err="1">
                <a:solidFill>
                  <a:srgbClr val="000000"/>
                </a:solidFill>
              </a:endParaRPr>
            </a:p>
          </p:txBody>
        </p:sp>
        <p:sp>
          <p:nvSpPr>
            <p:cNvPr id="882" name="Rectangle: Rounded Corners 881">
              <a:extLst>
                <a:ext uri="{FF2B5EF4-FFF2-40B4-BE49-F238E27FC236}">
                  <a16:creationId xmlns:a16="http://schemas.microsoft.com/office/drawing/2014/main" id="{7A422FC4-B588-8FC6-04D1-628EE6208227}"/>
                </a:ext>
              </a:extLst>
            </p:cNvPr>
            <p:cNvSpPr/>
            <p:nvPr/>
          </p:nvSpPr>
          <p:spPr bwMode="auto">
            <a:xfrm>
              <a:off x="9224944" y="6029971"/>
              <a:ext cx="991094" cy="220521"/>
            </a:xfrm>
            <a:prstGeom prst="roundRect">
              <a:avLst/>
            </a:prstGeom>
            <a:solidFill>
              <a:srgbClr val="DFE6ED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0" tIns="45696" rIns="0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pt-BR" sz="200" b="1" dirty="0">
                  <a:solidFill>
                    <a:srgbClr val="000000"/>
                  </a:solidFill>
                </a:rPr>
                <a:t>Restful</a:t>
              </a:r>
              <a:endParaRPr lang="en-US" sz="200" b="1" dirty="0" err="1">
                <a:solidFill>
                  <a:srgbClr val="000000"/>
                </a:solidFill>
              </a:endParaRPr>
            </a:p>
          </p:txBody>
        </p:sp>
        <p:sp>
          <p:nvSpPr>
            <p:cNvPr id="883" name="Freeform 169">
              <a:extLst>
                <a:ext uri="{FF2B5EF4-FFF2-40B4-BE49-F238E27FC236}">
                  <a16:creationId xmlns:a16="http://schemas.microsoft.com/office/drawing/2014/main" id="{CBEC5BF9-CCB6-E323-E034-9F12A87066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70815" y="5687406"/>
              <a:ext cx="274447" cy="280501"/>
            </a:xfrm>
            <a:custGeom>
              <a:avLst/>
              <a:gdLst>
                <a:gd name="T0" fmla="*/ 748 w 998"/>
                <a:gd name="T1" fmla="*/ 839 h 1020"/>
                <a:gd name="T2" fmla="*/ 794 w 998"/>
                <a:gd name="T3" fmla="*/ 453 h 1020"/>
                <a:gd name="T4" fmla="*/ 975 w 998"/>
                <a:gd name="T5" fmla="*/ 294 h 1020"/>
                <a:gd name="T6" fmla="*/ 794 w 998"/>
                <a:gd name="T7" fmla="*/ 223 h 1020"/>
                <a:gd name="T8" fmla="*/ 748 w 998"/>
                <a:gd name="T9" fmla="*/ 223 h 1020"/>
                <a:gd name="T10" fmla="*/ 612 w 998"/>
                <a:gd name="T11" fmla="*/ 476 h 1020"/>
                <a:gd name="T12" fmla="*/ 635 w 998"/>
                <a:gd name="T13" fmla="*/ 771 h 1020"/>
                <a:gd name="T14" fmla="*/ 453 w 998"/>
                <a:gd name="T15" fmla="*/ 431 h 1020"/>
                <a:gd name="T16" fmla="*/ 567 w 998"/>
                <a:gd name="T17" fmla="*/ 0 h 1020"/>
                <a:gd name="T18" fmla="*/ 453 w 998"/>
                <a:gd name="T19" fmla="*/ 385 h 1020"/>
                <a:gd name="T20" fmla="*/ 351 w 998"/>
                <a:gd name="T21" fmla="*/ 238 h 1020"/>
                <a:gd name="T22" fmla="*/ 272 w 998"/>
                <a:gd name="T23" fmla="*/ 158 h 1020"/>
                <a:gd name="T24" fmla="*/ 363 w 998"/>
                <a:gd name="T25" fmla="*/ 90 h 1020"/>
                <a:gd name="T26" fmla="*/ 227 w 998"/>
                <a:gd name="T27" fmla="*/ 22 h 1020"/>
                <a:gd name="T28" fmla="*/ 34 w 998"/>
                <a:gd name="T29" fmla="*/ 181 h 1020"/>
                <a:gd name="T30" fmla="*/ 227 w 998"/>
                <a:gd name="T31" fmla="*/ 249 h 1020"/>
                <a:gd name="T32" fmla="*/ 50 w 998"/>
                <a:gd name="T33" fmla="*/ 308 h 1020"/>
                <a:gd name="T34" fmla="*/ 227 w 998"/>
                <a:gd name="T35" fmla="*/ 385 h 1020"/>
                <a:gd name="T36" fmla="*/ 0 w 998"/>
                <a:gd name="T37" fmla="*/ 544 h 1020"/>
                <a:gd name="T38" fmla="*/ 227 w 998"/>
                <a:gd name="T39" fmla="*/ 604 h 1020"/>
                <a:gd name="T40" fmla="*/ 204 w 998"/>
                <a:gd name="T41" fmla="*/ 839 h 1020"/>
                <a:gd name="T42" fmla="*/ 272 w 998"/>
                <a:gd name="T43" fmla="*/ 756 h 1020"/>
                <a:gd name="T44" fmla="*/ 521 w 998"/>
                <a:gd name="T45" fmla="*/ 567 h 1020"/>
                <a:gd name="T46" fmla="*/ 306 w 998"/>
                <a:gd name="T47" fmla="*/ 941 h 1020"/>
                <a:gd name="T48" fmla="*/ 408 w 998"/>
                <a:gd name="T49" fmla="*/ 816 h 1020"/>
                <a:gd name="T50" fmla="*/ 544 w 998"/>
                <a:gd name="T51" fmla="*/ 939 h 1020"/>
                <a:gd name="T52" fmla="*/ 635 w 998"/>
                <a:gd name="T53" fmla="*/ 816 h 1020"/>
                <a:gd name="T54" fmla="*/ 975 w 998"/>
                <a:gd name="T55" fmla="*/ 929 h 1020"/>
                <a:gd name="T56" fmla="*/ 680 w 998"/>
                <a:gd name="T57" fmla="*/ 657 h 1020"/>
                <a:gd name="T58" fmla="*/ 828 w 998"/>
                <a:gd name="T59" fmla="*/ 555 h 1020"/>
                <a:gd name="T60" fmla="*/ 703 w 998"/>
                <a:gd name="T61" fmla="*/ 476 h 1020"/>
                <a:gd name="T62" fmla="*/ 748 w 998"/>
                <a:gd name="T63" fmla="*/ 499 h 1020"/>
                <a:gd name="T64" fmla="*/ 737 w 998"/>
                <a:gd name="T65" fmla="*/ 147 h 1020"/>
                <a:gd name="T66" fmla="*/ 771 w 998"/>
                <a:gd name="T67" fmla="*/ 181 h 1020"/>
                <a:gd name="T68" fmla="*/ 465 w 998"/>
                <a:gd name="T69" fmla="*/ 238 h 1020"/>
                <a:gd name="T70" fmla="*/ 113 w 998"/>
                <a:gd name="T71" fmla="*/ 215 h 1020"/>
                <a:gd name="T72" fmla="*/ 113 w 998"/>
                <a:gd name="T73" fmla="*/ 215 h 1020"/>
                <a:gd name="T74" fmla="*/ 45 w 998"/>
                <a:gd name="T75" fmla="*/ 544 h 1020"/>
                <a:gd name="T76" fmla="*/ 272 w 998"/>
                <a:gd name="T77" fmla="*/ 431 h 1020"/>
                <a:gd name="T78" fmla="*/ 272 w 998"/>
                <a:gd name="T79" fmla="*/ 431 h 1020"/>
                <a:gd name="T80" fmla="*/ 272 w 998"/>
                <a:gd name="T81" fmla="*/ 705 h 1020"/>
                <a:gd name="T82" fmla="*/ 227 w 998"/>
                <a:gd name="T83" fmla="*/ 655 h 1020"/>
                <a:gd name="T84" fmla="*/ 275 w 998"/>
                <a:gd name="T85" fmla="*/ 657 h 1020"/>
                <a:gd name="T86" fmla="*/ 272 w 998"/>
                <a:gd name="T87" fmla="*/ 604 h 1020"/>
                <a:gd name="T88" fmla="*/ 419 w 998"/>
                <a:gd name="T89" fmla="*/ 941 h 1020"/>
                <a:gd name="T90" fmla="*/ 351 w 998"/>
                <a:gd name="T91" fmla="*/ 941 h 1020"/>
                <a:gd name="T92" fmla="*/ 419 w 998"/>
                <a:gd name="T93" fmla="*/ 941 h 1020"/>
                <a:gd name="T94" fmla="*/ 930 w 998"/>
                <a:gd name="T95" fmla="*/ 929 h 1020"/>
                <a:gd name="T96" fmla="*/ 794 w 998"/>
                <a:gd name="T97" fmla="*/ 635 h 1020"/>
                <a:gd name="T98" fmla="*/ 862 w 998"/>
                <a:gd name="T99" fmla="*/ 635 h 1020"/>
                <a:gd name="T100" fmla="*/ 794 w 998"/>
                <a:gd name="T101" fmla="*/ 635 h 10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98" h="1020">
                  <a:moveTo>
                    <a:pt x="787" y="771"/>
                  </a:moveTo>
                  <a:cubicBezTo>
                    <a:pt x="780" y="757"/>
                    <a:pt x="765" y="748"/>
                    <a:pt x="748" y="748"/>
                  </a:cubicBezTo>
                  <a:cubicBezTo>
                    <a:pt x="723" y="748"/>
                    <a:pt x="703" y="768"/>
                    <a:pt x="703" y="793"/>
                  </a:cubicBezTo>
                  <a:cubicBezTo>
                    <a:pt x="703" y="818"/>
                    <a:pt x="723" y="839"/>
                    <a:pt x="748" y="839"/>
                  </a:cubicBezTo>
                  <a:cubicBezTo>
                    <a:pt x="765" y="839"/>
                    <a:pt x="780" y="830"/>
                    <a:pt x="787" y="816"/>
                  </a:cubicBezTo>
                  <a:cubicBezTo>
                    <a:pt x="998" y="816"/>
                    <a:pt x="998" y="816"/>
                    <a:pt x="998" y="816"/>
                  </a:cubicBezTo>
                  <a:cubicBezTo>
                    <a:pt x="998" y="453"/>
                    <a:pt x="998" y="453"/>
                    <a:pt x="998" y="453"/>
                  </a:cubicBezTo>
                  <a:cubicBezTo>
                    <a:pt x="794" y="453"/>
                    <a:pt x="794" y="453"/>
                    <a:pt x="794" y="453"/>
                  </a:cubicBezTo>
                  <a:cubicBezTo>
                    <a:pt x="794" y="317"/>
                    <a:pt x="794" y="317"/>
                    <a:pt x="794" y="317"/>
                  </a:cubicBezTo>
                  <a:cubicBezTo>
                    <a:pt x="890" y="317"/>
                    <a:pt x="890" y="317"/>
                    <a:pt x="890" y="317"/>
                  </a:cubicBezTo>
                  <a:cubicBezTo>
                    <a:pt x="898" y="331"/>
                    <a:pt x="913" y="340"/>
                    <a:pt x="930" y="340"/>
                  </a:cubicBezTo>
                  <a:cubicBezTo>
                    <a:pt x="955" y="340"/>
                    <a:pt x="975" y="320"/>
                    <a:pt x="975" y="294"/>
                  </a:cubicBezTo>
                  <a:cubicBezTo>
                    <a:pt x="975" y="269"/>
                    <a:pt x="955" y="249"/>
                    <a:pt x="930" y="249"/>
                  </a:cubicBezTo>
                  <a:cubicBezTo>
                    <a:pt x="913" y="249"/>
                    <a:pt x="898" y="258"/>
                    <a:pt x="890" y="272"/>
                  </a:cubicBezTo>
                  <a:cubicBezTo>
                    <a:pt x="794" y="272"/>
                    <a:pt x="794" y="272"/>
                    <a:pt x="794" y="272"/>
                  </a:cubicBezTo>
                  <a:cubicBezTo>
                    <a:pt x="794" y="223"/>
                    <a:pt x="794" y="223"/>
                    <a:pt x="794" y="223"/>
                  </a:cubicBezTo>
                  <a:cubicBezTo>
                    <a:pt x="826" y="213"/>
                    <a:pt x="850" y="183"/>
                    <a:pt x="850" y="147"/>
                  </a:cubicBezTo>
                  <a:cubicBezTo>
                    <a:pt x="850" y="103"/>
                    <a:pt x="815" y="68"/>
                    <a:pt x="771" y="68"/>
                  </a:cubicBezTo>
                  <a:cubicBezTo>
                    <a:pt x="727" y="68"/>
                    <a:pt x="691" y="103"/>
                    <a:pt x="691" y="147"/>
                  </a:cubicBezTo>
                  <a:cubicBezTo>
                    <a:pt x="691" y="183"/>
                    <a:pt x="715" y="213"/>
                    <a:pt x="748" y="223"/>
                  </a:cubicBezTo>
                  <a:cubicBezTo>
                    <a:pt x="748" y="272"/>
                    <a:pt x="748" y="272"/>
                    <a:pt x="748" y="272"/>
                  </a:cubicBezTo>
                  <a:cubicBezTo>
                    <a:pt x="635" y="272"/>
                    <a:pt x="635" y="272"/>
                    <a:pt x="635" y="272"/>
                  </a:cubicBezTo>
                  <a:cubicBezTo>
                    <a:pt x="635" y="437"/>
                    <a:pt x="635" y="437"/>
                    <a:pt x="635" y="437"/>
                  </a:cubicBezTo>
                  <a:cubicBezTo>
                    <a:pt x="621" y="445"/>
                    <a:pt x="612" y="459"/>
                    <a:pt x="612" y="476"/>
                  </a:cubicBezTo>
                  <a:cubicBezTo>
                    <a:pt x="612" y="493"/>
                    <a:pt x="621" y="507"/>
                    <a:pt x="635" y="515"/>
                  </a:cubicBezTo>
                  <a:cubicBezTo>
                    <a:pt x="635" y="635"/>
                    <a:pt x="635" y="635"/>
                    <a:pt x="635" y="635"/>
                  </a:cubicBezTo>
                  <a:cubicBezTo>
                    <a:pt x="635" y="657"/>
                    <a:pt x="635" y="657"/>
                    <a:pt x="635" y="657"/>
                  </a:cubicBezTo>
                  <a:cubicBezTo>
                    <a:pt x="635" y="771"/>
                    <a:pt x="635" y="771"/>
                    <a:pt x="635" y="771"/>
                  </a:cubicBezTo>
                  <a:cubicBezTo>
                    <a:pt x="567" y="771"/>
                    <a:pt x="567" y="771"/>
                    <a:pt x="567" y="771"/>
                  </a:cubicBezTo>
                  <a:cubicBezTo>
                    <a:pt x="567" y="521"/>
                    <a:pt x="567" y="521"/>
                    <a:pt x="567" y="521"/>
                  </a:cubicBezTo>
                  <a:cubicBezTo>
                    <a:pt x="453" y="521"/>
                    <a:pt x="453" y="521"/>
                    <a:pt x="453" y="521"/>
                  </a:cubicBezTo>
                  <a:cubicBezTo>
                    <a:pt x="453" y="431"/>
                    <a:pt x="453" y="431"/>
                    <a:pt x="453" y="431"/>
                  </a:cubicBezTo>
                  <a:cubicBezTo>
                    <a:pt x="589" y="431"/>
                    <a:pt x="589" y="431"/>
                    <a:pt x="589" y="431"/>
                  </a:cubicBezTo>
                  <a:cubicBezTo>
                    <a:pt x="589" y="84"/>
                    <a:pt x="589" y="84"/>
                    <a:pt x="589" y="84"/>
                  </a:cubicBezTo>
                  <a:cubicBezTo>
                    <a:pt x="603" y="76"/>
                    <a:pt x="612" y="62"/>
                    <a:pt x="612" y="45"/>
                  </a:cubicBezTo>
                  <a:cubicBezTo>
                    <a:pt x="612" y="20"/>
                    <a:pt x="592" y="0"/>
                    <a:pt x="567" y="0"/>
                  </a:cubicBezTo>
                  <a:cubicBezTo>
                    <a:pt x="542" y="0"/>
                    <a:pt x="521" y="20"/>
                    <a:pt x="521" y="45"/>
                  </a:cubicBezTo>
                  <a:cubicBezTo>
                    <a:pt x="521" y="62"/>
                    <a:pt x="531" y="76"/>
                    <a:pt x="544" y="84"/>
                  </a:cubicBezTo>
                  <a:cubicBezTo>
                    <a:pt x="544" y="385"/>
                    <a:pt x="544" y="385"/>
                    <a:pt x="544" y="385"/>
                  </a:cubicBezTo>
                  <a:cubicBezTo>
                    <a:pt x="453" y="385"/>
                    <a:pt x="453" y="385"/>
                    <a:pt x="453" y="385"/>
                  </a:cubicBezTo>
                  <a:cubicBezTo>
                    <a:pt x="453" y="314"/>
                    <a:pt x="453" y="314"/>
                    <a:pt x="453" y="314"/>
                  </a:cubicBezTo>
                  <a:cubicBezTo>
                    <a:pt x="486" y="304"/>
                    <a:pt x="510" y="274"/>
                    <a:pt x="510" y="238"/>
                  </a:cubicBezTo>
                  <a:cubicBezTo>
                    <a:pt x="510" y="194"/>
                    <a:pt x="474" y="158"/>
                    <a:pt x="431" y="158"/>
                  </a:cubicBezTo>
                  <a:cubicBezTo>
                    <a:pt x="387" y="158"/>
                    <a:pt x="351" y="194"/>
                    <a:pt x="351" y="238"/>
                  </a:cubicBezTo>
                  <a:cubicBezTo>
                    <a:pt x="351" y="274"/>
                    <a:pt x="375" y="304"/>
                    <a:pt x="408" y="314"/>
                  </a:cubicBezTo>
                  <a:cubicBezTo>
                    <a:pt x="408" y="385"/>
                    <a:pt x="408" y="385"/>
                    <a:pt x="408" y="385"/>
                  </a:cubicBezTo>
                  <a:cubicBezTo>
                    <a:pt x="272" y="385"/>
                    <a:pt x="272" y="385"/>
                    <a:pt x="272" y="385"/>
                  </a:cubicBezTo>
                  <a:cubicBezTo>
                    <a:pt x="272" y="158"/>
                    <a:pt x="272" y="158"/>
                    <a:pt x="272" y="158"/>
                  </a:cubicBezTo>
                  <a:cubicBezTo>
                    <a:pt x="272" y="158"/>
                    <a:pt x="272" y="158"/>
                    <a:pt x="272" y="158"/>
                  </a:cubicBezTo>
                  <a:cubicBezTo>
                    <a:pt x="272" y="68"/>
                    <a:pt x="272" y="68"/>
                    <a:pt x="272" y="68"/>
                  </a:cubicBezTo>
                  <a:cubicBezTo>
                    <a:pt x="323" y="68"/>
                    <a:pt x="323" y="68"/>
                    <a:pt x="323" y="68"/>
                  </a:cubicBezTo>
                  <a:cubicBezTo>
                    <a:pt x="331" y="81"/>
                    <a:pt x="346" y="90"/>
                    <a:pt x="363" y="90"/>
                  </a:cubicBezTo>
                  <a:cubicBezTo>
                    <a:pt x="388" y="90"/>
                    <a:pt x="408" y="70"/>
                    <a:pt x="408" y="45"/>
                  </a:cubicBezTo>
                  <a:cubicBezTo>
                    <a:pt x="408" y="20"/>
                    <a:pt x="388" y="0"/>
                    <a:pt x="363" y="0"/>
                  </a:cubicBezTo>
                  <a:cubicBezTo>
                    <a:pt x="346" y="0"/>
                    <a:pt x="331" y="9"/>
                    <a:pt x="323" y="22"/>
                  </a:cubicBezTo>
                  <a:cubicBezTo>
                    <a:pt x="227" y="22"/>
                    <a:pt x="227" y="22"/>
                    <a:pt x="227" y="22"/>
                  </a:cubicBezTo>
                  <a:cubicBezTo>
                    <a:pt x="227" y="158"/>
                    <a:pt x="227" y="158"/>
                    <a:pt x="227" y="158"/>
                  </a:cubicBezTo>
                  <a:cubicBezTo>
                    <a:pt x="189" y="158"/>
                    <a:pt x="189" y="158"/>
                    <a:pt x="189" y="158"/>
                  </a:cubicBezTo>
                  <a:cubicBezTo>
                    <a:pt x="180" y="126"/>
                    <a:pt x="149" y="102"/>
                    <a:pt x="113" y="102"/>
                  </a:cubicBezTo>
                  <a:cubicBezTo>
                    <a:pt x="69" y="102"/>
                    <a:pt x="34" y="137"/>
                    <a:pt x="34" y="181"/>
                  </a:cubicBezTo>
                  <a:cubicBezTo>
                    <a:pt x="34" y="225"/>
                    <a:pt x="69" y="260"/>
                    <a:pt x="113" y="260"/>
                  </a:cubicBezTo>
                  <a:cubicBezTo>
                    <a:pt x="149" y="260"/>
                    <a:pt x="179" y="237"/>
                    <a:pt x="189" y="204"/>
                  </a:cubicBezTo>
                  <a:cubicBezTo>
                    <a:pt x="227" y="204"/>
                    <a:pt x="227" y="204"/>
                    <a:pt x="227" y="204"/>
                  </a:cubicBezTo>
                  <a:cubicBezTo>
                    <a:pt x="227" y="249"/>
                    <a:pt x="227" y="249"/>
                    <a:pt x="227" y="249"/>
                  </a:cubicBezTo>
                  <a:cubicBezTo>
                    <a:pt x="227" y="249"/>
                    <a:pt x="227" y="249"/>
                    <a:pt x="227" y="249"/>
                  </a:cubicBezTo>
                  <a:cubicBezTo>
                    <a:pt x="227" y="340"/>
                    <a:pt x="227" y="340"/>
                    <a:pt x="227" y="340"/>
                  </a:cubicBezTo>
                  <a:cubicBezTo>
                    <a:pt x="96" y="340"/>
                    <a:pt x="96" y="340"/>
                    <a:pt x="96" y="340"/>
                  </a:cubicBezTo>
                  <a:cubicBezTo>
                    <a:pt x="89" y="321"/>
                    <a:pt x="71" y="308"/>
                    <a:pt x="50" y="308"/>
                  </a:cubicBezTo>
                  <a:cubicBezTo>
                    <a:pt x="22" y="308"/>
                    <a:pt x="0" y="330"/>
                    <a:pt x="0" y="358"/>
                  </a:cubicBezTo>
                  <a:cubicBezTo>
                    <a:pt x="0" y="386"/>
                    <a:pt x="22" y="408"/>
                    <a:pt x="50" y="408"/>
                  </a:cubicBezTo>
                  <a:cubicBezTo>
                    <a:pt x="67" y="408"/>
                    <a:pt x="83" y="399"/>
                    <a:pt x="91" y="385"/>
                  </a:cubicBezTo>
                  <a:cubicBezTo>
                    <a:pt x="227" y="385"/>
                    <a:pt x="227" y="385"/>
                    <a:pt x="227" y="385"/>
                  </a:cubicBezTo>
                  <a:cubicBezTo>
                    <a:pt x="227" y="521"/>
                    <a:pt x="227" y="521"/>
                    <a:pt x="227" y="521"/>
                  </a:cubicBezTo>
                  <a:cubicBezTo>
                    <a:pt x="155" y="521"/>
                    <a:pt x="155" y="521"/>
                    <a:pt x="155" y="521"/>
                  </a:cubicBezTo>
                  <a:cubicBezTo>
                    <a:pt x="145" y="488"/>
                    <a:pt x="115" y="465"/>
                    <a:pt x="79" y="465"/>
                  </a:cubicBezTo>
                  <a:cubicBezTo>
                    <a:pt x="35" y="465"/>
                    <a:pt x="0" y="500"/>
                    <a:pt x="0" y="544"/>
                  </a:cubicBezTo>
                  <a:cubicBezTo>
                    <a:pt x="0" y="588"/>
                    <a:pt x="35" y="623"/>
                    <a:pt x="79" y="623"/>
                  </a:cubicBezTo>
                  <a:cubicBezTo>
                    <a:pt x="115" y="623"/>
                    <a:pt x="145" y="599"/>
                    <a:pt x="155" y="567"/>
                  </a:cubicBezTo>
                  <a:cubicBezTo>
                    <a:pt x="227" y="567"/>
                    <a:pt x="227" y="567"/>
                    <a:pt x="227" y="567"/>
                  </a:cubicBezTo>
                  <a:cubicBezTo>
                    <a:pt x="227" y="604"/>
                    <a:pt x="227" y="604"/>
                    <a:pt x="227" y="604"/>
                  </a:cubicBezTo>
                  <a:cubicBezTo>
                    <a:pt x="194" y="614"/>
                    <a:pt x="170" y="644"/>
                    <a:pt x="170" y="680"/>
                  </a:cubicBezTo>
                  <a:cubicBezTo>
                    <a:pt x="170" y="716"/>
                    <a:pt x="194" y="746"/>
                    <a:pt x="227" y="756"/>
                  </a:cubicBezTo>
                  <a:cubicBezTo>
                    <a:pt x="227" y="800"/>
                    <a:pt x="227" y="800"/>
                    <a:pt x="227" y="800"/>
                  </a:cubicBezTo>
                  <a:cubicBezTo>
                    <a:pt x="213" y="807"/>
                    <a:pt x="204" y="822"/>
                    <a:pt x="204" y="839"/>
                  </a:cubicBezTo>
                  <a:cubicBezTo>
                    <a:pt x="204" y="864"/>
                    <a:pt x="224" y="884"/>
                    <a:pt x="249" y="884"/>
                  </a:cubicBezTo>
                  <a:cubicBezTo>
                    <a:pt x="274" y="884"/>
                    <a:pt x="295" y="864"/>
                    <a:pt x="295" y="839"/>
                  </a:cubicBezTo>
                  <a:cubicBezTo>
                    <a:pt x="295" y="822"/>
                    <a:pt x="285" y="807"/>
                    <a:pt x="272" y="800"/>
                  </a:cubicBezTo>
                  <a:cubicBezTo>
                    <a:pt x="272" y="756"/>
                    <a:pt x="272" y="756"/>
                    <a:pt x="272" y="756"/>
                  </a:cubicBezTo>
                  <a:cubicBezTo>
                    <a:pt x="298" y="748"/>
                    <a:pt x="318" y="728"/>
                    <a:pt x="325" y="703"/>
                  </a:cubicBezTo>
                  <a:cubicBezTo>
                    <a:pt x="453" y="703"/>
                    <a:pt x="453" y="703"/>
                    <a:pt x="453" y="703"/>
                  </a:cubicBezTo>
                  <a:cubicBezTo>
                    <a:pt x="453" y="567"/>
                    <a:pt x="453" y="567"/>
                    <a:pt x="453" y="567"/>
                  </a:cubicBezTo>
                  <a:cubicBezTo>
                    <a:pt x="521" y="567"/>
                    <a:pt x="521" y="567"/>
                    <a:pt x="521" y="567"/>
                  </a:cubicBezTo>
                  <a:cubicBezTo>
                    <a:pt x="521" y="771"/>
                    <a:pt x="521" y="771"/>
                    <a:pt x="521" y="771"/>
                  </a:cubicBezTo>
                  <a:cubicBezTo>
                    <a:pt x="363" y="771"/>
                    <a:pt x="363" y="771"/>
                    <a:pt x="363" y="771"/>
                  </a:cubicBezTo>
                  <a:cubicBezTo>
                    <a:pt x="363" y="865"/>
                    <a:pt x="363" y="865"/>
                    <a:pt x="363" y="865"/>
                  </a:cubicBezTo>
                  <a:cubicBezTo>
                    <a:pt x="330" y="874"/>
                    <a:pt x="306" y="905"/>
                    <a:pt x="306" y="941"/>
                  </a:cubicBezTo>
                  <a:cubicBezTo>
                    <a:pt x="306" y="985"/>
                    <a:pt x="342" y="1020"/>
                    <a:pt x="385" y="1020"/>
                  </a:cubicBezTo>
                  <a:cubicBezTo>
                    <a:pt x="429" y="1020"/>
                    <a:pt x="465" y="985"/>
                    <a:pt x="465" y="941"/>
                  </a:cubicBezTo>
                  <a:cubicBezTo>
                    <a:pt x="465" y="905"/>
                    <a:pt x="441" y="874"/>
                    <a:pt x="408" y="865"/>
                  </a:cubicBezTo>
                  <a:cubicBezTo>
                    <a:pt x="408" y="816"/>
                    <a:pt x="408" y="816"/>
                    <a:pt x="408" y="816"/>
                  </a:cubicBezTo>
                  <a:cubicBezTo>
                    <a:pt x="521" y="816"/>
                    <a:pt x="521" y="816"/>
                    <a:pt x="521" y="816"/>
                  </a:cubicBezTo>
                  <a:cubicBezTo>
                    <a:pt x="521" y="844"/>
                    <a:pt x="521" y="844"/>
                    <a:pt x="521" y="844"/>
                  </a:cubicBezTo>
                  <a:cubicBezTo>
                    <a:pt x="505" y="852"/>
                    <a:pt x="494" y="869"/>
                    <a:pt x="494" y="889"/>
                  </a:cubicBezTo>
                  <a:cubicBezTo>
                    <a:pt x="494" y="916"/>
                    <a:pt x="517" y="939"/>
                    <a:pt x="544" y="939"/>
                  </a:cubicBezTo>
                  <a:cubicBezTo>
                    <a:pt x="572" y="939"/>
                    <a:pt x="594" y="916"/>
                    <a:pt x="594" y="889"/>
                  </a:cubicBezTo>
                  <a:cubicBezTo>
                    <a:pt x="594" y="869"/>
                    <a:pt x="583" y="852"/>
                    <a:pt x="567" y="844"/>
                  </a:cubicBezTo>
                  <a:cubicBezTo>
                    <a:pt x="567" y="816"/>
                    <a:pt x="567" y="816"/>
                    <a:pt x="567" y="816"/>
                  </a:cubicBezTo>
                  <a:cubicBezTo>
                    <a:pt x="635" y="816"/>
                    <a:pt x="635" y="816"/>
                    <a:pt x="635" y="816"/>
                  </a:cubicBezTo>
                  <a:cubicBezTo>
                    <a:pt x="635" y="952"/>
                    <a:pt x="635" y="952"/>
                    <a:pt x="635" y="952"/>
                  </a:cubicBezTo>
                  <a:cubicBezTo>
                    <a:pt x="820" y="952"/>
                    <a:pt x="820" y="952"/>
                    <a:pt x="820" y="952"/>
                  </a:cubicBezTo>
                  <a:cubicBezTo>
                    <a:pt x="829" y="985"/>
                    <a:pt x="860" y="1009"/>
                    <a:pt x="896" y="1009"/>
                  </a:cubicBezTo>
                  <a:cubicBezTo>
                    <a:pt x="939" y="1009"/>
                    <a:pt x="975" y="973"/>
                    <a:pt x="975" y="929"/>
                  </a:cubicBezTo>
                  <a:cubicBezTo>
                    <a:pt x="975" y="886"/>
                    <a:pt x="939" y="850"/>
                    <a:pt x="896" y="850"/>
                  </a:cubicBezTo>
                  <a:cubicBezTo>
                    <a:pt x="860" y="850"/>
                    <a:pt x="829" y="874"/>
                    <a:pt x="820" y="907"/>
                  </a:cubicBezTo>
                  <a:cubicBezTo>
                    <a:pt x="680" y="907"/>
                    <a:pt x="680" y="907"/>
                    <a:pt x="680" y="907"/>
                  </a:cubicBezTo>
                  <a:cubicBezTo>
                    <a:pt x="680" y="657"/>
                    <a:pt x="680" y="657"/>
                    <a:pt x="680" y="657"/>
                  </a:cubicBezTo>
                  <a:cubicBezTo>
                    <a:pt x="751" y="657"/>
                    <a:pt x="751" y="657"/>
                    <a:pt x="751" y="657"/>
                  </a:cubicBezTo>
                  <a:cubicBezTo>
                    <a:pt x="761" y="690"/>
                    <a:pt x="792" y="714"/>
                    <a:pt x="828" y="714"/>
                  </a:cubicBezTo>
                  <a:cubicBezTo>
                    <a:pt x="871" y="714"/>
                    <a:pt x="907" y="678"/>
                    <a:pt x="907" y="635"/>
                  </a:cubicBezTo>
                  <a:cubicBezTo>
                    <a:pt x="907" y="591"/>
                    <a:pt x="871" y="555"/>
                    <a:pt x="828" y="555"/>
                  </a:cubicBezTo>
                  <a:cubicBezTo>
                    <a:pt x="792" y="555"/>
                    <a:pt x="761" y="579"/>
                    <a:pt x="751" y="612"/>
                  </a:cubicBezTo>
                  <a:cubicBezTo>
                    <a:pt x="680" y="612"/>
                    <a:pt x="680" y="612"/>
                    <a:pt x="680" y="612"/>
                  </a:cubicBezTo>
                  <a:cubicBezTo>
                    <a:pt x="680" y="515"/>
                    <a:pt x="680" y="515"/>
                    <a:pt x="680" y="515"/>
                  </a:cubicBezTo>
                  <a:cubicBezTo>
                    <a:pt x="694" y="507"/>
                    <a:pt x="703" y="493"/>
                    <a:pt x="703" y="476"/>
                  </a:cubicBezTo>
                  <a:cubicBezTo>
                    <a:pt x="703" y="459"/>
                    <a:pt x="694" y="445"/>
                    <a:pt x="680" y="437"/>
                  </a:cubicBezTo>
                  <a:cubicBezTo>
                    <a:pt x="680" y="317"/>
                    <a:pt x="680" y="317"/>
                    <a:pt x="680" y="317"/>
                  </a:cubicBezTo>
                  <a:cubicBezTo>
                    <a:pt x="748" y="317"/>
                    <a:pt x="748" y="317"/>
                    <a:pt x="748" y="317"/>
                  </a:cubicBezTo>
                  <a:cubicBezTo>
                    <a:pt x="748" y="499"/>
                    <a:pt x="748" y="499"/>
                    <a:pt x="748" y="499"/>
                  </a:cubicBezTo>
                  <a:cubicBezTo>
                    <a:pt x="952" y="499"/>
                    <a:pt x="952" y="499"/>
                    <a:pt x="952" y="499"/>
                  </a:cubicBezTo>
                  <a:cubicBezTo>
                    <a:pt x="952" y="771"/>
                    <a:pt x="952" y="771"/>
                    <a:pt x="952" y="771"/>
                  </a:cubicBezTo>
                  <a:lnTo>
                    <a:pt x="787" y="771"/>
                  </a:lnTo>
                  <a:close/>
                  <a:moveTo>
                    <a:pt x="737" y="147"/>
                  </a:moveTo>
                  <a:cubicBezTo>
                    <a:pt x="737" y="128"/>
                    <a:pt x="752" y="113"/>
                    <a:pt x="771" y="113"/>
                  </a:cubicBezTo>
                  <a:cubicBezTo>
                    <a:pt x="790" y="113"/>
                    <a:pt x="805" y="128"/>
                    <a:pt x="805" y="147"/>
                  </a:cubicBezTo>
                  <a:cubicBezTo>
                    <a:pt x="805" y="157"/>
                    <a:pt x="800" y="166"/>
                    <a:pt x="794" y="172"/>
                  </a:cubicBezTo>
                  <a:cubicBezTo>
                    <a:pt x="788" y="178"/>
                    <a:pt x="780" y="181"/>
                    <a:pt x="771" y="181"/>
                  </a:cubicBezTo>
                  <a:cubicBezTo>
                    <a:pt x="762" y="181"/>
                    <a:pt x="754" y="178"/>
                    <a:pt x="748" y="172"/>
                  </a:cubicBezTo>
                  <a:cubicBezTo>
                    <a:pt x="741" y="166"/>
                    <a:pt x="737" y="157"/>
                    <a:pt x="737" y="147"/>
                  </a:cubicBezTo>
                  <a:close/>
                  <a:moveTo>
                    <a:pt x="431" y="204"/>
                  </a:moveTo>
                  <a:cubicBezTo>
                    <a:pt x="449" y="204"/>
                    <a:pt x="465" y="219"/>
                    <a:pt x="465" y="238"/>
                  </a:cubicBezTo>
                  <a:cubicBezTo>
                    <a:pt x="465" y="257"/>
                    <a:pt x="449" y="272"/>
                    <a:pt x="431" y="272"/>
                  </a:cubicBezTo>
                  <a:cubicBezTo>
                    <a:pt x="412" y="272"/>
                    <a:pt x="397" y="257"/>
                    <a:pt x="397" y="238"/>
                  </a:cubicBezTo>
                  <a:cubicBezTo>
                    <a:pt x="397" y="219"/>
                    <a:pt x="412" y="204"/>
                    <a:pt x="431" y="204"/>
                  </a:cubicBezTo>
                  <a:close/>
                  <a:moveTo>
                    <a:pt x="113" y="215"/>
                  </a:moveTo>
                  <a:cubicBezTo>
                    <a:pt x="94" y="215"/>
                    <a:pt x="79" y="200"/>
                    <a:pt x="79" y="181"/>
                  </a:cubicBezTo>
                  <a:cubicBezTo>
                    <a:pt x="79" y="162"/>
                    <a:pt x="94" y="147"/>
                    <a:pt x="113" y="147"/>
                  </a:cubicBezTo>
                  <a:cubicBezTo>
                    <a:pt x="132" y="147"/>
                    <a:pt x="147" y="162"/>
                    <a:pt x="147" y="181"/>
                  </a:cubicBezTo>
                  <a:cubicBezTo>
                    <a:pt x="147" y="200"/>
                    <a:pt x="132" y="215"/>
                    <a:pt x="113" y="215"/>
                  </a:cubicBezTo>
                  <a:close/>
                  <a:moveTo>
                    <a:pt x="113" y="544"/>
                  </a:moveTo>
                  <a:cubicBezTo>
                    <a:pt x="113" y="553"/>
                    <a:pt x="110" y="561"/>
                    <a:pt x="105" y="567"/>
                  </a:cubicBezTo>
                  <a:cubicBezTo>
                    <a:pt x="98" y="574"/>
                    <a:pt x="89" y="578"/>
                    <a:pt x="79" y="578"/>
                  </a:cubicBezTo>
                  <a:cubicBezTo>
                    <a:pt x="60" y="578"/>
                    <a:pt x="45" y="563"/>
                    <a:pt x="45" y="544"/>
                  </a:cubicBezTo>
                  <a:cubicBezTo>
                    <a:pt x="45" y="525"/>
                    <a:pt x="60" y="510"/>
                    <a:pt x="79" y="510"/>
                  </a:cubicBezTo>
                  <a:cubicBezTo>
                    <a:pt x="89" y="510"/>
                    <a:pt x="98" y="514"/>
                    <a:pt x="105" y="521"/>
                  </a:cubicBezTo>
                  <a:cubicBezTo>
                    <a:pt x="110" y="527"/>
                    <a:pt x="113" y="535"/>
                    <a:pt x="113" y="544"/>
                  </a:cubicBezTo>
                  <a:close/>
                  <a:moveTo>
                    <a:pt x="272" y="431"/>
                  </a:moveTo>
                  <a:cubicBezTo>
                    <a:pt x="408" y="431"/>
                    <a:pt x="408" y="431"/>
                    <a:pt x="408" y="431"/>
                  </a:cubicBezTo>
                  <a:cubicBezTo>
                    <a:pt x="408" y="521"/>
                    <a:pt x="408" y="521"/>
                    <a:pt x="408" y="521"/>
                  </a:cubicBezTo>
                  <a:cubicBezTo>
                    <a:pt x="272" y="521"/>
                    <a:pt x="272" y="521"/>
                    <a:pt x="272" y="521"/>
                  </a:cubicBezTo>
                  <a:lnTo>
                    <a:pt x="272" y="431"/>
                  </a:lnTo>
                  <a:close/>
                  <a:moveTo>
                    <a:pt x="283" y="680"/>
                  </a:moveTo>
                  <a:cubicBezTo>
                    <a:pt x="283" y="689"/>
                    <a:pt x="280" y="697"/>
                    <a:pt x="275" y="703"/>
                  </a:cubicBezTo>
                  <a:cubicBezTo>
                    <a:pt x="272" y="703"/>
                    <a:pt x="272" y="703"/>
                    <a:pt x="272" y="703"/>
                  </a:cubicBezTo>
                  <a:cubicBezTo>
                    <a:pt x="272" y="705"/>
                    <a:pt x="272" y="705"/>
                    <a:pt x="272" y="705"/>
                  </a:cubicBezTo>
                  <a:cubicBezTo>
                    <a:pt x="266" y="711"/>
                    <a:pt x="258" y="714"/>
                    <a:pt x="249" y="714"/>
                  </a:cubicBezTo>
                  <a:cubicBezTo>
                    <a:pt x="241" y="714"/>
                    <a:pt x="233" y="711"/>
                    <a:pt x="227" y="705"/>
                  </a:cubicBezTo>
                  <a:cubicBezTo>
                    <a:pt x="220" y="699"/>
                    <a:pt x="215" y="690"/>
                    <a:pt x="215" y="680"/>
                  </a:cubicBezTo>
                  <a:cubicBezTo>
                    <a:pt x="215" y="670"/>
                    <a:pt x="220" y="661"/>
                    <a:pt x="227" y="655"/>
                  </a:cubicBezTo>
                  <a:cubicBezTo>
                    <a:pt x="233" y="649"/>
                    <a:pt x="241" y="646"/>
                    <a:pt x="249" y="646"/>
                  </a:cubicBezTo>
                  <a:cubicBezTo>
                    <a:pt x="258" y="646"/>
                    <a:pt x="266" y="649"/>
                    <a:pt x="272" y="655"/>
                  </a:cubicBezTo>
                  <a:cubicBezTo>
                    <a:pt x="272" y="657"/>
                    <a:pt x="272" y="657"/>
                    <a:pt x="272" y="657"/>
                  </a:cubicBezTo>
                  <a:cubicBezTo>
                    <a:pt x="275" y="657"/>
                    <a:pt x="275" y="657"/>
                    <a:pt x="275" y="657"/>
                  </a:cubicBezTo>
                  <a:cubicBezTo>
                    <a:pt x="280" y="663"/>
                    <a:pt x="283" y="671"/>
                    <a:pt x="283" y="680"/>
                  </a:cubicBezTo>
                  <a:close/>
                  <a:moveTo>
                    <a:pt x="408" y="657"/>
                  </a:moveTo>
                  <a:cubicBezTo>
                    <a:pt x="325" y="657"/>
                    <a:pt x="325" y="657"/>
                    <a:pt x="325" y="657"/>
                  </a:cubicBezTo>
                  <a:cubicBezTo>
                    <a:pt x="318" y="632"/>
                    <a:pt x="298" y="612"/>
                    <a:pt x="272" y="604"/>
                  </a:cubicBezTo>
                  <a:cubicBezTo>
                    <a:pt x="272" y="567"/>
                    <a:pt x="272" y="567"/>
                    <a:pt x="272" y="567"/>
                  </a:cubicBezTo>
                  <a:cubicBezTo>
                    <a:pt x="408" y="567"/>
                    <a:pt x="408" y="567"/>
                    <a:pt x="408" y="567"/>
                  </a:cubicBezTo>
                  <a:lnTo>
                    <a:pt x="408" y="657"/>
                  </a:lnTo>
                  <a:close/>
                  <a:moveTo>
                    <a:pt x="419" y="941"/>
                  </a:moveTo>
                  <a:cubicBezTo>
                    <a:pt x="419" y="951"/>
                    <a:pt x="415" y="960"/>
                    <a:pt x="408" y="966"/>
                  </a:cubicBezTo>
                  <a:cubicBezTo>
                    <a:pt x="402" y="972"/>
                    <a:pt x="394" y="975"/>
                    <a:pt x="385" y="975"/>
                  </a:cubicBezTo>
                  <a:cubicBezTo>
                    <a:pt x="377" y="975"/>
                    <a:pt x="369" y="972"/>
                    <a:pt x="363" y="966"/>
                  </a:cubicBezTo>
                  <a:cubicBezTo>
                    <a:pt x="356" y="960"/>
                    <a:pt x="351" y="951"/>
                    <a:pt x="351" y="941"/>
                  </a:cubicBezTo>
                  <a:cubicBezTo>
                    <a:pt x="351" y="931"/>
                    <a:pt x="356" y="922"/>
                    <a:pt x="363" y="916"/>
                  </a:cubicBezTo>
                  <a:cubicBezTo>
                    <a:pt x="369" y="910"/>
                    <a:pt x="377" y="907"/>
                    <a:pt x="385" y="907"/>
                  </a:cubicBezTo>
                  <a:cubicBezTo>
                    <a:pt x="394" y="907"/>
                    <a:pt x="402" y="910"/>
                    <a:pt x="408" y="915"/>
                  </a:cubicBezTo>
                  <a:cubicBezTo>
                    <a:pt x="415" y="922"/>
                    <a:pt x="419" y="931"/>
                    <a:pt x="419" y="941"/>
                  </a:cubicBezTo>
                  <a:close/>
                  <a:moveTo>
                    <a:pt x="862" y="929"/>
                  </a:moveTo>
                  <a:cubicBezTo>
                    <a:pt x="862" y="921"/>
                    <a:pt x="865" y="913"/>
                    <a:pt x="870" y="907"/>
                  </a:cubicBezTo>
                  <a:cubicBezTo>
                    <a:pt x="876" y="900"/>
                    <a:pt x="886" y="895"/>
                    <a:pt x="896" y="895"/>
                  </a:cubicBezTo>
                  <a:cubicBezTo>
                    <a:pt x="914" y="895"/>
                    <a:pt x="930" y="911"/>
                    <a:pt x="930" y="929"/>
                  </a:cubicBezTo>
                  <a:cubicBezTo>
                    <a:pt x="930" y="948"/>
                    <a:pt x="914" y="963"/>
                    <a:pt x="896" y="963"/>
                  </a:cubicBezTo>
                  <a:cubicBezTo>
                    <a:pt x="886" y="963"/>
                    <a:pt x="876" y="959"/>
                    <a:pt x="870" y="952"/>
                  </a:cubicBezTo>
                  <a:cubicBezTo>
                    <a:pt x="865" y="946"/>
                    <a:pt x="862" y="938"/>
                    <a:pt x="862" y="929"/>
                  </a:cubicBezTo>
                  <a:close/>
                  <a:moveTo>
                    <a:pt x="794" y="635"/>
                  </a:moveTo>
                  <a:cubicBezTo>
                    <a:pt x="794" y="626"/>
                    <a:pt x="797" y="618"/>
                    <a:pt x="802" y="612"/>
                  </a:cubicBezTo>
                  <a:cubicBezTo>
                    <a:pt x="808" y="605"/>
                    <a:pt x="818" y="601"/>
                    <a:pt x="828" y="601"/>
                  </a:cubicBezTo>
                  <a:cubicBezTo>
                    <a:pt x="838" y="601"/>
                    <a:pt x="847" y="605"/>
                    <a:pt x="853" y="612"/>
                  </a:cubicBezTo>
                  <a:cubicBezTo>
                    <a:pt x="858" y="618"/>
                    <a:pt x="862" y="626"/>
                    <a:pt x="862" y="635"/>
                  </a:cubicBezTo>
                  <a:cubicBezTo>
                    <a:pt x="862" y="643"/>
                    <a:pt x="858" y="651"/>
                    <a:pt x="853" y="657"/>
                  </a:cubicBezTo>
                  <a:cubicBezTo>
                    <a:pt x="847" y="664"/>
                    <a:pt x="838" y="669"/>
                    <a:pt x="828" y="669"/>
                  </a:cubicBezTo>
                  <a:cubicBezTo>
                    <a:pt x="818" y="669"/>
                    <a:pt x="808" y="664"/>
                    <a:pt x="802" y="657"/>
                  </a:cubicBezTo>
                  <a:cubicBezTo>
                    <a:pt x="797" y="651"/>
                    <a:pt x="794" y="643"/>
                    <a:pt x="794" y="635"/>
                  </a:cubicBezTo>
                  <a:close/>
                </a:path>
              </a:pathLst>
            </a:custGeom>
            <a:solidFill>
              <a:srgbClr val="0F8287"/>
            </a:solidFill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000">
                <a:solidFill>
                  <a:srgbClr val="000000"/>
                </a:solidFill>
              </a:endParaRPr>
            </a:p>
          </p:txBody>
        </p:sp>
        <p:grpSp>
          <p:nvGrpSpPr>
            <p:cNvPr id="884" name="Group 883">
              <a:extLst>
                <a:ext uri="{FF2B5EF4-FFF2-40B4-BE49-F238E27FC236}">
                  <a16:creationId xmlns:a16="http://schemas.microsoft.com/office/drawing/2014/main" id="{1F295532-965B-9484-0A9B-29274579D021}"/>
                </a:ext>
              </a:extLst>
            </p:cNvPr>
            <p:cNvGrpSpPr/>
            <p:nvPr/>
          </p:nvGrpSpPr>
          <p:grpSpPr>
            <a:xfrm>
              <a:off x="7415315" y="5707614"/>
              <a:ext cx="395155" cy="274521"/>
              <a:chOff x="7794093" y="5609501"/>
              <a:chExt cx="378039" cy="259077"/>
            </a:xfrm>
          </p:grpSpPr>
          <p:sp>
            <p:nvSpPr>
              <p:cNvPr id="885" name="Freeform 62">
                <a:extLst>
                  <a:ext uri="{FF2B5EF4-FFF2-40B4-BE49-F238E27FC236}">
                    <a16:creationId xmlns:a16="http://schemas.microsoft.com/office/drawing/2014/main" id="{2921A665-FEDF-7E65-D010-45A08C0788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94093" y="5609501"/>
                <a:ext cx="378039" cy="244233"/>
              </a:xfrm>
              <a:custGeom>
                <a:avLst/>
                <a:gdLst>
                  <a:gd name="T0" fmla="*/ 121 w 890"/>
                  <a:gd name="T1" fmla="*/ 575 h 575"/>
                  <a:gd name="T2" fmla="*/ 709 w 890"/>
                  <a:gd name="T3" fmla="*/ 575 h 575"/>
                  <a:gd name="T4" fmla="*/ 884 w 890"/>
                  <a:gd name="T5" fmla="*/ 407 h 575"/>
                  <a:gd name="T6" fmla="*/ 720 w 890"/>
                  <a:gd name="T7" fmla="*/ 214 h 575"/>
                  <a:gd name="T8" fmla="*/ 497 w 890"/>
                  <a:gd name="T9" fmla="*/ 8 h 575"/>
                  <a:gd name="T10" fmla="*/ 275 w 890"/>
                  <a:gd name="T11" fmla="*/ 160 h 575"/>
                  <a:gd name="T12" fmla="*/ 105 w 890"/>
                  <a:gd name="T13" fmla="*/ 323 h 575"/>
                  <a:gd name="T14" fmla="*/ 0 w 890"/>
                  <a:gd name="T15" fmla="*/ 438 h 575"/>
                  <a:gd name="T16" fmla="*/ 121 w 890"/>
                  <a:gd name="T17" fmla="*/ 575 h 5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90" h="575">
                    <a:moveTo>
                      <a:pt x="121" y="575"/>
                    </a:moveTo>
                    <a:cubicBezTo>
                      <a:pt x="709" y="575"/>
                      <a:pt x="709" y="575"/>
                      <a:pt x="709" y="575"/>
                    </a:cubicBezTo>
                    <a:cubicBezTo>
                      <a:pt x="884" y="570"/>
                      <a:pt x="884" y="407"/>
                      <a:pt x="884" y="407"/>
                    </a:cubicBezTo>
                    <a:cubicBezTo>
                      <a:pt x="890" y="222"/>
                      <a:pt x="720" y="214"/>
                      <a:pt x="720" y="214"/>
                    </a:cubicBezTo>
                    <a:cubicBezTo>
                      <a:pt x="681" y="0"/>
                      <a:pt x="497" y="8"/>
                      <a:pt x="497" y="8"/>
                    </a:cubicBezTo>
                    <a:cubicBezTo>
                      <a:pt x="325" y="8"/>
                      <a:pt x="275" y="160"/>
                      <a:pt x="275" y="160"/>
                    </a:cubicBezTo>
                    <a:cubicBezTo>
                      <a:pt x="97" y="160"/>
                      <a:pt x="105" y="323"/>
                      <a:pt x="105" y="323"/>
                    </a:cubicBezTo>
                    <a:cubicBezTo>
                      <a:pt x="0" y="340"/>
                      <a:pt x="0" y="438"/>
                      <a:pt x="0" y="438"/>
                    </a:cubicBezTo>
                    <a:cubicBezTo>
                      <a:pt x="0" y="568"/>
                      <a:pt x="121" y="575"/>
                      <a:pt x="121" y="575"/>
                    </a:cubicBezTo>
                    <a:close/>
                  </a:path>
                </a:pathLst>
              </a:custGeom>
              <a:solidFill>
                <a:srgbClr val="0F8287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>
                  <a:solidFill>
                    <a:srgbClr val="000000"/>
                  </a:solidFill>
                </a:endParaRPr>
              </a:p>
            </p:txBody>
          </p:sp>
          <p:pic>
            <p:nvPicPr>
              <p:cNvPr id="886" name="Graphic 885" descr="Single gear">
                <a:extLst>
                  <a:ext uri="{FF2B5EF4-FFF2-40B4-BE49-F238E27FC236}">
                    <a16:creationId xmlns:a16="http://schemas.microsoft.com/office/drawing/2014/main" id="{1A41FFFE-0722-B7E4-5DDB-490E1FD41C9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7872121" y="5631527"/>
                <a:ext cx="237051" cy="237051"/>
              </a:xfrm>
              <a:prstGeom prst="rect">
                <a:avLst/>
              </a:prstGeom>
            </p:spPr>
          </p:pic>
        </p:grpSp>
      </p:grpSp>
      <p:sp>
        <p:nvSpPr>
          <p:cNvPr id="888" name="Rectangle 887">
            <a:extLst>
              <a:ext uri="{FF2B5EF4-FFF2-40B4-BE49-F238E27FC236}">
                <a16:creationId xmlns:a16="http://schemas.microsoft.com/office/drawing/2014/main" id="{EE89D401-FBFC-B801-C7EC-1AAF9EF591B9}"/>
              </a:ext>
            </a:extLst>
          </p:cNvPr>
          <p:cNvSpPr/>
          <p:nvPr/>
        </p:nvSpPr>
        <p:spPr>
          <a:xfrm>
            <a:off x="4027082" y="3672514"/>
            <a:ext cx="998648" cy="293448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0" h="0"/>
          </a:sp3d>
        </p:spPr>
        <p:txBody>
          <a:bodyPr anchor="ctr"/>
          <a:lstStyle/>
          <a:p>
            <a:pPr algn="ctr" defTabSz="913486">
              <a:defRPr/>
            </a:pPr>
            <a:r>
              <a:rPr lang="en-US" sz="999" kern="0" dirty="0">
                <a:solidFill>
                  <a:srgbClr val="FFFFFF"/>
                </a:solidFill>
                <a:cs typeface="Arial" charset="0"/>
              </a:rPr>
              <a:t>Validation</a:t>
            </a:r>
          </a:p>
        </p:txBody>
      </p:sp>
      <p:sp>
        <p:nvSpPr>
          <p:cNvPr id="889" name="Rectangle 888">
            <a:extLst>
              <a:ext uri="{FF2B5EF4-FFF2-40B4-BE49-F238E27FC236}">
                <a16:creationId xmlns:a16="http://schemas.microsoft.com/office/drawing/2014/main" id="{E8C7B06F-F61F-1234-E6D5-D32BEA915465}"/>
              </a:ext>
            </a:extLst>
          </p:cNvPr>
          <p:cNvSpPr/>
          <p:nvPr/>
        </p:nvSpPr>
        <p:spPr bwMode="auto">
          <a:xfrm>
            <a:off x="114538" y="2821349"/>
            <a:ext cx="5776877" cy="2827655"/>
          </a:xfrm>
          <a:prstGeom prst="rect">
            <a:avLst/>
          </a:prstGeom>
          <a:noFill/>
          <a:ln w="69850" cap="flat" cmpd="sng" algn="ctr">
            <a:solidFill>
              <a:srgbClr val="9933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endParaRPr lang="en-US" sz="1399" b="1" i="1">
              <a:latin typeface="Times New Roman" pitchFamily="18" charset="0"/>
            </a:endParaRPr>
          </a:p>
        </p:txBody>
      </p:sp>
      <p:sp>
        <p:nvSpPr>
          <p:cNvPr id="891" name="Arrow: Right 890">
            <a:extLst>
              <a:ext uri="{FF2B5EF4-FFF2-40B4-BE49-F238E27FC236}">
                <a16:creationId xmlns:a16="http://schemas.microsoft.com/office/drawing/2014/main" id="{B882F132-AB89-FB91-E31A-E0B6A56DA7F9}"/>
              </a:ext>
            </a:extLst>
          </p:cNvPr>
          <p:cNvSpPr/>
          <p:nvPr/>
        </p:nvSpPr>
        <p:spPr bwMode="auto">
          <a:xfrm rot="5400000" flipH="1">
            <a:off x="702790" y="2462450"/>
            <a:ext cx="345380" cy="611035"/>
          </a:xfrm>
          <a:prstGeom prst="rightArrow">
            <a:avLst>
              <a:gd name="adj1" fmla="val 50000"/>
              <a:gd name="adj2" fmla="val 46765"/>
            </a:avLst>
          </a:prstGeom>
          <a:solidFill>
            <a:srgbClr val="FF0000"/>
          </a:solidFill>
          <a:ln w="698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endParaRPr lang="en-US" sz="1399" b="1" i="1">
              <a:latin typeface="Times New Roman" pitchFamily="18" charset="0"/>
            </a:endParaRPr>
          </a:p>
        </p:txBody>
      </p:sp>
      <p:sp>
        <p:nvSpPr>
          <p:cNvPr id="892" name="Arrow: Right 891">
            <a:extLst>
              <a:ext uri="{FF2B5EF4-FFF2-40B4-BE49-F238E27FC236}">
                <a16:creationId xmlns:a16="http://schemas.microsoft.com/office/drawing/2014/main" id="{61BF1040-A6D6-5D62-DE69-7B6E67B8AAA3}"/>
              </a:ext>
            </a:extLst>
          </p:cNvPr>
          <p:cNvSpPr/>
          <p:nvPr/>
        </p:nvSpPr>
        <p:spPr bwMode="auto">
          <a:xfrm rot="5400000" flipH="1">
            <a:off x="3470802" y="2478013"/>
            <a:ext cx="345380" cy="611035"/>
          </a:xfrm>
          <a:prstGeom prst="rightArrow">
            <a:avLst>
              <a:gd name="adj1" fmla="val 50000"/>
              <a:gd name="adj2" fmla="val 46765"/>
            </a:avLst>
          </a:prstGeom>
          <a:solidFill>
            <a:srgbClr val="FF0000"/>
          </a:solidFill>
          <a:ln w="698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endParaRPr lang="en-US" sz="1399" b="1" i="1">
              <a:latin typeface="Times New Roman" pitchFamily="18" charset="0"/>
            </a:endParaRPr>
          </a:p>
        </p:txBody>
      </p:sp>
      <p:sp>
        <p:nvSpPr>
          <p:cNvPr id="893" name="Arrow: Right 892">
            <a:extLst>
              <a:ext uri="{FF2B5EF4-FFF2-40B4-BE49-F238E27FC236}">
                <a16:creationId xmlns:a16="http://schemas.microsoft.com/office/drawing/2014/main" id="{92D02419-E179-A4F6-B61B-5BDD6D3EDDAA}"/>
              </a:ext>
            </a:extLst>
          </p:cNvPr>
          <p:cNvSpPr/>
          <p:nvPr/>
        </p:nvSpPr>
        <p:spPr bwMode="auto">
          <a:xfrm rot="5400000" flipH="1">
            <a:off x="2745326" y="4441217"/>
            <a:ext cx="345380" cy="611035"/>
          </a:xfrm>
          <a:prstGeom prst="rightArrow">
            <a:avLst>
              <a:gd name="adj1" fmla="val 50000"/>
              <a:gd name="adj2" fmla="val 46765"/>
            </a:avLst>
          </a:prstGeom>
          <a:solidFill>
            <a:srgbClr val="FF0000"/>
          </a:solidFill>
          <a:ln w="698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endParaRPr lang="en-US" sz="1399" b="1" i="1">
              <a:latin typeface="Times New Roman" pitchFamily="18" charset="0"/>
            </a:endParaRPr>
          </a:p>
        </p:txBody>
      </p:sp>
      <p:sp>
        <p:nvSpPr>
          <p:cNvPr id="897" name="TextBox 896">
            <a:extLst>
              <a:ext uri="{FF2B5EF4-FFF2-40B4-BE49-F238E27FC236}">
                <a16:creationId xmlns:a16="http://schemas.microsoft.com/office/drawing/2014/main" id="{0330A5FE-5884-7614-E5D4-BA311DFCCA8B}"/>
              </a:ext>
            </a:extLst>
          </p:cNvPr>
          <p:cNvSpPr txBox="1"/>
          <p:nvPr/>
        </p:nvSpPr>
        <p:spPr>
          <a:xfrm>
            <a:off x="5927782" y="1448780"/>
            <a:ext cx="6084922" cy="4062651"/>
          </a:xfrm>
          <a:prstGeom prst="rect">
            <a:avLst/>
          </a:prstGeom>
          <a:noFill/>
          <a:ln>
            <a:solidFill>
              <a:schemeClr val="accent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Excellent analytical skill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Thorough knowledge of physical database design and data structur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In-depth understanding of data management (e.g. permissions, recovery, security and monitoring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bility to recognize relationship between data element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Knowledge of database objects including tables, indexes, views and statistic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Knowledge of </a:t>
            </a:r>
            <a:r>
              <a:rPr lang="en-US" sz="1200" b="1" dirty="0">
                <a:solidFill>
                  <a:schemeClr val="tx1"/>
                </a:solidFill>
              </a:rPr>
              <a:t>ETL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chemeClr val="tx1"/>
                </a:solidFill>
              </a:rPr>
              <a:t>BI tool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ficiency in SQL with ability to write complex SQL queries and other featur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Troubleshooting any issues that arise with new database applications, and providing solutions to implemen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pplying technical design and development skills to the creation of database program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alyzing existing databases and data needs of clients to develop effective system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Using knowledge of specific programming languages and cod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ollowing implementation processes for new databas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C89DD2C9-6CE6-98AA-DBDB-6D0AECF9AD68}"/>
              </a:ext>
            </a:extLst>
          </p:cNvPr>
          <p:cNvSpPr txBox="1">
            <a:spLocks/>
          </p:cNvSpPr>
          <p:nvPr/>
        </p:nvSpPr>
        <p:spPr>
          <a:xfrm>
            <a:off x="2487295" y="14010"/>
            <a:ext cx="7223760" cy="108874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100" b="1" kern="1200">
                <a:solidFill>
                  <a:srgbClr val="002060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000" b="1" dirty="0"/>
              <a:t>DATA</a:t>
            </a:r>
            <a:endParaRPr lang="en-US" sz="2800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36895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25">
            <a:extLst>
              <a:ext uri="{FF2B5EF4-FFF2-40B4-BE49-F238E27FC236}">
                <a16:creationId xmlns:a16="http://schemas.microsoft.com/office/drawing/2014/main" id="{B3D1A60B-3678-406A-C641-FAAB08A753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7109" y="1551208"/>
            <a:ext cx="11020697" cy="4648414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1588372-5365-BDC8-F916-D1F7BC003FE8}"/>
              </a:ext>
            </a:extLst>
          </p:cNvPr>
          <p:cNvSpPr/>
          <p:nvPr/>
        </p:nvSpPr>
        <p:spPr bwMode="auto">
          <a:xfrm>
            <a:off x="648974" y="5711553"/>
            <a:ext cx="6970101" cy="93711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1799" kern="0" dirty="0" err="1">
              <a:solidFill>
                <a:srgbClr val="000000"/>
              </a:solidFill>
            </a:endParaRPr>
          </a:p>
        </p:txBody>
      </p:sp>
      <p:sp>
        <p:nvSpPr>
          <p:cNvPr id="787" name="Text Box 73">
            <a:extLst>
              <a:ext uri="{FF2B5EF4-FFF2-40B4-BE49-F238E27FC236}">
                <a16:creationId xmlns:a16="http://schemas.microsoft.com/office/drawing/2014/main" id="{9665CDBE-4993-2951-4073-A53518BB87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584" y="1426463"/>
            <a:ext cx="1560460" cy="1300999"/>
          </a:xfrm>
          <a:prstGeom prst="rect">
            <a:avLst/>
          </a:prstGeom>
          <a:solidFill>
            <a:srgbClr val="0F8287"/>
          </a:solidFill>
          <a:ln w="19050">
            <a:noFill/>
          </a:ln>
          <a:effectLst/>
        </p:spPr>
        <p:txBody>
          <a:bodyPr lIns="913448" tIns="71926" rIns="182690" bIns="71926" rtlCol="0" anchor="t" anchorCtr="0"/>
          <a:lstStyle>
            <a:defPPr>
              <a:defRPr lang="de-DE"/>
            </a:defPPr>
            <a:lvl1pPr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 sz="900" b="1">
                <a:solidFill>
                  <a:schemeClr val="bg1"/>
                </a:solidFill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defTabSz="913486">
              <a:buClr>
                <a:srgbClr val="FFFFFF"/>
              </a:buClr>
              <a:defRPr/>
            </a:pPr>
            <a:endParaRPr lang="en-US" altLang="en-US" dirty="0">
              <a:solidFill>
                <a:srgbClr val="FFFFFF"/>
              </a:solidFill>
            </a:endParaRPr>
          </a:p>
        </p:txBody>
      </p:sp>
      <p:sp>
        <p:nvSpPr>
          <p:cNvPr id="788" name="Rectangle 787">
            <a:extLst>
              <a:ext uri="{FF2B5EF4-FFF2-40B4-BE49-F238E27FC236}">
                <a16:creationId xmlns:a16="http://schemas.microsoft.com/office/drawing/2014/main" id="{934B2BE4-8BF6-4D16-DFE1-DAB3DE2201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84242" y="1433258"/>
            <a:ext cx="4152690" cy="1294986"/>
          </a:xfrm>
          <a:prstGeom prst="rect">
            <a:avLst/>
          </a:prstGeom>
          <a:solidFill>
            <a:srgbClr val="AAB414"/>
          </a:solidFill>
          <a:ln w="19050">
            <a:noFill/>
          </a:ln>
          <a:effectLst/>
        </p:spPr>
        <p:txBody>
          <a:bodyPr lIns="913448" tIns="71926" rIns="182690" bIns="71926" rtlCol="0" anchor="t" anchorCtr="0"/>
          <a:lstStyle/>
          <a:p>
            <a:pPr defTabSz="913486">
              <a:buClr>
                <a:srgbClr val="FFFFFF"/>
              </a:buClr>
              <a:defRPr/>
            </a:pPr>
            <a:endParaRPr lang="en-US" sz="1798" dirty="0">
              <a:solidFill>
                <a:srgbClr val="ADBECB"/>
              </a:solidFill>
            </a:endParaRPr>
          </a:p>
        </p:txBody>
      </p:sp>
      <p:sp>
        <p:nvSpPr>
          <p:cNvPr id="789" name="Rectangle 3">
            <a:extLst>
              <a:ext uri="{FF2B5EF4-FFF2-40B4-BE49-F238E27FC236}">
                <a16:creationId xmlns:a16="http://schemas.microsoft.com/office/drawing/2014/main" id="{31FD8E12-497D-5BA1-808A-EAD117273C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567" y="2766361"/>
            <a:ext cx="5755364" cy="1240541"/>
          </a:xfrm>
          <a:prstGeom prst="rect">
            <a:avLst/>
          </a:prstGeom>
          <a:solidFill>
            <a:srgbClr val="41AAC8"/>
          </a:solidFill>
          <a:ln w="19050">
            <a:noFill/>
          </a:ln>
          <a:effectLst/>
        </p:spPr>
        <p:txBody>
          <a:bodyPr lIns="913448" tIns="71926" rIns="182690" bIns="71926" rtlCol="0" anchor="t" anchorCtr="0"/>
          <a:lstStyle/>
          <a:p>
            <a:pPr defTabSz="913486">
              <a:buClr>
                <a:srgbClr val="FFFFFF"/>
              </a:buClr>
              <a:defRPr/>
            </a:pPr>
            <a:endParaRPr lang="en-US" sz="900" b="1" dirty="0">
              <a:solidFill>
                <a:srgbClr val="FFFFFF"/>
              </a:solidFill>
            </a:endParaRPr>
          </a:p>
        </p:txBody>
      </p:sp>
      <p:sp>
        <p:nvSpPr>
          <p:cNvPr id="795" name="Text Box 132">
            <a:extLst>
              <a:ext uri="{FF2B5EF4-FFF2-40B4-BE49-F238E27FC236}">
                <a16:creationId xmlns:a16="http://schemas.microsoft.com/office/drawing/2014/main" id="{8C610D4F-6208-6AD4-5B70-F0F4FFE286C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569" y="4057771"/>
            <a:ext cx="5768327" cy="638518"/>
          </a:xfrm>
          <a:prstGeom prst="rect">
            <a:avLst/>
          </a:prstGeom>
          <a:solidFill>
            <a:srgbClr val="2387AA"/>
          </a:solidFill>
          <a:ln w="19050">
            <a:noFill/>
          </a:ln>
          <a:effectLst/>
        </p:spPr>
        <p:txBody>
          <a:bodyPr lIns="913448" tIns="71926" rIns="182690" bIns="71926" rtlCol="0" anchor="ctr" anchorCtr="0"/>
          <a:lstStyle>
            <a:defPPr>
              <a:defRPr lang="de-DE"/>
            </a:defPPr>
            <a:lvl1pPr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 sz="900" b="1">
                <a:solidFill>
                  <a:schemeClr val="bg1"/>
                </a:solidFill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ctr" defTabSz="913486">
              <a:spcAft>
                <a:spcPts val="600"/>
              </a:spcAft>
              <a:buClr>
                <a:srgbClr val="FFFFFF"/>
              </a:buClr>
              <a:defRPr/>
            </a:pPr>
            <a:endParaRPr lang="en-US" altLang="en-US" sz="1298" dirty="0">
              <a:solidFill>
                <a:srgbClr val="FFFFFF"/>
              </a:solidFill>
            </a:endParaRPr>
          </a:p>
        </p:txBody>
      </p:sp>
      <p:sp>
        <p:nvSpPr>
          <p:cNvPr id="798" name="TextBox 797">
            <a:extLst>
              <a:ext uri="{FF2B5EF4-FFF2-40B4-BE49-F238E27FC236}">
                <a16:creationId xmlns:a16="http://schemas.microsoft.com/office/drawing/2014/main" id="{CE78A131-0086-9871-A9FF-20A8BA61CD37}"/>
              </a:ext>
            </a:extLst>
          </p:cNvPr>
          <p:cNvSpPr txBox="1"/>
          <p:nvPr/>
        </p:nvSpPr>
        <p:spPr bwMode="auto">
          <a:xfrm>
            <a:off x="4568723" y="1669413"/>
            <a:ext cx="1464924" cy="35362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defTabSz="913449">
              <a:lnSpc>
                <a:spcPct val="90000"/>
              </a:lnSpc>
              <a:defRPr/>
            </a:pPr>
            <a:r>
              <a:rPr lang="en-US" sz="999" b="1" dirty="0">
                <a:solidFill>
                  <a:srgbClr val="FFFFFF"/>
                </a:solidFill>
                <a:ea typeface="Segoe UI" pitchFamily="34" charset="0"/>
                <a:cs typeface="Segoe UI" pitchFamily="34" charset="0"/>
              </a:rPr>
              <a:t>Visual Tile </a:t>
            </a:r>
          </a:p>
          <a:p>
            <a:pPr algn="ctr" defTabSz="913449">
              <a:lnSpc>
                <a:spcPct val="90000"/>
              </a:lnSpc>
              <a:defRPr/>
            </a:pPr>
            <a:r>
              <a:rPr lang="en-US" sz="999" b="1" dirty="0">
                <a:solidFill>
                  <a:srgbClr val="FFFFFF"/>
                </a:solidFill>
                <a:ea typeface="Segoe UI" pitchFamily="34" charset="0"/>
                <a:cs typeface="Segoe UI" pitchFamily="34" charset="0"/>
              </a:rPr>
              <a:t>Composer</a:t>
            </a:r>
          </a:p>
        </p:txBody>
      </p:sp>
      <p:sp>
        <p:nvSpPr>
          <p:cNvPr id="800" name="Rectangle 799">
            <a:extLst>
              <a:ext uri="{FF2B5EF4-FFF2-40B4-BE49-F238E27FC236}">
                <a16:creationId xmlns:a16="http://schemas.microsoft.com/office/drawing/2014/main" id="{B86D3638-97C9-81C1-7BF9-C4B4A0E5F004}"/>
              </a:ext>
            </a:extLst>
          </p:cNvPr>
          <p:cNvSpPr/>
          <p:nvPr/>
        </p:nvSpPr>
        <p:spPr>
          <a:xfrm>
            <a:off x="2462836" y="3660915"/>
            <a:ext cx="998648" cy="293448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0" h="0"/>
          </a:sp3d>
        </p:spPr>
        <p:txBody>
          <a:bodyPr anchor="ctr"/>
          <a:lstStyle/>
          <a:p>
            <a:pPr algn="ctr" defTabSz="913486">
              <a:defRPr/>
            </a:pPr>
            <a:r>
              <a:rPr lang="en-US" sz="999" kern="0" dirty="0">
                <a:solidFill>
                  <a:srgbClr val="FFFFFF"/>
                </a:solidFill>
                <a:cs typeface="Arial" charset="0"/>
              </a:rPr>
              <a:t>Caching</a:t>
            </a:r>
          </a:p>
        </p:txBody>
      </p:sp>
      <p:sp>
        <p:nvSpPr>
          <p:cNvPr id="801" name="Rectangle 800">
            <a:extLst>
              <a:ext uri="{FF2B5EF4-FFF2-40B4-BE49-F238E27FC236}">
                <a16:creationId xmlns:a16="http://schemas.microsoft.com/office/drawing/2014/main" id="{8771A6AE-5843-36AC-CDE7-EEC4938C9151}"/>
              </a:ext>
            </a:extLst>
          </p:cNvPr>
          <p:cNvSpPr/>
          <p:nvPr/>
        </p:nvSpPr>
        <p:spPr>
          <a:xfrm>
            <a:off x="3221595" y="3660915"/>
            <a:ext cx="998648" cy="293448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0" h="0"/>
          </a:sp3d>
        </p:spPr>
        <p:txBody>
          <a:bodyPr anchor="ctr"/>
          <a:lstStyle/>
          <a:p>
            <a:pPr algn="ctr" defTabSz="913486">
              <a:defRPr/>
            </a:pPr>
            <a:r>
              <a:rPr lang="en-US" sz="999" kern="0" dirty="0">
                <a:solidFill>
                  <a:srgbClr val="FFFFFF"/>
                </a:solidFill>
                <a:cs typeface="Arial" charset="0"/>
              </a:rPr>
              <a:t>Modeling</a:t>
            </a:r>
          </a:p>
        </p:txBody>
      </p:sp>
      <p:sp>
        <p:nvSpPr>
          <p:cNvPr id="805" name="TextBox 804">
            <a:extLst>
              <a:ext uri="{FF2B5EF4-FFF2-40B4-BE49-F238E27FC236}">
                <a16:creationId xmlns:a16="http://schemas.microsoft.com/office/drawing/2014/main" id="{4E22E77A-DA41-3223-61CA-94FC58D055F3}"/>
              </a:ext>
            </a:extLst>
          </p:cNvPr>
          <p:cNvSpPr txBox="1"/>
          <p:nvPr/>
        </p:nvSpPr>
        <p:spPr bwMode="auto">
          <a:xfrm>
            <a:off x="2888268" y="1851579"/>
            <a:ext cx="971653" cy="14154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defTabSz="913449">
              <a:lnSpc>
                <a:spcPct val="90000"/>
              </a:lnSpc>
              <a:defRPr/>
            </a:pPr>
            <a:r>
              <a:rPr lang="en-US" sz="999" b="1" dirty="0">
                <a:solidFill>
                  <a:srgbClr val="FFFFFF"/>
                </a:solidFill>
                <a:ea typeface="Segoe UI" pitchFamily="34" charset="0"/>
                <a:cs typeface="Segoe UI" pitchFamily="34" charset="0"/>
              </a:rPr>
              <a:t>Solution Viewer</a:t>
            </a:r>
          </a:p>
        </p:txBody>
      </p:sp>
      <p:pic>
        <p:nvPicPr>
          <p:cNvPr id="809" name="Graphic 808">
            <a:extLst>
              <a:ext uri="{FF2B5EF4-FFF2-40B4-BE49-F238E27FC236}">
                <a16:creationId xmlns:a16="http://schemas.microsoft.com/office/drawing/2014/main" id="{FC94B730-98D5-0AB8-FD10-BFD97ADFEC5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649575" y="3174610"/>
            <a:ext cx="414610" cy="386969"/>
          </a:xfrm>
          <a:prstGeom prst="rect">
            <a:avLst/>
          </a:prstGeom>
        </p:spPr>
      </p:pic>
      <p:pic>
        <p:nvPicPr>
          <p:cNvPr id="810" name="Graphic 809">
            <a:extLst>
              <a:ext uri="{FF2B5EF4-FFF2-40B4-BE49-F238E27FC236}">
                <a16:creationId xmlns:a16="http://schemas.microsoft.com/office/drawing/2014/main" id="{0598AE5D-EB46-ED2A-0D2E-7EFE7BC5ADB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440934" y="3171074"/>
            <a:ext cx="339178" cy="399897"/>
          </a:xfrm>
          <a:prstGeom prst="rect">
            <a:avLst/>
          </a:prstGeom>
        </p:spPr>
      </p:pic>
      <p:pic>
        <p:nvPicPr>
          <p:cNvPr id="813" name="Graphic 812">
            <a:extLst>
              <a:ext uri="{FF2B5EF4-FFF2-40B4-BE49-F238E27FC236}">
                <a16:creationId xmlns:a16="http://schemas.microsoft.com/office/drawing/2014/main" id="{7B7BB071-F6B1-3B12-FD33-E617397689FB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193476" y="3195698"/>
            <a:ext cx="377969" cy="412034"/>
          </a:xfrm>
          <a:prstGeom prst="rect">
            <a:avLst/>
          </a:prstGeom>
        </p:spPr>
      </p:pic>
      <p:sp>
        <p:nvSpPr>
          <p:cNvPr id="831" name="Freeform 32">
            <a:extLst>
              <a:ext uri="{FF2B5EF4-FFF2-40B4-BE49-F238E27FC236}">
                <a16:creationId xmlns:a16="http://schemas.microsoft.com/office/drawing/2014/main" id="{71DAD95B-6A88-9B84-43F5-71A4429D2E9B}"/>
              </a:ext>
            </a:extLst>
          </p:cNvPr>
          <p:cNvSpPr>
            <a:spLocks noEditPoints="1"/>
          </p:cNvSpPr>
          <p:nvPr/>
        </p:nvSpPr>
        <p:spPr bwMode="auto">
          <a:xfrm>
            <a:off x="3485990" y="2170975"/>
            <a:ext cx="196996" cy="352386"/>
          </a:xfrm>
          <a:custGeom>
            <a:avLst/>
            <a:gdLst>
              <a:gd name="T0" fmla="*/ 385 w 431"/>
              <a:gd name="T1" fmla="*/ 0 h 771"/>
              <a:gd name="T2" fmla="*/ 45 w 431"/>
              <a:gd name="T3" fmla="*/ 0 h 771"/>
              <a:gd name="T4" fmla="*/ 0 w 431"/>
              <a:gd name="T5" fmla="*/ 46 h 771"/>
              <a:gd name="T6" fmla="*/ 0 w 431"/>
              <a:gd name="T7" fmla="*/ 726 h 771"/>
              <a:gd name="T8" fmla="*/ 45 w 431"/>
              <a:gd name="T9" fmla="*/ 771 h 771"/>
              <a:gd name="T10" fmla="*/ 385 w 431"/>
              <a:gd name="T11" fmla="*/ 771 h 771"/>
              <a:gd name="T12" fmla="*/ 431 w 431"/>
              <a:gd name="T13" fmla="*/ 726 h 771"/>
              <a:gd name="T14" fmla="*/ 431 w 431"/>
              <a:gd name="T15" fmla="*/ 46 h 771"/>
              <a:gd name="T16" fmla="*/ 385 w 431"/>
              <a:gd name="T17" fmla="*/ 0 h 771"/>
              <a:gd name="T18" fmla="*/ 159 w 431"/>
              <a:gd name="T19" fmla="*/ 45 h 771"/>
              <a:gd name="T20" fmla="*/ 272 w 431"/>
              <a:gd name="T21" fmla="*/ 45 h 771"/>
              <a:gd name="T22" fmla="*/ 272 w 431"/>
              <a:gd name="T23" fmla="*/ 92 h 771"/>
              <a:gd name="T24" fmla="*/ 159 w 431"/>
              <a:gd name="T25" fmla="*/ 92 h 771"/>
              <a:gd name="T26" fmla="*/ 159 w 431"/>
              <a:gd name="T27" fmla="*/ 45 h 771"/>
              <a:gd name="T28" fmla="*/ 215 w 431"/>
              <a:gd name="T29" fmla="*/ 727 h 771"/>
              <a:gd name="T30" fmla="*/ 181 w 431"/>
              <a:gd name="T31" fmla="*/ 692 h 771"/>
              <a:gd name="T32" fmla="*/ 215 w 431"/>
              <a:gd name="T33" fmla="*/ 658 h 771"/>
              <a:gd name="T34" fmla="*/ 250 w 431"/>
              <a:gd name="T35" fmla="*/ 692 h 771"/>
              <a:gd name="T36" fmla="*/ 215 w 431"/>
              <a:gd name="T37" fmla="*/ 727 h 771"/>
              <a:gd name="T38" fmla="*/ 385 w 431"/>
              <a:gd name="T39" fmla="*/ 613 h 771"/>
              <a:gd name="T40" fmla="*/ 45 w 431"/>
              <a:gd name="T41" fmla="*/ 613 h 771"/>
              <a:gd name="T42" fmla="*/ 45 w 431"/>
              <a:gd name="T43" fmla="*/ 136 h 771"/>
              <a:gd name="T44" fmla="*/ 385 w 431"/>
              <a:gd name="T45" fmla="*/ 136 h 771"/>
              <a:gd name="T46" fmla="*/ 385 w 431"/>
              <a:gd name="T47" fmla="*/ 613 h 7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431" h="771">
                <a:moveTo>
                  <a:pt x="385" y="0"/>
                </a:moveTo>
                <a:cubicBezTo>
                  <a:pt x="45" y="0"/>
                  <a:pt x="45" y="0"/>
                  <a:pt x="45" y="0"/>
                </a:cubicBezTo>
                <a:cubicBezTo>
                  <a:pt x="20" y="0"/>
                  <a:pt x="0" y="21"/>
                  <a:pt x="0" y="46"/>
                </a:cubicBezTo>
                <a:cubicBezTo>
                  <a:pt x="0" y="726"/>
                  <a:pt x="0" y="726"/>
                  <a:pt x="0" y="726"/>
                </a:cubicBezTo>
                <a:cubicBezTo>
                  <a:pt x="0" y="751"/>
                  <a:pt x="20" y="771"/>
                  <a:pt x="45" y="771"/>
                </a:cubicBezTo>
                <a:cubicBezTo>
                  <a:pt x="385" y="771"/>
                  <a:pt x="385" y="771"/>
                  <a:pt x="385" y="771"/>
                </a:cubicBezTo>
                <a:cubicBezTo>
                  <a:pt x="410" y="771"/>
                  <a:pt x="431" y="751"/>
                  <a:pt x="431" y="726"/>
                </a:cubicBezTo>
                <a:cubicBezTo>
                  <a:pt x="431" y="46"/>
                  <a:pt x="431" y="46"/>
                  <a:pt x="431" y="46"/>
                </a:cubicBezTo>
                <a:cubicBezTo>
                  <a:pt x="431" y="21"/>
                  <a:pt x="410" y="0"/>
                  <a:pt x="385" y="0"/>
                </a:cubicBezTo>
                <a:close/>
                <a:moveTo>
                  <a:pt x="159" y="45"/>
                </a:moveTo>
                <a:cubicBezTo>
                  <a:pt x="272" y="45"/>
                  <a:pt x="272" y="45"/>
                  <a:pt x="272" y="45"/>
                </a:cubicBezTo>
                <a:cubicBezTo>
                  <a:pt x="272" y="92"/>
                  <a:pt x="272" y="92"/>
                  <a:pt x="272" y="92"/>
                </a:cubicBezTo>
                <a:cubicBezTo>
                  <a:pt x="159" y="92"/>
                  <a:pt x="159" y="92"/>
                  <a:pt x="159" y="92"/>
                </a:cubicBezTo>
                <a:lnTo>
                  <a:pt x="159" y="45"/>
                </a:lnTo>
                <a:close/>
                <a:moveTo>
                  <a:pt x="215" y="727"/>
                </a:moveTo>
                <a:cubicBezTo>
                  <a:pt x="196" y="727"/>
                  <a:pt x="181" y="712"/>
                  <a:pt x="181" y="692"/>
                </a:cubicBezTo>
                <a:cubicBezTo>
                  <a:pt x="181" y="673"/>
                  <a:pt x="196" y="658"/>
                  <a:pt x="215" y="658"/>
                </a:cubicBezTo>
                <a:cubicBezTo>
                  <a:pt x="234" y="658"/>
                  <a:pt x="250" y="673"/>
                  <a:pt x="250" y="692"/>
                </a:cubicBezTo>
                <a:cubicBezTo>
                  <a:pt x="250" y="712"/>
                  <a:pt x="234" y="727"/>
                  <a:pt x="215" y="727"/>
                </a:cubicBezTo>
                <a:close/>
                <a:moveTo>
                  <a:pt x="385" y="613"/>
                </a:moveTo>
                <a:cubicBezTo>
                  <a:pt x="45" y="613"/>
                  <a:pt x="45" y="613"/>
                  <a:pt x="45" y="613"/>
                </a:cubicBezTo>
                <a:cubicBezTo>
                  <a:pt x="45" y="136"/>
                  <a:pt x="45" y="136"/>
                  <a:pt x="45" y="136"/>
                </a:cubicBezTo>
                <a:cubicBezTo>
                  <a:pt x="385" y="136"/>
                  <a:pt x="385" y="136"/>
                  <a:pt x="385" y="136"/>
                </a:cubicBezTo>
                <a:lnTo>
                  <a:pt x="385" y="61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1799" kern="0">
              <a:solidFill>
                <a:srgbClr val="000000"/>
              </a:solidFill>
            </a:endParaRPr>
          </a:p>
        </p:txBody>
      </p:sp>
      <p:sp>
        <p:nvSpPr>
          <p:cNvPr id="832" name="Freeform 37">
            <a:extLst>
              <a:ext uri="{FF2B5EF4-FFF2-40B4-BE49-F238E27FC236}">
                <a16:creationId xmlns:a16="http://schemas.microsoft.com/office/drawing/2014/main" id="{C0C1FF50-11AF-7E89-B1F6-79738A209110}"/>
              </a:ext>
            </a:extLst>
          </p:cNvPr>
          <p:cNvSpPr>
            <a:spLocks noEditPoints="1"/>
          </p:cNvSpPr>
          <p:nvPr/>
        </p:nvSpPr>
        <p:spPr bwMode="auto">
          <a:xfrm rot="5400000">
            <a:off x="2825707" y="2125009"/>
            <a:ext cx="352386" cy="447683"/>
          </a:xfrm>
          <a:custGeom>
            <a:avLst/>
            <a:gdLst>
              <a:gd name="T0" fmla="*/ 0 w 839"/>
              <a:gd name="T1" fmla="*/ 46 h 1066"/>
              <a:gd name="T2" fmla="*/ 0 w 839"/>
              <a:gd name="T3" fmla="*/ 1021 h 1066"/>
              <a:gd name="T4" fmla="*/ 45 w 839"/>
              <a:gd name="T5" fmla="*/ 1066 h 1066"/>
              <a:gd name="T6" fmla="*/ 793 w 839"/>
              <a:gd name="T7" fmla="*/ 1066 h 1066"/>
              <a:gd name="T8" fmla="*/ 839 w 839"/>
              <a:gd name="T9" fmla="*/ 1021 h 1066"/>
              <a:gd name="T10" fmla="*/ 839 w 839"/>
              <a:gd name="T11" fmla="*/ 46 h 1066"/>
              <a:gd name="T12" fmla="*/ 793 w 839"/>
              <a:gd name="T13" fmla="*/ 0 h 1066"/>
              <a:gd name="T14" fmla="*/ 45 w 839"/>
              <a:gd name="T15" fmla="*/ 0 h 1066"/>
              <a:gd name="T16" fmla="*/ 0 w 839"/>
              <a:gd name="T17" fmla="*/ 46 h 1066"/>
              <a:gd name="T18" fmla="*/ 414 w 839"/>
              <a:gd name="T19" fmla="*/ 35 h 1066"/>
              <a:gd name="T20" fmla="*/ 441 w 839"/>
              <a:gd name="T21" fmla="*/ 62 h 1066"/>
              <a:gd name="T22" fmla="*/ 424 w 839"/>
              <a:gd name="T23" fmla="*/ 79 h 1066"/>
              <a:gd name="T24" fmla="*/ 397 w 839"/>
              <a:gd name="T25" fmla="*/ 52 h 1066"/>
              <a:gd name="T26" fmla="*/ 414 w 839"/>
              <a:gd name="T27" fmla="*/ 35 h 1066"/>
              <a:gd name="T28" fmla="*/ 427 w 839"/>
              <a:gd name="T29" fmla="*/ 1032 h 1066"/>
              <a:gd name="T30" fmla="*/ 374 w 839"/>
              <a:gd name="T31" fmla="*/ 979 h 1066"/>
              <a:gd name="T32" fmla="*/ 411 w 839"/>
              <a:gd name="T33" fmla="*/ 942 h 1066"/>
              <a:gd name="T34" fmla="*/ 464 w 839"/>
              <a:gd name="T35" fmla="*/ 995 h 1066"/>
              <a:gd name="T36" fmla="*/ 427 w 839"/>
              <a:gd name="T37" fmla="*/ 1032 h 1066"/>
              <a:gd name="T38" fmla="*/ 771 w 839"/>
              <a:gd name="T39" fmla="*/ 908 h 1066"/>
              <a:gd name="T40" fmla="*/ 68 w 839"/>
              <a:gd name="T41" fmla="*/ 908 h 1066"/>
              <a:gd name="T42" fmla="*/ 68 w 839"/>
              <a:gd name="T43" fmla="*/ 114 h 1066"/>
              <a:gd name="T44" fmla="*/ 771 w 839"/>
              <a:gd name="T45" fmla="*/ 114 h 1066"/>
              <a:gd name="T46" fmla="*/ 771 w 839"/>
              <a:gd name="T47" fmla="*/ 908 h 10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839" h="1066">
                <a:moveTo>
                  <a:pt x="0" y="46"/>
                </a:moveTo>
                <a:cubicBezTo>
                  <a:pt x="0" y="1021"/>
                  <a:pt x="0" y="1021"/>
                  <a:pt x="0" y="1021"/>
                </a:cubicBezTo>
                <a:cubicBezTo>
                  <a:pt x="0" y="1046"/>
                  <a:pt x="20" y="1066"/>
                  <a:pt x="45" y="1066"/>
                </a:cubicBezTo>
                <a:cubicBezTo>
                  <a:pt x="793" y="1066"/>
                  <a:pt x="793" y="1066"/>
                  <a:pt x="793" y="1066"/>
                </a:cubicBezTo>
                <a:cubicBezTo>
                  <a:pt x="818" y="1066"/>
                  <a:pt x="839" y="1046"/>
                  <a:pt x="839" y="1021"/>
                </a:cubicBezTo>
                <a:cubicBezTo>
                  <a:pt x="839" y="46"/>
                  <a:pt x="839" y="46"/>
                  <a:pt x="839" y="46"/>
                </a:cubicBezTo>
                <a:cubicBezTo>
                  <a:pt x="839" y="21"/>
                  <a:pt x="818" y="0"/>
                  <a:pt x="793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20" y="0"/>
                  <a:pt x="0" y="21"/>
                  <a:pt x="0" y="46"/>
                </a:cubicBezTo>
                <a:close/>
                <a:moveTo>
                  <a:pt x="414" y="35"/>
                </a:moveTo>
                <a:cubicBezTo>
                  <a:pt x="431" y="31"/>
                  <a:pt x="445" y="46"/>
                  <a:pt x="441" y="62"/>
                </a:cubicBezTo>
                <a:cubicBezTo>
                  <a:pt x="439" y="71"/>
                  <a:pt x="433" y="77"/>
                  <a:pt x="424" y="79"/>
                </a:cubicBezTo>
                <a:cubicBezTo>
                  <a:pt x="408" y="83"/>
                  <a:pt x="393" y="69"/>
                  <a:pt x="397" y="52"/>
                </a:cubicBezTo>
                <a:cubicBezTo>
                  <a:pt x="399" y="44"/>
                  <a:pt x="406" y="37"/>
                  <a:pt x="414" y="35"/>
                </a:cubicBezTo>
                <a:close/>
                <a:moveTo>
                  <a:pt x="427" y="1032"/>
                </a:moveTo>
                <a:cubicBezTo>
                  <a:pt x="396" y="1037"/>
                  <a:pt x="369" y="1010"/>
                  <a:pt x="374" y="979"/>
                </a:cubicBezTo>
                <a:cubicBezTo>
                  <a:pt x="378" y="960"/>
                  <a:pt x="393" y="945"/>
                  <a:pt x="411" y="942"/>
                </a:cubicBezTo>
                <a:cubicBezTo>
                  <a:pt x="442" y="937"/>
                  <a:pt x="469" y="964"/>
                  <a:pt x="464" y="995"/>
                </a:cubicBezTo>
                <a:cubicBezTo>
                  <a:pt x="461" y="1013"/>
                  <a:pt x="446" y="1029"/>
                  <a:pt x="427" y="1032"/>
                </a:cubicBezTo>
                <a:close/>
                <a:moveTo>
                  <a:pt x="771" y="908"/>
                </a:moveTo>
                <a:cubicBezTo>
                  <a:pt x="68" y="908"/>
                  <a:pt x="68" y="908"/>
                  <a:pt x="68" y="908"/>
                </a:cubicBezTo>
                <a:cubicBezTo>
                  <a:pt x="68" y="114"/>
                  <a:pt x="68" y="114"/>
                  <a:pt x="68" y="114"/>
                </a:cubicBezTo>
                <a:cubicBezTo>
                  <a:pt x="771" y="114"/>
                  <a:pt x="771" y="114"/>
                  <a:pt x="771" y="114"/>
                </a:cubicBezTo>
                <a:lnTo>
                  <a:pt x="771" y="90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1799" kern="0">
              <a:solidFill>
                <a:srgbClr val="000000"/>
              </a:solidFill>
            </a:endParaRPr>
          </a:p>
        </p:txBody>
      </p:sp>
      <p:sp>
        <p:nvSpPr>
          <p:cNvPr id="833" name="Freeform 47">
            <a:extLst>
              <a:ext uri="{FF2B5EF4-FFF2-40B4-BE49-F238E27FC236}">
                <a16:creationId xmlns:a16="http://schemas.microsoft.com/office/drawing/2014/main" id="{7B8A28D3-BD1C-25D5-48E3-C6F1C9C65DE8}"/>
              </a:ext>
            </a:extLst>
          </p:cNvPr>
          <p:cNvSpPr>
            <a:spLocks noEditPoints="1"/>
          </p:cNvSpPr>
          <p:nvPr/>
        </p:nvSpPr>
        <p:spPr bwMode="auto">
          <a:xfrm>
            <a:off x="1937417" y="2147011"/>
            <a:ext cx="624790" cy="451844"/>
          </a:xfrm>
          <a:custGeom>
            <a:avLst/>
            <a:gdLst>
              <a:gd name="T0" fmla="*/ 1066 w 1066"/>
              <a:gd name="T1" fmla="*/ 703 h 771"/>
              <a:gd name="T2" fmla="*/ 1066 w 1066"/>
              <a:gd name="T3" fmla="*/ 726 h 771"/>
              <a:gd name="T4" fmla="*/ 1021 w 1066"/>
              <a:gd name="T5" fmla="*/ 771 h 771"/>
              <a:gd name="T6" fmla="*/ 45 w 1066"/>
              <a:gd name="T7" fmla="*/ 771 h 771"/>
              <a:gd name="T8" fmla="*/ 0 w 1066"/>
              <a:gd name="T9" fmla="*/ 726 h 771"/>
              <a:gd name="T10" fmla="*/ 0 w 1066"/>
              <a:gd name="T11" fmla="*/ 703 h 771"/>
              <a:gd name="T12" fmla="*/ 114 w 1066"/>
              <a:gd name="T13" fmla="*/ 590 h 771"/>
              <a:gd name="T14" fmla="*/ 953 w 1066"/>
              <a:gd name="T15" fmla="*/ 590 h 771"/>
              <a:gd name="T16" fmla="*/ 1066 w 1066"/>
              <a:gd name="T17" fmla="*/ 703 h 771"/>
              <a:gd name="T18" fmla="*/ 114 w 1066"/>
              <a:gd name="T19" fmla="*/ 522 h 771"/>
              <a:gd name="T20" fmla="*/ 114 w 1066"/>
              <a:gd name="T21" fmla="*/ 23 h 771"/>
              <a:gd name="T22" fmla="*/ 136 w 1066"/>
              <a:gd name="T23" fmla="*/ 0 h 771"/>
              <a:gd name="T24" fmla="*/ 930 w 1066"/>
              <a:gd name="T25" fmla="*/ 0 h 771"/>
              <a:gd name="T26" fmla="*/ 953 w 1066"/>
              <a:gd name="T27" fmla="*/ 23 h 771"/>
              <a:gd name="T28" fmla="*/ 953 w 1066"/>
              <a:gd name="T29" fmla="*/ 522 h 771"/>
              <a:gd name="T30" fmla="*/ 930 w 1066"/>
              <a:gd name="T31" fmla="*/ 544 h 771"/>
              <a:gd name="T32" fmla="*/ 136 w 1066"/>
              <a:gd name="T33" fmla="*/ 544 h 771"/>
              <a:gd name="T34" fmla="*/ 114 w 1066"/>
              <a:gd name="T35" fmla="*/ 522 h 771"/>
              <a:gd name="T36" fmla="*/ 159 w 1066"/>
              <a:gd name="T37" fmla="*/ 499 h 771"/>
              <a:gd name="T38" fmla="*/ 907 w 1066"/>
              <a:gd name="T39" fmla="*/ 499 h 771"/>
              <a:gd name="T40" fmla="*/ 907 w 1066"/>
              <a:gd name="T41" fmla="*/ 46 h 771"/>
              <a:gd name="T42" fmla="*/ 159 w 1066"/>
              <a:gd name="T43" fmla="*/ 46 h 771"/>
              <a:gd name="T44" fmla="*/ 159 w 1066"/>
              <a:gd name="T45" fmla="*/ 499 h 771"/>
              <a:gd name="T46" fmla="*/ 204 w 1066"/>
              <a:gd name="T47" fmla="*/ 454 h 771"/>
              <a:gd name="T48" fmla="*/ 862 w 1066"/>
              <a:gd name="T49" fmla="*/ 454 h 771"/>
              <a:gd name="T50" fmla="*/ 862 w 1066"/>
              <a:gd name="T51" fmla="*/ 91 h 771"/>
              <a:gd name="T52" fmla="*/ 204 w 1066"/>
              <a:gd name="T53" fmla="*/ 91 h 771"/>
              <a:gd name="T54" fmla="*/ 204 w 1066"/>
              <a:gd name="T55" fmla="*/ 454 h 7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066" h="771">
                <a:moveTo>
                  <a:pt x="1066" y="703"/>
                </a:moveTo>
                <a:cubicBezTo>
                  <a:pt x="1066" y="726"/>
                  <a:pt x="1066" y="726"/>
                  <a:pt x="1066" y="726"/>
                </a:cubicBezTo>
                <a:cubicBezTo>
                  <a:pt x="1066" y="751"/>
                  <a:pt x="1046" y="771"/>
                  <a:pt x="1021" y="771"/>
                </a:cubicBezTo>
                <a:cubicBezTo>
                  <a:pt x="45" y="771"/>
                  <a:pt x="45" y="771"/>
                  <a:pt x="45" y="771"/>
                </a:cubicBezTo>
                <a:cubicBezTo>
                  <a:pt x="20" y="771"/>
                  <a:pt x="0" y="751"/>
                  <a:pt x="0" y="726"/>
                </a:cubicBezTo>
                <a:cubicBezTo>
                  <a:pt x="0" y="703"/>
                  <a:pt x="0" y="703"/>
                  <a:pt x="0" y="703"/>
                </a:cubicBezTo>
                <a:cubicBezTo>
                  <a:pt x="114" y="590"/>
                  <a:pt x="114" y="590"/>
                  <a:pt x="114" y="590"/>
                </a:cubicBezTo>
                <a:cubicBezTo>
                  <a:pt x="953" y="590"/>
                  <a:pt x="953" y="590"/>
                  <a:pt x="953" y="590"/>
                </a:cubicBezTo>
                <a:lnTo>
                  <a:pt x="1066" y="703"/>
                </a:lnTo>
                <a:close/>
                <a:moveTo>
                  <a:pt x="114" y="522"/>
                </a:moveTo>
                <a:cubicBezTo>
                  <a:pt x="114" y="23"/>
                  <a:pt x="114" y="23"/>
                  <a:pt x="114" y="23"/>
                </a:cubicBezTo>
                <a:cubicBezTo>
                  <a:pt x="114" y="10"/>
                  <a:pt x="124" y="0"/>
                  <a:pt x="136" y="0"/>
                </a:cubicBezTo>
                <a:cubicBezTo>
                  <a:pt x="930" y="0"/>
                  <a:pt x="930" y="0"/>
                  <a:pt x="930" y="0"/>
                </a:cubicBezTo>
                <a:cubicBezTo>
                  <a:pt x="942" y="0"/>
                  <a:pt x="953" y="10"/>
                  <a:pt x="953" y="23"/>
                </a:cubicBezTo>
                <a:cubicBezTo>
                  <a:pt x="953" y="522"/>
                  <a:pt x="953" y="522"/>
                  <a:pt x="953" y="522"/>
                </a:cubicBezTo>
                <a:cubicBezTo>
                  <a:pt x="953" y="534"/>
                  <a:pt x="942" y="544"/>
                  <a:pt x="930" y="544"/>
                </a:cubicBezTo>
                <a:cubicBezTo>
                  <a:pt x="136" y="544"/>
                  <a:pt x="136" y="544"/>
                  <a:pt x="136" y="544"/>
                </a:cubicBezTo>
                <a:cubicBezTo>
                  <a:pt x="124" y="544"/>
                  <a:pt x="114" y="534"/>
                  <a:pt x="114" y="522"/>
                </a:cubicBezTo>
                <a:close/>
                <a:moveTo>
                  <a:pt x="159" y="499"/>
                </a:moveTo>
                <a:cubicBezTo>
                  <a:pt x="907" y="499"/>
                  <a:pt x="907" y="499"/>
                  <a:pt x="907" y="499"/>
                </a:cubicBezTo>
                <a:cubicBezTo>
                  <a:pt x="907" y="46"/>
                  <a:pt x="907" y="46"/>
                  <a:pt x="907" y="46"/>
                </a:cubicBezTo>
                <a:cubicBezTo>
                  <a:pt x="159" y="46"/>
                  <a:pt x="159" y="46"/>
                  <a:pt x="159" y="46"/>
                </a:cubicBezTo>
                <a:lnTo>
                  <a:pt x="159" y="499"/>
                </a:lnTo>
                <a:close/>
                <a:moveTo>
                  <a:pt x="204" y="454"/>
                </a:moveTo>
                <a:cubicBezTo>
                  <a:pt x="862" y="454"/>
                  <a:pt x="862" y="454"/>
                  <a:pt x="862" y="454"/>
                </a:cubicBezTo>
                <a:cubicBezTo>
                  <a:pt x="862" y="91"/>
                  <a:pt x="862" y="91"/>
                  <a:pt x="862" y="91"/>
                </a:cubicBezTo>
                <a:cubicBezTo>
                  <a:pt x="204" y="91"/>
                  <a:pt x="204" y="91"/>
                  <a:pt x="204" y="91"/>
                </a:cubicBezTo>
                <a:lnTo>
                  <a:pt x="204" y="45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1799" kern="0">
              <a:solidFill>
                <a:srgbClr val="000000"/>
              </a:solidFill>
            </a:endParaRPr>
          </a:p>
        </p:txBody>
      </p:sp>
      <p:sp>
        <p:nvSpPr>
          <p:cNvPr id="834" name="Freeform 42">
            <a:extLst>
              <a:ext uri="{FF2B5EF4-FFF2-40B4-BE49-F238E27FC236}">
                <a16:creationId xmlns:a16="http://schemas.microsoft.com/office/drawing/2014/main" id="{AA829728-52B2-F2EA-B880-2ED8646F339D}"/>
              </a:ext>
            </a:extLst>
          </p:cNvPr>
          <p:cNvSpPr>
            <a:spLocks noEditPoints="1"/>
          </p:cNvSpPr>
          <p:nvPr/>
        </p:nvSpPr>
        <p:spPr bwMode="auto">
          <a:xfrm>
            <a:off x="5048449" y="2170977"/>
            <a:ext cx="500780" cy="402767"/>
          </a:xfrm>
          <a:custGeom>
            <a:avLst/>
            <a:gdLst>
              <a:gd name="T0" fmla="*/ 839 w 930"/>
              <a:gd name="T1" fmla="*/ 91 h 748"/>
              <a:gd name="T2" fmla="*/ 91 w 930"/>
              <a:gd name="T3" fmla="*/ 91 h 748"/>
              <a:gd name="T4" fmla="*/ 91 w 930"/>
              <a:gd name="T5" fmla="*/ 521 h 748"/>
              <a:gd name="T6" fmla="*/ 839 w 930"/>
              <a:gd name="T7" fmla="*/ 521 h 748"/>
              <a:gd name="T8" fmla="*/ 839 w 930"/>
              <a:gd name="T9" fmla="*/ 91 h 748"/>
              <a:gd name="T10" fmla="*/ 885 w 930"/>
              <a:gd name="T11" fmla="*/ 0 h 748"/>
              <a:gd name="T12" fmla="*/ 46 w 930"/>
              <a:gd name="T13" fmla="*/ 0 h 748"/>
              <a:gd name="T14" fmla="*/ 0 w 930"/>
              <a:gd name="T15" fmla="*/ 45 h 748"/>
              <a:gd name="T16" fmla="*/ 0 w 930"/>
              <a:gd name="T17" fmla="*/ 567 h 748"/>
              <a:gd name="T18" fmla="*/ 46 w 930"/>
              <a:gd name="T19" fmla="*/ 612 h 748"/>
              <a:gd name="T20" fmla="*/ 386 w 930"/>
              <a:gd name="T21" fmla="*/ 612 h 748"/>
              <a:gd name="T22" fmla="*/ 386 w 930"/>
              <a:gd name="T23" fmla="*/ 703 h 748"/>
              <a:gd name="T24" fmla="*/ 272 w 930"/>
              <a:gd name="T25" fmla="*/ 703 h 748"/>
              <a:gd name="T26" fmla="*/ 272 w 930"/>
              <a:gd name="T27" fmla="*/ 748 h 748"/>
              <a:gd name="T28" fmla="*/ 658 w 930"/>
              <a:gd name="T29" fmla="*/ 748 h 748"/>
              <a:gd name="T30" fmla="*/ 658 w 930"/>
              <a:gd name="T31" fmla="*/ 703 h 748"/>
              <a:gd name="T32" fmla="*/ 545 w 930"/>
              <a:gd name="T33" fmla="*/ 703 h 748"/>
              <a:gd name="T34" fmla="*/ 545 w 930"/>
              <a:gd name="T35" fmla="*/ 612 h 748"/>
              <a:gd name="T36" fmla="*/ 885 w 930"/>
              <a:gd name="T37" fmla="*/ 612 h 748"/>
              <a:gd name="T38" fmla="*/ 930 w 930"/>
              <a:gd name="T39" fmla="*/ 567 h 748"/>
              <a:gd name="T40" fmla="*/ 930 w 930"/>
              <a:gd name="T41" fmla="*/ 45 h 748"/>
              <a:gd name="T42" fmla="*/ 885 w 930"/>
              <a:gd name="T43" fmla="*/ 0 h 748"/>
              <a:gd name="T44" fmla="*/ 885 w 930"/>
              <a:gd name="T45" fmla="*/ 45 h 748"/>
              <a:gd name="T46" fmla="*/ 885 w 930"/>
              <a:gd name="T47" fmla="*/ 567 h 748"/>
              <a:gd name="T48" fmla="*/ 46 w 930"/>
              <a:gd name="T49" fmla="*/ 567 h 748"/>
              <a:gd name="T50" fmla="*/ 46 w 930"/>
              <a:gd name="T51" fmla="*/ 45 h 748"/>
              <a:gd name="T52" fmla="*/ 885 w 930"/>
              <a:gd name="T53" fmla="*/ 45 h 7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930" h="748">
                <a:moveTo>
                  <a:pt x="839" y="91"/>
                </a:moveTo>
                <a:cubicBezTo>
                  <a:pt x="91" y="91"/>
                  <a:pt x="91" y="91"/>
                  <a:pt x="91" y="91"/>
                </a:cubicBezTo>
                <a:cubicBezTo>
                  <a:pt x="91" y="521"/>
                  <a:pt x="91" y="521"/>
                  <a:pt x="91" y="521"/>
                </a:cubicBezTo>
                <a:cubicBezTo>
                  <a:pt x="839" y="521"/>
                  <a:pt x="839" y="521"/>
                  <a:pt x="839" y="521"/>
                </a:cubicBezTo>
                <a:lnTo>
                  <a:pt x="839" y="91"/>
                </a:lnTo>
                <a:close/>
                <a:moveTo>
                  <a:pt x="885" y="0"/>
                </a:moveTo>
                <a:cubicBezTo>
                  <a:pt x="46" y="0"/>
                  <a:pt x="46" y="0"/>
                  <a:pt x="46" y="0"/>
                </a:cubicBezTo>
                <a:cubicBezTo>
                  <a:pt x="21" y="0"/>
                  <a:pt x="0" y="20"/>
                  <a:pt x="0" y="45"/>
                </a:cubicBezTo>
                <a:cubicBezTo>
                  <a:pt x="0" y="567"/>
                  <a:pt x="0" y="567"/>
                  <a:pt x="0" y="567"/>
                </a:cubicBezTo>
                <a:cubicBezTo>
                  <a:pt x="0" y="592"/>
                  <a:pt x="21" y="612"/>
                  <a:pt x="46" y="612"/>
                </a:cubicBezTo>
                <a:cubicBezTo>
                  <a:pt x="386" y="612"/>
                  <a:pt x="386" y="612"/>
                  <a:pt x="386" y="612"/>
                </a:cubicBezTo>
                <a:cubicBezTo>
                  <a:pt x="386" y="703"/>
                  <a:pt x="386" y="703"/>
                  <a:pt x="386" y="703"/>
                </a:cubicBezTo>
                <a:cubicBezTo>
                  <a:pt x="272" y="703"/>
                  <a:pt x="272" y="703"/>
                  <a:pt x="272" y="703"/>
                </a:cubicBezTo>
                <a:cubicBezTo>
                  <a:pt x="272" y="748"/>
                  <a:pt x="272" y="748"/>
                  <a:pt x="272" y="748"/>
                </a:cubicBezTo>
                <a:cubicBezTo>
                  <a:pt x="658" y="748"/>
                  <a:pt x="658" y="748"/>
                  <a:pt x="658" y="748"/>
                </a:cubicBezTo>
                <a:cubicBezTo>
                  <a:pt x="658" y="703"/>
                  <a:pt x="658" y="703"/>
                  <a:pt x="658" y="703"/>
                </a:cubicBezTo>
                <a:cubicBezTo>
                  <a:pt x="545" y="703"/>
                  <a:pt x="545" y="703"/>
                  <a:pt x="545" y="703"/>
                </a:cubicBezTo>
                <a:cubicBezTo>
                  <a:pt x="545" y="612"/>
                  <a:pt x="545" y="612"/>
                  <a:pt x="545" y="612"/>
                </a:cubicBezTo>
                <a:cubicBezTo>
                  <a:pt x="885" y="612"/>
                  <a:pt x="885" y="612"/>
                  <a:pt x="885" y="612"/>
                </a:cubicBezTo>
                <a:cubicBezTo>
                  <a:pt x="910" y="612"/>
                  <a:pt x="930" y="592"/>
                  <a:pt x="930" y="567"/>
                </a:cubicBezTo>
                <a:cubicBezTo>
                  <a:pt x="930" y="45"/>
                  <a:pt x="930" y="45"/>
                  <a:pt x="930" y="45"/>
                </a:cubicBezTo>
                <a:cubicBezTo>
                  <a:pt x="930" y="20"/>
                  <a:pt x="910" y="0"/>
                  <a:pt x="885" y="0"/>
                </a:cubicBezTo>
                <a:close/>
                <a:moveTo>
                  <a:pt x="885" y="45"/>
                </a:moveTo>
                <a:cubicBezTo>
                  <a:pt x="885" y="567"/>
                  <a:pt x="885" y="567"/>
                  <a:pt x="885" y="567"/>
                </a:cubicBezTo>
                <a:cubicBezTo>
                  <a:pt x="46" y="567"/>
                  <a:pt x="46" y="567"/>
                  <a:pt x="46" y="567"/>
                </a:cubicBezTo>
                <a:cubicBezTo>
                  <a:pt x="46" y="45"/>
                  <a:pt x="46" y="45"/>
                  <a:pt x="46" y="45"/>
                </a:cubicBezTo>
                <a:lnTo>
                  <a:pt x="885" y="4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1799" kern="0">
              <a:solidFill>
                <a:srgbClr val="000000"/>
              </a:solidFill>
            </a:endParaRPr>
          </a:p>
        </p:txBody>
      </p:sp>
      <p:sp>
        <p:nvSpPr>
          <p:cNvPr id="835" name="Freeform 113">
            <a:extLst>
              <a:ext uri="{FF2B5EF4-FFF2-40B4-BE49-F238E27FC236}">
                <a16:creationId xmlns:a16="http://schemas.microsoft.com/office/drawing/2014/main" id="{62AB40B7-36D0-B9AB-FDC7-B3D52F5BE7C4}"/>
              </a:ext>
            </a:extLst>
          </p:cNvPr>
          <p:cNvSpPr>
            <a:spLocks noEditPoints="1"/>
          </p:cNvSpPr>
          <p:nvPr/>
        </p:nvSpPr>
        <p:spPr bwMode="auto">
          <a:xfrm>
            <a:off x="448523" y="2043395"/>
            <a:ext cx="877129" cy="563469"/>
          </a:xfrm>
          <a:custGeom>
            <a:avLst/>
            <a:gdLst>
              <a:gd name="T0" fmla="*/ 787 w 1058"/>
              <a:gd name="T1" fmla="*/ 567 h 680"/>
              <a:gd name="T2" fmla="*/ 80 w 1058"/>
              <a:gd name="T3" fmla="*/ 600 h 680"/>
              <a:gd name="T4" fmla="*/ 114 w 1058"/>
              <a:gd name="T5" fmla="*/ 75 h 680"/>
              <a:gd name="T6" fmla="*/ 63 w 1058"/>
              <a:gd name="T7" fmla="*/ 0 h 680"/>
              <a:gd name="T8" fmla="*/ 13 w 1058"/>
              <a:gd name="T9" fmla="*/ 75 h 680"/>
              <a:gd name="T10" fmla="*/ 46 w 1058"/>
              <a:gd name="T11" fmla="*/ 635 h 680"/>
              <a:gd name="T12" fmla="*/ 787 w 1058"/>
              <a:gd name="T13" fmla="*/ 668 h 680"/>
              <a:gd name="T14" fmla="*/ 862 w 1058"/>
              <a:gd name="T15" fmla="*/ 617 h 680"/>
              <a:gd name="T16" fmla="*/ 74 w 1058"/>
              <a:gd name="T17" fmla="*/ 44 h 680"/>
              <a:gd name="T18" fmla="*/ 74 w 1058"/>
              <a:gd name="T19" fmla="*/ 45 h 680"/>
              <a:gd name="T20" fmla="*/ 52 w 1058"/>
              <a:gd name="T21" fmla="*/ 45 h 680"/>
              <a:gd name="T22" fmla="*/ 52 w 1058"/>
              <a:gd name="T23" fmla="*/ 44 h 680"/>
              <a:gd name="T24" fmla="*/ 901 w 1058"/>
              <a:gd name="T25" fmla="*/ 392 h 680"/>
              <a:gd name="T26" fmla="*/ 977 w 1058"/>
              <a:gd name="T27" fmla="*/ 612 h 680"/>
              <a:gd name="T28" fmla="*/ 901 w 1058"/>
              <a:gd name="T29" fmla="*/ 392 h 680"/>
              <a:gd name="T30" fmla="*/ 590 w 1058"/>
              <a:gd name="T31" fmla="*/ 340 h 680"/>
              <a:gd name="T32" fmla="*/ 639 w 1058"/>
              <a:gd name="T33" fmla="*/ 243 h 680"/>
              <a:gd name="T34" fmla="*/ 681 w 1058"/>
              <a:gd name="T35" fmla="*/ 181 h 680"/>
              <a:gd name="T36" fmla="*/ 794 w 1058"/>
              <a:gd name="T37" fmla="*/ 211 h 680"/>
              <a:gd name="T38" fmla="*/ 723 w 1058"/>
              <a:gd name="T39" fmla="*/ 243 h 680"/>
              <a:gd name="T40" fmla="*/ 660 w 1058"/>
              <a:gd name="T41" fmla="*/ 267 h 680"/>
              <a:gd name="T42" fmla="*/ 453 w 1058"/>
              <a:gd name="T43" fmla="*/ 227 h 680"/>
              <a:gd name="T44" fmla="*/ 907 w 1058"/>
              <a:gd name="T45" fmla="*/ 227 h 680"/>
              <a:gd name="T46" fmla="*/ 680 w 1058"/>
              <a:gd name="T47" fmla="*/ 408 h 680"/>
              <a:gd name="T48" fmla="*/ 680 w 1058"/>
              <a:gd name="T49" fmla="*/ 45 h 680"/>
              <a:gd name="T50" fmla="*/ 680 w 1058"/>
              <a:gd name="T51" fmla="*/ 408 h 680"/>
              <a:gd name="T52" fmla="*/ 420 w 1058"/>
              <a:gd name="T53" fmla="*/ 277 h 680"/>
              <a:gd name="T54" fmla="*/ 375 w 1058"/>
              <a:gd name="T55" fmla="*/ 227 h 680"/>
              <a:gd name="T56" fmla="*/ 334 w 1058"/>
              <a:gd name="T57" fmla="*/ 291 h 680"/>
              <a:gd name="T58" fmla="*/ 194 w 1058"/>
              <a:gd name="T59" fmla="*/ 408 h 680"/>
              <a:gd name="T60" fmla="*/ 114 w 1058"/>
              <a:gd name="T61" fmla="*/ 351 h 680"/>
              <a:gd name="T62" fmla="*/ 153 w 1058"/>
              <a:gd name="T63" fmla="*/ 435 h 680"/>
              <a:gd name="T64" fmla="*/ 194 w 1058"/>
              <a:gd name="T65" fmla="*/ 499 h 680"/>
              <a:gd name="T66" fmla="*/ 235 w 1058"/>
              <a:gd name="T67" fmla="*/ 435 h 680"/>
              <a:gd name="T68" fmla="*/ 375 w 1058"/>
              <a:gd name="T69" fmla="*/ 317 h 680"/>
              <a:gd name="T70" fmla="*/ 436 w 1058"/>
              <a:gd name="T71" fmla="*/ 320 h 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058" h="680">
                <a:moveTo>
                  <a:pt x="799" y="555"/>
                </a:moveTo>
                <a:cubicBezTo>
                  <a:pt x="787" y="567"/>
                  <a:pt x="787" y="567"/>
                  <a:pt x="787" y="567"/>
                </a:cubicBezTo>
                <a:cubicBezTo>
                  <a:pt x="813" y="600"/>
                  <a:pt x="813" y="600"/>
                  <a:pt x="813" y="600"/>
                </a:cubicBezTo>
                <a:cubicBezTo>
                  <a:pt x="80" y="600"/>
                  <a:pt x="80" y="600"/>
                  <a:pt x="80" y="600"/>
                </a:cubicBezTo>
                <a:cubicBezTo>
                  <a:pt x="80" y="49"/>
                  <a:pt x="80" y="49"/>
                  <a:pt x="80" y="49"/>
                </a:cubicBezTo>
                <a:cubicBezTo>
                  <a:pt x="114" y="75"/>
                  <a:pt x="114" y="75"/>
                  <a:pt x="114" y="75"/>
                </a:cubicBezTo>
                <a:cubicBezTo>
                  <a:pt x="126" y="63"/>
                  <a:pt x="126" y="63"/>
                  <a:pt x="126" y="63"/>
                </a:cubicBezTo>
                <a:cubicBezTo>
                  <a:pt x="63" y="0"/>
                  <a:pt x="63" y="0"/>
                  <a:pt x="63" y="0"/>
                </a:cubicBezTo>
                <a:cubicBezTo>
                  <a:pt x="0" y="63"/>
                  <a:pt x="0" y="63"/>
                  <a:pt x="0" y="63"/>
                </a:cubicBezTo>
                <a:cubicBezTo>
                  <a:pt x="13" y="75"/>
                  <a:pt x="13" y="75"/>
                  <a:pt x="13" y="75"/>
                </a:cubicBezTo>
                <a:cubicBezTo>
                  <a:pt x="46" y="49"/>
                  <a:pt x="46" y="49"/>
                  <a:pt x="46" y="49"/>
                </a:cubicBezTo>
                <a:cubicBezTo>
                  <a:pt x="46" y="635"/>
                  <a:pt x="46" y="635"/>
                  <a:pt x="46" y="635"/>
                </a:cubicBezTo>
                <a:cubicBezTo>
                  <a:pt x="813" y="634"/>
                  <a:pt x="813" y="634"/>
                  <a:pt x="813" y="634"/>
                </a:cubicBezTo>
                <a:cubicBezTo>
                  <a:pt x="787" y="668"/>
                  <a:pt x="787" y="668"/>
                  <a:pt x="787" y="668"/>
                </a:cubicBezTo>
                <a:cubicBezTo>
                  <a:pt x="799" y="680"/>
                  <a:pt x="799" y="680"/>
                  <a:pt x="799" y="680"/>
                </a:cubicBezTo>
                <a:cubicBezTo>
                  <a:pt x="862" y="617"/>
                  <a:pt x="862" y="617"/>
                  <a:pt x="862" y="617"/>
                </a:cubicBezTo>
                <a:lnTo>
                  <a:pt x="799" y="555"/>
                </a:lnTo>
                <a:close/>
                <a:moveTo>
                  <a:pt x="74" y="44"/>
                </a:moveTo>
                <a:cubicBezTo>
                  <a:pt x="76" y="45"/>
                  <a:pt x="76" y="45"/>
                  <a:pt x="76" y="45"/>
                </a:cubicBezTo>
                <a:cubicBezTo>
                  <a:pt x="74" y="45"/>
                  <a:pt x="74" y="45"/>
                  <a:pt x="74" y="45"/>
                </a:cubicBezTo>
                <a:lnTo>
                  <a:pt x="74" y="44"/>
                </a:lnTo>
                <a:close/>
                <a:moveTo>
                  <a:pt x="52" y="45"/>
                </a:moveTo>
                <a:cubicBezTo>
                  <a:pt x="51" y="45"/>
                  <a:pt x="51" y="45"/>
                  <a:pt x="51" y="45"/>
                </a:cubicBezTo>
                <a:cubicBezTo>
                  <a:pt x="52" y="44"/>
                  <a:pt x="52" y="44"/>
                  <a:pt x="52" y="44"/>
                </a:cubicBezTo>
                <a:lnTo>
                  <a:pt x="52" y="45"/>
                </a:lnTo>
                <a:close/>
                <a:moveTo>
                  <a:pt x="901" y="392"/>
                </a:moveTo>
                <a:cubicBezTo>
                  <a:pt x="883" y="415"/>
                  <a:pt x="862" y="435"/>
                  <a:pt x="839" y="451"/>
                </a:cubicBezTo>
                <a:cubicBezTo>
                  <a:pt x="977" y="612"/>
                  <a:pt x="977" y="612"/>
                  <a:pt x="977" y="612"/>
                </a:cubicBezTo>
                <a:cubicBezTo>
                  <a:pt x="1058" y="531"/>
                  <a:pt x="1058" y="531"/>
                  <a:pt x="1058" y="531"/>
                </a:cubicBezTo>
                <a:lnTo>
                  <a:pt x="901" y="392"/>
                </a:lnTo>
                <a:close/>
                <a:moveTo>
                  <a:pt x="660" y="267"/>
                </a:moveTo>
                <a:cubicBezTo>
                  <a:pt x="590" y="340"/>
                  <a:pt x="590" y="340"/>
                  <a:pt x="590" y="340"/>
                </a:cubicBezTo>
                <a:cubicBezTo>
                  <a:pt x="582" y="334"/>
                  <a:pt x="575" y="328"/>
                  <a:pt x="569" y="320"/>
                </a:cubicBezTo>
                <a:cubicBezTo>
                  <a:pt x="639" y="243"/>
                  <a:pt x="639" y="243"/>
                  <a:pt x="639" y="243"/>
                </a:cubicBezTo>
                <a:cubicBezTo>
                  <a:pt x="637" y="238"/>
                  <a:pt x="635" y="233"/>
                  <a:pt x="635" y="227"/>
                </a:cubicBezTo>
                <a:cubicBezTo>
                  <a:pt x="635" y="202"/>
                  <a:pt x="656" y="181"/>
                  <a:pt x="681" y="181"/>
                </a:cubicBezTo>
                <a:cubicBezTo>
                  <a:pt x="700" y="181"/>
                  <a:pt x="717" y="193"/>
                  <a:pt x="723" y="211"/>
                </a:cubicBezTo>
                <a:cubicBezTo>
                  <a:pt x="794" y="211"/>
                  <a:pt x="794" y="211"/>
                  <a:pt x="794" y="211"/>
                </a:cubicBezTo>
                <a:cubicBezTo>
                  <a:pt x="794" y="243"/>
                  <a:pt x="794" y="243"/>
                  <a:pt x="794" y="243"/>
                </a:cubicBezTo>
                <a:cubicBezTo>
                  <a:pt x="723" y="243"/>
                  <a:pt x="723" y="243"/>
                  <a:pt x="723" y="243"/>
                </a:cubicBezTo>
                <a:cubicBezTo>
                  <a:pt x="717" y="260"/>
                  <a:pt x="700" y="272"/>
                  <a:pt x="681" y="272"/>
                </a:cubicBezTo>
                <a:cubicBezTo>
                  <a:pt x="673" y="272"/>
                  <a:pt x="666" y="270"/>
                  <a:pt x="660" y="267"/>
                </a:cubicBezTo>
                <a:close/>
                <a:moveTo>
                  <a:pt x="680" y="0"/>
                </a:moveTo>
                <a:cubicBezTo>
                  <a:pt x="555" y="0"/>
                  <a:pt x="453" y="102"/>
                  <a:pt x="453" y="227"/>
                </a:cubicBezTo>
                <a:cubicBezTo>
                  <a:pt x="453" y="352"/>
                  <a:pt x="555" y="453"/>
                  <a:pt x="680" y="453"/>
                </a:cubicBezTo>
                <a:cubicBezTo>
                  <a:pt x="805" y="453"/>
                  <a:pt x="907" y="352"/>
                  <a:pt x="907" y="227"/>
                </a:cubicBezTo>
                <a:cubicBezTo>
                  <a:pt x="907" y="102"/>
                  <a:pt x="805" y="0"/>
                  <a:pt x="680" y="0"/>
                </a:cubicBezTo>
                <a:close/>
                <a:moveTo>
                  <a:pt x="680" y="408"/>
                </a:moveTo>
                <a:cubicBezTo>
                  <a:pt x="580" y="408"/>
                  <a:pt x="499" y="327"/>
                  <a:pt x="499" y="227"/>
                </a:cubicBezTo>
                <a:cubicBezTo>
                  <a:pt x="499" y="126"/>
                  <a:pt x="580" y="45"/>
                  <a:pt x="680" y="45"/>
                </a:cubicBezTo>
                <a:cubicBezTo>
                  <a:pt x="780" y="45"/>
                  <a:pt x="861" y="126"/>
                  <a:pt x="861" y="227"/>
                </a:cubicBezTo>
                <a:cubicBezTo>
                  <a:pt x="861" y="327"/>
                  <a:pt x="780" y="408"/>
                  <a:pt x="680" y="408"/>
                </a:cubicBezTo>
                <a:close/>
                <a:moveTo>
                  <a:pt x="424" y="278"/>
                </a:moveTo>
                <a:cubicBezTo>
                  <a:pt x="420" y="277"/>
                  <a:pt x="420" y="277"/>
                  <a:pt x="420" y="277"/>
                </a:cubicBezTo>
                <a:cubicBezTo>
                  <a:pt x="421" y="275"/>
                  <a:pt x="421" y="273"/>
                  <a:pt x="421" y="272"/>
                </a:cubicBezTo>
                <a:cubicBezTo>
                  <a:pt x="421" y="247"/>
                  <a:pt x="400" y="227"/>
                  <a:pt x="375" y="227"/>
                </a:cubicBezTo>
                <a:cubicBezTo>
                  <a:pt x="350" y="227"/>
                  <a:pt x="330" y="247"/>
                  <a:pt x="330" y="272"/>
                </a:cubicBezTo>
                <a:cubicBezTo>
                  <a:pt x="330" y="279"/>
                  <a:pt x="331" y="285"/>
                  <a:pt x="334" y="291"/>
                </a:cubicBezTo>
                <a:cubicBezTo>
                  <a:pt x="213" y="412"/>
                  <a:pt x="213" y="412"/>
                  <a:pt x="213" y="412"/>
                </a:cubicBezTo>
                <a:cubicBezTo>
                  <a:pt x="207" y="409"/>
                  <a:pt x="201" y="408"/>
                  <a:pt x="194" y="408"/>
                </a:cubicBezTo>
                <a:cubicBezTo>
                  <a:pt x="187" y="408"/>
                  <a:pt x="181" y="409"/>
                  <a:pt x="175" y="412"/>
                </a:cubicBezTo>
                <a:cubicBezTo>
                  <a:pt x="114" y="351"/>
                  <a:pt x="114" y="351"/>
                  <a:pt x="114" y="351"/>
                </a:cubicBezTo>
                <a:cubicBezTo>
                  <a:pt x="114" y="396"/>
                  <a:pt x="114" y="396"/>
                  <a:pt x="114" y="396"/>
                </a:cubicBezTo>
                <a:cubicBezTo>
                  <a:pt x="153" y="435"/>
                  <a:pt x="153" y="435"/>
                  <a:pt x="153" y="435"/>
                </a:cubicBezTo>
                <a:cubicBezTo>
                  <a:pt x="150" y="440"/>
                  <a:pt x="149" y="447"/>
                  <a:pt x="149" y="453"/>
                </a:cubicBezTo>
                <a:cubicBezTo>
                  <a:pt x="149" y="478"/>
                  <a:pt x="169" y="499"/>
                  <a:pt x="194" y="499"/>
                </a:cubicBezTo>
                <a:cubicBezTo>
                  <a:pt x="219" y="499"/>
                  <a:pt x="239" y="478"/>
                  <a:pt x="239" y="453"/>
                </a:cubicBezTo>
                <a:cubicBezTo>
                  <a:pt x="239" y="447"/>
                  <a:pt x="238" y="440"/>
                  <a:pt x="235" y="435"/>
                </a:cubicBezTo>
                <a:cubicBezTo>
                  <a:pt x="357" y="313"/>
                  <a:pt x="357" y="313"/>
                  <a:pt x="357" y="313"/>
                </a:cubicBezTo>
                <a:cubicBezTo>
                  <a:pt x="362" y="316"/>
                  <a:pt x="369" y="317"/>
                  <a:pt x="375" y="317"/>
                </a:cubicBezTo>
                <a:cubicBezTo>
                  <a:pt x="387" y="317"/>
                  <a:pt x="398" y="313"/>
                  <a:pt x="406" y="305"/>
                </a:cubicBezTo>
                <a:cubicBezTo>
                  <a:pt x="436" y="320"/>
                  <a:pt x="436" y="320"/>
                  <a:pt x="436" y="320"/>
                </a:cubicBezTo>
                <a:cubicBezTo>
                  <a:pt x="431" y="307"/>
                  <a:pt x="427" y="293"/>
                  <a:pt x="424" y="278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1799" kern="0">
              <a:solidFill>
                <a:srgbClr val="000000"/>
              </a:solidFill>
            </a:endParaRPr>
          </a:p>
        </p:txBody>
      </p:sp>
      <p:sp>
        <p:nvSpPr>
          <p:cNvPr id="840" name="Freeform 68">
            <a:extLst>
              <a:ext uri="{FF2B5EF4-FFF2-40B4-BE49-F238E27FC236}">
                <a16:creationId xmlns:a16="http://schemas.microsoft.com/office/drawing/2014/main" id="{81168D7D-899B-82FE-64B4-4B8101BDB6E5}"/>
              </a:ext>
            </a:extLst>
          </p:cNvPr>
          <p:cNvSpPr>
            <a:spLocks noEditPoints="1"/>
          </p:cNvSpPr>
          <p:nvPr/>
        </p:nvSpPr>
        <p:spPr bwMode="auto">
          <a:xfrm>
            <a:off x="3953525" y="2193867"/>
            <a:ext cx="153279" cy="298824"/>
          </a:xfrm>
          <a:custGeom>
            <a:avLst/>
            <a:gdLst>
              <a:gd name="T0" fmla="*/ 318 w 476"/>
              <a:gd name="T1" fmla="*/ 363 h 929"/>
              <a:gd name="T2" fmla="*/ 318 w 476"/>
              <a:gd name="T3" fmla="*/ 566 h 929"/>
              <a:gd name="T4" fmla="*/ 114 w 476"/>
              <a:gd name="T5" fmla="*/ 566 h 929"/>
              <a:gd name="T6" fmla="*/ 113 w 476"/>
              <a:gd name="T7" fmla="*/ 362 h 929"/>
              <a:gd name="T8" fmla="*/ 318 w 476"/>
              <a:gd name="T9" fmla="*/ 363 h 929"/>
              <a:gd name="T10" fmla="*/ 318 w 476"/>
              <a:gd name="T11" fmla="*/ 0 h 929"/>
              <a:gd name="T12" fmla="*/ 113 w 476"/>
              <a:gd name="T13" fmla="*/ 0 h 929"/>
              <a:gd name="T14" fmla="*/ 91 w 476"/>
              <a:gd name="T15" fmla="*/ 204 h 929"/>
              <a:gd name="T16" fmla="*/ 340 w 476"/>
              <a:gd name="T17" fmla="*/ 204 h 929"/>
              <a:gd name="T18" fmla="*/ 318 w 476"/>
              <a:gd name="T19" fmla="*/ 0 h 929"/>
              <a:gd name="T20" fmla="*/ 363 w 476"/>
              <a:gd name="T21" fmla="*/ 317 h 929"/>
              <a:gd name="T22" fmla="*/ 68 w 476"/>
              <a:gd name="T23" fmla="*/ 317 h 929"/>
              <a:gd name="T24" fmla="*/ 68 w 476"/>
              <a:gd name="T25" fmla="*/ 612 h 929"/>
              <a:gd name="T26" fmla="*/ 363 w 476"/>
              <a:gd name="T27" fmla="*/ 612 h 929"/>
              <a:gd name="T28" fmla="*/ 363 w 476"/>
              <a:gd name="T29" fmla="*/ 317 h 929"/>
              <a:gd name="T30" fmla="*/ 476 w 476"/>
              <a:gd name="T31" fmla="*/ 430 h 929"/>
              <a:gd name="T32" fmla="*/ 476 w 476"/>
              <a:gd name="T33" fmla="*/ 362 h 929"/>
              <a:gd name="T34" fmla="*/ 431 w 476"/>
              <a:gd name="T35" fmla="*/ 362 h 929"/>
              <a:gd name="T36" fmla="*/ 431 w 476"/>
              <a:gd name="T37" fmla="*/ 289 h 929"/>
              <a:gd name="T38" fmla="*/ 391 w 476"/>
              <a:gd name="T39" fmla="*/ 249 h 929"/>
              <a:gd name="T40" fmla="*/ 40 w 476"/>
              <a:gd name="T41" fmla="*/ 249 h 929"/>
              <a:gd name="T42" fmla="*/ 0 w 476"/>
              <a:gd name="T43" fmla="*/ 289 h 929"/>
              <a:gd name="T44" fmla="*/ 0 w 476"/>
              <a:gd name="T45" fmla="*/ 640 h 929"/>
              <a:gd name="T46" fmla="*/ 40 w 476"/>
              <a:gd name="T47" fmla="*/ 680 h 929"/>
              <a:gd name="T48" fmla="*/ 391 w 476"/>
              <a:gd name="T49" fmla="*/ 680 h 929"/>
              <a:gd name="T50" fmla="*/ 431 w 476"/>
              <a:gd name="T51" fmla="*/ 640 h 929"/>
              <a:gd name="T52" fmla="*/ 431 w 476"/>
              <a:gd name="T53" fmla="*/ 566 h 929"/>
              <a:gd name="T54" fmla="*/ 476 w 476"/>
              <a:gd name="T55" fmla="*/ 566 h 929"/>
              <a:gd name="T56" fmla="*/ 476 w 476"/>
              <a:gd name="T57" fmla="*/ 498 h 929"/>
              <a:gd name="T58" fmla="*/ 431 w 476"/>
              <a:gd name="T59" fmla="*/ 498 h 929"/>
              <a:gd name="T60" fmla="*/ 431 w 476"/>
              <a:gd name="T61" fmla="*/ 430 h 929"/>
              <a:gd name="T62" fmla="*/ 476 w 476"/>
              <a:gd name="T63" fmla="*/ 430 h 929"/>
              <a:gd name="T64" fmla="*/ 113 w 476"/>
              <a:gd name="T65" fmla="*/ 929 h 929"/>
              <a:gd name="T66" fmla="*/ 318 w 476"/>
              <a:gd name="T67" fmla="*/ 929 h 929"/>
              <a:gd name="T68" fmla="*/ 340 w 476"/>
              <a:gd name="T69" fmla="*/ 725 h 929"/>
              <a:gd name="T70" fmla="*/ 91 w 476"/>
              <a:gd name="T71" fmla="*/ 725 h 929"/>
              <a:gd name="T72" fmla="*/ 113 w 476"/>
              <a:gd name="T73" fmla="*/ 929 h 9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76" h="929">
                <a:moveTo>
                  <a:pt x="318" y="363"/>
                </a:moveTo>
                <a:cubicBezTo>
                  <a:pt x="318" y="566"/>
                  <a:pt x="318" y="566"/>
                  <a:pt x="318" y="566"/>
                </a:cubicBezTo>
                <a:cubicBezTo>
                  <a:pt x="114" y="566"/>
                  <a:pt x="114" y="566"/>
                  <a:pt x="114" y="566"/>
                </a:cubicBezTo>
                <a:cubicBezTo>
                  <a:pt x="113" y="362"/>
                  <a:pt x="113" y="362"/>
                  <a:pt x="113" y="362"/>
                </a:cubicBezTo>
                <a:lnTo>
                  <a:pt x="318" y="363"/>
                </a:lnTo>
                <a:close/>
                <a:moveTo>
                  <a:pt x="318" y="0"/>
                </a:moveTo>
                <a:cubicBezTo>
                  <a:pt x="113" y="0"/>
                  <a:pt x="113" y="0"/>
                  <a:pt x="113" y="0"/>
                </a:cubicBezTo>
                <a:cubicBezTo>
                  <a:pt x="91" y="204"/>
                  <a:pt x="91" y="204"/>
                  <a:pt x="91" y="204"/>
                </a:cubicBezTo>
                <a:cubicBezTo>
                  <a:pt x="340" y="204"/>
                  <a:pt x="340" y="204"/>
                  <a:pt x="340" y="204"/>
                </a:cubicBezTo>
                <a:lnTo>
                  <a:pt x="318" y="0"/>
                </a:lnTo>
                <a:close/>
                <a:moveTo>
                  <a:pt x="363" y="317"/>
                </a:moveTo>
                <a:cubicBezTo>
                  <a:pt x="68" y="317"/>
                  <a:pt x="68" y="317"/>
                  <a:pt x="68" y="317"/>
                </a:cubicBezTo>
                <a:cubicBezTo>
                  <a:pt x="68" y="612"/>
                  <a:pt x="68" y="612"/>
                  <a:pt x="68" y="612"/>
                </a:cubicBezTo>
                <a:cubicBezTo>
                  <a:pt x="363" y="612"/>
                  <a:pt x="363" y="612"/>
                  <a:pt x="363" y="612"/>
                </a:cubicBezTo>
                <a:cubicBezTo>
                  <a:pt x="363" y="317"/>
                  <a:pt x="363" y="317"/>
                  <a:pt x="363" y="317"/>
                </a:cubicBezTo>
                <a:moveTo>
                  <a:pt x="476" y="430"/>
                </a:moveTo>
                <a:cubicBezTo>
                  <a:pt x="476" y="362"/>
                  <a:pt x="476" y="362"/>
                  <a:pt x="476" y="362"/>
                </a:cubicBezTo>
                <a:cubicBezTo>
                  <a:pt x="431" y="362"/>
                  <a:pt x="431" y="362"/>
                  <a:pt x="431" y="362"/>
                </a:cubicBezTo>
                <a:cubicBezTo>
                  <a:pt x="431" y="289"/>
                  <a:pt x="431" y="289"/>
                  <a:pt x="431" y="289"/>
                </a:cubicBezTo>
                <a:cubicBezTo>
                  <a:pt x="431" y="267"/>
                  <a:pt x="413" y="249"/>
                  <a:pt x="391" y="249"/>
                </a:cubicBezTo>
                <a:cubicBezTo>
                  <a:pt x="40" y="249"/>
                  <a:pt x="40" y="249"/>
                  <a:pt x="40" y="249"/>
                </a:cubicBezTo>
                <a:cubicBezTo>
                  <a:pt x="18" y="249"/>
                  <a:pt x="0" y="267"/>
                  <a:pt x="0" y="289"/>
                </a:cubicBezTo>
                <a:cubicBezTo>
                  <a:pt x="0" y="640"/>
                  <a:pt x="0" y="640"/>
                  <a:pt x="0" y="640"/>
                </a:cubicBezTo>
                <a:cubicBezTo>
                  <a:pt x="0" y="662"/>
                  <a:pt x="18" y="680"/>
                  <a:pt x="40" y="680"/>
                </a:cubicBezTo>
                <a:cubicBezTo>
                  <a:pt x="391" y="680"/>
                  <a:pt x="391" y="680"/>
                  <a:pt x="391" y="680"/>
                </a:cubicBezTo>
                <a:cubicBezTo>
                  <a:pt x="413" y="680"/>
                  <a:pt x="431" y="662"/>
                  <a:pt x="431" y="640"/>
                </a:cubicBezTo>
                <a:cubicBezTo>
                  <a:pt x="431" y="566"/>
                  <a:pt x="431" y="566"/>
                  <a:pt x="431" y="566"/>
                </a:cubicBezTo>
                <a:cubicBezTo>
                  <a:pt x="476" y="566"/>
                  <a:pt x="476" y="566"/>
                  <a:pt x="476" y="566"/>
                </a:cubicBezTo>
                <a:cubicBezTo>
                  <a:pt x="476" y="498"/>
                  <a:pt x="476" y="498"/>
                  <a:pt x="476" y="498"/>
                </a:cubicBezTo>
                <a:cubicBezTo>
                  <a:pt x="431" y="498"/>
                  <a:pt x="431" y="498"/>
                  <a:pt x="431" y="498"/>
                </a:cubicBezTo>
                <a:cubicBezTo>
                  <a:pt x="431" y="430"/>
                  <a:pt x="431" y="430"/>
                  <a:pt x="431" y="430"/>
                </a:cubicBezTo>
                <a:lnTo>
                  <a:pt x="476" y="430"/>
                </a:lnTo>
                <a:close/>
                <a:moveTo>
                  <a:pt x="113" y="929"/>
                </a:moveTo>
                <a:cubicBezTo>
                  <a:pt x="318" y="929"/>
                  <a:pt x="318" y="929"/>
                  <a:pt x="318" y="929"/>
                </a:cubicBezTo>
                <a:cubicBezTo>
                  <a:pt x="340" y="725"/>
                  <a:pt x="340" y="725"/>
                  <a:pt x="340" y="725"/>
                </a:cubicBezTo>
                <a:cubicBezTo>
                  <a:pt x="91" y="725"/>
                  <a:pt x="91" y="725"/>
                  <a:pt x="91" y="725"/>
                </a:cubicBezTo>
                <a:lnTo>
                  <a:pt x="113" y="92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de-DE" sz="1799" kern="0" dirty="0">
              <a:solidFill>
                <a:srgbClr val="000000"/>
              </a:solidFill>
            </a:endParaRPr>
          </a:p>
        </p:txBody>
      </p:sp>
      <p:sp>
        <p:nvSpPr>
          <p:cNvPr id="841" name="Freeform 152">
            <a:extLst>
              <a:ext uri="{FF2B5EF4-FFF2-40B4-BE49-F238E27FC236}">
                <a16:creationId xmlns:a16="http://schemas.microsoft.com/office/drawing/2014/main" id="{BE85CB87-F315-04FA-10FB-63F2E43270BD}"/>
              </a:ext>
            </a:extLst>
          </p:cNvPr>
          <p:cNvSpPr>
            <a:spLocks noEditPoints="1"/>
          </p:cNvSpPr>
          <p:nvPr/>
        </p:nvSpPr>
        <p:spPr bwMode="auto">
          <a:xfrm>
            <a:off x="4302138" y="2243992"/>
            <a:ext cx="421316" cy="200732"/>
          </a:xfrm>
          <a:custGeom>
            <a:avLst/>
            <a:gdLst>
              <a:gd name="T0" fmla="*/ 819 w 953"/>
              <a:gd name="T1" fmla="*/ 68 h 454"/>
              <a:gd name="T2" fmla="*/ 814 w 953"/>
              <a:gd name="T3" fmla="*/ 52 h 454"/>
              <a:gd name="T4" fmla="*/ 477 w 953"/>
              <a:gd name="T5" fmla="*/ 0 h 454"/>
              <a:gd name="T6" fmla="*/ 139 w 953"/>
              <a:gd name="T7" fmla="*/ 52 h 454"/>
              <a:gd name="T8" fmla="*/ 134 w 953"/>
              <a:gd name="T9" fmla="*/ 68 h 454"/>
              <a:gd name="T10" fmla="*/ 0 w 953"/>
              <a:gd name="T11" fmla="*/ 91 h 454"/>
              <a:gd name="T12" fmla="*/ 23 w 953"/>
              <a:gd name="T13" fmla="*/ 250 h 454"/>
              <a:gd name="T14" fmla="*/ 68 w 953"/>
              <a:gd name="T15" fmla="*/ 295 h 454"/>
              <a:gd name="T16" fmla="*/ 275 w 953"/>
              <a:gd name="T17" fmla="*/ 446 h 454"/>
              <a:gd name="T18" fmla="*/ 276 w 953"/>
              <a:gd name="T19" fmla="*/ 446 h 454"/>
              <a:gd name="T20" fmla="*/ 477 w 953"/>
              <a:gd name="T21" fmla="*/ 386 h 454"/>
              <a:gd name="T22" fmla="*/ 677 w 953"/>
              <a:gd name="T23" fmla="*/ 446 h 454"/>
              <a:gd name="T24" fmla="*/ 678 w 953"/>
              <a:gd name="T25" fmla="*/ 446 h 454"/>
              <a:gd name="T26" fmla="*/ 885 w 953"/>
              <a:gd name="T27" fmla="*/ 295 h 454"/>
              <a:gd name="T28" fmla="*/ 930 w 953"/>
              <a:gd name="T29" fmla="*/ 250 h 454"/>
              <a:gd name="T30" fmla="*/ 953 w 953"/>
              <a:gd name="T31" fmla="*/ 227 h 454"/>
              <a:gd name="T32" fmla="*/ 930 w 953"/>
              <a:gd name="T33" fmla="*/ 68 h 454"/>
              <a:gd name="T34" fmla="*/ 46 w 953"/>
              <a:gd name="T35" fmla="*/ 204 h 454"/>
              <a:gd name="T36" fmla="*/ 119 w 953"/>
              <a:gd name="T37" fmla="*/ 114 h 454"/>
              <a:gd name="T38" fmla="*/ 561 w 953"/>
              <a:gd name="T39" fmla="*/ 107 h 454"/>
              <a:gd name="T40" fmla="*/ 409 w 953"/>
              <a:gd name="T41" fmla="*/ 114 h 454"/>
              <a:gd name="T42" fmla="*/ 393 w 953"/>
              <a:gd name="T43" fmla="*/ 75 h 454"/>
              <a:gd name="T44" fmla="*/ 545 w 953"/>
              <a:gd name="T45" fmla="*/ 68 h 454"/>
              <a:gd name="T46" fmla="*/ 561 w 953"/>
              <a:gd name="T47" fmla="*/ 107 h 454"/>
              <a:gd name="T48" fmla="*/ 635 w 953"/>
              <a:gd name="T49" fmla="*/ 386 h 454"/>
              <a:gd name="T50" fmla="*/ 619 w 953"/>
              <a:gd name="T51" fmla="*/ 347 h 454"/>
              <a:gd name="T52" fmla="*/ 810 w 953"/>
              <a:gd name="T53" fmla="*/ 188 h 454"/>
              <a:gd name="T54" fmla="*/ 651 w 953"/>
              <a:gd name="T55" fmla="*/ 379 h 454"/>
              <a:gd name="T56" fmla="*/ 742 w 953"/>
              <a:gd name="T57" fmla="*/ 402 h 454"/>
              <a:gd name="T58" fmla="*/ 710 w 953"/>
              <a:gd name="T59" fmla="*/ 402 h 454"/>
              <a:gd name="T60" fmla="*/ 801 w 953"/>
              <a:gd name="T61" fmla="*/ 279 h 454"/>
              <a:gd name="T62" fmla="*/ 833 w 953"/>
              <a:gd name="T63" fmla="*/ 311 h 454"/>
              <a:gd name="T64" fmla="*/ 864 w 953"/>
              <a:gd name="T65" fmla="*/ 204 h 454"/>
              <a:gd name="T66" fmla="*/ 908 w 953"/>
              <a:gd name="T67" fmla="*/ 114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953" h="454">
                <a:moveTo>
                  <a:pt x="930" y="68"/>
                </a:moveTo>
                <a:cubicBezTo>
                  <a:pt x="819" y="68"/>
                  <a:pt x="819" y="68"/>
                  <a:pt x="819" y="68"/>
                </a:cubicBezTo>
                <a:cubicBezTo>
                  <a:pt x="815" y="56"/>
                  <a:pt x="815" y="56"/>
                  <a:pt x="815" y="56"/>
                </a:cubicBezTo>
                <a:cubicBezTo>
                  <a:pt x="814" y="52"/>
                  <a:pt x="814" y="52"/>
                  <a:pt x="814" y="52"/>
                </a:cubicBezTo>
                <a:cubicBezTo>
                  <a:pt x="807" y="35"/>
                  <a:pt x="791" y="23"/>
                  <a:pt x="771" y="23"/>
                </a:cubicBezTo>
                <a:cubicBezTo>
                  <a:pt x="477" y="0"/>
                  <a:pt x="477" y="0"/>
                  <a:pt x="477" y="0"/>
                </a:cubicBezTo>
                <a:cubicBezTo>
                  <a:pt x="182" y="23"/>
                  <a:pt x="182" y="23"/>
                  <a:pt x="182" y="23"/>
                </a:cubicBezTo>
                <a:cubicBezTo>
                  <a:pt x="162" y="23"/>
                  <a:pt x="146" y="35"/>
                  <a:pt x="139" y="52"/>
                </a:cubicBezTo>
                <a:cubicBezTo>
                  <a:pt x="138" y="56"/>
                  <a:pt x="138" y="56"/>
                  <a:pt x="138" y="56"/>
                </a:cubicBezTo>
                <a:cubicBezTo>
                  <a:pt x="134" y="68"/>
                  <a:pt x="134" y="68"/>
                  <a:pt x="134" y="68"/>
                </a:cubicBezTo>
                <a:cubicBezTo>
                  <a:pt x="23" y="68"/>
                  <a:pt x="23" y="68"/>
                  <a:pt x="23" y="68"/>
                </a:cubicBezTo>
                <a:cubicBezTo>
                  <a:pt x="11" y="68"/>
                  <a:pt x="0" y="78"/>
                  <a:pt x="0" y="91"/>
                </a:cubicBezTo>
                <a:cubicBezTo>
                  <a:pt x="0" y="227"/>
                  <a:pt x="0" y="227"/>
                  <a:pt x="0" y="227"/>
                </a:cubicBezTo>
                <a:cubicBezTo>
                  <a:pt x="0" y="240"/>
                  <a:pt x="11" y="250"/>
                  <a:pt x="23" y="250"/>
                </a:cubicBezTo>
                <a:cubicBezTo>
                  <a:pt x="75" y="250"/>
                  <a:pt x="75" y="250"/>
                  <a:pt x="75" y="250"/>
                </a:cubicBezTo>
                <a:cubicBezTo>
                  <a:pt x="71" y="264"/>
                  <a:pt x="68" y="279"/>
                  <a:pt x="68" y="295"/>
                </a:cubicBezTo>
                <a:cubicBezTo>
                  <a:pt x="68" y="383"/>
                  <a:pt x="140" y="454"/>
                  <a:pt x="227" y="454"/>
                </a:cubicBezTo>
                <a:cubicBezTo>
                  <a:pt x="244" y="454"/>
                  <a:pt x="260" y="451"/>
                  <a:pt x="275" y="446"/>
                </a:cubicBezTo>
                <a:cubicBezTo>
                  <a:pt x="276" y="446"/>
                  <a:pt x="276" y="446"/>
                  <a:pt x="276" y="446"/>
                </a:cubicBezTo>
                <a:cubicBezTo>
                  <a:pt x="276" y="446"/>
                  <a:pt x="276" y="446"/>
                  <a:pt x="276" y="446"/>
                </a:cubicBezTo>
                <a:cubicBezTo>
                  <a:pt x="417" y="404"/>
                  <a:pt x="417" y="404"/>
                  <a:pt x="417" y="404"/>
                </a:cubicBezTo>
                <a:cubicBezTo>
                  <a:pt x="477" y="386"/>
                  <a:pt x="477" y="386"/>
                  <a:pt x="477" y="386"/>
                </a:cubicBezTo>
                <a:cubicBezTo>
                  <a:pt x="536" y="404"/>
                  <a:pt x="536" y="404"/>
                  <a:pt x="536" y="404"/>
                </a:cubicBezTo>
                <a:cubicBezTo>
                  <a:pt x="677" y="446"/>
                  <a:pt x="677" y="446"/>
                  <a:pt x="677" y="446"/>
                </a:cubicBezTo>
                <a:cubicBezTo>
                  <a:pt x="677" y="446"/>
                  <a:pt x="677" y="446"/>
                  <a:pt x="677" y="446"/>
                </a:cubicBezTo>
                <a:cubicBezTo>
                  <a:pt x="678" y="446"/>
                  <a:pt x="678" y="446"/>
                  <a:pt x="678" y="446"/>
                </a:cubicBezTo>
                <a:cubicBezTo>
                  <a:pt x="693" y="451"/>
                  <a:pt x="709" y="454"/>
                  <a:pt x="726" y="454"/>
                </a:cubicBezTo>
                <a:cubicBezTo>
                  <a:pt x="814" y="454"/>
                  <a:pt x="885" y="383"/>
                  <a:pt x="885" y="295"/>
                </a:cubicBezTo>
                <a:cubicBezTo>
                  <a:pt x="885" y="279"/>
                  <a:pt x="883" y="264"/>
                  <a:pt x="878" y="250"/>
                </a:cubicBezTo>
                <a:cubicBezTo>
                  <a:pt x="930" y="250"/>
                  <a:pt x="930" y="250"/>
                  <a:pt x="930" y="250"/>
                </a:cubicBezTo>
                <a:cubicBezTo>
                  <a:pt x="936" y="250"/>
                  <a:pt x="942" y="247"/>
                  <a:pt x="946" y="243"/>
                </a:cubicBezTo>
                <a:cubicBezTo>
                  <a:pt x="950" y="239"/>
                  <a:pt x="953" y="233"/>
                  <a:pt x="953" y="227"/>
                </a:cubicBezTo>
                <a:cubicBezTo>
                  <a:pt x="953" y="91"/>
                  <a:pt x="953" y="91"/>
                  <a:pt x="953" y="91"/>
                </a:cubicBezTo>
                <a:cubicBezTo>
                  <a:pt x="953" y="78"/>
                  <a:pt x="943" y="68"/>
                  <a:pt x="930" y="68"/>
                </a:cubicBezTo>
                <a:close/>
                <a:moveTo>
                  <a:pt x="90" y="204"/>
                </a:moveTo>
                <a:cubicBezTo>
                  <a:pt x="46" y="204"/>
                  <a:pt x="46" y="204"/>
                  <a:pt x="46" y="204"/>
                </a:cubicBezTo>
                <a:cubicBezTo>
                  <a:pt x="46" y="114"/>
                  <a:pt x="46" y="114"/>
                  <a:pt x="46" y="114"/>
                </a:cubicBezTo>
                <a:cubicBezTo>
                  <a:pt x="119" y="114"/>
                  <a:pt x="119" y="114"/>
                  <a:pt x="119" y="114"/>
                </a:cubicBezTo>
                <a:lnTo>
                  <a:pt x="90" y="204"/>
                </a:lnTo>
                <a:close/>
                <a:moveTo>
                  <a:pt x="561" y="107"/>
                </a:moveTo>
                <a:cubicBezTo>
                  <a:pt x="557" y="111"/>
                  <a:pt x="551" y="114"/>
                  <a:pt x="545" y="114"/>
                </a:cubicBezTo>
                <a:cubicBezTo>
                  <a:pt x="409" y="114"/>
                  <a:pt x="409" y="114"/>
                  <a:pt x="409" y="114"/>
                </a:cubicBezTo>
                <a:cubicBezTo>
                  <a:pt x="396" y="114"/>
                  <a:pt x="386" y="104"/>
                  <a:pt x="386" y="91"/>
                </a:cubicBezTo>
                <a:cubicBezTo>
                  <a:pt x="386" y="85"/>
                  <a:pt x="388" y="79"/>
                  <a:pt x="393" y="75"/>
                </a:cubicBezTo>
                <a:cubicBezTo>
                  <a:pt x="397" y="71"/>
                  <a:pt x="402" y="68"/>
                  <a:pt x="409" y="68"/>
                </a:cubicBezTo>
                <a:cubicBezTo>
                  <a:pt x="545" y="68"/>
                  <a:pt x="545" y="68"/>
                  <a:pt x="545" y="68"/>
                </a:cubicBezTo>
                <a:cubicBezTo>
                  <a:pt x="557" y="68"/>
                  <a:pt x="567" y="78"/>
                  <a:pt x="567" y="91"/>
                </a:cubicBezTo>
                <a:cubicBezTo>
                  <a:pt x="567" y="97"/>
                  <a:pt x="565" y="103"/>
                  <a:pt x="561" y="107"/>
                </a:cubicBezTo>
                <a:close/>
                <a:moveTo>
                  <a:pt x="651" y="379"/>
                </a:moveTo>
                <a:cubicBezTo>
                  <a:pt x="647" y="384"/>
                  <a:pt x="641" y="386"/>
                  <a:pt x="635" y="386"/>
                </a:cubicBezTo>
                <a:cubicBezTo>
                  <a:pt x="630" y="386"/>
                  <a:pt x="624" y="384"/>
                  <a:pt x="619" y="379"/>
                </a:cubicBezTo>
                <a:cubicBezTo>
                  <a:pt x="610" y="370"/>
                  <a:pt x="610" y="356"/>
                  <a:pt x="619" y="347"/>
                </a:cubicBezTo>
                <a:cubicBezTo>
                  <a:pt x="778" y="188"/>
                  <a:pt x="778" y="188"/>
                  <a:pt x="778" y="188"/>
                </a:cubicBezTo>
                <a:cubicBezTo>
                  <a:pt x="787" y="179"/>
                  <a:pt x="801" y="179"/>
                  <a:pt x="810" y="188"/>
                </a:cubicBezTo>
                <a:cubicBezTo>
                  <a:pt x="819" y="197"/>
                  <a:pt x="819" y="212"/>
                  <a:pt x="810" y="220"/>
                </a:cubicBezTo>
                <a:lnTo>
                  <a:pt x="651" y="379"/>
                </a:lnTo>
                <a:close/>
                <a:moveTo>
                  <a:pt x="833" y="311"/>
                </a:moveTo>
                <a:cubicBezTo>
                  <a:pt x="742" y="402"/>
                  <a:pt x="742" y="402"/>
                  <a:pt x="742" y="402"/>
                </a:cubicBezTo>
                <a:cubicBezTo>
                  <a:pt x="738" y="406"/>
                  <a:pt x="732" y="408"/>
                  <a:pt x="726" y="408"/>
                </a:cubicBezTo>
                <a:cubicBezTo>
                  <a:pt x="720" y="408"/>
                  <a:pt x="714" y="406"/>
                  <a:pt x="710" y="402"/>
                </a:cubicBezTo>
                <a:cubicBezTo>
                  <a:pt x="701" y="393"/>
                  <a:pt x="701" y="379"/>
                  <a:pt x="710" y="370"/>
                </a:cubicBezTo>
                <a:cubicBezTo>
                  <a:pt x="801" y="279"/>
                  <a:pt x="801" y="279"/>
                  <a:pt x="801" y="279"/>
                </a:cubicBezTo>
                <a:cubicBezTo>
                  <a:pt x="810" y="270"/>
                  <a:pt x="824" y="270"/>
                  <a:pt x="833" y="279"/>
                </a:cubicBezTo>
                <a:cubicBezTo>
                  <a:pt x="842" y="288"/>
                  <a:pt x="842" y="302"/>
                  <a:pt x="833" y="311"/>
                </a:cubicBezTo>
                <a:close/>
                <a:moveTo>
                  <a:pt x="908" y="204"/>
                </a:moveTo>
                <a:cubicBezTo>
                  <a:pt x="864" y="204"/>
                  <a:pt x="864" y="204"/>
                  <a:pt x="864" y="204"/>
                </a:cubicBezTo>
                <a:cubicBezTo>
                  <a:pt x="834" y="114"/>
                  <a:pt x="834" y="114"/>
                  <a:pt x="834" y="114"/>
                </a:cubicBezTo>
                <a:cubicBezTo>
                  <a:pt x="908" y="114"/>
                  <a:pt x="908" y="114"/>
                  <a:pt x="908" y="114"/>
                </a:cubicBezTo>
                <a:lnTo>
                  <a:pt x="908" y="204"/>
                </a:lnTo>
                <a:close/>
              </a:path>
            </a:pathLst>
          </a:custGeom>
          <a:solidFill>
            <a:srgbClr val="FFFFFF"/>
          </a:solidFill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de-DE" sz="1799" kern="0">
              <a:solidFill>
                <a:srgbClr val="000000"/>
              </a:solidFill>
            </a:endParaRPr>
          </a:p>
        </p:txBody>
      </p:sp>
      <p:sp>
        <p:nvSpPr>
          <p:cNvPr id="855" name="Rectangle 854">
            <a:extLst>
              <a:ext uri="{FF2B5EF4-FFF2-40B4-BE49-F238E27FC236}">
                <a16:creationId xmlns:a16="http://schemas.microsoft.com/office/drawing/2014/main" id="{4530CCCB-845C-B5D1-C345-4AA13F83F385}"/>
              </a:ext>
            </a:extLst>
          </p:cNvPr>
          <p:cNvSpPr/>
          <p:nvPr/>
        </p:nvSpPr>
        <p:spPr>
          <a:xfrm>
            <a:off x="682020" y="3665027"/>
            <a:ext cx="998648" cy="293448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0" h="0"/>
          </a:sp3d>
        </p:spPr>
        <p:txBody>
          <a:bodyPr anchor="ctr"/>
          <a:lstStyle/>
          <a:p>
            <a:pPr algn="ctr" defTabSz="913486">
              <a:defRPr/>
            </a:pPr>
            <a:r>
              <a:rPr lang="en-US" sz="999" kern="0" dirty="0">
                <a:solidFill>
                  <a:srgbClr val="FFFFFF"/>
                </a:solidFill>
                <a:cs typeface="Arial" charset="0"/>
              </a:rPr>
              <a:t>Aggregation</a:t>
            </a:r>
          </a:p>
        </p:txBody>
      </p:sp>
      <p:sp>
        <p:nvSpPr>
          <p:cNvPr id="856" name="Rectangle 855">
            <a:extLst>
              <a:ext uri="{FF2B5EF4-FFF2-40B4-BE49-F238E27FC236}">
                <a16:creationId xmlns:a16="http://schemas.microsoft.com/office/drawing/2014/main" id="{3E1E124E-2570-58EB-2E34-871503096F38}"/>
              </a:ext>
            </a:extLst>
          </p:cNvPr>
          <p:cNvSpPr/>
          <p:nvPr/>
        </p:nvSpPr>
        <p:spPr>
          <a:xfrm>
            <a:off x="1517351" y="3665027"/>
            <a:ext cx="1206554" cy="293448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0" h="0"/>
          </a:sp3d>
        </p:spPr>
        <p:txBody>
          <a:bodyPr anchor="ctr"/>
          <a:lstStyle/>
          <a:p>
            <a:pPr algn="ctr" defTabSz="913486">
              <a:defRPr/>
            </a:pPr>
            <a:r>
              <a:rPr lang="en-US" sz="999" kern="0" dirty="0">
                <a:solidFill>
                  <a:srgbClr val="FFFFFF"/>
                </a:solidFill>
                <a:cs typeface="Arial" charset="0"/>
              </a:rPr>
              <a:t>Contextualization</a:t>
            </a:r>
          </a:p>
        </p:txBody>
      </p:sp>
      <p:grpSp>
        <p:nvGrpSpPr>
          <p:cNvPr id="857" name="Gruppieren 14">
            <a:extLst>
              <a:ext uri="{FF2B5EF4-FFF2-40B4-BE49-F238E27FC236}">
                <a16:creationId xmlns:a16="http://schemas.microsoft.com/office/drawing/2014/main" id="{7FFB1E53-DA7D-E08E-A7C9-F455E327D719}"/>
              </a:ext>
            </a:extLst>
          </p:cNvPr>
          <p:cNvGrpSpPr>
            <a:grpSpLocks/>
          </p:cNvGrpSpPr>
          <p:nvPr/>
        </p:nvGrpSpPr>
        <p:grpSpPr>
          <a:xfrm>
            <a:off x="1808278" y="3155597"/>
            <a:ext cx="385985" cy="384799"/>
            <a:chOff x="4521201" y="1870075"/>
            <a:chExt cx="1031874" cy="1028700"/>
          </a:xfrm>
          <a:solidFill>
            <a:srgbClr val="FFFFFF"/>
          </a:solidFill>
        </p:grpSpPr>
        <p:sp>
          <p:nvSpPr>
            <p:cNvPr id="858" name="Freeform 11">
              <a:extLst>
                <a:ext uri="{FF2B5EF4-FFF2-40B4-BE49-F238E27FC236}">
                  <a16:creationId xmlns:a16="http://schemas.microsoft.com/office/drawing/2014/main" id="{54743ABC-2C0E-AA71-6200-D24045BA2E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1201" y="2422525"/>
              <a:ext cx="630237" cy="476250"/>
            </a:xfrm>
            <a:custGeom>
              <a:avLst/>
              <a:gdLst>
                <a:gd name="T0" fmla="*/ 463 w 513"/>
                <a:gd name="T1" fmla="*/ 247 h 388"/>
                <a:gd name="T2" fmla="*/ 435 w 513"/>
                <a:gd name="T3" fmla="*/ 240 h 388"/>
                <a:gd name="T4" fmla="*/ 389 w 513"/>
                <a:gd name="T5" fmla="*/ 240 h 388"/>
                <a:gd name="T6" fmla="*/ 389 w 513"/>
                <a:gd name="T7" fmla="*/ 388 h 388"/>
                <a:gd name="T8" fmla="*/ 0 w 513"/>
                <a:gd name="T9" fmla="*/ 388 h 388"/>
                <a:gd name="T10" fmla="*/ 0 w 513"/>
                <a:gd name="T11" fmla="*/ 0 h 388"/>
                <a:gd name="T12" fmla="*/ 70 w 513"/>
                <a:gd name="T13" fmla="*/ 0 h 388"/>
                <a:gd name="T14" fmla="*/ 195 w 513"/>
                <a:gd name="T15" fmla="*/ 125 h 388"/>
                <a:gd name="T16" fmla="*/ 319 w 513"/>
                <a:gd name="T17" fmla="*/ 0 h 388"/>
                <a:gd name="T18" fmla="*/ 389 w 513"/>
                <a:gd name="T19" fmla="*/ 0 h 388"/>
                <a:gd name="T20" fmla="*/ 389 w 513"/>
                <a:gd name="T21" fmla="*/ 148 h 388"/>
                <a:gd name="T22" fmla="*/ 435 w 513"/>
                <a:gd name="T23" fmla="*/ 149 h 388"/>
                <a:gd name="T24" fmla="*/ 463 w 513"/>
                <a:gd name="T25" fmla="*/ 141 h 388"/>
                <a:gd name="T26" fmla="*/ 513 w 513"/>
                <a:gd name="T27" fmla="*/ 195 h 388"/>
                <a:gd name="T28" fmla="*/ 463 w 513"/>
                <a:gd name="T29" fmla="*/ 247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13" h="388">
                  <a:moveTo>
                    <a:pt x="463" y="247"/>
                  </a:moveTo>
                  <a:cubicBezTo>
                    <a:pt x="452" y="247"/>
                    <a:pt x="443" y="243"/>
                    <a:pt x="435" y="240"/>
                  </a:cubicBezTo>
                  <a:cubicBezTo>
                    <a:pt x="415" y="232"/>
                    <a:pt x="393" y="217"/>
                    <a:pt x="389" y="240"/>
                  </a:cubicBezTo>
                  <a:cubicBezTo>
                    <a:pt x="389" y="388"/>
                    <a:pt x="389" y="388"/>
                    <a:pt x="389" y="388"/>
                  </a:cubicBezTo>
                  <a:cubicBezTo>
                    <a:pt x="0" y="388"/>
                    <a:pt x="0" y="388"/>
                    <a:pt x="0" y="38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0" y="68"/>
                    <a:pt x="126" y="125"/>
                    <a:pt x="195" y="125"/>
                  </a:cubicBezTo>
                  <a:cubicBezTo>
                    <a:pt x="263" y="125"/>
                    <a:pt x="319" y="68"/>
                    <a:pt x="319" y="0"/>
                  </a:cubicBezTo>
                  <a:cubicBezTo>
                    <a:pt x="389" y="0"/>
                    <a:pt x="389" y="0"/>
                    <a:pt x="389" y="0"/>
                  </a:cubicBezTo>
                  <a:cubicBezTo>
                    <a:pt x="389" y="148"/>
                    <a:pt x="389" y="148"/>
                    <a:pt x="389" y="148"/>
                  </a:cubicBezTo>
                  <a:cubicBezTo>
                    <a:pt x="393" y="171"/>
                    <a:pt x="415" y="156"/>
                    <a:pt x="435" y="149"/>
                  </a:cubicBezTo>
                  <a:cubicBezTo>
                    <a:pt x="443" y="145"/>
                    <a:pt x="452" y="141"/>
                    <a:pt x="463" y="141"/>
                  </a:cubicBezTo>
                  <a:cubicBezTo>
                    <a:pt x="491" y="141"/>
                    <a:pt x="513" y="164"/>
                    <a:pt x="513" y="195"/>
                  </a:cubicBezTo>
                  <a:cubicBezTo>
                    <a:pt x="513" y="223"/>
                    <a:pt x="491" y="247"/>
                    <a:pt x="463" y="2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de-DE" sz="1799" kern="0">
                <a:solidFill>
                  <a:srgbClr val="000000"/>
                </a:solidFill>
              </a:endParaRPr>
            </a:p>
          </p:txBody>
        </p:sp>
        <p:sp>
          <p:nvSpPr>
            <p:cNvPr id="859" name="Freeform 12">
              <a:extLst>
                <a:ext uri="{FF2B5EF4-FFF2-40B4-BE49-F238E27FC236}">
                  <a16:creationId xmlns:a16="http://schemas.microsoft.com/office/drawing/2014/main" id="{19A1F536-C108-5D35-2A74-2FEEA1E0161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75238" y="2270125"/>
              <a:ext cx="477837" cy="628650"/>
            </a:xfrm>
            <a:custGeom>
              <a:avLst/>
              <a:gdLst>
                <a:gd name="T0" fmla="*/ 240 w 390"/>
                <a:gd name="T1" fmla="*/ 80 h 513"/>
                <a:gd name="T2" fmla="*/ 248 w 390"/>
                <a:gd name="T3" fmla="*/ 51 h 513"/>
                <a:gd name="T4" fmla="*/ 195 w 390"/>
                <a:gd name="T5" fmla="*/ 0 h 513"/>
                <a:gd name="T6" fmla="*/ 141 w 390"/>
                <a:gd name="T7" fmla="*/ 51 h 513"/>
                <a:gd name="T8" fmla="*/ 150 w 390"/>
                <a:gd name="T9" fmla="*/ 80 h 513"/>
                <a:gd name="T10" fmla="*/ 148 w 390"/>
                <a:gd name="T11" fmla="*/ 125 h 513"/>
                <a:gd name="T12" fmla="*/ 0 w 390"/>
                <a:gd name="T13" fmla="*/ 125 h 513"/>
                <a:gd name="T14" fmla="*/ 0 w 390"/>
                <a:gd name="T15" fmla="*/ 195 h 513"/>
                <a:gd name="T16" fmla="*/ 125 w 390"/>
                <a:gd name="T17" fmla="*/ 320 h 513"/>
                <a:gd name="T18" fmla="*/ 0 w 390"/>
                <a:gd name="T19" fmla="*/ 443 h 513"/>
                <a:gd name="T20" fmla="*/ 0 w 390"/>
                <a:gd name="T21" fmla="*/ 513 h 513"/>
                <a:gd name="T22" fmla="*/ 390 w 390"/>
                <a:gd name="T23" fmla="*/ 513 h 513"/>
                <a:gd name="T24" fmla="*/ 390 w 390"/>
                <a:gd name="T25" fmla="*/ 125 h 513"/>
                <a:gd name="T26" fmla="*/ 240 w 390"/>
                <a:gd name="T27" fmla="*/ 125 h 513"/>
                <a:gd name="T28" fmla="*/ 240 w 390"/>
                <a:gd name="T29" fmla="*/ 80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90" h="513">
                  <a:moveTo>
                    <a:pt x="240" y="80"/>
                  </a:moveTo>
                  <a:cubicBezTo>
                    <a:pt x="244" y="70"/>
                    <a:pt x="248" y="60"/>
                    <a:pt x="248" y="51"/>
                  </a:cubicBezTo>
                  <a:cubicBezTo>
                    <a:pt x="248" y="23"/>
                    <a:pt x="224" y="0"/>
                    <a:pt x="195" y="0"/>
                  </a:cubicBezTo>
                  <a:cubicBezTo>
                    <a:pt x="165" y="0"/>
                    <a:pt x="141" y="23"/>
                    <a:pt x="141" y="51"/>
                  </a:cubicBezTo>
                  <a:cubicBezTo>
                    <a:pt x="141" y="60"/>
                    <a:pt x="145" y="70"/>
                    <a:pt x="150" y="80"/>
                  </a:cubicBezTo>
                  <a:cubicBezTo>
                    <a:pt x="158" y="98"/>
                    <a:pt x="171" y="119"/>
                    <a:pt x="148" y="125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69" y="195"/>
                    <a:pt x="125" y="251"/>
                    <a:pt x="125" y="320"/>
                  </a:cubicBezTo>
                  <a:cubicBezTo>
                    <a:pt x="125" y="388"/>
                    <a:pt x="69" y="443"/>
                    <a:pt x="0" y="443"/>
                  </a:cubicBezTo>
                  <a:cubicBezTo>
                    <a:pt x="0" y="513"/>
                    <a:pt x="0" y="513"/>
                    <a:pt x="0" y="513"/>
                  </a:cubicBezTo>
                  <a:cubicBezTo>
                    <a:pt x="390" y="513"/>
                    <a:pt x="390" y="513"/>
                    <a:pt x="390" y="513"/>
                  </a:cubicBezTo>
                  <a:cubicBezTo>
                    <a:pt x="390" y="125"/>
                    <a:pt x="390" y="125"/>
                    <a:pt x="390" y="125"/>
                  </a:cubicBezTo>
                  <a:cubicBezTo>
                    <a:pt x="240" y="125"/>
                    <a:pt x="240" y="125"/>
                    <a:pt x="240" y="125"/>
                  </a:cubicBezTo>
                  <a:cubicBezTo>
                    <a:pt x="217" y="119"/>
                    <a:pt x="232" y="98"/>
                    <a:pt x="240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de-DE" sz="1799" kern="0">
                <a:solidFill>
                  <a:srgbClr val="000000"/>
                </a:solidFill>
              </a:endParaRPr>
            </a:p>
          </p:txBody>
        </p:sp>
        <p:sp>
          <p:nvSpPr>
            <p:cNvPr id="860" name="Freeform 13">
              <a:extLst>
                <a:ext uri="{FF2B5EF4-FFF2-40B4-BE49-F238E27FC236}">
                  <a16:creationId xmlns:a16="http://schemas.microsoft.com/office/drawing/2014/main" id="{88C2C583-3D03-B4B4-FA68-73656DB4E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1201" y="1870075"/>
              <a:ext cx="476250" cy="628650"/>
            </a:xfrm>
            <a:custGeom>
              <a:avLst/>
              <a:gdLst>
                <a:gd name="T0" fmla="*/ 141 w 388"/>
                <a:gd name="T1" fmla="*/ 463 h 513"/>
                <a:gd name="T2" fmla="*/ 148 w 388"/>
                <a:gd name="T3" fmla="*/ 435 h 513"/>
                <a:gd name="T4" fmla="*/ 148 w 388"/>
                <a:gd name="T5" fmla="*/ 389 h 513"/>
                <a:gd name="T6" fmla="*/ 0 w 388"/>
                <a:gd name="T7" fmla="*/ 389 h 513"/>
                <a:gd name="T8" fmla="*/ 0 w 388"/>
                <a:gd name="T9" fmla="*/ 0 h 513"/>
                <a:gd name="T10" fmla="*/ 388 w 388"/>
                <a:gd name="T11" fmla="*/ 0 h 513"/>
                <a:gd name="T12" fmla="*/ 388 w 388"/>
                <a:gd name="T13" fmla="*/ 70 h 513"/>
                <a:gd name="T14" fmla="*/ 263 w 388"/>
                <a:gd name="T15" fmla="*/ 195 h 513"/>
                <a:gd name="T16" fmla="*/ 388 w 388"/>
                <a:gd name="T17" fmla="*/ 319 h 513"/>
                <a:gd name="T18" fmla="*/ 388 w 388"/>
                <a:gd name="T19" fmla="*/ 389 h 513"/>
                <a:gd name="T20" fmla="*/ 240 w 388"/>
                <a:gd name="T21" fmla="*/ 389 h 513"/>
                <a:gd name="T22" fmla="*/ 238 w 388"/>
                <a:gd name="T23" fmla="*/ 435 h 513"/>
                <a:gd name="T24" fmla="*/ 247 w 388"/>
                <a:gd name="T25" fmla="*/ 463 h 513"/>
                <a:gd name="T26" fmla="*/ 193 w 388"/>
                <a:gd name="T27" fmla="*/ 513 h 513"/>
                <a:gd name="T28" fmla="*/ 141 w 388"/>
                <a:gd name="T29" fmla="*/ 463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8" h="513">
                  <a:moveTo>
                    <a:pt x="141" y="463"/>
                  </a:moveTo>
                  <a:cubicBezTo>
                    <a:pt x="141" y="452"/>
                    <a:pt x="145" y="443"/>
                    <a:pt x="148" y="435"/>
                  </a:cubicBezTo>
                  <a:cubicBezTo>
                    <a:pt x="156" y="415"/>
                    <a:pt x="171" y="393"/>
                    <a:pt x="148" y="389"/>
                  </a:cubicBezTo>
                  <a:cubicBezTo>
                    <a:pt x="0" y="389"/>
                    <a:pt x="0" y="389"/>
                    <a:pt x="0" y="38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88" y="0"/>
                    <a:pt x="388" y="0"/>
                    <a:pt x="388" y="0"/>
                  </a:cubicBezTo>
                  <a:cubicBezTo>
                    <a:pt x="388" y="70"/>
                    <a:pt x="388" y="70"/>
                    <a:pt x="388" y="70"/>
                  </a:cubicBezTo>
                  <a:cubicBezTo>
                    <a:pt x="319" y="70"/>
                    <a:pt x="263" y="126"/>
                    <a:pt x="263" y="195"/>
                  </a:cubicBezTo>
                  <a:cubicBezTo>
                    <a:pt x="263" y="263"/>
                    <a:pt x="319" y="319"/>
                    <a:pt x="388" y="319"/>
                  </a:cubicBezTo>
                  <a:cubicBezTo>
                    <a:pt x="388" y="389"/>
                    <a:pt x="388" y="389"/>
                    <a:pt x="388" y="389"/>
                  </a:cubicBezTo>
                  <a:cubicBezTo>
                    <a:pt x="240" y="389"/>
                    <a:pt x="240" y="389"/>
                    <a:pt x="240" y="389"/>
                  </a:cubicBezTo>
                  <a:cubicBezTo>
                    <a:pt x="216" y="393"/>
                    <a:pt x="231" y="415"/>
                    <a:pt x="238" y="435"/>
                  </a:cubicBezTo>
                  <a:cubicBezTo>
                    <a:pt x="242" y="443"/>
                    <a:pt x="247" y="452"/>
                    <a:pt x="247" y="463"/>
                  </a:cubicBezTo>
                  <a:cubicBezTo>
                    <a:pt x="247" y="491"/>
                    <a:pt x="223" y="513"/>
                    <a:pt x="193" y="513"/>
                  </a:cubicBezTo>
                  <a:cubicBezTo>
                    <a:pt x="164" y="513"/>
                    <a:pt x="141" y="491"/>
                    <a:pt x="141" y="4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de-DE" sz="1799" kern="0">
                <a:solidFill>
                  <a:srgbClr val="000000"/>
                </a:solidFill>
              </a:endParaRPr>
            </a:p>
          </p:txBody>
        </p:sp>
        <p:sp>
          <p:nvSpPr>
            <p:cNvPr id="861" name="Freeform 14">
              <a:extLst>
                <a:ext uri="{FF2B5EF4-FFF2-40B4-BE49-F238E27FC236}">
                  <a16:creationId xmlns:a16="http://schemas.microsoft.com/office/drawing/2014/main" id="{7CE037AE-986F-8FC4-6FC3-64CABA4B2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4425" y="1870075"/>
              <a:ext cx="628650" cy="476250"/>
            </a:xfrm>
            <a:custGeom>
              <a:avLst/>
              <a:gdLst>
                <a:gd name="T0" fmla="*/ 49 w 513"/>
                <a:gd name="T1" fmla="*/ 141 h 388"/>
                <a:gd name="T2" fmla="*/ 78 w 513"/>
                <a:gd name="T3" fmla="*/ 148 h 388"/>
                <a:gd name="T4" fmla="*/ 123 w 513"/>
                <a:gd name="T5" fmla="*/ 148 h 388"/>
                <a:gd name="T6" fmla="*/ 123 w 513"/>
                <a:gd name="T7" fmla="*/ 0 h 388"/>
                <a:gd name="T8" fmla="*/ 513 w 513"/>
                <a:gd name="T9" fmla="*/ 0 h 388"/>
                <a:gd name="T10" fmla="*/ 513 w 513"/>
                <a:gd name="T11" fmla="*/ 388 h 388"/>
                <a:gd name="T12" fmla="*/ 443 w 513"/>
                <a:gd name="T13" fmla="*/ 388 h 388"/>
                <a:gd name="T14" fmla="*/ 318 w 513"/>
                <a:gd name="T15" fmla="*/ 263 h 388"/>
                <a:gd name="T16" fmla="*/ 193 w 513"/>
                <a:gd name="T17" fmla="*/ 388 h 388"/>
                <a:gd name="T18" fmla="*/ 123 w 513"/>
                <a:gd name="T19" fmla="*/ 388 h 388"/>
                <a:gd name="T20" fmla="*/ 123 w 513"/>
                <a:gd name="T21" fmla="*/ 240 h 388"/>
                <a:gd name="T22" fmla="*/ 78 w 513"/>
                <a:gd name="T23" fmla="*/ 238 h 388"/>
                <a:gd name="T24" fmla="*/ 49 w 513"/>
                <a:gd name="T25" fmla="*/ 247 h 388"/>
                <a:gd name="T26" fmla="*/ 0 w 513"/>
                <a:gd name="T27" fmla="*/ 193 h 388"/>
                <a:gd name="T28" fmla="*/ 49 w 513"/>
                <a:gd name="T29" fmla="*/ 141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13" h="388">
                  <a:moveTo>
                    <a:pt x="49" y="141"/>
                  </a:moveTo>
                  <a:cubicBezTo>
                    <a:pt x="60" y="141"/>
                    <a:pt x="70" y="145"/>
                    <a:pt x="78" y="148"/>
                  </a:cubicBezTo>
                  <a:cubicBezTo>
                    <a:pt x="97" y="156"/>
                    <a:pt x="119" y="171"/>
                    <a:pt x="123" y="148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513" y="0"/>
                    <a:pt x="513" y="0"/>
                    <a:pt x="513" y="0"/>
                  </a:cubicBezTo>
                  <a:cubicBezTo>
                    <a:pt x="513" y="388"/>
                    <a:pt x="513" y="388"/>
                    <a:pt x="513" y="388"/>
                  </a:cubicBezTo>
                  <a:cubicBezTo>
                    <a:pt x="443" y="388"/>
                    <a:pt x="443" y="388"/>
                    <a:pt x="443" y="388"/>
                  </a:cubicBezTo>
                  <a:cubicBezTo>
                    <a:pt x="443" y="319"/>
                    <a:pt x="386" y="263"/>
                    <a:pt x="318" y="263"/>
                  </a:cubicBezTo>
                  <a:cubicBezTo>
                    <a:pt x="249" y="263"/>
                    <a:pt x="193" y="319"/>
                    <a:pt x="193" y="388"/>
                  </a:cubicBezTo>
                  <a:cubicBezTo>
                    <a:pt x="123" y="388"/>
                    <a:pt x="123" y="388"/>
                    <a:pt x="123" y="388"/>
                  </a:cubicBezTo>
                  <a:cubicBezTo>
                    <a:pt x="123" y="240"/>
                    <a:pt x="123" y="240"/>
                    <a:pt x="123" y="240"/>
                  </a:cubicBezTo>
                  <a:cubicBezTo>
                    <a:pt x="119" y="216"/>
                    <a:pt x="97" y="232"/>
                    <a:pt x="78" y="238"/>
                  </a:cubicBezTo>
                  <a:cubicBezTo>
                    <a:pt x="70" y="242"/>
                    <a:pt x="60" y="247"/>
                    <a:pt x="49" y="247"/>
                  </a:cubicBezTo>
                  <a:cubicBezTo>
                    <a:pt x="22" y="247"/>
                    <a:pt x="0" y="223"/>
                    <a:pt x="0" y="193"/>
                  </a:cubicBezTo>
                  <a:cubicBezTo>
                    <a:pt x="0" y="164"/>
                    <a:pt x="22" y="141"/>
                    <a:pt x="49" y="1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de-DE" sz="1799" kern="0">
                <a:solidFill>
                  <a:srgbClr val="000000"/>
                </a:solidFill>
              </a:endParaRPr>
            </a:p>
          </p:txBody>
        </p:sp>
      </p:grpSp>
      <p:grpSp>
        <p:nvGrpSpPr>
          <p:cNvPr id="862" name="Group 58">
            <a:extLst>
              <a:ext uri="{FF2B5EF4-FFF2-40B4-BE49-F238E27FC236}">
                <a16:creationId xmlns:a16="http://schemas.microsoft.com/office/drawing/2014/main" id="{5DC2408A-3573-0AFB-EBFB-F9294106A87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34680" y="3050585"/>
            <a:ext cx="538271" cy="538566"/>
            <a:chOff x="2933" y="1248"/>
            <a:chExt cx="1821" cy="1822"/>
          </a:xfrm>
          <a:solidFill>
            <a:srgbClr val="FFFFFF"/>
          </a:solidFill>
        </p:grpSpPr>
        <p:sp>
          <p:nvSpPr>
            <p:cNvPr id="863" name="Rectangle 59">
              <a:extLst>
                <a:ext uri="{FF2B5EF4-FFF2-40B4-BE49-F238E27FC236}">
                  <a16:creationId xmlns:a16="http://schemas.microsoft.com/office/drawing/2014/main" id="{EA721F6C-CF20-EC80-EC08-EDD0EDF93A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8" y="1943"/>
              <a:ext cx="430" cy="43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99" kern="0">
                <a:solidFill>
                  <a:srgbClr val="000000"/>
                </a:solidFill>
              </a:endParaRPr>
            </a:p>
          </p:txBody>
        </p:sp>
        <p:sp>
          <p:nvSpPr>
            <p:cNvPr id="864" name="Freeform 60">
              <a:extLst>
                <a:ext uri="{FF2B5EF4-FFF2-40B4-BE49-F238E27FC236}">
                  <a16:creationId xmlns:a16="http://schemas.microsoft.com/office/drawing/2014/main" id="{9E44C9D8-3401-B50A-2545-2C79172CD73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7" y="2479"/>
              <a:ext cx="593" cy="591"/>
            </a:xfrm>
            <a:custGeom>
              <a:avLst/>
              <a:gdLst>
                <a:gd name="T0" fmla="*/ 234 w 593"/>
                <a:gd name="T1" fmla="*/ 224 h 591"/>
                <a:gd name="T2" fmla="*/ 244 w 593"/>
                <a:gd name="T3" fmla="*/ 591 h 591"/>
                <a:gd name="T4" fmla="*/ 348 w 593"/>
                <a:gd name="T5" fmla="*/ 591 h 591"/>
                <a:gd name="T6" fmla="*/ 357 w 593"/>
                <a:gd name="T7" fmla="*/ 224 h 591"/>
                <a:gd name="T8" fmla="*/ 522 w 593"/>
                <a:gd name="T9" fmla="*/ 369 h 591"/>
                <a:gd name="T10" fmla="*/ 593 w 593"/>
                <a:gd name="T11" fmla="*/ 298 h 591"/>
                <a:gd name="T12" fmla="*/ 296 w 593"/>
                <a:gd name="T13" fmla="*/ 0 h 591"/>
                <a:gd name="T14" fmla="*/ 0 w 593"/>
                <a:gd name="T15" fmla="*/ 298 h 591"/>
                <a:gd name="T16" fmla="*/ 71 w 593"/>
                <a:gd name="T17" fmla="*/ 369 h 591"/>
                <a:gd name="T18" fmla="*/ 234 w 593"/>
                <a:gd name="T19" fmla="*/ 224 h 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3" h="591">
                  <a:moveTo>
                    <a:pt x="234" y="224"/>
                  </a:moveTo>
                  <a:lnTo>
                    <a:pt x="244" y="591"/>
                  </a:lnTo>
                  <a:lnTo>
                    <a:pt x="348" y="591"/>
                  </a:lnTo>
                  <a:lnTo>
                    <a:pt x="357" y="224"/>
                  </a:lnTo>
                  <a:lnTo>
                    <a:pt x="522" y="369"/>
                  </a:lnTo>
                  <a:lnTo>
                    <a:pt x="593" y="298"/>
                  </a:lnTo>
                  <a:lnTo>
                    <a:pt x="296" y="0"/>
                  </a:lnTo>
                  <a:lnTo>
                    <a:pt x="0" y="298"/>
                  </a:lnTo>
                  <a:lnTo>
                    <a:pt x="71" y="369"/>
                  </a:lnTo>
                  <a:lnTo>
                    <a:pt x="234" y="2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99" kern="0">
                <a:solidFill>
                  <a:srgbClr val="000000"/>
                </a:solidFill>
              </a:endParaRPr>
            </a:p>
          </p:txBody>
        </p:sp>
        <p:sp>
          <p:nvSpPr>
            <p:cNvPr id="865" name="Freeform 61">
              <a:extLst>
                <a:ext uri="{FF2B5EF4-FFF2-40B4-BE49-F238E27FC236}">
                  <a16:creationId xmlns:a16="http://schemas.microsoft.com/office/drawing/2014/main" id="{50BDC5CE-2877-9E5B-1422-18EDFAC8CDB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7" y="1248"/>
              <a:ext cx="593" cy="589"/>
            </a:xfrm>
            <a:custGeom>
              <a:avLst/>
              <a:gdLst>
                <a:gd name="T0" fmla="*/ 357 w 593"/>
                <a:gd name="T1" fmla="*/ 364 h 589"/>
                <a:gd name="T2" fmla="*/ 348 w 593"/>
                <a:gd name="T3" fmla="*/ 0 h 589"/>
                <a:gd name="T4" fmla="*/ 244 w 593"/>
                <a:gd name="T5" fmla="*/ 0 h 589"/>
                <a:gd name="T6" fmla="*/ 234 w 593"/>
                <a:gd name="T7" fmla="*/ 364 h 589"/>
                <a:gd name="T8" fmla="*/ 71 w 593"/>
                <a:gd name="T9" fmla="*/ 223 h 589"/>
                <a:gd name="T10" fmla="*/ 0 w 593"/>
                <a:gd name="T11" fmla="*/ 293 h 589"/>
                <a:gd name="T12" fmla="*/ 296 w 593"/>
                <a:gd name="T13" fmla="*/ 589 h 589"/>
                <a:gd name="T14" fmla="*/ 593 w 593"/>
                <a:gd name="T15" fmla="*/ 293 h 589"/>
                <a:gd name="T16" fmla="*/ 522 w 593"/>
                <a:gd name="T17" fmla="*/ 223 h 589"/>
                <a:gd name="T18" fmla="*/ 357 w 593"/>
                <a:gd name="T19" fmla="*/ 364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3" h="589">
                  <a:moveTo>
                    <a:pt x="357" y="364"/>
                  </a:moveTo>
                  <a:lnTo>
                    <a:pt x="348" y="0"/>
                  </a:lnTo>
                  <a:lnTo>
                    <a:pt x="244" y="0"/>
                  </a:lnTo>
                  <a:lnTo>
                    <a:pt x="234" y="364"/>
                  </a:lnTo>
                  <a:lnTo>
                    <a:pt x="71" y="223"/>
                  </a:lnTo>
                  <a:lnTo>
                    <a:pt x="0" y="293"/>
                  </a:lnTo>
                  <a:lnTo>
                    <a:pt x="296" y="589"/>
                  </a:lnTo>
                  <a:lnTo>
                    <a:pt x="593" y="293"/>
                  </a:lnTo>
                  <a:lnTo>
                    <a:pt x="522" y="223"/>
                  </a:lnTo>
                  <a:lnTo>
                    <a:pt x="357" y="3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99" kern="0">
                <a:solidFill>
                  <a:srgbClr val="000000"/>
                </a:solidFill>
              </a:endParaRPr>
            </a:p>
          </p:txBody>
        </p:sp>
        <p:sp>
          <p:nvSpPr>
            <p:cNvPr id="866" name="Freeform 62">
              <a:extLst>
                <a:ext uri="{FF2B5EF4-FFF2-40B4-BE49-F238E27FC236}">
                  <a16:creationId xmlns:a16="http://schemas.microsoft.com/office/drawing/2014/main" id="{6894CEA2-4FF1-8C04-BBE1-2C40D759EE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4" y="1863"/>
              <a:ext cx="590" cy="592"/>
            </a:xfrm>
            <a:custGeom>
              <a:avLst/>
              <a:gdLst>
                <a:gd name="T0" fmla="*/ 297 w 590"/>
                <a:gd name="T1" fmla="*/ 592 h 592"/>
                <a:gd name="T2" fmla="*/ 368 w 590"/>
                <a:gd name="T3" fmla="*/ 522 h 592"/>
                <a:gd name="T4" fmla="*/ 224 w 590"/>
                <a:gd name="T5" fmla="*/ 356 h 592"/>
                <a:gd name="T6" fmla="*/ 590 w 590"/>
                <a:gd name="T7" fmla="*/ 347 h 592"/>
                <a:gd name="T8" fmla="*/ 590 w 590"/>
                <a:gd name="T9" fmla="*/ 243 h 592"/>
                <a:gd name="T10" fmla="*/ 224 w 590"/>
                <a:gd name="T11" fmla="*/ 233 h 592"/>
                <a:gd name="T12" fmla="*/ 368 w 590"/>
                <a:gd name="T13" fmla="*/ 70 h 592"/>
                <a:gd name="T14" fmla="*/ 297 w 590"/>
                <a:gd name="T15" fmla="*/ 0 h 592"/>
                <a:gd name="T16" fmla="*/ 0 w 590"/>
                <a:gd name="T17" fmla="*/ 295 h 592"/>
                <a:gd name="T18" fmla="*/ 297 w 590"/>
                <a:gd name="T19" fmla="*/ 592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0" h="592">
                  <a:moveTo>
                    <a:pt x="297" y="592"/>
                  </a:moveTo>
                  <a:lnTo>
                    <a:pt x="368" y="522"/>
                  </a:lnTo>
                  <a:lnTo>
                    <a:pt x="224" y="356"/>
                  </a:lnTo>
                  <a:lnTo>
                    <a:pt x="590" y="347"/>
                  </a:lnTo>
                  <a:lnTo>
                    <a:pt x="590" y="243"/>
                  </a:lnTo>
                  <a:lnTo>
                    <a:pt x="224" y="233"/>
                  </a:lnTo>
                  <a:lnTo>
                    <a:pt x="368" y="70"/>
                  </a:lnTo>
                  <a:lnTo>
                    <a:pt x="297" y="0"/>
                  </a:lnTo>
                  <a:lnTo>
                    <a:pt x="0" y="295"/>
                  </a:lnTo>
                  <a:lnTo>
                    <a:pt x="297" y="59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99" kern="0">
                <a:solidFill>
                  <a:srgbClr val="000000"/>
                </a:solidFill>
              </a:endParaRPr>
            </a:p>
          </p:txBody>
        </p:sp>
        <p:sp>
          <p:nvSpPr>
            <p:cNvPr id="867" name="Freeform 63">
              <a:extLst>
                <a:ext uri="{FF2B5EF4-FFF2-40B4-BE49-F238E27FC236}">
                  <a16:creationId xmlns:a16="http://schemas.microsoft.com/office/drawing/2014/main" id="{14CF8585-FBFA-9D01-60BA-B7BA00ADE44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3" y="1863"/>
              <a:ext cx="588" cy="592"/>
            </a:xfrm>
            <a:custGeom>
              <a:avLst/>
              <a:gdLst>
                <a:gd name="T0" fmla="*/ 222 w 588"/>
                <a:gd name="T1" fmla="*/ 522 h 592"/>
                <a:gd name="T2" fmla="*/ 293 w 588"/>
                <a:gd name="T3" fmla="*/ 592 h 592"/>
                <a:gd name="T4" fmla="*/ 588 w 588"/>
                <a:gd name="T5" fmla="*/ 295 h 592"/>
                <a:gd name="T6" fmla="*/ 293 w 588"/>
                <a:gd name="T7" fmla="*/ 0 h 592"/>
                <a:gd name="T8" fmla="*/ 222 w 588"/>
                <a:gd name="T9" fmla="*/ 70 h 592"/>
                <a:gd name="T10" fmla="*/ 364 w 588"/>
                <a:gd name="T11" fmla="*/ 233 h 592"/>
                <a:gd name="T12" fmla="*/ 0 w 588"/>
                <a:gd name="T13" fmla="*/ 243 h 592"/>
                <a:gd name="T14" fmla="*/ 0 w 588"/>
                <a:gd name="T15" fmla="*/ 347 h 592"/>
                <a:gd name="T16" fmla="*/ 364 w 588"/>
                <a:gd name="T17" fmla="*/ 356 h 592"/>
                <a:gd name="T18" fmla="*/ 222 w 588"/>
                <a:gd name="T19" fmla="*/ 522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88" h="592">
                  <a:moveTo>
                    <a:pt x="222" y="522"/>
                  </a:moveTo>
                  <a:lnTo>
                    <a:pt x="293" y="592"/>
                  </a:lnTo>
                  <a:lnTo>
                    <a:pt x="588" y="295"/>
                  </a:lnTo>
                  <a:lnTo>
                    <a:pt x="293" y="0"/>
                  </a:lnTo>
                  <a:lnTo>
                    <a:pt x="222" y="70"/>
                  </a:lnTo>
                  <a:lnTo>
                    <a:pt x="364" y="233"/>
                  </a:lnTo>
                  <a:lnTo>
                    <a:pt x="0" y="243"/>
                  </a:lnTo>
                  <a:lnTo>
                    <a:pt x="0" y="347"/>
                  </a:lnTo>
                  <a:lnTo>
                    <a:pt x="364" y="356"/>
                  </a:lnTo>
                  <a:lnTo>
                    <a:pt x="222" y="52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99" kern="0">
                <a:solidFill>
                  <a:srgbClr val="000000"/>
                </a:solidFill>
              </a:endParaRPr>
            </a:p>
          </p:txBody>
        </p:sp>
      </p:grpSp>
      <p:sp>
        <p:nvSpPr>
          <p:cNvPr id="868" name="Freeform 40">
            <a:extLst>
              <a:ext uri="{FF2B5EF4-FFF2-40B4-BE49-F238E27FC236}">
                <a16:creationId xmlns:a16="http://schemas.microsoft.com/office/drawing/2014/main" id="{DB8956D6-7185-602A-79CC-C4CBF21E1793}"/>
              </a:ext>
            </a:extLst>
          </p:cNvPr>
          <p:cNvSpPr>
            <a:spLocks/>
          </p:cNvSpPr>
          <p:nvPr/>
        </p:nvSpPr>
        <p:spPr bwMode="auto">
          <a:xfrm rot="10800000">
            <a:off x="6140321" y="4078553"/>
            <a:ext cx="360564" cy="222524"/>
          </a:xfrm>
          <a:custGeom>
            <a:avLst/>
            <a:gdLst>
              <a:gd name="T0" fmla="*/ 839 w 1066"/>
              <a:gd name="T1" fmla="*/ 250 h 658"/>
              <a:gd name="T2" fmla="*/ 1021 w 1066"/>
              <a:gd name="T3" fmla="*/ 431 h 658"/>
              <a:gd name="T4" fmla="*/ 1021 w 1066"/>
              <a:gd name="T5" fmla="*/ 658 h 658"/>
              <a:gd name="T6" fmla="*/ 1066 w 1066"/>
              <a:gd name="T7" fmla="*/ 658 h 658"/>
              <a:gd name="T8" fmla="*/ 1066 w 1066"/>
              <a:gd name="T9" fmla="*/ 431 h 658"/>
              <a:gd name="T10" fmla="*/ 839 w 1066"/>
              <a:gd name="T11" fmla="*/ 204 h 658"/>
              <a:gd name="T12" fmla="*/ 567 w 1066"/>
              <a:gd name="T13" fmla="*/ 204 h 658"/>
              <a:gd name="T14" fmla="*/ 567 w 1066"/>
              <a:gd name="T15" fmla="*/ 136 h 658"/>
              <a:gd name="T16" fmla="*/ 522 w 1066"/>
              <a:gd name="T17" fmla="*/ 136 h 658"/>
              <a:gd name="T18" fmla="*/ 522 w 1066"/>
              <a:gd name="T19" fmla="*/ 68 h 658"/>
              <a:gd name="T20" fmla="*/ 363 w 1066"/>
              <a:gd name="T21" fmla="*/ 68 h 658"/>
              <a:gd name="T22" fmla="*/ 363 w 1066"/>
              <a:gd name="T23" fmla="*/ 0 h 658"/>
              <a:gd name="T24" fmla="*/ 182 w 1066"/>
              <a:gd name="T25" fmla="*/ 0 h 658"/>
              <a:gd name="T26" fmla="*/ 182 w 1066"/>
              <a:gd name="T27" fmla="*/ 91 h 658"/>
              <a:gd name="T28" fmla="*/ 34 w 1066"/>
              <a:gd name="T29" fmla="*/ 91 h 658"/>
              <a:gd name="T30" fmla="*/ 0 w 1066"/>
              <a:gd name="T31" fmla="*/ 125 h 658"/>
              <a:gd name="T32" fmla="*/ 0 w 1066"/>
              <a:gd name="T33" fmla="*/ 125 h 658"/>
              <a:gd name="T34" fmla="*/ 34 w 1066"/>
              <a:gd name="T35" fmla="*/ 159 h 658"/>
              <a:gd name="T36" fmla="*/ 182 w 1066"/>
              <a:gd name="T37" fmla="*/ 159 h 658"/>
              <a:gd name="T38" fmla="*/ 182 w 1066"/>
              <a:gd name="T39" fmla="*/ 295 h 658"/>
              <a:gd name="T40" fmla="*/ 34 w 1066"/>
              <a:gd name="T41" fmla="*/ 295 h 658"/>
              <a:gd name="T42" fmla="*/ 0 w 1066"/>
              <a:gd name="T43" fmla="*/ 329 h 658"/>
              <a:gd name="T44" fmla="*/ 0 w 1066"/>
              <a:gd name="T45" fmla="*/ 329 h 658"/>
              <a:gd name="T46" fmla="*/ 34 w 1066"/>
              <a:gd name="T47" fmla="*/ 363 h 658"/>
              <a:gd name="T48" fmla="*/ 182 w 1066"/>
              <a:gd name="T49" fmla="*/ 363 h 658"/>
              <a:gd name="T50" fmla="*/ 182 w 1066"/>
              <a:gd name="T51" fmla="*/ 454 h 658"/>
              <a:gd name="T52" fmla="*/ 363 w 1066"/>
              <a:gd name="T53" fmla="*/ 454 h 658"/>
              <a:gd name="T54" fmla="*/ 363 w 1066"/>
              <a:gd name="T55" fmla="*/ 386 h 658"/>
              <a:gd name="T56" fmla="*/ 522 w 1066"/>
              <a:gd name="T57" fmla="*/ 386 h 658"/>
              <a:gd name="T58" fmla="*/ 522 w 1066"/>
              <a:gd name="T59" fmla="*/ 318 h 658"/>
              <a:gd name="T60" fmla="*/ 567 w 1066"/>
              <a:gd name="T61" fmla="*/ 318 h 658"/>
              <a:gd name="T62" fmla="*/ 567 w 1066"/>
              <a:gd name="T63" fmla="*/ 250 h 658"/>
              <a:gd name="T64" fmla="*/ 839 w 1066"/>
              <a:gd name="T65" fmla="*/ 250 h 6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066" h="658">
                <a:moveTo>
                  <a:pt x="839" y="250"/>
                </a:moveTo>
                <a:cubicBezTo>
                  <a:pt x="939" y="250"/>
                  <a:pt x="1021" y="331"/>
                  <a:pt x="1021" y="431"/>
                </a:cubicBezTo>
                <a:cubicBezTo>
                  <a:pt x="1021" y="658"/>
                  <a:pt x="1021" y="658"/>
                  <a:pt x="1021" y="658"/>
                </a:cubicBezTo>
                <a:cubicBezTo>
                  <a:pt x="1066" y="658"/>
                  <a:pt x="1066" y="658"/>
                  <a:pt x="1066" y="658"/>
                </a:cubicBezTo>
                <a:cubicBezTo>
                  <a:pt x="1066" y="431"/>
                  <a:pt x="1066" y="431"/>
                  <a:pt x="1066" y="431"/>
                </a:cubicBezTo>
                <a:cubicBezTo>
                  <a:pt x="1066" y="306"/>
                  <a:pt x="964" y="204"/>
                  <a:pt x="839" y="204"/>
                </a:cubicBezTo>
                <a:cubicBezTo>
                  <a:pt x="567" y="204"/>
                  <a:pt x="567" y="204"/>
                  <a:pt x="567" y="204"/>
                </a:cubicBezTo>
                <a:cubicBezTo>
                  <a:pt x="567" y="136"/>
                  <a:pt x="567" y="136"/>
                  <a:pt x="567" y="136"/>
                </a:cubicBezTo>
                <a:cubicBezTo>
                  <a:pt x="522" y="136"/>
                  <a:pt x="522" y="136"/>
                  <a:pt x="522" y="136"/>
                </a:cubicBezTo>
                <a:cubicBezTo>
                  <a:pt x="522" y="68"/>
                  <a:pt x="522" y="68"/>
                  <a:pt x="522" y="68"/>
                </a:cubicBezTo>
                <a:cubicBezTo>
                  <a:pt x="363" y="68"/>
                  <a:pt x="363" y="68"/>
                  <a:pt x="363" y="68"/>
                </a:cubicBezTo>
                <a:cubicBezTo>
                  <a:pt x="363" y="0"/>
                  <a:pt x="363" y="0"/>
                  <a:pt x="363" y="0"/>
                </a:cubicBezTo>
                <a:cubicBezTo>
                  <a:pt x="182" y="0"/>
                  <a:pt x="182" y="0"/>
                  <a:pt x="182" y="0"/>
                </a:cubicBezTo>
                <a:cubicBezTo>
                  <a:pt x="182" y="91"/>
                  <a:pt x="182" y="91"/>
                  <a:pt x="182" y="91"/>
                </a:cubicBezTo>
                <a:cubicBezTo>
                  <a:pt x="34" y="91"/>
                  <a:pt x="34" y="91"/>
                  <a:pt x="34" y="91"/>
                </a:cubicBezTo>
                <a:cubicBezTo>
                  <a:pt x="15" y="91"/>
                  <a:pt x="0" y="106"/>
                  <a:pt x="0" y="125"/>
                </a:cubicBezTo>
                <a:cubicBezTo>
                  <a:pt x="0" y="125"/>
                  <a:pt x="0" y="125"/>
                  <a:pt x="0" y="125"/>
                </a:cubicBezTo>
                <a:cubicBezTo>
                  <a:pt x="0" y="144"/>
                  <a:pt x="15" y="159"/>
                  <a:pt x="34" y="159"/>
                </a:cubicBezTo>
                <a:cubicBezTo>
                  <a:pt x="182" y="159"/>
                  <a:pt x="182" y="159"/>
                  <a:pt x="182" y="159"/>
                </a:cubicBezTo>
                <a:cubicBezTo>
                  <a:pt x="182" y="295"/>
                  <a:pt x="182" y="295"/>
                  <a:pt x="182" y="295"/>
                </a:cubicBezTo>
                <a:cubicBezTo>
                  <a:pt x="34" y="295"/>
                  <a:pt x="34" y="295"/>
                  <a:pt x="34" y="295"/>
                </a:cubicBezTo>
                <a:cubicBezTo>
                  <a:pt x="15" y="295"/>
                  <a:pt x="0" y="310"/>
                  <a:pt x="0" y="329"/>
                </a:cubicBezTo>
                <a:cubicBezTo>
                  <a:pt x="0" y="329"/>
                  <a:pt x="0" y="329"/>
                  <a:pt x="0" y="329"/>
                </a:cubicBezTo>
                <a:cubicBezTo>
                  <a:pt x="0" y="348"/>
                  <a:pt x="15" y="363"/>
                  <a:pt x="34" y="363"/>
                </a:cubicBezTo>
                <a:cubicBezTo>
                  <a:pt x="182" y="363"/>
                  <a:pt x="182" y="363"/>
                  <a:pt x="182" y="363"/>
                </a:cubicBezTo>
                <a:cubicBezTo>
                  <a:pt x="182" y="454"/>
                  <a:pt x="182" y="454"/>
                  <a:pt x="182" y="454"/>
                </a:cubicBezTo>
                <a:cubicBezTo>
                  <a:pt x="363" y="454"/>
                  <a:pt x="363" y="454"/>
                  <a:pt x="363" y="454"/>
                </a:cubicBezTo>
                <a:cubicBezTo>
                  <a:pt x="363" y="386"/>
                  <a:pt x="363" y="386"/>
                  <a:pt x="363" y="386"/>
                </a:cubicBezTo>
                <a:cubicBezTo>
                  <a:pt x="522" y="386"/>
                  <a:pt x="522" y="386"/>
                  <a:pt x="522" y="386"/>
                </a:cubicBezTo>
                <a:cubicBezTo>
                  <a:pt x="522" y="318"/>
                  <a:pt x="522" y="318"/>
                  <a:pt x="522" y="318"/>
                </a:cubicBezTo>
                <a:cubicBezTo>
                  <a:pt x="567" y="318"/>
                  <a:pt x="567" y="318"/>
                  <a:pt x="567" y="318"/>
                </a:cubicBezTo>
                <a:cubicBezTo>
                  <a:pt x="567" y="250"/>
                  <a:pt x="567" y="250"/>
                  <a:pt x="567" y="250"/>
                </a:cubicBezTo>
                <a:lnTo>
                  <a:pt x="839" y="25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110000"/>
              </a:lnSpc>
              <a:spcBef>
                <a:spcPct val="0"/>
              </a:spcBef>
              <a:defRPr/>
            </a:pPr>
            <a:endParaRPr lang="en-US" sz="1399" kern="140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873" name="TextBox 83">
            <a:extLst>
              <a:ext uri="{FF2B5EF4-FFF2-40B4-BE49-F238E27FC236}">
                <a16:creationId xmlns:a16="http://schemas.microsoft.com/office/drawing/2014/main" id="{12FCECAA-3873-063D-B77E-4603B119BC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5316" y="2652018"/>
            <a:ext cx="5804736" cy="298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de-DE"/>
            </a:defPPr>
            <a:lvl1pPr algn="ctr" eaLnBrk="1" hangingPunct="1">
              <a:buClr>
                <a:srgbClr val="949EAA"/>
              </a:buClr>
              <a:defRPr sz="1100" b="1">
                <a:solidFill>
                  <a:srgbClr val="00646E"/>
                </a:solidFill>
                <a:latin typeface="Arial" charset="0"/>
                <a:ea typeface="宋体" pitchFamily="2" charset="-122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defTabSz="91348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altLang="en-US" sz="1298" kern="0" dirty="0">
              <a:solidFill>
                <a:srgbClr val="FFFFFF"/>
              </a:solidFill>
            </a:endParaRPr>
          </a:p>
        </p:txBody>
      </p:sp>
      <p:sp>
        <p:nvSpPr>
          <p:cNvPr id="875" name="TextBox 83">
            <a:extLst>
              <a:ext uri="{FF2B5EF4-FFF2-40B4-BE49-F238E27FC236}">
                <a16:creationId xmlns:a16="http://schemas.microsoft.com/office/drawing/2014/main" id="{9409D49D-F497-C08C-3414-9EE33F2F0C1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1726" y="4183300"/>
            <a:ext cx="4698487" cy="298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de-DE"/>
            </a:defPPr>
            <a:lvl1pPr algn="ctr" eaLnBrk="1" hangingPunct="1">
              <a:buClr>
                <a:srgbClr val="949EAA"/>
              </a:buClr>
              <a:defRPr sz="1100" b="1">
                <a:solidFill>
                  <a:srgbClr val="00646E"/>
                </a:solidFill>
                <a:latin typeface="Arial" charset="0"/>
                <a:ea typeface="宋体" pitchFamily="2" charset="-122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defTabSz="91348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en-US" sz="1298" kern="0" dirty="0">
                <a:solidFill>
                  <a:srgbClr val="FFFFFF"/>
                </a:solidFill>
                <a:latin typeface="Arial" pitchFamily="34" charset="0"/>
                <a:ea typeface="ＭＳ Ｐゴシック" charset="-128"/>
              </a:rPr>
              <a:t>               Connectivity</a:t>
            </a:r>
            <a:endParaRPr lang="en-US" altLang="en-US" sz="1298" kern="0" dirty="0">
              <a:solidFill>
                <a:srgbClr val="FFFFFF"/>
              </a:solidFill>
            </a:endParaRPr>
          </a:p>
        </p:txBody>
      </p:sp>
      <p:grpSp>
        <p:nvGrpSpPr>
          <p:cNvPr id="887" name="Group 886">
            <a:extLst>
              <a:ext uri="{FF2B5EF4-FFF2-40B4-BE49-F238E27FC236}">
                <a16:creationId xmlns:a16="http://schemas.microsoft.com/office/drawing/2014/main" id="{F3A3E80E-496A-09BC-4A7F-6217BD514074}"/>
              </a:ext>
            </a:extLst>
          </p:cNvPr>
          <p:cNvGrpSpPr/>
          <p:nvPr/>
        </p:nvGrpSpPr>
        <p:grpSpPr>
          <a:xfrm>
            <a:off x="87923" y="4656113"/>
            <a:ext cx="5765357" cy="989441"/>
            <a:chOff x="635443" y="5513701"/>
            <a:chExt cx="10827247" cy="1422040"/>
          </a:xfrm>
        </p:grpSpPr>
        <p:sp>
          <p:nvSpPr>
            <p:cNvPr id="32" name="Down Arrow 4">
              <a:extLst>
                <a:ext uri="{FF2B5EF4-FFF2-40B4-BE49-F238E27FC236}">
                  <a16:creationId xmlns:a16="http://schemas.microsoft.com/office/drawing/2014/main" id="{9F57E5A9-68F4-55E3-76F1-7CC669C74733}"/>
                </a:ext>
              </a:extLst>
            </p:cNvPr>
            <p:cNvSpPr/>
            <p:nvPr/>
          </p:nvSpPr>
          <p:spPr bwMode="auto">
            <a:xfrm flipV="1">
              <a:off x="651497" y="5932811"/>
              <a:ext cx="10811193" cy="903693"/>
            </a:xfrm>
            <a:prstGeom prst="downArrow">
              <a:avLst>
                <a:gd name="adj1" fmla="val 50000"/>
                <a:gd name="adj2" fmla="val 100000"/>
              </a:avLst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00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grpSp>
          <p:nvGrpSpPr>
            <p:cNvPr id="33" name="Gruppieren 2">
              <a:extLst>
                <a:ext uri="{FF2B5EF4-FFF2-40B4-BE49-F238E27FC236}">
                  <a16:creationId xmlns:a16="http://schemas.microsoft.com/office/drawing/2014/main" id="{608E5190-93DA-BC43-D1CD-583EA7CFA4D9}"/>
                </a:ext>
              </a:extLst>
            </p:cNvPr>
            <p:cNvGrpSpPr/>
            <p:nvPr/>
          </p:nvGrpSpPr>
          <p:grpSpPr>
            <a:xfrm>
              <a:off x="900233" y="5528698"/>
              <a:ext cx="4335028" cy="1394352"/>
              <a:chOff x="667960" y="3350946"/>
              <a:chExt cx="11591926" cy="3728517"/>
            </a:xfrm>
          </p:grpSpPr>
          <p:sp>
            <p:nvSpPr>
              <p:cNvPr id="34" name="Line 8">
                <a:extLst>
                  <a:ext uri="{FF2B5EF4-FFF2-40B4-BE49-F238E27FC236}">
                    <a16:creationId xmlns:a16="http://schemas.microsoft.com/office/drawing/2014/main" id="{F19E3257-C911-4CDB-9671-D8F8C43140A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645410" y="5893530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5" name="Line 9">
                <a:extLst>
                  <a:ext uri="{FF2B5EF4-FFF2-40B4-BE49-F238E27FC236}">
                    <a16:creationId xmlns:a16="http://schemas.microsoft.com/office/drawing/2014/main" id="{590CC065-4DCA-D7B7-2FA7-A60B081FBB3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645410" y="5893530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6" name="Freeform 23">
                <a:extLst>
                  <a:ext uri="{FF2B5EF4-FFF2-40B4-BE49-F238E27FC236}">
                    <a16:creationId xmlns:a16="http://schemas.microsoft.com/office/drawing/2014/main" id="{6E0FEC19-A353-54ED-2737-C4E24E4C23A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96082" y="6244022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8 h 32"/>
                  <a:gd name="T14" fmla="*/ 16 w 21"/>
                  <a:gd name="T15" fmla="*/ 16 h 32"/>
                  <a:gd name="T16" fmla="*/ 11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1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1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7" name="Freeform 24">
                <a:extLst>
                  <a:ext uri="{FF2B5EF4-FFF2-40B4-BE49-F238E27FC236}">
                    <a16:creationId xmlns:a16="http://schemas.microsoft.com/office/drawing/2014/main" id="{2A092B41-81ED-01A3-2B00-11B0310202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96082" y="6435886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5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8" name="Freeform 25">
                <a:extLst>
                  <a:ext uri="{FF2B5EF4-FFF2-40B4-BE49-F238E27FC236}">
                    <a16:creationId xmlns:a16="http://schemas.microsoft.com/office/drawing/2014/main" id="{B1BE8BFB-81B7-56C9-C0CD-78F7BCDB99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9103" y="6818104"/>
                <a:ext cx="64962" cy="11028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2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2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9" name="Freeform 43">
                <a:extLst>
                  <a:ext uri="{FF2B5EF4-FFF2-40B4-BE49-F238E27FC236}">
                    <a16:creationId xmlns:a16="http://schemas.microsoft.com/office/drawing/2014/main" id="{715969C7-A199-0A00-902D-89E6DA87186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7960" y="6443440"/>
                <a:ext cx="63451" cy="9366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5" y="0"/>
                      <a:pt x="18" y="5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0" name="Freeform 44">
                <a:extLst>
                  <a:ext uri="{FF2B5EF4-FFF2-40B4-BE49-F238E27FC236}">
                    <a16:creationId xmlns:a16="http://schemas.microsoft.com/office/drawing/2014/main" id="{6A47D649-FA7E-D5D3-71BF-387E989B30F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7960" y="6597536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1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1" name="Freeform 45">
                <a:extLst>
                  <a:ext uri="{FF2B5EF4-FFF2-40B4-BE49-F238E27FC236}">
                    <a16:creationId xmlns:a16="http://schemas.microsoft.com/office/drawing/2014/main" id="{8E7098C6-8C5C-9D3B-18F9-10F2C3C707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0981" y="6904216"/>
                <a:ext cx="49855" cy="89134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49 h 59"/>
                  <a:gd name="T20" fmla="*/ 17 w 33"/>
                  <a:gd name="T21" fmla="*/ 49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2" name="Freeform 63">
                <a:extLst>
                  <a:ext uri="{FF2B5EF4-FFF2-40B4-BE49-F238E27FC236}">
                    <a16:creationId xmlns:a16="http://schemas.microsoft.com/office/drawing/2014/main" id="{3D3453D1-BFB4-3EEA-45F1-1C94CCA9F93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98397" y="6443440"/>
                <a:ext cx="60430" cy="9366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4" y="0"/>
                      <a:pt x="17" y="5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3" name="Freeform 64">
                <a:extLst>
                  <a:ext uri="{FF2B5EF4-FFF2-40B4-BE49-F238E27FC236}">
                    <a16:creationId xmlns:a16="http://schemas.microsoft.com/office/drawing/2014/main" id="{2D61F99E-3E30-D38E-AFE5-19EEC7BED6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98397" y="6597536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1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4" name="Freeform 65">
                <a:extLst>
                  <a:ext uri="{FF2B5EF4-FFF2-40B4-BE49-F238E27FC236}">
                    <a16:creationId xmlns:a16="http://schemas.microsoft.com/office/drawing/2014/main" id="{173DE645-51BE-EA6A-F0B9-B2D0D38140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2929" y="6904216"/>
                <a:ext cx="49855" cy="89134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49 h 59"/>
                  <a:gd name="T20" fmla="*/ 16 w 33"/>
                  <a:gd name="T21" fmla="*/ 49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5" name="Freeform 83">
                <a:extLst>
                  <a:ext uri="{FF2B5EF4-FFF2-40B4-BE49-F238E27FC236}">
                    <a16:creationId xmlns:a16="http://schemas.microsoft.com/office/drawing/2014/main" id="{857EA925-37FB-3BCC-42E6-E042AC914F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2097" y="6450993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3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6" name="Freeform 84">
                <a:extLst>
                  <a:ext uri="{FF2B5EF4-FFF2-40B4-BE49-F238E27FC236}">
                    <a16:creationId xmlns:a16="http://schemas.microsoft.com/office/drawing/2014/main" id="{6EDA2433-5C3E-AB1C-8428-46F320E9F5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39076" y="6718395"/>
                <a:ext cx="110285" cy="164671"/>
              </a:xfrm>
              <a:custGeom>
                <a:avLst/>
                <a:gdLst>
                  <a:gd name="T0" fmla="*/ 31 w 31"/>
                  <a:gd name="T1" fmla="*/ 23 h 46"/>
                  <a:gd name="T2" fmla="*/ 15 w 31"/>
                  <a:gd name="T3" fmla="*/ 46 h 46"/>
                  <a:gd name="T4" fmla="*/ 0 w 31"/>
                  <a:gd name="T5" fmla="*/ 23 h 46"/>
                  <a:gd name="T6" fmla="*/ 15 w 31"/>
                  <a:gd name="T7" fmla="*/ 0 h 46"/>
                  <a:gd name="T8" fmla="*/ 31 w 31"/>
                  <a:gd name="T9" fmla="*/ 23 h 46"/>
                  <a:gd name="T10" fmla="*/ 8 w 31"/>
                  <a:gd name="T11" fmla="*/ 23 h 46"/>
                  <a:gd name="T12" fmla="*/ 15 w 31"/>
                  <a:gd name="T13" fmla="*/ 39 h 46"/>
                  <a:gd name="T14" fmla="*/ 23 w 31"/>
                  <a:gd name="T15" fmla="*/ 23 h 46"/>
                  <a:gd name="T16" fmla="*/ 15 w 31"/>
                  <a:gd name="T17" fmla="*/ 7 h 46"/>
                  <a:gd name="T18" fmla="*/ 8 w 31"/>
                  <a:gd name="T19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6">
                    <a:moveTo>
                      <a:pt x="31" y="23"/>
                    </a:moveTo>
                    <a:cubicBezTo>
                      <a:pt x="31" y="38"/>
                      <a:pt x="26" y="46"/>
                      <a:pt x="15" y="46"/>
                    </a:cubicBezTo>
                    <a:cubicBezTo>
                      <a:pt x="5" y="46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7"/>
                      <a:pt x="15" y="7"/>
                    </a:cubicBezTo>
                    <a:cubicBezTo>
                      <a:pt x="10" y="7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7" name="Freeform 95">
                <a:extLst>
                  <a:ext uri="{FF2B5EF4-FFF2-40B4-BE49-F238E27FC236}">
                    <a16:creationId xmlns:a16="http://schemas.microsoft.com/office/drawing/2014/main" id="{F9B589DF-5BA0-960E-0A9D-A88ABDDCBB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4031" y="5565699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8" name="Freeform 96">
                <a:extLst>
                  <a:ext uri="{FF2B5EF4-FFF2-40B4-BE49-F238E27FC236}">
                    <a16:creationId xmlns:a16="http://schemas.microsoft.com/office/drawing/2014/main" id="{8334D596-C3C9-2C5A-BC80-C26B1DE6D9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09499" y="5712241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9" name="Freeform 97">
                <a:extLst>
                  <a:ext uri="{FF2B5EF4-FFF2-40B4-BE49-F238E27FC236}">
                    <a16:creationId xmlns:a16="http://schemas.microsoft.com/office/drawing/2014/main" id="{75FF8E31-FF38-4926-ABA1-4C2AE1DC62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4031" y="5858783"/>
                <a:ext cx="52876" cy="84602"/>
              </a:xfrm>
              <a:custGeom>
                <a:avLst/>
                <a:gdLst>
                  <a:gd name="T0" fmla="*/ 16 w 35"/>
                  <a:gd name="T1" fmla="*/ 14 h 56"/>
                  <a:gd name="T2" fmla="*/ 7 w 35"/>
                  <a:gd name="T3" fmla="*/ 21 h 56"/>
                  <a:gd name="T4" fmla="*/ 0 w 35"/>
                  <a:gd name="T5" fmla="*/ 11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4"/>
                    </a:moveTo>
                    <a:lnTo>
                      <a:pt x="7" y="21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0" name="Freeform 98">
                <a:extLst>
                  <a:ext uri="{FF2B5EF4-FFF2-40B4-BE49-F238E27FC236}">
                    <a16:creationId xmlns:a16="http://schemas.microsoft.com/office/drawing/2014/main" id="{A0E81E95-23F0-DC41-A8F3-AB2EF566C7A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09499" y="6005325"/>
                <a:ext cx="67984" cy="84602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1" name="Freeform 99">
                <a:extLst>
                  <a:ext uri="{FF2B5EF4-FFF2-40B4-BE49-F238E27FC236}">
                    <a16:creationId xmlns:a16="http://schemas.microsoft.com/office/drawing/2014/main" id="{B9741277-8794-BC21-2552-0BE5B6CEE0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4031" y="6150356"/>
                <a:ext cx="52876" cy="86113"/>
              </a:xfrm>
              <a:custGeom>
                <a:avLst/>
                <a:gdLst>
                  <a:gd name="T0" fmla="*/ 16 w 35"/>
                  <a:gd name="T1" fmla="*/ 15 h 57"/>
                  <a:gd name="T2" fmla="*/ 7 w 35"/>
                  <a:gd name="T3" fmla="*/ 22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8 h 57"/>
                  <a:gd name="T12" fmla="*/ 35 w 35"/>
                  <a:gd name="T13" fmla="*/ 48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8 h 57"/>
                  <a:gd name="T20" fmla="*/ 16 w 35"/>
                  <a:gd name="T21" fmla="*/ 48 h 57"/>
                  <a:gd name="T22" fmla="*/ 16 w 35"/>
                  <a:gd name="T23" fmla="*/ 1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5"/>
                    </a:moveTo>
                    <a:lnTo>
                      <a:pt x="7" y="22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5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2" name="Freeform 100">
                <a:extLst>
                  <a:ext uri="{FF2B5EF4-FFF2-40B4-BE49-F238E27FC236}">
                    <a16:creationId xmlns:a16="http://schemas.microsoft.com/office/drawing/2014/main" id="{27B7C755-8F42-375E-E9BE-4EBB9C2A14D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09499" y="6296898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3" name="Freeform 101">
                <a:extLst>
                  <a:ext uri="{FF2B5EF4-FFF2-40B4-BE49-F238E27FC236}">
                    <a16:creationId xmlns:a16="http://schemas.microsoft.com/office/drawing/2014/main" id="{A6EA004B-3E46-D855-2D8C-7CA3EE7D0E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4031" y="6443440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4" name="Freeform 102">
                <a:extLst>
                  <a:ext uri="{FF2B5EF4-FFF2-40B4-BE49-F238E27FC236}">
                    <a16:creationId xmlns:a16="http://schemas.microsoft.com/office/drawing/2014/main" id="{7ECAC514-D3FE-BBCD-8916-0FB659893A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4031" y="6589982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5" name="Freeform 103">
                <a:extLst>
                  <a:ext uri="{FF2B5EF4-FFF2-40B4-BE49-F238E27FC236}">
                    <a16:creationId xmlns:a16="http://schemas.microsoft.com/office/drawing/2014/main" id="{21B4C9E1-733C-3FF4-4227-30D723429F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4031" y="6739546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5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5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6" name="Freeform 104">
                <a:extLst>
                  <a:ext uri="{FF2B5EF4-FFF2-40B4-BE49-F238E27FC236}">
                    <a16:creationId xmlns:a16="http://schemas.microsoft.com/office/drawing/2014/main" id="{5F332464-E019-2400-F24C-0BEE3B4921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09499" y="6883066"/>
                <a:ext cx="67984" cy="89134"/>
              </a:xfrm>
              <a:custGeom>
                <a:avLst/>
                <a:gdLst>
                  <a:gd name="T0" fmla="*/ 17 w 19"/>
                  <a:gd name="T1" fmla="*/ 4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4 h 25"/>
                  <a:gd name="T16" fmla="*/ 6 w 19"/>
                  <a:gd name="T17" fmla="*/ 12 h 25"/>
                  <a:gd name="T18" fmla="*/ 10 w 19"/>
                  <a:gd name="T19" fmla="*/ 20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3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7" name="Freeform 135">
                <a:extLst>
                  <a:ext uri="{FF2B5EF4-FFF2-40B4-BE49-F238E27FC236}">
                    <a16:creationId xmlns:a16="http://schemas.microsoft.com/office/drawing/2014/main" id="{5532552D-75A9-95BD-0605-2BCC4CE1BE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4121" y="5932809"/>
                <a:ext cx="60430" cy="111795"/>
              </a:xfrm>
              <a:custGeom>
                <a:avLst/>
                <a:gdLst>
                  <a:gd name="T0" fmla="*/ 19 w 40"/>
                  <a:gd name="T1" fmla="*/ 14 h 74"/>
                  <a:gd name="T2" fmla="*/ 4 w 40"/>
                  <a:gd name="T3" fmla="*/ 24 h 74"/>
                  <a:gd name="T4" fmla="*/ 0 w 40"/>
                  <a:gd name="T5" fmla="*/ 14 h 74"/>
                  <a:gd name="T6" fmla="*/ 21 w 40"/>
                  <a:gd name="T7" fmla="*/ 0 h 74"/>
                  <a:gd name="T8" fmla="*/ 30 w 40"/>
                  <a:gd name="T9" fmla="*/ 0 h 74"/>
                  <a:gd name="T10" fmla="*/ 30 w 40"/>
                  <a:gd name="T11" fmla="*/ 64 h 74"/>
                  <a:gd name="T12" fmla="*/ 40 w 40"/>
                  <a:gd name="T13" fmla="*/ 64 h 74"/>
                  <a:gd name="T14" fmla="*/ 40 w 40"/>
                  <a:gd name="T15" fmla="*/ 74 h 74"/>
                  <a:gd name="T16" fmla="*/ 9 w 40"/>
                  <a:gd name="T17" fmla="*/ 74 h 74"/>
                  <a:gd name="T18" fmla="*/ 9 w 40"/>
                  <a:gd name="T19" fmla="*/ 64 h 74"/>
                  <a:gd name="T20" fmla="*/ 19 w 40"/>
                  <a:gd name="T21" fmla="*/ 64 h 74"/>
                  <a:gd name="T22" fmla="*/ 19 w 40"/>
                  <a:gd name="T23" fmla="*/ 1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4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4"/>
                    </a:lnTo>
                    <a:lnTo>
                      <a:pt x="9" y="74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8" name="Freeform 136">
                <a:extLst>
                  <a:ext uri="{FF2B5EF4-FFF2-40B4-BE49-F238E27FC236}">
                    <a16:creationId xmlns:a16="http://schemas.microsoft.com/office/drawing/2014/main" id="{425CC1A9-D43E-E137-3417-15BA112919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459589" y="6121652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8 h 32"/>
                  <a:gd name="T14" fmla="*/ 16 w 21"/>
                  <a:gd name="T15" fmla="*/ 16 h 32"/>
                  <a:gd name="T16" fmla="*/ 10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0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0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9" name="Freeform 137">
                <a:extLst>
                  <a:ext uri="{FF2B5EF4-FFF2-40B4-BE49-F238E27FC236}">
                    <a16:creationId xmlns:a16="http://schemas.microsoft.com/office/drawing/2014/main" id="{FAEB5612-BAC6-23EF-2926-2225B8C5D2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459589" y="6503870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6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0" name="Freeform 138">
                <a:extLst>
                  <a:ext uri="{FF2B5EF4-FFF2-40B4-BE49-F238E27FC236}">
                    <a16:creationId xmlns:a16="http://schemas.microsoft.com/office/drawing/2014/main" id="{55200088-BEC9-20B2-C23A-2058310E85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4121" y="6697245"/>
                <a:ext cx="60430" cy="107263"/>
              </a:xfrm>
              <a:custGeom>
                <a:avLst/>
                <a:gdLst>
                  <a:gd name="T0" fmla="*/ 19 w 40"/>
                  <a:gd name="T1" fmla="*/ 12 h 71"/>
                  <a:gd name="T2" fmla="*/ 4 w 40"/>
                  <a:gd name="T3" fmla="*/ 21 h 71"/>
                  <a:gd name="T4" fmla="*/ 0 w 40"/>
                  <a:gd name="T5" fmla="*/ 12 h 71"/>
                  <a:gd name="T6" fmla="*/ 21 w 40"/>
                  <a:gd name="T7" fmla="*/ 0 h 71"/>
                  <a:gd name="T8" fmla="*/ 30 w 40"/>
                  <a:gd name="T9" fmla="*/ 0 h 71"/>
                  <a:gd name="T10" fmla="*/ 30 w 40"/>
                  <a:gd name="T11" fmla="*/ 64 h 71"/>
                  <a:gd name="T12" fmla="*/ 40 w 40"/>
                  <a:gd name="T13" fmla="*/ 64 h 71"/>
                  <a:gd name="T14" fmla="*/ 40 w 40"/>
                  <a:gd name="T15" fmla="*/ 71 h 71"/>
                  <a:gd name="T16" fmla="*/ 9 w 40"/>
                  <a:gd name="T17" fmla="*/ 71 h 71"/>
                  <a:gd name="T18" fmla="*/ 9 w 40"/>
                  <a:gd name="T19" fmla="*/ 64 h 71"/>
                  <a:gd name="T20" fmla="*/ 19 w 40"/>
                  <a:gd name="T21" fmla="*/ 64 h 71"/>
                  <a:gd name="T22" fmla="*/ 19 w 40"/>
                  <a:gd name="T23" fmla="*/ 1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1">
                    <a:moveTo>
                      <a:pt x="19" y="12"/>
                    </a:moveTo>
                    <a:lnTo>
                      <a:pt x="4" y="21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1"/>
                    </a:lnTo>
                    <a:lnTo>
                      <a:pt x="9" y="71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1" name="Freeform 139">
                <a:extLst>
                  <a:ext uri="{FF2B5EF4-FFF2-40B4-BE49-F238E27FC236}">
                    <a16:creationId xmlns:a16="http://schemas.microsoft.com/office/drawing/2014/main" id="{236E65E5-D26E-DA05-2513-1A2C0F5D93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4121" y="6886087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2" name="Freeform 149">
                <a:extLst>
                  <a:ext uri="{FF2B5EF4-FFF2-40B4-BE49-F238E27FC236}">
                    <a16:creationId xmlns:a16="http://schemas.microsoft.com/office/drawing/2014/main" id="{BD2FDCE0-92E4-0391-3785-6EF02F7565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0421" y="5576274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3" name="Freeform 150">
                <a:extLst>
                  <a:ext uri="{FF2B5EF4-FFF2-40B4-BE49-F238E27FC236}">
                    <a16:creationId xmlns:a16="http://schemas.microsoft.com/office/drawing/2014/main" id="{9E24977C-BE57-6EF3-6305-000087CFEB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12867" y="5858783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4" name="Freeform 151">
                <a:extLst>
                  <a:ext uri="{FF2B5EF4-FFF2-40B4-BE49-F238E27FC236}">
                    <a16:creationId xmlns:a16="http://schemas.microsoft.com/office/drawing/2014/main" id="{9A18F851-7666-746C-D813-FBD746682A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0421" y="6147335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5" name="Freeform 152">
                <a:extLst>
                  <a:ext uri="{FF2B5EF4-FFF2-40B4-BE49-F238E27FC236}">
                    <a16:creationId xmlns:a16="http://schemas.microsoft.com/office/drawing/2014/main" id="{E827A52B-8E58-A4CF-DDA2-F5CC9EE5A1F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12867" y="6429843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6" name="Freeform 153">
                <a:extLst>
                  <a:ext uri="{FF2B5EF4-FFF2-40B4-BE49-F238E27FC236}">
                    <a16:creationId xmlns:a16="http://schemas.microsoft.com/office/drawing/2014/main" id="{DBA5F74B-263C-F133-98C4-B385726915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0421" y="6718395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7" name="Line 8">
                <a:extLst>
                  <a:ext uri="{FF2B5EF4-FFF2-40B4-BE49-F238E27FC236}">
                    <a16:creationId xmlns:a16="http://schemas.microsoft.com/office/drawing/2014/main" id="{F2FB4E0B-C3FF-7B31-0B1F-19D624F4AFD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81365" y="5104923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8" name="Line 9">
                <a:extLst>
                  <a:ext uri="{FF2B5EF4-FFF2-40B4-BE49-F238E27FC236}">
                    <a16:creationId xmlns:a16="http://schemas.microsoft.com/office/drawing/2014/main" id="{838C01D8-E8ED-98BA-B44A-F74F3D1788C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81365" y="5104923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9" name="Freeform 10">
                <a:extLst>
                  <a:ext uri="{FF2B5EF4-FFF2-40B4-BE49-F238E27FC236}">
                    <a16:creationId xmlns:a16="http://schemas.microsoft.com/office/drawing/2014/main" id="{6E64542C-FFB0-77C4-B773-23AD250B89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8475" y="6176038"/>
                <a:ext cx="99709" cy="157117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8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7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7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8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7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7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0" name="Freeform 11">
                <a:extLst>
                  <a:ext uri="{FF2B5EF4-FFF2-40B4-BE49-F238E27FC236}">
                    <a16:creationId xmlns:a16="http://schemas.microsoft.com/office/drawing/2014/main" id="{072DE4E0-1FAD-1C11-E940-28C6B883BD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34879" y="6443440"/>
                <a:ext cx="120859" cy="164671"/>
              </a:xfrm>
              <a:custGeom>
                <a:avLst/>
                <a:gdLst>
                  <a:gd name="T0" fmla="*/ 32 w 34"/>
                  <a:gd name="T1" fmla="*/ 8 h 46"/>
                  <a:gd name="T2" fmla="*/ 34 w 34"/>
                  <a:gd name="T3" fmla="*/ 23 h 46"/>
                  <a:gd name="T4" fmla="*/ 31 w 34"/>
                  <a:gd name="T5" fmla="*/ 39 h 46"/>
                  <a:gd name="T6" fmla="*/ 17 w 34"/>
                  <a:gd name="T7" fmla="*/ 46 h 46"/>
                  <a:gd name="T8" fmla="*/ 3 w 34"/>
                  <a:gd name="T9" fmla="*/ 37 h 46"/>
                  <a:gd name="T10" fmla="*/ 0 w 34"/>
                  <a:gd name="T11" fmla="*/ 23 h 46"/>
                  <a:gd name="T12" fmla="*/ 17 w 34"/>
                  <a:gd name="T13" fmla="*/ 0 h 46"/>
                  <a:gd name="T14" fmla="*/ 32 w 34"/>
                  <a:gd name="T15" fmla="*/ 8 h 46"/>
                  <a:gd name="T16" fmla="*/ 10 w 34"/>
                  <a:gd name="T17" fmla="*/ 23 h 46"/>
                  <a:gd name="T18" fmla="*/ 17 w 34"/>
                  <a:gd name="T19" fmla="*/ 38 h 46"/>
                  <a:gd name="T20" fmla="*/ 25 w 34"/>
                  <a:gd name="T21" fmla="*/ 23 h 46"/>
                  <a:gd name="T22" fmla="*/ 17 w 34"/>
                  <a:gd name="T23" fmla="*/ 8 h 46"/>
                  <a:gd name="T24" fmla="*/ 10 w 34"/>
                  <a:gd name="T25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46">
                    <a:moveTo>
                      <a:pt x="32" y="8"/>
                    </a:moveTo>
                    <a:cubicBezTo>
                      <a:pt x="34" y="12"/>
                      <a:pt x="34" y="16"/>
                      <a:pt x="34" y="23"/>
                    </a:cubicBezTo>
                    <a:cubicBezTo>
                      <a:pt x="34" y="31"/>
                      <a:pt x="33" y="36"/>
                      <a:pt x="31" y="39"/>
                    </a:cubicBezTo>
                    <a:cubicBezTo>
                      <a:pt x="28" y="43"/>
                      <a:pt x="23" y="46"/>
                      <a:pt x="17" y="46"/>
                    </a:cubicBezTo>
                    <a:cubicBezTo>
                      <a:pt x="11" y="46"/>
                      <a:pt x="6" y="43"/>
                      <a:pt x="3" y="37"/>
                    </a:cubicBezTo>
                    <a:cubicBezTo>
                      <a:pt x="1" y="34"/>
                      <a:pt x="0" y="29"/>
                      <a:pt x="0" y="23"/>
                    </a:cubicBezTo>
                    <a:cubicBezTo>
                      <a:pt x="0" y="8"/>
                      <a:pt x="6" y="0"/>
                      <a:pt x="17" y="0"/>
                    </a:cubicBezTo>
                    <a:cubicBezTo>
                      <a:pt x="24" y="0"/>
                      <a:pt x="29" y="3"/>
                      <a:pt x="32" y="8"/>
                    </a:cubicBezTo>
                    <a:close/>
                    <a:moveTo>
                      <a:pt x="10" y="23"/>
                    </a:moveTo>
                    <a:cubicBezTo>
                      <a:pt x="10" y="33"/>
                      <a:pt x="12" y="38"/>
                      <a:pt x="17" y="38"/>
                    </a:cubicBezTo>
                    <a:cubicBezTo>
                      <a:pt x="22" y="38"/>
                      <a:pt x="25" y="33"/>
                      <a:pt x="25" y="23"/>
                    </a:cubicBezTo>
                    <a:cubicBezTo>
                      <a:pt x="25" y="13"/>
                      <a:pt x="22" y="8"/>
                      <a:pt x="17" y="8"/>
                    </a:cubicBezTo>
                    <a:cubicBezTo>
                      <a:pt x="12" y="8"/>
                      <a:pt x="10" y="13"/>
                      <a:pt x="10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1" name="Freeform 12">
                <a:extLst>
                  <a:ext uri="{FF2B5EF4-FFF2-40B4-BE49-F238E27FC236}">
                    <a16:creationId xmlns:a16="http://schemas.microsoft.com/office/drawing/2014/main" id="{04CC7246-7A3A-F78A-C73B-692F64E783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8475" y="6718395"/>
                <a:ext cx="99709" cy="157117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6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7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7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6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7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7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2" name="Freeform 23">
                <a:extLst>
                  <a:ext uri="{FF2B5EF4-FFF2-40B4-BE49-F238E27FC236}">
                    <a16:creationId xmlns:a16="http://schemas.microsoft.com/office/drawing/2014/main" id="{36289B73-0796-86C4-9FF2-A23FF1F791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55156" y="5455415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8 h 32"/>
                  <a:gd name="T14" fmla="*/ 16 w 21"/>
                  <a:gd name="T15" fmla="*/ 16 h 32"/>
                  <a:gd name="T16" fmla="*/ 11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1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1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3" name="Freeform 24">
                <a:extLst>
                  <a:ext uri="{FF2B5EF4-FFF2-40B4-BE49-F238E27FC236}">
                    <a16:creationId xmlns:a16="http://schemas.microsoft.com/office/drawing/2014/main" id="{D2662946-9E3C-83F3-BAC4-F3CB650EC30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55156" y="5647279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5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4" name="Freeform 25">
                <a:extLst>
                  <a:ext uri="{FF2B5EF4-FFF2-40B4-BE49-F238E27FC236}">
                    <a16:creationId xmlns:a16="http://schemas.microsoft.com/office/drawing/2014/main" id="{02053AD0-BE22-D6F4-F125-E8F2BF267C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2709" y="6029497"/>
                <a:ext cx="64962" cy="11028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2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2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5" name="Freeform 26">
                <a:extLst>
                  <a:ext uri="{FF2B5EF4-FFF2-40B4-BE49-F238E27FC236}">
                    <a16:creationId xmlns:a16="http://schemas.microsoft.com/office/drawing/2014/main" id="{210F5E12-18B3-9AB8-2809-F2EDCA40B2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55156" y="6218339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6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6" name="Freeform 27">
                <a:extLst>
                  <a:ext uri="{FF2B5EF4-FFF2-40B4-BE49-F238E27FC236}">
                    <a16:creationId xmlns:a16="http://schemas.microsoft.com/office/drawing/2014/main" id="{A6E9BA8A-EE29-BB64-C972-51CB5FE10E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55156" y="6408693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7 h 32"/>
                  <a:gd name="T14" fmla="*/ 16 w 21"/>
                  <a:gd name="T15" fmla="*/ 16 h 32"/>
                  <a:gd name="T16" fmla="*/ 11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1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7" name="Freeform 28">
                <a:extLst>
                  <a:ext uri="{FF2B5EF4-FFF2-40B4-BE49-F238E27FC236}">
                    <a16:creationId xmlns:a16="http://schemas.microsoft.com/office/drawing/2014/main" id="{5BF90641-5CD5-B891-FB07-2BDAAD603C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2709" y="6789400"/>
                <a:ext cx="64962" cy="111795"/>
              </a:xfrm>
              <a:custGeom>
                <a:avLst/>
                <a:gdLst>
                  <a:gd name="T0" fmla="*/ 19 w 43"/>
                  <a:gd name="T1" fmla="*/ 14 h 74"/>
                  <a:gd name="T2" fmla="*/ 5 w 43"/>
                  <a:gd name="T3" fmla="*/ 24 h 74"/>
                  <a:gd name="T4" fmla="*/ 0 w 43"/>
                  <a:gd name="T5" fmla="*/ 14 h 74"/>
                  <a:gd name="T6" fmla="*/ 22 w 43"/>
                  <a:gd name="T7" fmla="*/ 0 h 74"/>
                  <a:gd name="T8" fmla="*/ 34 w 43"/>
                  <a:gd name="T9" fmla="*/ 0 h 74"/>
                  <a:gd name="T10" fmla="*/ 34 w 43"/>
                  <a:gd name="T11" fmla="*/ 64 h 74"/>
                  <a:gd name="T12" fmla="*/ 43 w 43"/>
                  <a:gd name="T13" fmla="*/ 64 h 74"/>
                  <a:gd name="T14" fmla="*/ 43 w 43"/>
                  <a:gd name="T15" fmla="*/ 74 h 74"/>
                  <a:gd name="T16" fmla="*/ 10 w 43"/>
                  <a:gd name="T17" fmla="*/ 74 h 74"/>
                  <a:gd name="T18" fmla="*/ 10 w 43"/>
                  <a:gd name="T19" fmla="*/ 64 h 74"/>
                  <a:gd name="T20" fmla="*/ 19 w 43"/>
                  <a:gd name="T21" fmla="*/ 64 h 74"/>
                  <a:gd name="T22" fmla="*/ 19 w 43"/>
                  <a:gd name="T23" fmla="*/ 1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4">
                    <a:moveTo>
                      <a:pt x="19" y="14"/>
                    </a:moveTo>
                    <a:lnTo>
                      <a:pt x="5" y="24"/>
                    </a:lnTo>
                    <a:lnTo>
                      <a:pt x="0" y="14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4"/>
                    </a:lnTo>
                    <a:lnTo>
                      <a:pt x="10" y="74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8" name="Freeform 43">
                <a:extLst>
                  <a:ext uri="{FF2B5EF4-FFF2-40B4-BE49-F238E27FC236}">
                    <a16:creationId xmlns:a16="http://schemas.microsoft.com/office/drawing/2014/main" id="{EC081635-6E46-654F-5EEC-331CB0837D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5364" y="5654833"/>
                <a:ext cx="63451" cy="9366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5" y="0"/>
                      <a:pt x="18" y="5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9" name="Freeform 44">
                <a:extLst>
                  <a:ext uri="{FF2B5EF4-FFF2-40B4-BE49-F238E27FC236}">
                    <a16:creationId xmlns:a16="http://schemas.microsoft.com/office/drawing/2014/main" id="{47623F9F-54A4-9FA4-5F74-7C7CDB69A83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5364" y="5808928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1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80" name="Freeform 45">
                <a:extLst>
                  <a:ext uri="{FF2B5EF4-FFF2-40B4-BE49-F238E27FC236}">
                    <a16:creationId xmlns:a16="http://schemas.microsoft.com/office/drawing/2014/main" id="{FABA7E6D-C29F-79C1-35E7-C369B7A605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5938" y="6115609"/>
                <a:ext cx="49855" cy="89134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49 h 59"/>
                  <a:gd name="T20" fmla="*/ 17 w 33"/>
                  <a:gd name="T21" fmla="*/ 49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81" name="Freeform 46">
                <a:extLst>
                  <a:ext uri="{FF2B5EF4-FFF2-40B4-BE49-F238E27FC236}">
                    <a16:creationId xmlns:a16="http://schemas.microsoft.com/office/drawing/2014/main" id="{1AB2BCD2-B038-B4FA-663A-C601A2B0DDB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5364" y="6265173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82" name="Freeform 47">
                <a:extLst>
                  <a:ext uri="{FF2B5EF4-FFF2-40B4-BE49-F238E27FC236}">
                    <a16:creationId xmlns:a16="http://schemas.microsoft.com/office/drawing/2014/main" id="{CC16D284-213A-BEF7-9617-6E2E736CE6D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5364" y="6419268"/>
                <a:ext cx="63451" cy="89134"/>
              </a:xfrm>
              <a:custGeom>
                <a:avLst/>
                <a:gdLst>
                  <a:gd name="T0" fmla="*/ 18 w 18"/>
                  <a:gd name="T1" fmla="*/ 13 h 25"/>
                  <a:gd name="T2" fmla="*/ 9 w 18"/>
                  <a:gd name="T3" fmla="*/ 25 h 25"/>
                  <a:gd name="T4" fmla="*/ 0 w 18"/>
                  <a:gd name="T5" fmla="*/ 12 h 25"/>
                  <a:gd name="T6" fmla="*/ 9 w 18"/>
                  <a:gd name="T7" fmla="*/ 0 h 25"/>
                  <a:gd name="T8" fmla="*/ 18 w 18"/>
                  <a:gd name="T9" fmla="*/ 13 h 25"/>
                  <a:gd name="T10" fmla="*/ 5 w 18"/>
                  <a:gd name="T11" fmla="*/ 12 h 25"/>
                  <a:gd name="T12" fmla="*/ 9 w 18"/>
                  <a:gd name="T13" fmla="*/ 22 h 25"/>
                  <a:gd name="T14" fmla="*/ 13 w 18"/>
                  <a:gd name="T15" fmla="*/ 13 h 25"/>
                  <a:gd name="T16" fmla="*/ 9 w 18"/>
                  <a:gd name="T17" fmla="*/ 3 h 25"/>
                  <a:gd name="T18" fmla="*/ 5 w 18"/>
                  <a:gd name="T1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5">
                    <a:moveTo>
                      <a:pt x="18" y="13"/>
                    </a:moveTo>
                    <a:cubicBezTo>
                      <a:pt x="18" y="21"/>
                      <a:pt x="15" y="25"/>
                      <a:pt x="9" y="25"/>
                    </a:cubicBezTo>
                    <a:cubicBezTo>
                      <a:pt x="3" y="25"/>
                      <a:pt x="0" y="21"/>
                      <a:pt x="0" y="12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2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6"/>
                      <a:pt x="12" y="3"/>
                      <a:pt x="9" y="3"/>
                    </a:cubicBezTo>
                    <a:cubicBezTo>
                      <a:pt x="6" y="3"/>
                      <a:pt x="5" y="6"/>
                      <a:pt x="5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83" name="Freeform 48">
                <a:extLst>
                  <a:ext uri="{FF2B5EF4-FFF2-40B4-BE49-F238E27FC236}">
                    <a16:creationId xmlns:a16="http://schemas.microsoft.com/office/drawing/2014/main" id="{3F28A3B0-53FA-2793-380A-A88C57EF5F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5938" y="6725948"/>
                <a:ext cx="49855" cy="84602"/>
              </a:xfrm>
              <a:custGeom>
                <a:avLst/>
                <a:gdLst>
                  <a:gd name="T0" fmla="*/ 17 w 33"/>
                  <a:gd name="T1" fmla="*/ 9 h 56"/>
                  <a:gd name="T2" fmla="*/ 5 w 33"/>
                  <a:gd name="T3" fmla="*/ 16 h 56"/>
                  <a:gd name="T4" fmla="*/ 0 w 33"/>
                  <a:gd name="T5" fmla="*/ 9 h 56"/>
                  <a:gd name="T6" fmla="*/ 19 w 33"/>
                  <a:gd name="T7" fmla="*/ 0 h 56"/>
                  <a:gd name="T8" fmla="*/ 26 w 33"/>
                  <a:gd name="T9" fmla="*/ 0 h 56"/>
                  <a:gd name="T10" fmla="*/ 26 w 33"/>
                  <a:gd name="T11" fmla="*/ 49 h 56"/>
                  <a:gd name="T12" fmla="*/ 33 w 33"/>
                  <a:gd name="T13" fmla="*/ 49 h 56"/>
                  <a:gd name="T14" fmla="*/ 33 w 33"/>
                  <a:gd name="T15" fmla="*/ 56 h 56"/>
                  <a:gd name="T16" fmla="*/ 10 w 33"/>
                  <a:gd name="T17" fmla="*/ 56 h 56"/>
                  <a:gd name="T18" fmla="*/ 10 w 33"/>
                  <a:gd name="T19" fmla="*/ 49 h 56"/>
                  <a:gd name="T20" fmla="*/ 17 w 33"/>
                  <a:gd name="T21" fmla="*/ 49 h 56"/>
                  <a:gd name="T22" fmla="*/ 17 w 33"/>
                  <a:gd name="T23" fmla="*/ 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6">
                    <a:moveTo>
                      <a:pt x="17" y="9"/>
                    </a:moveTo>
                    <a:lnTo>
                      <a:pt x="5" y="16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6"/>
                    </a:lnTo>
                    <a:lnTo>
                      <a:pt x="10" y="56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9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84" name="Freeform 49">
                <a:extLst>
                  <a:ext uri="{FF2B5EF4-FFF2-40B4-BE49-F238E27FC236}">
                    <a16:creationId xmlns:a16="http://schemas.microsoft.com/office/drawing/2014/main" id="{B12382BC-AED7-11CF-96BB-4050EB87475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5364" y="6875512"/>
                <a:ext cx="63451" cy="89134"/>
              </a:xfrm>
              <a:custGeom>
                <a:avLst/>
                <a:gdLst>
                  <a:gd name="T0" fmla="*/ 18 w 18"/>
                  <a:gd name="T1" fmla="*/ 13 h 25"/>
                  <a:gd name="T2" fmla="*/ 9 w 18"/>
                  <a:gd name="T3" fmla="*/ 25 h 25"/>
                  <a:gd name="T4" fmla="*/ 0 w 18"/>
                  <a:gd name="T5" fmla="*/ 13 h 25"/>
                  <a:gd name="T6" fmla="*/ 9 w 18"/>
                  <a:gd name="T7" fmla="*/ 0 h 25"/>
                  <a:gd name="T8" fmla="*/ 18 w 18"/>
                  <a:gd name="T9" fmla="*/ 13 h 25"/>
                  <a:gd name="T10" fmla="*/ 5 w 18"/>
                  <a:gd name="T11" fmla="*/ 13 h 25"/>
                  <a:gd name="T12" fmla="*/ 9 w 18"/>
                  <a:gd name="T13" fmla="*/ 22 h 25"/>
                  <a:gd name="T14" fmla="*/ 13 w 18"/>
                  <a:gd name="T15" fmla="*/ 13 h 25"/>
                  <a:gd name="T16" fmla="*/ 9 w 18"/>
                  <a:gd name="T17" fmla="*/ 3 h 25"/>
                  <a:gd name="T18" fmla="*/ 5 w 18"/>
                  <a:gd name="T19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5">
                    <a:moveTo>
                      <a:pt x="18" y="13"/>
                    </a:moveTo>
                    <a:cubicBezTo>
                      <a:pt x="18" y="21"/>
                      <a:pt x="15" y="25"/>
                      <a:pt x="9" y="25"/>
                    </a:cubicBezTo>
                    <a:cubicBezTo>
                      <a:pt x="3" y="25"/>
                      <a:pt x="0" y="21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6"/>
                      <a:pt x="12" y="3"/>
                      <a:pt x="9" y="3"/>
                    </a:cubicBezTo>
                    <a:cubicBezTo>
                      <a:pt x="6" y="3"/>
                      <a:pt x="5" y="6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85" name="Freeform 63">
                <a:extLst>
                  <a:ext uri="{FF2B5EF4-FFF2-40B4-BE49-F238E27FC236}">
                    <a16:creationId xmlns:a16="http://schemas.microsoft.com/office/drawing/2014/main" id="{2F53F538-855E-3BE4-EFEC-424D1FE395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67948" y="5654833"/>
                <a:ext cx="60430" cy="9366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4" y="0"/>
                      <a:pt x="17" y="5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86" name="Freeform 64">
                <a:extLst>
                  <a:ext uri="{FF2B5EF4-FFF2-40B4-BE49-F238E27FC236}">
                    <a16:creationId xmlns:a16="http://schemas.microsoft.com/office/drawing/2014/main" id="{0F19F87C-B6B0-A117-5C1C-EACC8467F46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67948" y="5808928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1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87" name="Freeform 65">
                <a:extLst>
                  <a:ext uri="{FF2B5EF4-FFF2-40B4-BE49-F238E27FC236}">
                    <a16:creationId xmlns:a16="http://schemas.microsoft.com/office/drawing/2014/main" id="{5FA74CF3-17F6-6C55-513D-3CDB4832DD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3991" y="6115609"/>
                <a:ext cx="49855" cy="89134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49 h 59"/>
                  <a:gd name="T20" fmla="*/ 16 w 33"/>
                  <a:gd name="T21" fmla="*/ 49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88" name="Freeform 66">
                <a:extLst>
                  <a:ext uri="{FF2B5EF4-FFF2-40B4-BE49-F238E27FC236}">
                    <a16:creationId xmlns:a16="http://schemas.microsoft.com/office/drawing/2014/main" id="{D42691A6-DEB6-6117-C23A-BAE772C2C1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67948" y="6265173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89" name="Freeform 67">
                <a:extLst>
                  <a:ext uri="{FF2B5EF4-FFF2-40B4-BE49-F238E27FC236}">
                    <a16:creationId xmlns:a16="http://schemas.microsoft.com/office/drawing/2014/main" id="{96A2B3EA-5DD0-4349-F543-141BB37A658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67948" y="6419268"/>
                <a:ext cx="60430" cy="89134"/>
              </a:xfrm>
              <a:custGeom>
                <a:avLst/>
                <a:gdLst>
                  <a:gd name="T0" fmla="*/ 17 w 17"/>
                  <a:gd name="T1" fmla="*/ 13 h 25"/>
                  <a:gd name="T2" fmla="*/ 9 w 17"/>
                  <a:gd name="T3" fmla="*/ 25 h 25"/>
                  <a:gd name="T4" fmla="*/ 0 w 17"/>
                  <a:gd name="T5" fmla="*/ 12 h 25"/>
                  <a:gd name="T6" fmla="*/ 9 w 17"/>
                  <a:gd name="T7" fmla="*/ 0 h 25"/>
                  <a:gd name="T8" fmla="*/ 17 w 17"/>
                  <a:gd name="T9" fmla="*/ 13 h 25"/>
                  <a:gd name="T10" fmla="*/ 4 w 17"/>
                  <a:gd name="T11" fmla="*/ 12 h 25"/>
                  <a:gd name="T12" fmla="*/ 9 w 17"/>
                  <a:gd name="T13" fmla="*/ 22 h 25"/>
                  <a:gd name="T14" fmla="*/ 13 w 17"/>
                  <a:gd name="T15" fmla="*/ 13 h 25"/>
                  <a:gd name="T16" fmla="*/ 9 w 17"/>
                  <a:gd name="T17" fmla="*/ 3 h 25"/>
                  <a:gd name="T18" fmla="*/ 4 w 17"/>
                  <a:gd name="T1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5">
                    <a:moveTo>
                      <a:pt x="17" y="13"/>
                    </a:moveTo>
                    <a:cubicBezTo>
                      <a:pt x="17" y="21"/>
                      <a:pt x="14" y="25"/>
                      <a:pt x="9" y="25"/>
                    </a:cubicBezTo>
                    <a:cubicBezTo>
                      <a:pt x="3" y="25"/>
                      <a:pt x="0" y="21"/>
                      <a:pt x="0" y="12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2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6"/>
                      <a:pt x="11" y="3"/>
                      <a:pt x="9" y="3"/>
                    </a:cubicBezTo>
                    <a:cubicBezTo>
                      <a:pt x="6" y="3"/>
                      <a:pt x="4" y="6"/>
                      <a:pt x="4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90" name="Freeform 68">
                <a:extLst>
                  <a:ext uri="{FF2B5EF4-FFF2-40B4-BE49-F238E27FC236}">
                    <a16:creationId xmlns:a16="http://schemas.microsoft.com/office/drawing/2014/main" id="{18A9E859-D9A2-6048-8CA6-F341341976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3991" y="6725948"/>
                <a:ext cx="49855" cy="84602"/>
              </a:xfrm>
              <a:custGeom>
                <a:avLst/>
                <a:gdLst>
                  <a:gd name="T0" fmla="*/ 16 w 33"/>
                  <a:gd name="T1" fmla="*/ 9 h 56"/>
                  <a:gd name="T2" fmla="*/ 4 w 33"/>
                  <a:gd name="T3" fmla="*/ 16 h 56"/>
                  <a:gd name="T4" fmla="*/ 0 w 33"/>
                  <a:gd name="T5" fmla="*/ 9 h 56"/>
                  <a:gd name="T6" fmla="*/ 16 w 33"/>
                  <a:gd name="T7" fmla="*/ 0 h 56"/>
                  <a:gd name="T8" fmla="*/ 26 w 33"/>
                  <a:gd name="T9" fmla="*/ 0 h 56"/>
                  <a:gd name="T10" fmla="*/ 26 w 33"/>
                  <a:gd name="T11" fmla="*/ 49 h 56"/>
                  <a:gd name="T12" fmla="*/ 33 w 33"/>
                  <a:gd name="T13" fmla="*/ 49 h 56"/>
                  <a:gd name="T14" fmla="*/ 33 w 33"/>
                  <a:gd name="T15" fmla="*/ 56 h 56"/>
                  <a:gd name="T16" fmla="*/ 7 w 33"/>
                  <a:gd name="T17" fmla="*/ 56 h 56"/>
                  <a:gd name="T18" fmla="*/ 7 w 33"/>
                  <a:gd name="T19" fmla="*/ 49 h 56"/>
                  <a:gd name="T20" fmla="*/ 16 w 33"/>
                  <a:gd name="T21" fmla="*/ 49 h 56"/>
                  <a:gd name="T22" fmla="*/ 16 w 33"/>
                  <a:gd name="T23" fmla="*/ 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6">
                    <a:moveTo>
                      <a:pt x="16" y="9"/>
                    </a:moveTo>
                    <a:lnTo>
                      <a:pt x="4" y="16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6"/>
                    </a:lnTo>
                    <a:lnTo>
                      <a:pt x="7" y="56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9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91" name="Freeform 69">
                <a:extLst>
                  <a:ext uri="{FF2B5EF4-FFF2-40B4-BE49-F238E27FC236}">
                    <a16:creationId xmlns:a16="http://schemas.microsoft.com/office/drawing/2014/main" id="{757D7924-47C8-A2F6-9398-1A9FD0EAA9D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67948" y="6875512"/>
                <a:ext cx="60430" cy="89134"/>
              </a:xfrm>
              <a:custGeom>
                <a:avLst/>
                <a:gdLst>
                  <a:gd name="T0" fmla="*/ 17 w 17"/>
                  <a:gd name="T1" fmla="*/ 13 h 25"/>
                  <a:gd name="T2" fmla="*/ 9 w 17"/>
                  <a:gd name="T3" fmla="*/ 25 h 25"/>
                  <a:gd name="T4" fmla="*/ 0 w 17"/>
                  <a:gd name="T5" fmla="*/ 13 h 25"/>
                  <a:gd name="T6" fmla="*/ 9 w 17"/>
                  <a:gd name="T7" fmla="*/ 0 h 25"/>
                  <a:gd name="T8" fmla="*/ 17 w 17"/>
                  <a:gd name="T9" fmla="*/ 13 h 25"/>
                  <a:gd name="T10" fmla="*/ 4 w 17"/>
                  <a:gd name="T11" fmla="*/ 13 h 25"/>
                  <a:gd name="T12" fmla="*/ 9 w 17"/>
                  <a:gd name="T13" fmla="*/ 22 h 25"/>
                  <a:gd name="T14" fmla="*/ 13 w 17"/>
                  <a:gd name="T15" fmla="*/ 13 h 25"/>
                  <a:gd name="T16" fmla="*/ 9 w 17"/>
                  <a:gd name="T17" fmla="*/ 3 h 25"/>
                  <a:gd name="T18" fmla="*/ 4 w 17"/>
                  <a:gd name="T19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5">
                    <a:moveTo>
                      <a:pt x="17" y="13"/>
                    </a:moveTo>
                    <a:cubicBezTo>
                      <a:pt x="17" y="21"/>
                      <a:pt x="14" y="25"/>
                      <a:pt x="9" y="25"/>
                    </a:cubicBezTo>
                    <a:cubicBezTo>
                      <a:pt x="3" y="25"/>
                      <a:pt x="0" y="21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6"/>
                      <a:pt x="11" y="3"/>
                      <a:pt x="9" y="3"/>
                    </a:cubicBezTo>
                    <a:cubicBezTo>
                      <a:pt x="6" y="3"/>
                      <a:pt x="4" y="6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92" name="Freeform 83">
                <a:extLst>
                  <a:ext uri="{FF2B5EF4-FFF2-40B4-BE49-F238E27FC236}">
                    <a16:creationId xmlns:a16="http://schemas.microsoft.com/office/drawing/2014/main" id="{F3117129-953B-8C29-4B95-552CDDA91A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2522" y="5662386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3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93" name="Freeform 84">
                <a:extLst>
                  <a:ext uri="{FF2B5EF4-FFF2-40B4-BE49-F238E27FC236}">
                    <a16:creationId xmlns:a16="http://schemas.microsoft.com/office/drawing/2014/main" id="{6511F619-10FA-09B5-7B1E-464065038F3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77415" y="5929788"/>
                <a:ext cx="110285" cy="164671"/>
              </a:xfrm>
              <a:custGeom>
                <a:avLst/>
                <a:gdLst>
                  <a:gd name="T0" fmla="*/ 31 w 31"/>
                  <a:gd name="T1" fmla="*/ 23 h 46"/>
                  <a:gd name="T2" fmla="*/ 15 w 31"/>
                  <a:gd name="T3" fmla="*/ 46 h 46"/>
                  <a:gd name="T4" fmla="*/ 0 w 31"/>
                  <a:gd name="T5" fmla="*/ 23 h 46"/>
                  <a:gd name="T6" fmla="*/ 15 w 31"/>
                  <a:gd name="T7" fmla="*/ 0 h 46"/>
                  <a:gd name="T8" fmla="*/ 31 w 31"/>
                  <a:gd name="T9" fmla="*/ 23 h 46"/>
                  <a:gd name="T10" fmla="*/ 8 w 31"/>
                  <a:gd name="T11" fmla="*/ 23 h 46"/>
                  <a:gd name="T12" fmla="*/ 15 w 31"/>
                  <a:gd name="T13" fmla="*/ 39 h 46"/>
                  <a:gd name="T14" fmla="*/ 23 w 31"/>
                  <a:gd name="T15" fmla="*/ 23 h 46"/>
                  <a:gd name="T16" fmla="*/ 15 w 31"/>
                  <a:gd name="T17" fmla="*/ 7 h 46"/>
                  <a:gd name="T18" fmla="*/ 8 w 31"/>
                  <a:gd name="T19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6">
                    <a:moveTo>
                      <a:pt x="31" y="23"/>
                    </a:moveTo>
                    <a:cubicBezTo>
                      <a:pt x="31" y="38"/>
                      <a:pt x="26" y="46"/>
                      <a:pt x="15" y="46"/>
                    </a:cubicBezTo>
                    <a:cubicBezTo>
                      <a:pt x="5" y="46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7"/>
                      <a:pt x="15" y="7"/>
                    </a:cubicBezTo>
                    <a:cubicBezTo>
                      <a:pt x="10" y="7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94" name="Freeform 85">
                <a:extLst>
                  <a:ext uri="{FF2B5EF4-FFF2-40B4-BE49-F238E27FC236}">
                    <a16:creationId xmlns:a16="http://schemas.microsoft.com/office/drawing/2014/main" id="{A5976FBA-3153-6532-159C-76BF0ADDED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77415" y="6201721"/>
                <a:ext cx="110285" cy="160139"/>
              </a:xfrm>
              <a:custGeom>
                <a:avLst/>
                <a:gdLst>
                  <a:gd name="T0" fmla="*/ 31 w 31"/>
                  <a:gd name="T1" fmla="*/ 23 h 45"/>
                  <a:gd name="T2" fmla="*/ 15 w 31"/>
                  <a:gd name="T3" fmla="*/ 45 h 45"/>
                  <a:gd name="T4" fmla="*/ 0 w 31"/>
                  <a:gd name="T5" fmla="*/ 23 h 45"/>
                  <a:gd name="T6" fmla="*/ 15 w 31"/>
                  <a:gd name="T7" fmla="*/ 0 h 45"/>
                  <a:gd name="T8" fmla="*/ 31 w 31"/>
                  <a:gd name="T9" fmla="*/ 23 h 45"/>
                  <a:gd name="T10" fmla="*/ 8 w 31"/>
                  <a:gd name="T11" fmla="*/ 23 h 45"/>
                  <a:gd name="T12" fmla="*/ 15 w 31"/>
                  <a:gd name="T13" fmla="*/ 39 h 45"/>
                  <a:gd name="T14" fmla="*/ 23 w 31"/>
                  <a:gd name="T15" fmla="*/ 23 h 45"/>
                  <a:gd name="T16" fmla="*/ 15 w 31"/>
                  <a:gd name="T17" fmla="*/ 6 h 45"/>
                  <a:gd name="T18" fmla="*/ 8 w 31"/>
                  <a:gd name="T19" fmla="*/ 2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31" y="23"/>
                    </a:moveTo>
                    <a:cubicBezTo>
                      <a:pt x="31" y="38"/>
                      <a:pt x="26" y="45"/>
                      <a:pt x="15" y="45"/>
                    </a:cubicBezTo>
                    <a:cubicBezTo>
                      <a:pt x="5" y="45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6"/>
                      <a:pt x="15" y="6"/>
                    </a:cubicBezTo>
                    <a:cubicBezTo>
                      <a:pt x="10" y="6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95" name="Freeform 86">
                <a:extLst>
                  <a:ext uri="{FF2B5EF4-FFF2-40B4-BE49-F238E27FC236}">
                    <a16:creationId xmlns:a16="http://schemas.microsoft.com/office/drawing/2014/main" id="{AEB19CCA-4E6A-6D73-004B-962BB522F0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2522" y="6475165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4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4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96" name="Freeform 87">
                <a:extLst>
                  <a:ext uri="{FF2B5EF4-FFF2-40B4-BE49-F238E27FC236}">
                    <a16:creationId xmlns:a16="http://schemas.microsoft.com/office/drawing/2014/main" id="{1C7A1715-12B6-41CB-BED1-470DBF5C98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2522" y="6747099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1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1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97" name="Freeform 95">
                <a:extLst>
                  <a:ext uri="{FF2B5EF4-FFF2-40B4-BE49-F238E27FC236}">
                    <a16:creationId xmlns:a16="http://schemas.microsoft.com/office/drawing/2014/main" id="{083DCD51-3247-FA59-BC09-3F6E59B3A0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4777091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98" name="Freeform 96">
                <a:extLst>
                  <a:ext uri="{FF2B5EF4-FFF2-40B4-BE49-F238E27FC236}">
                    <a16:creationId xmlns:a16="http://schemas.microsoft.com/office/drawing/2014/main" id="{13D41B7D-C83D-C7C3-0649-D4DACE8C8D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9292" y="4923634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99" name="Freeform 97">
                <a:extLst>
                  <a:ext uri="{FF2B5EF4-FFF2-40B4-BE49-F238E27FC236}">
                    <a16:creationId xmlns:a16="http://schemas.microsoft.com/office/drawing/2014/main" id="{827A4A87-8BF9-439C-0F05-8539CB3ED9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5070175"/>
                <a:ext cx="52876" cy="84602"/>
              </a:xfrm>
              <a:custGeom>
                <a:avLst/>
                <a:gdLst>
                  <a:gd name="T0" fmla="*/ 16 w 35"/>
                  <a:gd name="T1" fmla="*/ 14 h 56"/>
                  <a:gd name="T2" fmla="*/ 7 w 35"/>
                  <a:gd name="T3" fmla="*/ 21 h 56"/>
                  <a:gd name="T4" fmla="*/ 0 w 35"/>
                  <a:gd name="T5" fmla="*/ 11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4"/>
                    </a:moveTo>
                    <a:lnTo>
                      <a:pt x="7" y="21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00" name="Freeform 98">
                <a:extLst>
                  <a:ext uri="{FF2B5EF4-FFF2-40B4-BE49-F238E27FC236}">
                    <a16:creationId xmlns:a16="http://schemas.microsoft.com/office/drawing/2014/main" id="{B16FA524-93B9-6081-B22F-34F247EA70F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9292" y="5216718"/>
                <a:ext cx="67984" cy="84602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01" name="Freeform 99">
                <a:extLst>
                  <a:ext uri="{FF2B5EF4-FFF2-40B4-BE49-F238E27FC236}">
                    <a16:creationId xmlns:a16="http://schemas.microsoft.com/office/drawing/2014/main" id="{B023F938-CC6E-5D4B-784D-A0896B82C6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5361749"/>
                <a:ext cx="52876" cy="86113"/>
              </a:xfrm>
              <a:custGeom>
                <a:avLst/>
                <a:gdLst>
                  <a:gd name="T0" fmla="*/ 16 w 35"/>
                  <a:gd name="T1" fmla="*/ 15 h 57"/>
                  <a:gd name="T2" fmla="*/ 7 w 35"/>
                  <a:gd name="T3" fmla="*/ 22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8 h 57"/>
                  <a:gd name="T12" fmla="*/ 35 w 35"/>
                  <a:gd name="T13" fmla="*/ 48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8 h 57"/>
                  <a:gd name="T20" fmla="*/ 16 w 35"/>
                  <a:gd name="T21" fmla="*/ 48 h 57"/>
                  <a:gd name="T22" fmla="*/ 16 w 35"/>
                  <a:gd name="T23" fmla="*/ 1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5"/>
                    </a:moveTo>
                    <a:lnTo>
                      <a:pt x="7" y="22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5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02" name="Freeform 100">
                <a:extLst>
                  <a:ext uri="{FF2B5EF4-FFF2-40B4-BE49-F238E27FC236}">
                    <a16:creationId xmlns:a16="http://schemas.microsoft.com/office/drawing/2014/main" id="{2480917D-2A10-3257-AB61-9F62C93C7DD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9292" y="5508290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03" name="Freeform 101">
                <a:extLst>
                  <a:ext uri="{FF2B5EF4-FFF2-40B4-BE49-F238E27FC236}">
                    <a16:creationId xmlns:a16="http://schemas.microsoft.com/office/drawing/2014/main" id="{EA047B9F-4EE9-3CE5-E3D7-F4F3A736A1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5654833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04" name="Freeform 102">
                <a:extLst>
                  <a:ext uri="{FF2B5EF4-FFF2-40B4-BE49-F238E27FC236}">
                    <a16:creationId xmlns:a16="http://schemas.microsoft.com/office/drawing/2014/main" id="{41CF915A-9152-1248-3A67-BE61A82DD9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5801374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05" name="Freeform 103">
                <a:extLst>
                  <a:ext uri="{FF2B5EF4-FFF2-40B4-BE49-F238E27FC236}">
                    <a16:creationId xmlns:a16="http://schemas.microsoft.com/office/drawing/2014/main" id="{FAA6E708-E003-CD2C-6101-3D876574AA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5950938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5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5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06" name="Freeform 104">
                <a:extLst>
                  <a:ext uri="{FF2B5EF4-FFF2-40B4-BE49-F238E27FC236}">
                    <a16:creationId xmlns:a16="http://schemas.microsoft.com/office/drawing/2014/main" id="{1E6318B8-D20A-3943-114A-3537873F9FD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9292" y="6094458"/>
                <a:ext cx="67984" cy="89134"/>
              </a:xfrm>
              <a:custGeom>
                <a:avLst/>
                <a:gdLst>
                  <a:gd name="T0" fmla="*/ 17 w 19"/>
                  <a:gd name="T1" fmla="*/ 4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4 h 25"/>
                  <a:gd name="T16" fmla="*/ 6 w 19"/>
                  <a:gd name="T17" fmla="*/ 12 h 25"/>
                  <a:gd name="T18" fmla="*/ 10 w 19"/>
                  <a:gd name="T19" fmla="*/ 20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3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07" name="Freeform 105">
                <a:extLst>
                  <a:ext uri="{FF2B5EF4-FFF2-40B4-BE49-F238E27FC236}">
                    <a16:creationId xmlns:a16="http://schemas.microsoft.com/office/drawing/2014/main" id="{E4D5D0FD-EBA2-7329-9AD1-C92F9A8CF9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6244022"/>
                <a:ext cx="52876" cy="81580"/>
              </a:xfrm>
              <a:custGeom>
                <a:avLst/>
                <a:gdLst>
                  <a:gd name="T0" fmla="*/ 16 w 35"/>
                  <a:gd name="T1" fmla="*/ 12 h 54"/>
                  <a:gd name="T2" fmla="*/ 7 w 35"/>
                  <a:gd name="T3" fmla="*/ 19 h 54"/>
                  <a:gd name="T4" fmla="*/ 0 w 35"/>
                  <a:gd name="T5" fmla="*/ 9 h 54"/>
                  <a:gd name="T6" fmla="*/ 19 w 35"/>
                  <a:gd name="T7" fmla="*/ 0 h 54"/>
                  <a:gd name="T8" fmla="*/ 28 w 35"/>
                  <a:gd name="T9" fmla="*/ 0 h 54"/>
                  <a:gd name="T10" fmla="*/ 28 w 35"/>
                  <a:gd name="T11" fmla="*/ 45 h 54"/>
                  <a:gd name="T12" fmla="*/ 35 w 35"/>
                  <a:gd name="T13" fmla="*/ 45 h 54"/>
                  <a:gd name="T14" fmla="*/ 35 w 35"/>
                  <a:gd name="T15" fmla="*/ 54 h 54"/>
                  <a:gd name="T16" fmla="*/ 9 w 35"/>
                  <a:gd name="T17" fmla="*/ 54 h 54"/>
                  <a:gd name="T18" fmla="*/ 9 w 35"/>
                  <a:gd name="T19" fmla="*/ 45 h 54"/>
                  <a:gd name="T20" fmla="*/ 16 w 35"/>
                  <a:gd name="T21" fmla="*/ 45 h 54"/>
                  <a:gd name="T22" fmla="*/ 16 w 35"/>
                  <a:gd name="T23" fmla="*/ 1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4">
                    <a:moveTo>
                      <a:pt x="16" y="12"/>
                    </a:moveTo>
                    <a:lnTo>
                      <a:pt x="7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4"/>
                    </a:lnTo>
                    <a:lnTo>
                      <a:pt x="9" y="54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08" name="Freeform 106">
                <a:extLst>
                  <a:ext uri="{FF2B5EF4-FFF2-40B4-BE49-F238E27FC236}">
                    <a16:creationId xmlns:a16="http://schemas.microsoft.com/office/drawing/2014/main" id="{C76A2C14-AD17-E084-9F7E-8B77574388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9292" y="6386032"/>
                <a:ext cx="67984" cy="89134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2 h 25"/>
                  <a:gd name="T18" fmla="*/ 10 w 19"/>
                  <a:gd name="T19" fmla="*/ 21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09" name="Freeform 107">
                <a:extLst>
                  <a:ext uri="{FF2B5EF4-FFF2-40B4-BE49-F238E27FC236}">
                    <a16:creationId xmlns:a16="http://schemas.microsoft.com/office/drawing/2014/main" id="{3A637E4F-0E13-9F26-074A-4249E9D6C66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9292" y="6532573"/>
                <a:ext cx="67984" cy="89134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2 h 25"/>
                  <a:gd name="T18" fmla="*/ 10 w 19"/>
                  <a:gd name="T19" fmla="*/ 21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10" name="Freeform 108">
                <a:extLst>
                  <a:ext uri="{FF2B5EF4-FFF2-40B4-BE49-F238E27FC236}">
                    <a16:creationId xmlns:a16="http://schemas.microsoft.com/office/drawing/2014/main" id="{524F1D16-E743-223B-56F6-3EE3E54A90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6682137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8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8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8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8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11" name="Freeform 109">
                <a:extLst>
                  <a:ext uri="{FF2B5EF4-FFF2-40B4-BE49-F238E27FC236}">
                    <a16:creationId xmlns:a16="http://schemas.microsoft.com/office/drawing/2014/main" id="{373287E6-FA28-20FA-65B0-FA07090398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6828679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8 h 55"/>
                  <a:gd name="T12" fmla="*/ 35 w 35"/>
                  <a:gd name="T13" fmla="*/ 48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8 h 55"/>
                  <a:gd name="T20" fmla="*/ 16 w 35"/>
                  <a:gd name="T21" fmla="*/ 48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12" name="Freeform 135">
                <a:extLst>
                  <a:ext uri="{FF2B5EF4-FFF2-40B4-BE49-F238E27FC236}">
                    <a16:creationId xmlns:a16="http://schemas.microsoft.com/office/drawing/2014/main" id="{6B975780-135C-4545-307E-DBE9F5AB7B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2225" y="5144202"/>
                <a:ext cx="60430" cy="111795"/>
              </a:xfrm>
              <a:custGeom>
                <a:avLst/>
                <a:gdLst>
                  <a:gd name="T0" fmla="*/ 19 w 40"/>
                  <a:gd name="T1" fmla="*/ 14 h 74"/>
                  <a:gd name="T2" fmla="*/ 4 w 40"/>
                  <a:gd name="T3" fmla="*/ 24 h 74"/>
                  <a:gd name="T4" fmla="*/ 0 w 40"/>
                  <a:gd name="T5" fmla="*/ 14 h 74"/>
                  <a:gd name="T6" fmla="*/ 21 w 40"/>
                  <a:gd name="T7" fmla="*/ 0 h 74"/>
                  <a:gd name="T8" fmla="*/ 30 w 40"/>
                  <a:gd name="T9" fmla="*/ 0 h 74"/>
                  <a:gd name="T10" fmla="*/ 30 w 40"/>
                  <a:gd name="T11" fmla="*/ 64 h 74"/>
                  <a:gd name="T12" fmla="*/ 40 w 40"/>
                  <a:gd name="T13" fmla="*/ 64 h 74"/>
                  <a:gd name="T14" fmla="*/ 40 w 40"/>
                  <a:gd name="T15" fmla="*/ 74 h 74"/>
                  <a:gd name="T16" fmla="*/ 9 w 40"/>
                  <a:gd name="T17" fmla="*/ 74 h 74"/>
                  <a:gd name="T18" fmla="*/ 9 w 40"/>
                  <a:gd name="T19" fmla="*/ 64 h 74"/>
                  <a:gd name="T20" fmla="*/ 19 w 40"/>
                  <a:gd name="T21" fmla="*/ 64 h 74"/>
                  <a:gd name="T22" fmla="*/ 19 w 40"/>
                  <a:gd name="T23" fmla="*/ 1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4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4"/>
                    </a:lnTo>
                    <a:lnTo>
                      <a:pt x="9" y="74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13" name="Freeform 136">
                <a:extLst>
                  <a:ext uri="{FF2B5EF4-FFF2-40B4-BE49-F238E27FC236}">
                    <a16:creationId xmlns:a16="http://schemas.microsoft.com/office/drawing/2014/main" id="{1C70C3E0-6131-97A5-5B09-EBC8DBE7F9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91649" y="5333044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8 h 32"/>
                  <a:gd name="T14" fmla="*/ 16 w 21"/>
                  <a:gd name="T15" fmla="*/ 16 h 32"/>
                  <a:gd name="T16" fmla="*/ 10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0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0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14" name="Freeform 137">
                <a:extLst>
                  <a:ext uri="{FF2B5EF4-FFF2-40B4-BE49-F238E27FC236}">
                    <a16:creationId xmlns:a16="http://schemas.microsoft.com/office/drawing/2014/main" id="{ACA8853C-5908-DCC0-0E02-C19E485C257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91649" y="5715262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6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15" name="Freeform 138">
                <a:extLst>
                  <a:ext uri="{FF2B5EF4-FFF2-40B4-BE49-F238E27FC236}">
                    <a16:creationId xmlns:a16="http://schemas.microsoft.com/office/drawing/2014/main" id="{AA4FF802-9AE7-55CC-3528-3987B3B382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2225" y="5908637"/>
                <a:ext cx="60430" cy="107263"/>
              </a:xfrm>
              <a:custGeom>
                <a:avLst/>
                <a:gdLst>
                  <a:gd name="T0" fmla="*/ 19 w 40"/>
                  <a:gd name="T1" fmla="*/ 12 h 71"/>
                  <a:gd name="T2" fmla="*/ 4 w 40"/>
                  <a:gd name="T3" fmla="*/ 21 h 71"/>
                  <a:gd name="T4" fmla="*/ 0 w 40"/>
                  <a:gd name="T5" fmla="*/ 12 h 71"/>
                  <a:gd name="T6" fmla="*/ 21 w 40"/>
                  <a:gd name="T7" fmla="*/ 0 h 71"/>
                  <a:gd name="T8" fmla="*/ 30 w 40"/>
                  <a:gd name="T9" fmla="*/ 0 h 71"/>
                  <a:gd name="T10" fmla="*/ 30 w 40"/>
                  <a:gd name="T11" fmla="*/ 64 h 71"/>
                  <a:gd name="T12" fmla="*/ 40 w 40"/>
                  <a:gd name="T13" fmla="*/ 64 h 71"/>
                  <a:gd name="T14" fmla="*/ 40 w 40"/>
                  <a:gd name="T15" fmla="*/ 71 h 71"/>
                  <a:gd name="T16" fmla="*/ 9 w 40"/>
                  <a:gd name="T17" fmla="*/ 71 h 71"/>
                  <a:gd name="T18" fmla="*/ 9 w 40"/>
                  <a:gd name="T19" fmla="*/ 64 h 71"/>
                  <a:gd name="T20" fmla="*/ 19 w 40"/>
                  <a:gd name="T21" fmla="*/ 64 h 71"/>
                  <a:gd name="T22" fmla="*/ 19 w 40"/>
                  <a:gd name="T23" fmla="*/ 1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1">
                    <a:moveTo>
                      <a:pt x="19" y="12"/>
                    </a:moveTo>
                    <a:lnTo>
                      <a:pt x="4" y="21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1"/>
                    </a:lnTo>
                    <a:lnTo>
                      <a:pt x="9" y="71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16" name="Freeform 139">
                <a:extLst>
                  <a:ext uri="{FF2B5EF4-FFF2-40B4-BE49-F238E27FC236}">
                    <a16:creationId xmlns:a16="http://schemas.microsoft.com/office/drawing/2014/main" id="{8DCE2C04-8147-F814-DF29-F01A2D2DCE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2225" y="6097480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17" name="Freeform 140">
                <a:extLst>
                  <a:ext uri="{FF2B5EF4-FFF2-40B4-BE49-F238E27FC236}">
                    <a16:creationId xmlns:a16="http://schemas.microsoft.com/office/drawing/2014/main" id="{9A172087-84EE-E739-8590-01F9B72A4D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2225" y="6286323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18" name="Freeform 141">
                <a:extLst>
                  <a:ext uri="{FF2B5EF4-FFF2-40B4-BE49-F238E27FC236}">
                    <a16:creationId xmlns:a16="http://schemas.microsoft.com/office/drawing/2014/main" id="{8AFEB998-9D7B-E885-7090-D27786111B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2225" y="6479698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1 h 73"/>
                  <a:gd name="T4" fmla="*/ 0 w 40"/>
                  <a:gd name="T5" fmla="*/ 12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1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19" name="Freeform 142">
                <a:extLst>
                  <a:ext uri="{FF2B5EF4-FFF2-40B4-BE49-F238E27FC236}">
                    <a16:creationId xmlns:a16="http://schemas.microsoft.com/office/drawing/2014/main" id="{6643105E-C4F4-A690-B891-8E64D88875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91649" y="6668540"/>
                <a:ext cx="75537" cy="110285"/>
              </a:xfrm>
              <a:custGeom>
                <a:avLst/>
                <a:gdLst>
                  <a:gd name="T0" fmla="*/ 21 w 21"/>
                  <a:gd name="T1" fmla="*/ 15 h 31"/>
                  <a:gd name="T2" fmla="*/ 10 w 21"/>
                  <a:gd name="T3" fmla="*/ 31 h 31"/>
                  <a:gd name="T4" fmla="*/ 0 w 21"/>
                  <a:gd name="T5" fmla="*/ 15 h 31"/>
                  <a:gd name="T6" fmla="*/ 10 w 21"/>
                  <a:gd name="T7" fmla="*/ 0 h 31"/>
                  <a:gd name="T8" fmla="*/ 21 w 21"/>
                  <a:gd name="T9" fmla="*/ 15 h 31"/>
                  <a:gd name="T10" fmla="*/ 5 w 21"/>
                  <a:gd name="T11" fmla="*/ 15 h 31"/>
                  <a:gd name="T12" fmla="*/ 10 w 21"/>
                  <a:gd name="T13" fmla="*/ 27 h 31"/>
                  <a:gd name="T14" fmla="*/ 16 w 21"/>
                  <a:gd name="T15" fmla="*/ 15 h 31"/>
                  <a:gd name="T16" fmla="*/ 10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5"/>
                    </a:moveTo>
                    <a:cubicBezTo>
                      <a:pt x="21" y="26"/>
                      <a:pt x="18" y="31"/>
                      <a:pt x="10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5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0" y="27"/>
                    </a:cubicBezTo>
                    <a:cubicBezTo>
                      <a:pt x="14" y="27"/>
                      <a:pt x="16" y="23"/>
                      <a:pt x="16" y="15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20" name="Freeform 143">
                <a:extLst>
                  <a:ext uri="{FF2B5EF4-FFF2-40B4-BE49-F238E27FC236}">
                    <a16:creationId xmlns:a16="http://schemas.microsoft.com/office/drawing/2014/main" id="{002AB27B-DC7C-C3F8-5553-C4B0F9D889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91649" y="6857383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21" name="Freeform 149">
                <a:extLst>
                  <a:ext uri="{FF2B5EF4-FFF2-40B4-BE49-F238E27FC236}">
                    <a16:creationId xmlns:a16="http://schemas.microsoft.com/office/drawing/2014/main" id="{BFFCD103-4126-28A4-3882-2622E9E0B4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4198" y="4787667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22" name="Freeform 150">
                <a:extLst>
                  <a:ext uri="{FF2B5EF4-FFF2-40B4-BE49-F238E27FC236}">
                    <a16:creationId xmlns:a16="http://schemas.microsoft.com/office/drawing/2014/main" id="{FB1BBA03-413E-C0D0-2709-01EDB712B76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99092" y="5070175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23" name="Freeform 151">
                <a:extLst>
                  <a:ext uri="{FF2B5EF4-FFF2-40B4-BE49-F238E27FC236}">
                    <a16:creationId xmlns:a16="http://schemas.microsoft.com/office/drawing/2014/main" id="{863115FF-B616-AF7A-BCD3-8A62481404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4198" y="5358727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24" name="Freeform 152">
                <a:extLst>
                  <a:ext uri="{FF2B5EF4-FFF2-40B4-BE49-F238E27FC236}">
                    <a16:creationId xmlns:a16="http://schemas.microsoft.com/office/drawing/2014/main" id="{B98FE844-9CDE-A0DF-DA25-0FA151FA4C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99092" y="5641236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25" name="Freeform 153">
                <a:extLst>
                  <a:ext uri="{FF2B5EF4-FFF2-40B4-BE49-F238E27FC236}">
                    <a16:creationId xmlns:a16="http://schemas.microsoft.com/office/drawing/2014/main" id="{3BDC1571-7AF8-5545-CBF7-FB208E8A78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4198" y="5929788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26" name="Freeform 154">
                <a:extLst>
                  <a:ext uri="{FF2B5EF4-FFF2-40B4-BE49-F238E27FC236}">
                    <a16:creationId xmlns:a16="http://schemas.microsoft.com/office/drawing/2014/main" id="{E27537D0-5C64-25A9-8690-F785FC3B49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4198" y="6215318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27" name="Freeform 155">
                <a:extLst>
                  <a:ext uri="{FF2B5EF4-FFF2-40B4-BE49-F238E27FC236}">
                    <a16:creationId xmlns:a16="http://schemas.microsoft.com/office/drawing/2014/main" id="{44053400-378A-514B-8AAD-AFDC0B0502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4198" y="6500848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7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7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7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7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28" name="Freeform 156">
                <a:extLst>
                  <a:ext uri="{FF2B5EF4-FFF2-40B4-BE49-F238E27FC236}">
                    <a16:creationId xmlns:a16="http://schemas.microsoft.com/office/drawing/2014/main" id="{4B2BF404-BC0F-03F8-A68F-C7225DC183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4198" y="6786378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5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7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7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5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7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7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29" name="Line 8">
                <a:extLst>
                  <a:ext uri="{FF2B5EF4-FFF2-40B4-BE49-F238E27FC236}">
                    <a16:creationId xmlns:a16="http://schemas.microsoft.com/office/drawing/2014/main" id="{BFD6445D-2FAC-037E-6993-504B3A0CBEB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049918" y="3678777"/>
                <a:ext cx="0" cy="0"/>
              </a:xfrm>
              <a:prstGeom prst="lin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30" name="Line 9">
                <a:extLst>
                  <a:ext uri="{FF2B5EF4-FFF2-40B4-BE49-F238E27FC236}">
                    <a16:creationId xmlns:a16="http://schemas.microsoft.com/office/drawing/2014/main" id="{D974EF7B-A126-497E-B7A5-E0D9F086ED8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049918" y="3678777"/>
                <a:ext cx="0" cy="0"/>
              </a:xfrm>
              <a:prstGeom prst="lin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31" name="Freeform 10">
                <a:extLst>
                  <a:ext uri="{FF2B5EF4-FFF2-40B4-BE49-F238E27FC236}">
                    <a16:creationId xmlns:a16="http://schemas.microsoft.com/office/drawing/2014/main" id="{521F8D4E-0E79-FC46-0146-ADAAB536D0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83099" y="4749893"/>
                <a:ext cx="99709" cy="157117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8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7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7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8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7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7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32" name="Freeform 11">
                <a:extLst>
                  <a:ext uri="{FF2B5EF4-FFF2-40B4-BE49-F238E27FC236}">
                    <a16:creationId xmlns:a16="http://schemas.microsoft.com/office/drawing/2014/main" id="{2268AFA5-5D4E-A091-A28F-AEAB3EF56B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75545" y="5017295"/>
                <a:ext cx="120859" cy="164671"/>
              </a:xfrm>
              <a:custGeom>
                <a:avLst/>
                <a:gdLst>
                  <a:gd name="T0" fmla="*/ 32 w 34"/>
                  <a:gd name="T1" fmla="*/ 8 h 46"/>
                  <a:gd name="T2" fmla="*/ 34 w 34"/>
                  <a:gd name="T3" fmla="*/ 23 h 46"/>
                  <a:gd name="T4" fmla="*/ 31 w 34"/>
                  <a:gd name="T5" fmla="*/ 39 h 46"/>
                  <a:gd name="T6" fmla="*/ 17 w 34"/>
                  <a:gd name="T7" fmla="*/ 46 h 46"/>
                  <a:gd name="T8" fmla="*/ 3 w 34"/>
                  <a:gd name="T9" fmla="*/ 37 h 46"/>
                  <a:gd name="T10" fmla="*/ 0 w 34"/>
                  <a:gd name="T11" fmla="*/ 23 h 46"/>
                  <a:gd name="T12" fmla="*/ 17 w 34"/>
                  <a:gd name="T13" fmla="*/ 0 h 46"/>
                  <a:gd name="T14" fmla="*/ 32 w 34"/>
                  <a:gd name="T15" fmla="*/ 8 h 46"/>
                  <a:gd name="T16" fmla="*/ 10 w 34"/>
                  <a:gd name="T17" fmla="*/ 23 h 46"/>
                  <a:gd name="T18" fmla="*/ 17 w 34"/>
                  <a:gd name="T19" fmla="*/ 38 h 46"/>
                  <a:gd name="T20" fmla="*/ 25 w 34"/>
                  <a:gd name="T21" fmla="*/ 23 h 46"/>
                  <a:gd name="T22" fmla="*/ 17 w 34"/>
                  <a:gd name="T23" fmla="*/ 8 h 46"/>
                  <a:gd name="T24" fmla="*/ 10 w 34"/>
                  <a:gd name="T25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46">
                    <a:moveTo>
                      <a:pt x="32" y="8"/>
                    </a:moveTo>
                    <a:cubicBezTo>
                      <a:pt x="34" y="12"/>
                      <a:pt x="34" y="16"/>
                      <a:pt x="34" y="23"/>
                    </a:cubicBezTo>
                    <a:cubicBezTo>
                      <a:pt x="34" y="31"/>
                      <a:pt x="33" y="36"/>
                      <a:pt x="31" y="39"/>
                    </a:cubicBezTo>
                    <a:cubicBezTo>
                      <a:pt x="28" y="43"/>
                      <a:pt x="23" y="46"/>
                      <a:pt x="17" y="46"/>
                    </a:cubicBezTo>
                    <a:cubicBezTo>
                      <a:pt x="11" y="46"/>
                      <a:pt x="6" y="43"/>
                      <a:pt x="3" y="37"/>
                    </a:cubicBezTo>
                    <a:cubicBezTo>
                      <a:pt x="1" y="34"/>
                      <a:pt x="0" y="29"/>
                      <a:pt x="0" y="23"/>
                    </a:cubicBezTo>
                    <a:cubicBezTo>
                      <a:pt x="0" y="8"/>
                      <a:pt x="6" y="0"/>
                      <a:pt x="17" y="0"/>
                    </a:cubicBezTo>
                    <a:cubicBezTo>
                      <a:pt x="24" y="0"/>
                      <a:pt x="29" y="3"/>
                      <a:pt x="32" y="8"/>
                    </a:cubicBezTo>
                    <a:close/>
                    <a:moveTo>
                      <a:pt x="10" y="23"/>
                    </a:moveTo>
                    <a:cubicBezTo>
                      <a:pt x="10" y="33"/>
                      <a:pt x="12" y="38"/>
                      <a:pt x="17" y="38"/>
                    </a:cubicBezTo>
                    <a:cubicBezTo>
                      <a:pt x="22" y="38"/>
                      <a:pt x="25" y="33"/>
                      <a:pt x="25" y="23"/>
                    </a:cubicBezTo>
                    <a:cubicBezTo>
                      <a:pt x="25" y="13"/>
                      <a:pt x="22" y="8"/>
                      <a:pt x="17" y="8"/>
                    </a:cubicBezTo>
                    <a:cubicBezTo>
                      <a:pt x="12" y="8"/>
                      <a:pt x="10" y="13"/>
                      <a:pt x="10" y="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33" name="Freeform 12">
                <a:extLst>
                  <a:ext uri="{FF2B5EF4-FFF2-40B4-BE49-F238E27FC236}">
                    <a16:creationId xmlns:a16="http://schemas.microsoft.com/office/drawing/2014/main" id="{99F8F257-82B2-F010-455F-04EF64CCD1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83099" y="5292250"/>
                <a:ext cx="99709" cy="157117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6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7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7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6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7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7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34" name="Freeform 13">
                <a:extLst>
                  <a:ext uri="{FF2B5EF4-FFF2-40B4-BE49-F238E27FC236}">
                    <a16:creationId xmlns:a16="http://schemas.microsoft.com/office/drawing/2014/main" id="{7565187A-EF36-4F31-CB98-E06731DA16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83099" y="5564184"/>
                <a:ext cx="99709" cy="157117"/>
              </a:xfrm>
              <a:custGeom>
                <a:avLst/>
                <a:gdLst>
                  <a:gd name="T0" fmla="*/ 30 w 66"/>
                  <a:gd name="T1" fmla="*/ 23 h 104"/>
                  <a:gd name="T2" fmla="*/ 9 w 66"/>
                  <a:gd name="T3" fmla="*/ 35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5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5 h 104"/>
                  <a:gd name="T22" fmla="*/ 30 w 66"/>
                  <a:gd name="T23" fmla="*/ 2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3"/>
                    </a:moveTo>
                    <a:lnTo>
                      <a:pt x="9" y="35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5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5"/>
                    </a:lnTo>
                    <a:lnTo>
                      <a:pt x="30" y="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35" name="Freeform 14">
                <a:extLst>
                  <a:ext uri="{FF2B5EF4-FFF2-40B4-BE49-F238E27FC236}">
                    <a16:creationId xmlns:a16="http://schemas.microsoft.com/office/drawing/2014/main" id="{0DCA5FCD-AD7D-710A-715D-6ADD04E688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83099" y="5834606"/>
                <a:ext cx="99709" cy="157117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6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5 h 104"/>
                  <a:gd name="T12" fmla="*/ 66 w 66"/>
                  <a:gd name="T13" fmla="*/ 88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8 h 104"/>
                  <a:gd name="T20" fmla="*/ 30 w 66"/>
                  <a:gd name="T21" fmla="*/ 85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6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5"/>
                    </a:lnTo>
                    <a:lnTo>
                      <a:pt x="66" y="88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8"/>
                    </a:lnTo>
                    <a:lnTo>
                      <a:pt x="30" y="85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36" name="Freeform 15">
                <a:extLst>
                  <a:ext uri="{FF2B5EF4-FFF2-40B4-BE49-F238E27FC236}">
                    <a16:creationId xmlns:a16="http://schemas.microsoft.com/office/drawing/2014/main" id="{5022F784-0125-9C24-94AE-17DC989D50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83099" y="6106539"/>
                <a:ext cx="99709" cy="152585"/>
              </a:xfrm>
              <a:custGeom>
                <a:avLst/>
                <a:gdLst>
                  <a:gd name="T0" fmla="*/ 30 w 66"/>
                  <a:gd name="T1" fmla="*/ 23 h 101"/>
                  <a:gd name="T2" fmla="*/ 9 w 66"/>
                  <a:gd name="T3" fmla="*/ 35 h 101"/>
                  <a:gd name="T4" fmla="*/ 0 w 66"/>
                  <a:gd name="T5" fmla="*/ 19 h 101"/>
                  <a:gd name="T6" fmla="*/ 33 w 66"/>
                  <a:gd name="T7" fmla="*/ 0 h 101"/>
                  <a:gd name="T8" fmla="*/ 52 w 66"/>
                  <a:gd name="T9" fmla="*/ 0 h 101"/>
                  <a:gd name="T10" fmla="*/ 52 w 66"/>
                  <a:gd name="T11" fmla="*/ 85 h 101"/>
                  <a:gd name="T12" fmla="*/ 66 w 66"/>
                  <a:gd name="T13" fmla="*/ 85 h 101"/>
                  <a:gd name="T14" fmla="*/ 66 w 66"/>
                  <a:gd name="T15" fmla="*/ 101 h 101"/>
                  <a:gd name="T16" fmla="*/ 16 w 66"/>
                  <a:gd name="T17" fmla="*/ 101 h 101"/>
                  <a:gd name="T18" fmla="*/ 16 w 66"/>
                  <a:gd name="T19" fmla="*/ 85 h 101"/>
                  <a:gd name="T20" fmla="*/ 30 w 66"/>
                  <a:gd name="T21" fmla="*/ 85 h 101"/>
                  <a:gd name="T22" fmla="*/ 30 w 66"/>
                  <a:gd name="T23" fmla="*/ 23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1">
                    <a:moveTo>
                      <a:pt x="30" y="23"/>
                    </a:moveTo>
                    <a:lnTo>
                      <a:pt x="9" y="35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5"/>
                    </a:lnTo>
                    <a:lnTo>
                      <a:pt x="66" y="85"/>
                    </a:lnTo>
                    <a:lnTo>
                      <a:pt x="66" y="101"/>
                    </a:lnTo>
                    <a:lnTo>
                      <a:pt x="16" y="101"/>
                    </a:lnTo>
                    <a:lnTo>
                      <a:pt x="16" y="85"/>
                    </a:lnTo>
                    <a:lnTo>
                      <a:pt x="30" y="85"/>
                    </a:lnTo>
                    <a:lnTo>
                      <a:pt x="30" y="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37" name="Freeform 16">
                <a:extLst>
                  <a:ext uri="{FF2B5EF4-FFF2-40B4-BE49-F238E27FC236}">
                    <a16:creationId xmlns:a16="http://schemas.microsoft.com/office/drawing/2014/main" id="{8E122D3D-896D-A11A-F464-216590E635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75545" y="6644364"/>
                <a:ext cx="120859" cy="161650"/>
              </a:xfrm>
              <a:custGeom>
                <a:avLst/>
                <a:gdLst>
                  <a:gd name="T0" fmla="*/ 32 w 34"/>
                  <a:gd name="T1" fmla="*/ 8 h 45"/>
                  <a:gd name="T2" fmla="*/ 34 w 34"/>
                  <a:gd name="T3" fmla="*/ 22 h 45"/>
                  <a:gd name="T4" fmla="*/ 31 w 34"/>
                  <a:gd name="T5" fmla="*/ 39 h 45"/>
                  <a:gd name="T6" fmla="*/ 17 w 34"/>
                  <a:gd name="T7" fmla="*/ 45 h 45"/>
                  <a:gd name="T8" fmla="*/ 3 w 34"/>
                  <a:gd name="T9" fmla="*/ 37 h 45"/>
                  <a:gd name="T10" fmla="*/ 0 w 34"/>
                  <a:gd name="T11" fmla="*/ 22 h 45"/>
                  <a:gd name="T12" fmla="*/ 17 w 34"/>
                  <a:gd name="T13" fmla="*/ 0 h 45"/>
                  <a:gd name="T14" fmla="*/ 32 w 34"/>
                  <a:gd name="T15" fmla="*/ 8 h 45"/>
                  <a:gd name="T16" fmla="*/ 10 w 34"/>
                  <a:gd name="T17" fmla="*/ 22 h 45"/>
                  <a:gd name="T18" fmla="*/ 17 w 34"/>
                  <a:gd name="T19" fmla="*/ 37 h 45"/>
                  <a:gd name="T20" fmla="*/ 25 w 34"/>
                  <a:gd name="T21" fmla="*/ 22 h 45"/>
                  <a:gd name="T22" fmla="*/ 17 w 34"/>
                  <a:gd name="T23" fmla="*/ 7 h 45"/>
                  <a:gd name="T24" fmla="*/ 10 w 34"/>
                  <a:gd name="T25" fmla="*/ 2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45">
                    <a:moveTo>
                      <a:pt x="32" y="8"/>
                    </a:moveTo>
                    <a:cubicBezTo>
                      <a:pt x="34" y="11"/>
                      <a:pt x="34" y="16"/>
                      <a:pt x="34" y="22"/>
                    </a:cubicBezTo>
                    <a:cubicBezTo>
                      <a:pt x="34" y="30"/>
                      <a:pt x="33" y="35"/>
                      <a:pt x="31" y="39"/>
                    </a:cubicBezTo>
                    <a:cubicBezTo>
                      <a:pt x="28" y="43"/>
                      <a:pt x="23" y="45"/>
                      <a:pt x="17" y="45"/>
                    </a:cubicBezTo>
                    <a:cubicBezTo>
                      <a:pt x="11" y="45"/>
                      <a:pt x="6" y="42"/>
                      <a:pt x="3" y="37"/>
                    </a:cubicBezTo>
                    <a:cubicBezTo>
                      <a:pt x="1" y="33"/>
                      <a:pt x="0" y="29"/>
                      <a:pt x="0" y="22"/>
                    </a:cubicBezTo>
                    <a:cubicBezTo>
                      <a:pt x="0" y="7"/>
                      <a:pt x="6" y="0"/>
                      <a:pt x="17" y="0"/>
                    </a:cubicBezTo>
                    <a:cubicBezTo>
                      <a:pt x="24" y="0"/>
                      <a:pt x="29" y="2"/>
                      <a:pt x="32" y="8"/>
                    </a:cubicBezTo>
                    <a:close/>
                    <a:moveTo>
                      <a:pt x="10" y="22"/>
                    </a:moveTo>
                    <a:cubicBezTo>
                      <a:pt x="10" y="33"/>
                      <a:pt x="12" y="37"/>
                      <a:pt x="17" y="37"/>
                    </a:cubicBezTo>
                    <a:cubicBezTo>
                      <a:pt x="22" y="37"/>
                      <a:pt x="25" y="33"/>
                      <a:pt x="25" y="22"/>
                    </a:cubicBezTo>
                    <a:cubicBezTo>
                      <a:pt x="25" y="12"/>
                      <a:pt x="22" y="7"/>
                      <a:pt x="17" y="7"/>
                    </a:cubicBezTo>
                    <a:cubicBezTo>
                      <a:pt x="12" y="7"/>
                      <a:pt x="10" y="12"/>
                      <a:pt x="10" y="2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38" name="Freeform 17">
                <a:extLst>
                  <a:ext uri="{FF2B5EF4-FFF2-40B4-BE49-F238E27FC236}">
                    <a16:creationId xmlns:a16="http://schemas.microsoft.com/office/drawing/2014/main" id="{A4269EE6-6BD4-5605-A47E-5285F67DA3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75545" y="6916297"/>
                <a:ext cx="120859" cy="160139"/>
              </a:xfrm>
              <a:custGeom>
                <a:avLst/>
                <a:gdLst>
                  <a:gd name="T0" fmla="*/ 32 w 34"/>
                  <a:gd name="T1" fmla="*/ 8 h 45"/>
                  <a:gd name="T2" fmla="*/ 34 w 34"/>
                  <a:gd name="T3" fmla="*/ 22 h 45"/>
                  <a:gd name="T4" fmla="*/ 31 w 34"/>
                  <a:gd name="T5" fmla="*/ 39 h 45"/>
                  <a:gd name="T6" fmla="*/ 17 w 34"/>
                  <a:gd name="T7" fmla="*/ 45 h 45"/>
                  <a:gd name="T8" fmla="*/ 3 w 34"/>
                  <a:gd name="T9" fmla="*/ 37 h 45"/>
                  <a:gd name="T10" fmla="*/ 0 w 34"/>
                  <a:gd name="T11" fmla="*/ 22 h 45"/>
                  <a:gd name="T12" fmla="*/ 17 w 34"/>
                  <a:gd name="T13" fmla="*/ 0 h 45"/>
                  <a:gd name="T14" fmla="*/ 32 w 34"/>
                  <a:gd name="T15" fmla="*/ 8 h 45"/>
                  <a:gd name="T16" fmla="*/ 10 w 34"/>
                  <a:gd name="T17" fmla="*/ 22 h 45"/>
                  <a:gd name="T18" fmla="*/ 17 w 34"/>
                  <a:gd name="T19" fmla="*/ 37 h 45"/>
                  <a:gd name="T20" fmla="*/ 25 w 34"/>
                  <a:gd name="T21" fmla="*/ 22 h 45"/>
                  <a:gd name="T22" fmla="*/ 17 w 34"/>
                  <a:gd name="T23" fmla="*/ 7 h 45"/>
                  <a:gd name="T24" fmla="*/ 10 w 34"/>
                  <a:gd name="T25" fmla="*/ 2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45">
                    <a:moveTo>
                      <a:pt x="32" y="8"/>
                    </a:moveTo>
                    <a:cubicBezTo>
                      <a:pt x="34" y="11"/>
                      <a:pt x="34" y="16"/>
                      <a:pt x="34" y="22"/>
                    </a:cubicBezTo>
                    <a:cubicBezTo>
                      <a:pt x="34" y="30"/>
                      <a:pt x="33" y="35"/>
                      <a:pt x="31" y="39"/>
                    </a:cubicBezTo>
                    <a:cubicBezTo>
                      <a:pt x="28" y="43"/>
                      <a:pt x="23" y="45"/>
                      <a:pt x="17" y="45"/>
                    </a:cubicBezTo>
                    <a:cubicBezTo>
                      <a:pt x="11" y="45"/>
                      <a:pt x="6" y="42"/>
                      <a:pt x="3" y="37"/>
                    </a:cubicBezTo>
                    <a:cubicBezTo>
                      <a:pt x="1" y="33"/>
                      <a:pt x="0" y="29"/>
                      <a:pt x="0" y="22"/>
                    </a:cubicBezTo>
                    <a:cubicBezTo>
                      <a:pt x="0" y="7"/>
                      <a:pt x="6" y="0"/>
                      <a:pt x="17" y="0"/>
                    </a:cubicBezTo>
                    <a:cubicBezTo>
                      <a:pt x="24" y="0"/>
                      <a:pt x="29" y="2"/>
                      <a:pt x="32" y="8"/>
                    </a:cubicBezTo>
                    <a:close/>
                    <a:moveTo>
                      <a:pt x="10" y="22"/>
                    </a:moveTo>
                    <a:cubicBezTo>
                      <a:pt x="10" y="33"/>
                      <a:pt x="12" y="37"/>
                      <a:pt x="17" y="37"/>
                    </a:cubicBezTo>
                    <a:cubicBezTo>
                      <a:pt x="22" y="37"/>
                      <a:pt x="25" y="33"/>
                      <a:pt x="25" y="22"/>
                    </a:cubicBezTo>
                    <a:cubicBezTo>
                      <a:pt x="25" y="12"/>
                      <a:pt x="22" y="7"/>
                      <a:pt x="17" y="7"/>
                    </a:cubicBezTo>
                    <a:cubicBezTo>
                      <a:pt x="12" y="7"/>
                      <a:pt x="10" y="12"/>
                      <a:pt x="10" y="2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39" name="Freeform 23">
                <a:extLst>
                  <a:ext uri="{FF2B5EF4-FFF2-40B4-BE49-F238E27FC236}">
                    <a16:creationId xmlns:a16="http://schemas.microsoft.com/office/drawing/2014/main" id="{D5DEEB41-31CB-8642-C0F3-76F76A1319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00590" y="4029270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8 h 32"/>
                  <a:gd name="T14" fmla="*/ 16 w 21"/>
                  <a:gd name="T15" fmla="*/ 16 h 32"/>
                  <a:gd name="T16" fmla="*/ 11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1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1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40" name="Freeform 24">
                <a:extLst>
                  <a:ext uri="{FF2B5EF4-FFF2-40B4-BE49-F238E27FC236}">
                    <a16:creationId xmlns:a16="http://schemas.microsoft.com/office/drawing/2014/main" id="{9F321CEE-F6FD-2823-770A-B69A12D02F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00590" y="4221133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5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41" name="Freeform 25">
                <a:extLst>
                  <a:ext uri="{FF2B5EF4-FFF2-40B4-BE49-F238E27FC236}">
                    <a16:creationId xmlns:a16="http://schemas.microsoft.com/office/drawing/2014/main" id="{D9BD9560-8E8D-4786-C1D6-66DA51E9F9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3612" y="4603352"/>
                <a:ext cx="64962" cy="11028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2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2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42" name="Freeform 26">
                <a:extLst>
                  <a:ext uri="{FF2B5EF4-FFF2-40B4-BE49-F238E27FC236}">
                    <a16:creationId xmlns:a16="http://schemas.microsoft.com/office/drawing/2014/main" id="{83FAE35E-BF90-3132-1E18-009BA53B00D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00590" y="4792194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6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43" name="Freeform 27">
                <a:extLst>
                  <a:ext uri="{FF2B5EF4-FFF2-40B4-BE49-F238E27FC236}">
                    <a16:creationId xmlns:a16="http://schemas.microsoft.com/office/drawing/2014/main" id="{A2D572B2-2F6B-341E-0073-480F016973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00590" y="4982547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7 h 32"/>
                  <a:gd name="T14" fmla="*/ 16 w 21"/>
                  <a:gd name="T15" fmla="*/ 16 h 32"/>
                  <a:gd name="T16" fmla="*/ 11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1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44" name="Freeform 28">
                <a:extLst>
                  <a:ext uri="{FF2B5EF4-FFF2-40B4-BE49-F238E27FC236}">
                    <a16:creationId xmlns:a16="http://schemas.microsoft.com/office/drawing/2014/main" id="{335D4BA6-8C9B-0F16-CDEC-216288A3D7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3612" y="5363254"/>
                <a:ext cx="64962" cy="111795"/>
              </a:xfrm>
              <a:custGeom>
                <a:avLst/>
                <a:gdLst>
                  <a:gd name="T0" fmla="*/ 19 w 43"/>
                  <a:gd name="T1" fmla="*/ 14 h 74"/>
                  <a:gd name="T2" fmla="*/ 5 w 43"/>
                  <a:gd name="T3" fmla="*/ 24 h 74"/>
                  <a:gd name="T4" fmla="*/ 0 w 43"/>
                  <a:gd name="T5" fmla="*/ 14 h 74"/>
                  <a:gd name="T6" fmla="*/ 22 w 43"/>
                  <a:gd name="T7" fmla="*/ 0 h 74"/>
                  <a:gd name="T8" fmla="*/ 34 w 43"/>
                  <a:gd name="T9" fmla="*/ 0 h 74"/>
                  <a:gd name="T10" fmla="*/ 34 w 43"/>
                  <a:gd name="T11" fmla="*/ 64 h 74"/>
                  <a:gd name="T12" fmla="*/ 43 w 43"/>
                  <a:gd name="T13" fmla="*/ 64 h 74"/>
                  <a:gd name="T14" fmla="*/ 43 w 43"/>
                  <a:gd name="T15" fmla="*/ 74 h 74"/>
                  <a:gd name="T16" fmla="*/ 10 w 43"/>
                  <a:gd name="T17" fmla="*/ 74 h 74"/>
                  <a:gd name="T18" fmla="*/ 10 w 43"/>
                  <a:gd name="T19" fmla="*/ 64 h 74"/>
                  <a:gd name="T20" fmla="*/ 19 w 43"/>
                  <a:gd name="T21" fmla="*/ 64 h 74"/>
                  <a:gd name="T22" fmla="*/ 19 w 43"/>
                  <a:gd name="T23" fmla="*/ 1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4">
                    <a:moveTo>
                      <a:pt x="19" y="14"/>
                    </a:moveTo>
                    <a:lnTo>
                      <a:pt x="5" y="24"/>
                    </a:lnTo>
                    <a:lnTo>
                      <a:pt x="0" y="14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4"/>
                    </a:lnTo>
                    <a:lnTo>
                      <a:pt x="10" y="74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45" name="Freeform 29">
                <a:extLst>
                  <a:ext uri="{FF2B5EF4-FFF2-40B4-BE49-F238E27FC236}">
                    <a16:creationId xmlns:a16="http://schemas.microsoft.com/office/drawing/2014/main" id="{68ABAFE0-9DD6-83EB-40E1-5490EECDA9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00590" y="5553608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8 h 32"/>
                  <a:gd name="T14" fmla="*/ 16 w 21"/>
                  <a:gd name="T15" fmla="*/ 16 h 32"/>
                  <a:gd name="T16" fmla="*/ 11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1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1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46" name="Freeform 30">
                <a:extLst>
                  <a:ext uri="{FF2B5EF4-FFF2-40B4-BE49-F238E27FC236}">
                    <a16:creationId xmlns:a16="http://schemas.microsoft.com/office/drawing/2014/main" id="{B67A859A-3D98-475F-3A44-2C674AA28A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3612" y="5745473"/>
                <a:ext cx="64962" cy="11028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4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4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47" name="Freeform 31">
                <a:extLst>
                  <a:ext uri="{FF2B5EF4-FFF2-40B4-BE49-F238E27FC236}">
                    <a16:creationId xmlns:a16="http://schemas.microsoft.com/office/drawing/2014/main" id="{EF900B6F-A132-63A9-C813-B0CC3588CB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00590" y="5934315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7 h 32"/>
                  <a:gd name="T14" fmla="*/ 16 w 21"/>
                  <a:gd name="T15" fmla="*/ 16 h 32"/>
                  <a:gd name="T16" fmla="*/ 11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1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48" name="Freeform 32">
                <a:extLst>
                  <a:ext uri="{FF2B5EF4-FFF2-40B4-BE49-F238E27FC236}">
                    <a16:creationId xmlns:a16="http://schemas.microsoft.com/office/drawing/2014/main" id="{D19726AE-1743-BA59-FC9B-2BC15202B8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3612" y="6127690"/>
                <a:ext cx="64962" cy="107263"/>
              </a:xfrm>
              <a:custGeom>
                <a:avLst/>
                <a:gdLst>
                  <a:gd name="T0" fmla="*/ 19 w 43"/>
                  <a:gd name="T1" fmla="*/ 12 h 71"/>
                  <a:gd name="T2" fmla="*/ 5 w 43"/>
                  <a:gd name="T3" fmla="*/ 21 h 71"/>
                  <a:gd name="T4" fmla="*/ 0 w 43"/>
                  <a:gd name="T5" fmla="*/ 12 h 71"/>
                  <a:gd name="T6" fmla="*/ 22 w 43"/>
                  <a:gd name="T7" fmla="*/ 0 h 71"/>
                  <a:gd name="T8" fmla="*/ 34 w 43"/>
                  <a:gd name="T9" fmla="*/ 0 h 71"/>
                  <a:gd name="T10" fmla="*/ 34 w 43"/>
                  <a:gd name="T11" fmla="*/ 64 h 71"/>
                  <a:gd name="T12" fmla="*/ 43 w 43"/>
                  <a:gd name="T13" fmla="*/ 64 h 71"/>
                  <a:gd name="T14" fmla="*/ 43 w 43"/>
                  <a:gd name="T15" fmla="*/ 71 h 71"/>
                  <a:gd name="T16" fmla="*/ 10 w 43"/>
                  <a:gd name="T17" fmla="*/ 71 h 71"/>
                  <a:gd name="T18" fmla="*/ 10 w 43"/>
                  <a:gd name="T19" fmla="*/ 64 h 71"/>
                  <a:gd name="T20" fmla="*/ 19 w 43"/>
                  <a:gd name="T21" fmla="*/ 64 h 71"/>
                  <a:gd name="T22" fmla="*/ 19 w 43"/>
                  <a:gd name="T23" fmla="*/ 1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1">
                    <a:moveTo>
                      <a:pt x="19" y="12"/>
                    </a:moveTo>
                    <a:lnTo>
                      <a:pt x="5" y="21"/>
                    </a:lnTo>
                    <a:lnTo>
                      <a:pt x="0" y="12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1"/>
                    </a:lnTo>
                    <a:lnTo>
                      <a:pt x="10" y="71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49" name="Freeform 33">
                <a:extLst>
                  <a:ext uri="{FF2B5EF4-FFF2-40B4-BE49-F238E27FC236}">
                    <a16:creationId xmlns:a16="http://schemas.microsoft.com/office/drawing/2014/main" id="{8ABFE2EC-1826-0AB6-80BA-4336D7792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3612" y="6316533"/>
                <a:ext cx="64962" cy="11028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4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4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50" name="Freeform 34">
                <a:extLst>
                  <a:ext uri="{FF2B5EF4-FFF2-40B4-BE49-F238E27FC236}">
                    <a16:creationId xmlns:a16="http://schemas.microsoft.com/office/drawing/2014/main" id="{0AAD26DE-197C-3D90-3EEB-990DA55A7B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3612" y="6505375"/>
                <a:ext cx="64962" cy="11028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4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4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51" name="Freeform 43">
                <a:extLst>
                  <a:ext uri="{FF2B5EF4-FFF2-40B4-BE49-F238E27FC236}">
                    <a16:creationId xmlns:a16="http://schemas.microsoft.com/office/drawing/2014/main" id="{2BFD3E3F-68F6-5E17-E561-420AE614199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2468" y="4228688"/>
                <a:ext cx="63451" cy="9366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5" y="0"/>
                      <a:pt x="18" y="5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52" name="Freeform 44">
                <a:extLst>
                  <a:ext uri="{FF2B5EF4-FFF2-40B4-BE49-F238E27FC236}">
                    <a16:creationId xmlns:a16="http://schemas.microsoft.com/office/drawing/2014/main" id="{2BE55025-B50C-6459-CFF3-DF41F6A7156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2468" y="4382783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1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53" name="Freeform 45">
                <a:extLst>
                  <a:ext uri="{FF2B5EF4-FFF2-40B4-BE49-F238E27FC236}">
                    <a16:creationId xmlns:a16="http://schemas.microsoft.com/office/drawing/2014/main" id="{C84AAE47-C894-4956-64A2-470471F274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5490" y="4689463"/>
                <a:ext cx="49855" cy="89134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49 h 59"/>
                  <a:gd name="T20" fmla="*/ 17 w 33"/>
                  <a:gd name="T21" fmla="*/ 49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54" name="Freeform 46">
                <a:extLst>
                  <a:ext uri="{FF2B5EF4-FFF2-40B4-BE49-F238E27FC236}">
                    <a16:creationId xmlns:a16="http://schemas.microsoft.com/office/drawing/2014/main" id="{C76F47CA-5E4B-21D1-FC15-C36550BBD9D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2468" y="4839027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55" name="Freeform 47">
                <a:extLst>
                  <a:ext uri="{FF2B5EF4-FFF2-40B4-BE49-F238E27FC236}">
                    <a16:creationId xmlns:a16="http://schemas.microsoft.com/office/drawing/2014/main" id="{121DD3AB-B704-FC41-0059-1E315C3AD4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2468" y="4993123"/>
                <a:ext cx="63451" cy="89134"/>
              </a:xfrm>
              <a:custGeom>
                <a:avLst/>
                <a:gdLst>
                  <a:gd name="T0" fmla="*/ 18 w 18"/>
                  <a:gd name="T1" fmla="*/ 13 h 25"/>
                  <a:gd name="T2" fmla="*/ 9 w 18"/>
                  <a:gd name="T3" fmla="*/ 25 h 25"/>
                  <a:gd name="T4" fmla="*/ 0 w 18"/>
                  <a:gd name="T5" fmla="*/ 12 h 25"/>
                  <a:gd name="T6" fmla="*/ 9 w 18"/>
                  <a:gd name="T7" fmla="*/ 0 h 25"/>
                  <a:gd name="T8" fmla="*/ 18 w 18"/>
                  <a:gd name="T9" fmla="*/ 13 h 25"/>
                  <a:gd name="T10" fmla="*/ 5 w 18"/>
                  <a:gd name="T11" fmla="*/ 12 h 25"/>
                  <a:gd name="T12" fmla="*/ 9 w 18"/>
                  <a:gd name="T13" fmla="*/ 22 h 25"/>
                  <a:gd name="T14" fmla="*/ 13 w 18"/>
                  <a:gd name="T15" fmla="*/ 13 h 25"/>
                  <a:gd name="T16" fmla="*/ 9 w 18"/>
                  <a:gd name="T17" fmla="*/ 3 h 25"/>
                  <a:gd name="T18" fmla="*/ 5 w 18"/>
                  <a:gd name="T1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5">
                    <a:moveTo>
                      <a:pt x="18" y="13"/>
                    </a:moveTo>
                    <a:cubicBezTo>
                      <a:pt x="18" y="21"/>
                      <a:pt x="15" y="25"/>
                      <a:pt x="9" y="25"/>
                    </a:cubicBezTo>
                    <a:cubicBezTo>
                      <a:pt x="3" y="25"/>
                      <a:pt x="0" y="21"/>
                      <a:pt x="0" y="12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2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6"/>
                      <a:pt x="12" y="3"/>
                      <a:pt x="9" y="3"/>
                    </a:cubicBezTo>
                    <a:cubicBezTo>
                      <a:pt x="6" y="3"/>
                      <a:pt x="5" y="6"/>
                      <a:pt x="5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56" name="Freeform 48">
                <a:extLst>
                  <a:ext uri="{FF2B5EF4-FFF2-40B4-BE49-F238E27FC236}">
                    <a16:creationId xmlns:a16="http://schemas.microsoft.com/office/drawing/2014/main" id="{BBC6E278-FAD2-A6DC-23A4-53B894B146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5490" y="5299803"/>
                <a:ext cx="49855" cy="84602"/>
              </a:xfrm>
              <a:custGeom>
                <a:avLst/>
                <a:gdLst>
                  <a:gd name="T0" fmla="*/ 17 w 33"/>
                  <a:gd name="T1" fmla="*/ 9 h 56"/>
                  <a:gd name="T2" fmla="*/ 5 w 33"/>
                  <a:gd name="T3" fmla="*/ 16 h 56"/>
                  <a:gd name="T4" fmla="*/ 0 w 33"/>
                  <a:gd name="T5" fmla="*/ 9 h 56"/>
                  <a:gd name="T6" fmla="*/ 19 w 33"/>
                  <a:gd name="T7" fmla="*/ 0 h 56"/>
                  <a:gd name="T8" fmla="*/ 26 w 33"/>
                  <a:gd name="T9" fmla="*/ 0 h 56"/>
                  <a:gd name="T10" fmla="*/ 26 w 33"/>
                  <a:gd name="T11" fmla="*/ 49 h 56"/>
                  <a:gd name="T12" fmla="*/ 33 w 33"/>
                  <a:gd name="T13" fmla="*/ 49 h 56"/>
                  <a:gd name="T14" fmla="*/ 33 w 33"/>
                  <a:gd name="T15" fmla="*/ 56 h 56"/>
                  <a:gd name="T16" fmla="*/ 10 w 33"/>
                  <a:gd name="T17" fmla="*/ 56 h 56"/>
                  <a:gd name="T18" fmla="*/ 10 w 33"/>
                  <a:gd name="T19" fmla="*/ 49 h 56"/>
                  <a:gd name="T20" fmla="*/ 17 w 33"/>
                  <a:gd name="T21" fmla="*/ 49 h 56"/>
                  <a:gd name="T22" fmla="*/ 17 w 33"/>
                  <a:gd name="T23" fmla="*/ 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6">
                    <a:moveTo>
                      <a:pt x="17" y="9"/>
                    </a:moveTo>
                    <a:lnTo>
                      <a:pt x="5" y="16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6"/>
                    </a:lnTo>
                    <a:lnTo>
                      <a:pt x="10" y="56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57" name="Freeform 49">
                <a:extLst>
                  <a:ext uri="{FF2B5EF4-FFF2-40B4-BE49-F238E27FC236}">
                    <a16:creationId xmlns:a16="http://schemas.microsoft.com/office/drawing/2014/main" id="{0A283A17-7DBD-14C5-1D6A-22A52745CE5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2468" y="5449367"/>
                <a:ext cx="63451" cy="89134"/>
              </a:xfrm>
              <a:custGeom>
                <a:avLst/>
                <a:gdLst>
                  <a:gd name="T0" fmla="*/ 18 w 18"/>
                  <a:gd name="T1" fmla="*/ 13 h 25"/>
                  <a:gd name="T2" fmla="*/ 9 w 18"/>
                  <a:gd name="T3" fmla="*/ 25 h 25"/>
                  <a:gd name="T4" fmla="*/ 0 w 18"/>
                  <a:gd name="T5" fmla="*/ 13 h 25"/>
                  <a:gd name="T6" fmla="*/ 9 w 18"/>
                  <a:gd name="T7" fmla="*/ 0 h 25"/>
                  <a:gd name="T8" fmla="*/ 18 w 18"/>
                  <a:gd name="T9" fmla="*/ 13 h 25"/>
                  <a:gd name="T10" fmla="*/ 5 w 18"/>
                  <a:gd name="T11" fmla="*/ 13 h 25"/>
                  <a:gd name="T12" fmla="*/ 9 w 18"/>
                  <a:gd name="T13" fmla="*/ 22 h 25"/>
                  <a:gd name="T14" fmla="*/ 13 w 18"/>
                  <a:gd name="T15" fmla="*/ 13 h 25"/>
                  <a:gd name="T16" fmla="*/ 9 w 18"/>
                  <a:gd name="T17" fmla="*/ 3 h 25"/>
                  <a:gd name="T18" fmla="*/ 5 w 18"/>
                  <a:gd name="T19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5">
                    <a:moveTo>
                      <a:pt x="18" y="13"/>
                    </a:moveTo>
                    <a:cubicBezTo>
                      <a:pt x="18" y="21"/>
                      <a:pt x="15" y="25"/>
                      <a:pt x="9" y="25"/>
                    </a:cubicBezTo>
                    <a:cubicBezTo>
                      <a:pt x="3" y="25"/>
                      <a:pt x="0" y="21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6"/>
                      <a:pt x="12" y="3"/>
                      <a:pt x="9" y="3"/>
                    </a:cubicBezTo>
                    <a:cubicBezTo>
                      <a:pt x="6" y="3"/>
                      <a:pt x="5" y="6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58" name="Freeform 50">
                <a:extLst>
                  <a:ext uri="{FF2B5EF4-FFF2-40B4-BE49-F238E27FC236}">
                    <a16:creationId xmlns:a16="http://schemas.microsoft.com/office/drawing/2014/main" id="{D530192C-3269-35FA-D2F3-B8613C9B4D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5490" y="5603463"/>
                <a:ext cx="49855" cy="89134"/>
              </a:xfrm>
              <a:custGeom>
                <a:avLst/>
                <a:gdLst>
                  <a:gd name="T0" fmla="*/ 17 w 33"/>
                  <a:gd name="T1" fmla="*/ 11 h 59"/>
                  <a:gd name="T2" fmla="*/ 5 w 33"/>
                  <a:gd name="T3" fmla="*/ 18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52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52 h 59"/>
                  <a:gd name="T20" fmla="*/ 17 w 33"/>
                  <a:gd name="T21" fmla="*/ 49 h 59"/>
                  <a:gd name="T22" fmla="*/ 17 w 33"/>
                  <a:gd name="T23" fmla="*/ 11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1"/>
                    </a:moveTo>
                    <a:lnTo>
                      <a:pt x="5" y="18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52"/>
                    </a:lnTo>
                    <a:lnTo>
                      <a:pt x="17" y="49"/>
                    </a:lnTo>
                    <a:lnTo>
                      <a:pt x="17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59" name="Freeform 51">
                <a:extLst>
                  <a:ext uri="{FF2B5EF4-FFF2-40B4-BE49-F238E27FC236}">
                    <a16:creationId xmlns:a16="http://schemas.microsoft.com/office/drawing/2014/main" id="{13F27343-2709-6FB5-E45A-6F7741B5D41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2468" y="5753026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60" name="Freeform 52">
                <a:extLst>
                  <a:ext uri="{FF2B5EF4-FFF2-40B4-BE49-F238E27FC236}">
                    <a16:creationId xmlns:a16="http://schemas.microsoft.com/office/drawing/2014/main" id="{E8EC6478-7E22-3956-A204-FBF35E649F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5490" y="5905611"/>
                <a:ext cx="49855" cy="89134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12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52 h 59"/>
                  <a:gd name="T12" fmla="*/ 33 w 33"/>
                  <a:gd name="T13" fmla="*/ 52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52 h 59"/>
                  <a:gd name="T20" fmla="*/ 17 w 33"/>
                  <a:gd name="T21" fmla="*/ 52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52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52"/>
                    </a:lnTo>
                    <a:lnTo>
                      <a:pt x="17" y="52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61" name="Freeform 53">
                <a:extLst>
                  <a:ext uri="{FF2B5EF4-FFF2-40B4-BE49-F238E27FC236}">
                    <a16:creationId xmlns:a16="http://schemas.microsoft.com/office/drawing/2014/main" id="{D0F0C38B-FC6F-87B7-1C2D-BF549B3741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5490" y="6059707"/>
                <a:ext cx="49855" cy="89134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52 h 59"/>
                  <a:gd name="T12" fmla="*/ 33 w 33"/>
                  <a:gd name="T13" fmla="*/ 52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52 h 59"/>
                  <a:gd name="T20" fmla="*/ 17 w 33"/>
                  <a:gd name="T21" fmla="*/ 52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52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52"/>
                    </a:lnTo>
                    <a:lnTo>
                      <a:pt x="17" y="52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62" name="Freeform 54">
                <a:extLst>
                  <a:ext uri="{FF2B5EF4-FFF2-40B4-BE49-F238E27FC236}">
                    <a16:creationId xmlns:a16="http://schemas.microsoft.com/office/drawing/2014/main" id="{35CC7C5E-6CF8-B467-6AA2-20C57DCB3A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5490" y="6213803"/>
                <a:ext cx="49855" cy="84602"/>
              </a:xfrm>
              <a:custGeom>
                <a:avLst/>
                <a:gdLst>
                  <a:gd name="T0" fmla="*/ 17 w 33"/>
                  <a:gd name="T1" fmla="*/ 9 h 56"/>
                  <a:gd name="T2" fmla="*/ 5 w 33"/>
                  <a:gd name="T3" fmla="*/ 16 h 56"/>
                  <a:gd name="T4" fmla="*/ 0 w 33"/>
                  <a:gd name="T5" fmla="*/ 9 h 56"/>
                  <a:gd name="T6" fmla="*/ 19 w 33"/>
                  <a:gd name="T7" fmla="*/ 0 h 56"/>
                  <a:gd name="T8" fmla="*/ 26 w 33"/>
                  <a:gd name="T9" fmla="*/ 0 h 56"/>
                  <a:gd name="T10" fmla="*/ 26 w 33"/>
                  <a:gd name="T11" fmla="*/ 49 h 56"/>
                  <a:gd name="T12" fmla="*/ 33 w 33"/>
                  <a:gd name="T13" fmla="*/ 49 h 56"/>
                  <a:gd name="T14" fmla="*/ 33 w 33"/>
                  <a:gd name="T15" fmla="*/ 56 h 56"/>
                  <a:gd name="T16" fmla="*/ 10 w 33"/>
                  <a:gd name="T17" fmla="*/ 56 h 56"/>
                  <a:gd name="T18" fmla="*/ 10 w 33"/>
                  <a:gd name="T19" fmla="*/ 49 h 56"/>
                  <a:gd name="T20" fmla="*/ 17 w 33"/>
                  <a:gd name="T21" fmla="*/ 49 h 56"/>
                  <a:gd name="T22" fmla="*/ 17 w 33"/>
                  <a:gd name="T23" fmla="*/ 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6">
                    <a:moveTo>
                      <a:pt x="17" y="9"/>
                    </a:moveTo>
                    <a:lnTo>
                      <a:pt x="5" y="16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6"/>
                    </a:lnTo>
                    <a:lnTo>
                      <a:pt x="10" y="56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63" name="Freeform 55">
                <a:extLst>
                  <a:ext uri="{FF2B5EF4-FFF2-40B4-BE49-F238E27FC236}">
                    <a16:creationId xmlns:a16="http://schemas.microsoft.com/office/drawing/2014/main" id="{636B741B-74C6-86D8-E5C2-C1D914A5B9E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2468" y="6667025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64" name="Freeform 56">
                <a:extLst>
                  <a:ext uri="{FF2B5EF4-FFF2-40B4-BE49-F238E27FC236}">
                    <a16:creationId xmlns:a16="http://schemas.microsoft.com/office/drawing/2014/main" id="{C5FF3A06-7D60-68C5-04F4-A3A165DDAA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2468" y="6819610"/>
                <a:ext cx="63451" cy="89134"/>
              </a:xfrm>
              <a:custGeom>
                <a:avLst/>
                <a:gdLst>
                  <a:gd name="T0" fmla="*/ 18 w 18"/>
                  <a:gd name="T1" fmla="*/ 13 h 25"/>
                  <a:gd name="T2" fmla="*/ 9 w 18"/>
                  <a:gd name="T3" fmla="*/ 25 h 25"/>
                  <a:gd name="T4" fmla="*/ 0 w 18"/>
                  <a:gd name="T5" fmla="*/ 13 h 25"/>
                  <a:gd name="T6" fmla="*/ 9 w 18"/>
                  <a:gd name="T7" fmla="*/ 0 h 25"/>
                  <a:gd name="T8" fmla="*/ 18 w 18"/>
                  <a:gd name="T9" fmla="*/ 13 h 25"/>
                  <a:gd name="T10" fmla="*/ 5 w 18"/>
                  <a:gd name="T11" fmla="*/ 13 h 25"/>
                  <a:gd name="T12" fmla="*/ 9 w 18"/>
                  <a:gd name="T13" fmla="*/ 22 h 25"/>
                  <a:gd name="T14" fmla="*/ 13 w 18"/>
                  <a:gd name="T15" fmla="*/ 13 h 25"/>
                  <a:gd name="T16" fmla="*/ 9 w 18"/>
                  <a:gd name="T17" fmla="*/ 4 h 25"/>
                  <a:gd name="T18" fmla="*/ 5 w 18"/>
                  <a:gd name="T19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5">
                    <a:moveTo>
                      <a:pt x="18" y="13"/>
                    </a:moveTo>
                    <a:cubicBezTo>
                      <a:pt x="18" y="21"/>
                      <a:pt x="15" y="25"/>
                      <a:pt x="9" y="25"/>
                    </a:cubicBezTo>
                    <a:cubicBezTo>
                      <a:pt x="3" y="25"/>
                      <a:pt x="0" y="21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65" name="Freeform 63">
                <a:extLst>
                  <a:ext uri="{FF2B5EF4-FFF2-40B4-BE49-F238E27FC236}">
                    <a16:creationId xmlns:a16="http://schemas.microsoft.com/office/drawing/2014/main" id="{BFE9496D-3887-EA18-2CD2-AAB4D2C6BAC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02906" y="4228688"/>
                <a:ext cx="60430" cy="9366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4" y="0"/>
                      <a:pt x="17" y="5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66" name="Freeform 64">
                <a:extLst>
                  <a:ext uri="{FF2B5EF4-FFF2-40B4-BE49-F238E27FC236}">
                    <a16:creationId xmlns:a16="http://schemas.microsoft.com/office/drawing/2014/main" id="{45FF300C-8541-EB39-75DF-C9F71DC2FD7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02906" y="4382783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1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67" name="Freeform 65">
                <a:extLst>
                  <a:ext uri="{FF2B5EF4-FFF2-40B4-BE49-F238E27FC236}">
                    <a16:creationId xmlns:a16="http://schemas.microsoft.com/office/drawing/2014/main" id="{EDFD30DF-B044-14BC-0A53-A87291D480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07438" y="4689463"/>
                <a:ext cx="49855" cy="89134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49 h 59"/>
                  <a:gd name="T20" fmla="*/ 16 w 33"/>
                  <a:gd name="T21" fmla="*/ 49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68" name="Freeform 66">
                <a:extLst>
                  <a:ext uri="{FF2B5EF4-FFF2-40B4-BE49-F238E27FC236}">
                    <a16:creationId xmlns:a16="http://schemas.microsoft.com/office/drawing/2014/main" id="{5EFA2310-2877-894E-F128-B52E9B6E108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02906" y="4839027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69" name="Freeform 67">
                <a:extLst>
                  <a:ext uri="{FF2B5EF4-FFF2-40B4-BE49-F238E27FC236}">
                    <a16:creationId xmlns:a16="http://schemas.microsoft.com/office/drawing/2014/main" id="{AAFCEC1C-6765-90EC-DA70-18568E654D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02906" y="4993123"/>
                <a:ext cx="60430" cy="89134"/>
              </a:xfrm>
              <a:custGeom>
                <a:avLst/>
                <a:gdLst>
                  <a:gd name="T0" fmla="*/ 17 w 17"/>
                  <a:gd name="T1" fmla="*/ 13 h 25"/>
                  <a:gd name="T2" fmla="*/ 9 w 17"/>
                  <a:gd name="T3" fmla="*/ 25 h 25"/>
                  <a:gd name="T4" fmla="*/ 0 w 17"/>
                  <a:gd name="T5" fmla="*/ 12 h 25"/>
                  <a:gd name="T6" fmla="*/ 9 w 17"/>
                  <a:gd name="T7" fmla="*/ 0 h 25"/>
                  <a:gd name="T8" fmla="*/ 17 w 17"/>
                  <a:gd name="T9" fmla="*/ 13 h 25"/>
                  <a:gd name="T10" fmla="*/ 4 w 17"/>
                  <a:gd name="T11" fmla="*/ 12 h 25"/>
                  <a:gd name="T12" fmla="*/ 9 w 17"/>
                  <a:gd name="T13" fmla="*/ 22 h 25"/>
                  <a:gd name="T14" fmla="*/ 13 w 17"/>
                  <a:gd name="T15" fmla="*/ 13 h 25"/>
                  <a:gd name="T16" fmla="*/ 9 w 17"/>
                  <a:gd name="T17" fmla="*/ 3 h 25"/>
                  <a:gd name="T18" fmla="*/ 4 w 17"/>
                  <a:gd name="T1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5">
                    <a:moveTo>
                      <a:pt x="17" y="13"/>
                    </a:moveTo>
                    <a:cubicBezTo>
                      <a:pt x="17" y="21"/>
                      <a:pt x="14" y="25"/>
                      <a:pt x="9" y="25"/>
                    </a:cubicBezTo>
                    <a:cubicBezTo>
                      <a:pt x="3" y="25"/>
                      <a:pt x="0" y="21"/>
                      <a:pt x="0" y="12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2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6"/>
                      <a:pt x="11" y="3"/>
                      <a:pt x="9" y="3"/>
                    </a:cubicBezTo>
                    <a:cubicBezTo>
                      <a:pt x="6" y="3"/>
                      <a:pt x="4" y="6"/>
                      <a:pt x="4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70" name="Freeform 68">
                <a:extLst>
                  <a:ext uri="{FF2B5EF4-FFF2-40B4-BE49-F238E27FC236}">
                    <a16:creationId xmlns:a16="http://schemas.microsoft.com/office/drawing/2014/main" id="{64653261-64D2-D5E2-6FFA-ED0F4CB8F4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07438" y="5299803"/>
                <a:ext cx="49855" cy="84602"/>
              </a:xfrm>
              <a:custGeom>
                <a:avLst/>
                <a:gdLst>
                  <a:gd name="T0" fmla="*/ 16 w 33"/>
                  <a:gd name="T1" fmla="*/ 9 h 56"/>
                  <a:gd name="T2" fmla="*/ 4 w 33"/>
                  <a:gd name="T3" fmla="*/ 16 h 56"/>
                  <a:gd name="T4" fmla="*/ 0 w 33"/>
                  <a:gd name="T5" fmla="*/ 9 h 56"/>
                  <a:gd name="T6" fmla="*/ 16 w 33"/>
                  <a:gd name="T7" fmla="*/ 0 h 56"/>
                  <a:gd name="T8" fmla="*/ 26 w 33"/>
                  <a:gd name="T9" fmla="*/ 0 h 56"/>
                  <a:gd name="T10" fmla="*/ 26 w 33"/>
                  <a:gd name="T11" fmla="*/ 49 h 56"/>
                  <a:gd name="T12" fmla="*/ 33 w 33"/>
                  <a:gd name="T13" fmla="*/ 49 h 56"/>
                  <a:gd name="T14" fmla="*/ 33 w 33"/>
                  <a:gd name="T15" fmla="*/ 56 h 56"/>
                  <a:gd name="T16" fmla="*/ 7 w 33"/>
                  <a:gd name="T17" fmla="*/ 56 h 56"/>
                  <a:gd name="T18" fmla="*/ 7 w 33"/>
                  <a:gd name="T19" fmla="*/ 49 h 56"/>
                  <a:gd name="T20" fmla="*/ 16 w 33"/>
                  <a:gd name="T21" fmla="*/ 49 h 56"/>
                  <a:gd name="T22" fmla="*/ 16 w 33"/>
                  <a:gd name="T23" fmla="*/ 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6">
                    <a:moveTo>
                      <a:pt x="16" y="9"/>
                    </a:moveTo>
                    <a:lnTo>
                      <a:pt x="4" y="16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6"/>
                    </a:lnTo>
                    <a:lnTo>
                      <a:pt x="7" y="56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71" name="Freeform 69">
                <a:extLst>
                  <a:ext uri="{FF2B5EF4-FFF2-40B4-BE49-F238E27FC236}">
                    <a16:creationId xmlns:a16="http://schemas.microsoft.com/office/drawing/2014/main" id="{F7ABD845-DE79-68AC-D24B-123E8D4E7A0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02906" y="5449367"/>
                <a:ext cx="60430" cy="89134"/>
              </a:xfrm>
              <a:custGeom>
                <a:avLst/>
                <a:gdLst>
                  <a:gd name="T0" fmla="*/ 17 w 17"/>
                  <a:gd name="T1" fmla="*/ 13 h 25"/>
                  <a:gd name="T2" fmla="*/ 9 w 17"/>
                  <a:gd name="T3" fmla="*/ 25 h 25"/>
                  <a:gd name="T4" fmla="*/ 0 w 17"/>
                  <a:gd name="T5" fmla="*/ 13 h 25"/>
                  <a:gd name="T6" fmla="*/ 9 w 17"/>
                  <a:gd name="T7" fmla="*/ 0 h 25"/>
                  <a:gd name="T8" fmla="*/ 17 w 17"/>
                  <a:gd name="T9" fmla="*/ 13 h 25"/>
                  <a:gd name="T10" fmla="*/ 4 w 17"/>
                  <a:gd name="T11" fmla="*/ 13 h 25"/>
                  <a:gd name="T12" fmla="*/ 9 w 17"/>
                  <a:gd name="T13" fmla="*/ 22 h 25"/>
                  <a:gd name="T14" fmla="*/ 13 w 17"/>
                  <a:gd name="T15" fmla="*/ 13 h 25"/>
                  <a:gd name="T16" fmla="*/ 9 w 17"/>
                  <a:gd name="T17" fmla="*/ 3 h 25"/>
                  <a:gd name="T18" fmla="*/ 4 w 17"/>
                  <a:gd name="T19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5">
                    <a:moveTo>
                      <a:pt x="17" y="13"/>
                    </a:moveTo>
                    <a:cubicBezTo>
                      <a:pt x="17" y="21"/>
                      <a:pt x="14" y="25"/>
                      <a:pt x="9" y="25"/>
                    </a:cubicBezTo>
                    <a:cubicBezTo>
                      <a:pt x="3" y="25"/>
                      <a:pt x="0" y="21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6"/>
                      <a:pt x="11" y="3"/>
                      <a:pt x="9" y="3"/>
                    </a:cubicBezTo>
                    <a:cubicBezTo>
                      <a:pt x="6" y="3"/>
                      <a:pt x="4" y="6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72" name="Freeform 70">
                <a:extLst>
                  <a:ext uri="{FF2B5EF4-FFF2-40B4-BE49-F238E27FC236}">
                    <a16:creationId xmlns:a16="http://schemas.microsoft.com/office/drawing/2014/main" id="{2706C5AD-69EE-7713-5096-DC3E79917B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07438" y="5603463"/>
                <a:ext cx="49855" cy="89134"/>
              </a:xfrm>
              <a:custGeom>
                <a:avLst/>
                <a:gdLst>
                  <a:gd name="T0" fmla="*/ 16 w 33"/>
                  <a:gd name="T1" fmla="*/ 11 h 59"/>
                  <a:gd name="T2" fmla="*/ 4 w 33"/>
                  <a:gd name="T3" fmla="*/ 18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52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52 h 59"/>
                  <a:gd name="T20" fmla="*/ 16 w 33"/>
                  <a:gd name="T21" fmla="*/ 49 h 59"/>
                  <a:gd name="T22" fmla="*/ 16 w 33"/>
                  <a:gd name="T23" fmla="*/ 11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1"/>
                    </a:moveTo>
                    <a:lnTo>
                      <a:pt x="4" y="18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52"/>
                    </a:lnTo>
                    <a:lnTo>
                      <a:pt x="16" y="49"/>
                    </a:lnTo>
                    <a:lnTo>
                      <a:pt x="16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73" name="Freeform 71">
                <a:extLst>
                  <a:ext uri="{FF2B5EF4-FFF2-40B4-BE49-F238E27FC236}">
                    <a16:creationId xmlns:a16="http://schemas.microsoft.com/office/drawing/2014/main" id="{38DD74DA-ADC0-AAEF-49FA-DB7EA9490CE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02906" y="5753026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74" name="Freeform 72">
                <a:extLst>
                  <a:ext uri="{FF2B5EF4-FFF2-40B4-BE49-F238E27FC236}">
                    <a16:creationId xmlns:a16="http://schemas.microsoft.com/office/drawing/2014/main" id="{F6D8D39C-8A18-0A17-0935-51A9948C74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07438" y="5905611"/>
                <a:ext cx="49855" cy="89134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12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52 h 59"/>
                  <a:gd name="T12" fmla="*/ 33 w 33"/>
                  <a:gd name="T13" fmla="*/ 52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52 h 59"/>
                  <a:gd name="T20" fmla="*/ 16 w 33"/>
                  <a:gd name="T21" fmla="*/ 52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12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52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52"/>
                    </a:lnTo>
                    <a:lnTo>
                      <a:pt x="16" y="52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75" name="Freeform 73">
                <a:extLst>
                  <a:ext uri="{FF2B5EF4-FFF2-40B4-BE49-F238E27FC236}">
                    <a16:creationId xmlns:a16="http://schemas.microsoft.com/office/drawing/2014/main" id="{27F0EF6D-0E44-A411-6CF0-94E19214D7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07438" y="6059707"/>
                <a:ext cx="49855" cy="89134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52 h 59"/>
                  <a:gd name="T12" fmla="*/ 33 w 33"/>
                  <a:gd name="T13" fmla="*/ 52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52 h 59"/>
                  <a:gd name="T20" fmla="*/ 16 w 33"/>
                  <a:gd name="T21" fmla="*/ 52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52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52"/>
                    </a:lnTo>
                    <a:lnTo>
                      <a:pt x="16" y="52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76" name="Freeform 74">
                <a:extLst>
                  <a:ext uri="{FF2B5EF4-FFF2-40B4-BE49-F238E27FC236}">
                    <a16:creationId xmlns:a16="http://schemas.microsoft.com/office/drawing/2014/main" id="{D4B8A17F-A9FD-AE95-DD9A-FCB7260076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07438" y="6213803"/>
                <a:ext cx="49855" cy="84602"/>
              </a:xfrm>
              <a:custGeom>
                <a:avLst/>
                <a:gdLst>
                  <a:gd name="T0" fmla="*/ 16 w 33"/>
                  <a:gd name="T1" fmla="*/ 9 h 56"/>
                  <a:gd name="T2" fmla="*/ 4 w 33"/>
                  <a:gd name="T3" fmla="*/ 16 h 56"/>
                  <a:gd name="T4" fmla="*/ 0 w 33"/>
                  <a:gd name="T5" fmla="*/ 9 h 56"/>
                  <a:gd name="T6" fmla="*/ 16 w 33"/>
                  <a:gd name="T7" fmla="*/ 0 h 56"/>
                  <a:gd name="T8" fmla="*/ 26 w 33"/>
                  <a:gd name="T9" fmla="*/ 0 h 56"/>
                  <a:gd name="T10" fmla="*/ 26 w 33"/>
                  <a:gd name="T11" fmla="*/ 49 h 56"/>
                  <a:gd name="T12" fmla="*/ 33 w 33"/>
                  <a:gd name="T13" fmla="*/ 49 h 56"/>
                  <a:gd name="T14" fmla="*/ 33 w 33"/>
                  <a:gd name="T15" fmla="*/ 56 h 56"/>
                  <a:gd name="T16" fmla="*/ 7 w 33"/>
                  <a:gd name="T17" fmla="*/ 56 h 56"/>
                  <a:gd name="T18" fmla="*/ 7 w 33"/>
                  <a:gd name="T19" fmla="*/ 49 h 56"/>
                  <a:gd name="T20" fmla="*/ 16 w 33"/>
                  <a:gd name="T21" fmla="*/ 49 h 56"/>
                  <a:gd name="T22" fmla="*/ 16 w 33"/>
                  <a:gd name="T23" fmla="*/ 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6">
                    <a:moveTo>
                      <a:pt x="16" y="9"/>
                    </a:moveTo>
                    <a:lnTo>
                      <a:pt x="4" y="16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6"/>
                    </a:lnTo>
                    <a:lnTo>
                      <a:pt x="7" y="56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77" name="Freeform 75">
                <a:extLst>
                  <a:ext uri="{FF2B5EF4-FFF2-40B4-BE49-F238E27FC236}">
                    <a16:creationId xmlns:a16="http://schemas.microsoft.com/office/drawing/2014/main" id="{C52C2FAF-D548-D510-E694-B8902B74166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02906" y="6667025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78" name="Freeform 76">
                <a:extLst>
                  <a:ext uri="{FF2B5EF4-FFF2-40B4-BE49-F238E27FC236}">
                    <a16:creationId xmlns:a16="http://schemas.microsoft.com/office/drawing/2014/main" id="{CE8192BE-C390-11FC-7298-8795920F4C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02906" y="6819610"/>
                <a:ext cx="60430" cy="89134"/>
              </a:xfrm>
              <a:custGeom>
                <a:avLst/>
                <a:gdLst>
                  <a:gd name="T0" fmla="*/ 17 w 17"/>
                  <a:gd name="T1" fmla="*/ 13 h 25"/>
                  <a:gd name="T2" fmla="*/ 9 w 17"/>
                  <a:gd name="T3" fmla="*/ 25 h 25"/>
                  <a:gd name="T4" fmla="*/ 0 w 17"/>
                  <a:gd name="T5" fmla="*/ 13 h 25"/>
                  <a:gd name="T6" fmla="*/ 9 w 17"/>
                  <a:gd name="T7" fmla="*/ 0 h 25"/>
                  <a:gd name="T8" fmla="*/ 17 w 17"/>
                  <a:gd name="T9" fmla="*/ 13 h 25"/>
                  <a:gd name="T10" fmla="*/ 4 w 17"/>
                  <a:gd name="T11" fmla="*/ 13 h 25"/>
                  <a:gd name="T12" fmla="*/ 9 w 17"/>
                  <a:gd name="T13" fmla="*/ 22 h 25"/>
                  <a:gd name="T14" fmla="*/ 13 w 17"/>
                  <a:gd name="T15" fmla="*/ 13 h 25"/>
                  <a:gd name="T16" fmla="*/ 9 w 17"/>
                  <a:gd name="T17" fmla="*/ 4 h 25"/>
                  <a:gd name="T18" fmla="*/ 4 w 17"/>
                  <a:gd name="T19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5">
                    <a:moveTo>
                      <a:pt x="17" y="13"/>
                    </a:moveTo>
                    <a:cubicBezTo>
                      <a:pt x="17" y="21"/>
                      <a:pt x="14" y="25"/>
                      <a:pt x="9" y="25"/>
                    </a:cubicBezTo>
                    <a:cubicBezTo>
                      <a:pt x="3" y="25"/>
                      <a:pt x="0" y="21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79" name="Freeform 83">
                <a:extLst>
                  <a:ext uri="{FF2B5EF4-FFF2-40B4-BE49-F238E27FC236}">
                    <a16:creationId xmlns:a16="http://schemas.microsoft.com/office/drawing/2014/main" id="{5480367E-66FC-9A0C-35EA-5CEB3AD52E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46606" y="4236241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3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80" name="Freeform 84">
                <a:extLst>
                  <a:ext uri="{FF2B5EF4-FFF2-40B4-BE49-F238E27FC236}">
                    <a16:creationId xmlns:a16="http://schemas.microsoft.com/office/drawing/2014/main" id="{40E97FF8-8073-7B55-D82A-F4859B871C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43584" y="4503643"/>
                <a:ext cx="110285" cy="164671"/>
              </a:xfrm>
              <a:custGeom>
                <a:avLst/>
                <a:gdLst>
                  <a:gd name="T0" fmla="*/ 31 w 31"/>
                  <a:gd name="T1" fmla="*/ 23 h 46"/>
                  <a:gd name="T2" fmla="*/ 15 w 31"/>
                  <a:gd name="T3" fmla="*/ 46 h 46"/>
                  <a:gd name="T4" fmla="*/ 0 w 31"/>
                  <a:gd name="T5" fmla="*/ 23 h 46"/>
                  <a:gd name="T6" fmla="*/ 15 w 31"/>
                  <a:gd name="T7" fmla="*/ 0 h 46"/>
                  <a:gd name="T8" fmla="*/ 31 w 31"/>
                  <a:gd name="T9" fmla="*/ 23 h 46"/>
                  <a:gd name="T10" fmla="*/ 8 w 31"/>
                  <a:gd name="T11" fmla="*/ 23 h 46"/>
                  <a:gd name="T12" fmla="*/ 15 w 31"/>
                  <a:gd name="T13" fmla="*/ 39 h 46"/>
                  <a:gd name="T14" fmla="*/ 23 w 31"/>
                  <a:gd name="T15" fmla="*/ 23 h 46"/>
                  <a:gd name="T16" fmla="*/ 15 w 31"/>
                  <a:gd name="T17" fmla="*/ 7 h 46"/>
                  <a:gd name="T18" fmla="*/ 8 w 31"/>
                  <a:gd name="T19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6">
                    <a:moveTo>
                      <a:pt x="31" y="23"/>
                    </a:moveTo>
                    <a:cubicBezTo>
                      <a:pt x="31" y="38"/>
                      <a:pt x="26" y="46"/>
                      <a:pt x="15" y="46"/>
                    </a:cubicBezTo>
                    <a:cubicBezTo>
                      <a:pt x="5" y="46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7"/>
                      <a:pt x="15" y="7"/>
                    </a:cubicBezTo>
                    <a:cubicBezTo>
                      <a:pt x="10" y="7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81" name="Freeform 85">
                <a:extLst>
                  <a:ext uri="{FF2B5EF4-FFF2-40B4-BE49-F238E27FC236}">
                    <a16:creationId xmlns:a16="http://schemas.microsoft.com/office/drawing/2014/main" id="{9772CF30-71F9-67FA-0097-240AEB9218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43584" y="4775576"/>
                <a:ext cx="110285" cy="160139"/>
              </a:xfrm>
              <a:custGeom>
                <a:avLst/>
                <a:gdLst>
                  <a:gd name="T0" fmla="*/ 31 w 31"/>
                  <a:gd name="T1" fmla="*/ 23 h 45"/>
                  <a:gd name="T2" fmla="*/ 15 w 31"/>
                  <a:gd name="T3" fmla="*/ 45 h 45"/>
                  <a:gd name="T4" fmla="*/ 0 w 31"/>
                  <a:gd name="T5" fmla="*/ 23 h 45"/>
                  <a:gd name="T6" fmla="*/ 15 w 31"/>
                  <a:gd name="T7" fmla="*/ 0 h 45"/>
                  <a:gd name="T8" fmla="*/ 31 w 31"/>
                  <a:gd name="T9" fmla="*/ 23 h 45"/>
                  <a:gd name="T10" fmla="*/ 8 w 31"/>
                  <a:gd name="T11" fmla="*/ 23 h 45"/>
                  <a:gd name="T12" fmla="*/ 15 w 31"/>
                  <a:gd name="T13" fmla="*/ 39 h 45"/>
                  <a:gd name="T14" fmla="*/ 23 w 31"/>
                  <a:gd name="T15" fmla="*/ 23 h 45"/>
                  <a:gd name="T16" fmla="*/ 15 w 31"/>
                  <a:gd name="T17" fmla="*/ 6 h 45"/>
                  <a:gd name="T18" fmla="*/ 8 w 31"/>
                  <a:gd name="T19" fmla="*/ 2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31" y="23"/>
                    </a:moveTo>
                    <a:cubicBezTo>
                      <a:pt x="31" y="38"/>
                      <a:pt x="26" y="45"/>
                      <a:pt x="15" y="45"/>
                    </a:cubicBezTo>
                    <a:cubicBezTo>
                      <a:pt x="5" y="45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6"/>
                      <a:pt x="15" y="6"/>
                    </a:cubicBezTo>
                    <a:cubicBezTo>
                      <a:pt x="10" y="6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82" name="Freeform 86">
                <a:extLst>
                  <a:ext uri="{FF2B5EF4-FFF2-40B4-BE49-F238E27FC236}">
                    <a16:creationId xmlns:a16="http://schemas.microsoft.com/office/drawing/2014/main" id="{F0342D74-0189-4681-9277-68D84334C8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46606" y="5049020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4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4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83" name="Freeform 87">
                <a:extLst>
                  <a:ext uri="{FF2B5EF4-FFF2-40B4-BE49-F238E27FC236}">
                    <a16:creationId xmlns:a16="http://schemas.microsoft.com/office/drawing/2014/main" id="{1CEE8B06-A4E6-531D-0826-3D356C97ED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46606" y="5320954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1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1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84" name="Freeform 88">
                <a:extLst>
                  <a:ext uri="{FF2B5EF4-FFF2-40B4-BE49-F238E27FC236}">
                    <a16:creationId xmlns:a16="http://schemas.microsoft.com/office/drawing/2014/main" id="{F570945A-8632-6942-ABFE-8136399783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46606" y="5592887"/>
                <a:ext cx="92156" cy="155607"/>
              </a:xfrm>
              <a:custGeom>
                <a:avLst/>
                <a:gdLst>
                  <a:gd name="T0" fmla="*/ 31 w 61"/>
                  <a:gd name="T1" fmla="*/ 18 h 103"/>
                  <a:gd name="T2" fmla="*/ 10 w 61"/>
                  <a:gd name="T3" fmla="*/ 30 h 103"/>
                  <a:gd name="T4" fmla="*/ 0 w 61"/>
                  <a:gd name="T5" fmla="*/ 18 h 103"/>
                  <a:gd name="T6" fmla="*/ 31 w 61"/>
                  <a:gd name="T7" fmla="*/ 0 h 103"/>
                  <a:gd name="T8" fmla="*/ 47 w 61"/>
                  <a:gd name="T9" fmla="*/ 0 h 103"/>
                  <a:gd name="T10" fmla="*/ 47 w 61"/>
                  <a:gd name="T11" fmla="*/ 89 h 103"/>
                  <a:gd name="T12" fmla="*/ 61 w 61"/>
                  <a:gd name="T13" fmla="*/ 89 h 103"/>
                  <a:gd name="T14" fmla="*/ 61 w 61"/>
                  <a:gd name="T15" fmla="*/ 103 h 103"/>
                  <a:gd name="T16" fmla="*/ 17 w 61"/>
                  <a:gd name="T17" fmla="*/ 103 h 103"/>
                  <a:gd name="T18" fmla="*/ 17 w 61"/>
                  <a:gd name="T19" fmla="*/ 89 h 103"/>
                  <a:gd name="T20" fmla="*/ 31 w 61"/>
                  <a:gd name="T21" fmla="*/ 89 h 103"/>
                  <a:gd name="T22" fmla="*/ 31 w 61"/>
                  <a:gd name="T23" fmla="*/ 18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3">
                    <a:moveTo>
                      <a:pt x="31" y="18"/>
                    </a:moveTo>
                    <a:lnTo>
                      <a:pt x="10" y="30"/>
                    </a:lnTo>
                    <a:lnTo>
                      <a:pt x="0" y="18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89"/>
                    </a:lnTo>
                    <a:lnTo>
                      <a:pt x="61" y="89"/>
                    </a:lnTo>
                    <a:lnTo>
                      <a:pt x="61" y="103"/>
                    </a:lnTo>
                    <a:lnTo>
                      <a:pt x="17" y="103"/>
                    </a:lnTo>
                    <a:lnTo>
                      <a:pt x="17" y="89"/>
                    </a:lnTo>
                    <a:lnTo>
                      <a:pt x="31" y="89"/>
                    </a:lnTo>
                    <a:lnTo>
                      <a:pt x="31" y="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85" name="Freeform 89">
                <a:extLst>
                  <a:ext uri="{FF2B5EF4-FFF2-40B4-BE49-F238E27FC236}">
                    <a16:creationId xmlns:a16="http://schemas.microsoft.com/office/drawing/2014/main" id="{EF183F18-371A-97D5-93BD-7BE313E1D2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43584" y="5860289"/>
                <a:ext cx="110285" cy="160139"/>
              </a:xfrm>
              <a:custGeom>
                <a:avLst/>
                <a:gdLst>
                  <a:gd name="T0" fmla="*/ 31 w 31"/>
                  <a:gd name="T1" fmla="*/ 23 h 45"/>
                  <a:gd name="T2" fmla="*/ 15 w 31"/>
                  <a:gd name="T3" fmla="*/ 45 h 45"/>
                  <a:gd name="T4" fmla="*/ 0 w 31"/>
                  <a:gd name="T5" fmla="*/ 22 h 45"/>
                  <a:gd name="T6" fmla="*/ 15 w 31"/>
                  <a:gd name="T7" fmla="*/ 0 h 45"/>
                  <a:gd name="T8" fmla="*/ 31 w 31"/>
                  <a:gd name="T9" fmla="*/ 23 h 45"/>
                  <a:gd name="T10" fmla="*/ 8 w 31"/>
                  <a:gd name="T11" fmla="*/ 22 h 45"/>
                  <a:gd name="T12" fmla="*/ 15 w 31"/>
                  <a:gd name="T13" fmla="*/ 39 h 45"/>
                  <a:gd name="T14" fmla="*/ 23 w 31"/>
                  <a:gd name="T15" fmla="*/ 23 h 45"/>
                  <a:gd name="T16" fmla="*/ 15 w 31"/>
                  <a:gd name="T17" fmla="*/ 6 h 45"/>
                  <a:gd name="T18" fmla="*/ 8 w 31"/>
                  <a:gd name="T19" fmla="*/ 2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31" y="23"/>
                    </a:moveTo>
                    <a:cubicBezTo>
                      <a:pt x="31" y="38"/>
                      <a:pt x="26" y="45"/>
                      <a:pt x="15" y="45"/>
                    </a:cubicBezTo>
                    <a:cubicBezTo>
                      <a:pt x="5" y="45"/>
                      <a:pt x="0" y="38"/>
                      <a:pt x="0" y="22"/>
                    </a:cubicBezTo>
                    <a:cubicBezTo>
                      <a:pt x="0" y="7"/>
                      <a:pt x="5" y="0"/>
                      <a:pt x="15" y="0"/>
                    </a:cubicBezTo>
                    <a:cubicBezTo>
                      <a:pt x="26" y="0"/>
                      <a:pt x="31" y="7"/>
                      <a:pt x="31" y="23"/>
                    </a:cubicBezTo>
                    <a:close/>
                    <a:moveTo>
                      <a:pt x="8" y="22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1"/>
                      <a:pt x="20" y="6"/>
                      <a:pt x="15" y="6"/>
                    </a:cubicBezTo>
                    <a:cubicBezTo>
                      <a:pt x="10" y="6"/>
                      <a:pt x="8" y="11"/>
                      <a:pt x="8" y="2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86" name="Freeform 90">
                <a:extLst>
                  <a:ext uri="{FF2B5EF4-FFF2-40B4-BE49-F238E27FC236}">
                    <a16:creationId xmlns:a16="http://schemas.microsoft.com/office/drawing/2014/main" id="{B9950F62-097D-79D2-496C-05FDA2B0B2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43584" y="6673068"/>
                <a:ext cx="110285" cy="161650"/>
              </a:xfrm>
              <a:custGeom>
                <a:avLst/>
                <a:gdLst>
                  <a:gd name="T0" fmla="*/ 31 w 31"/>
                  <a:gd name="T1" fmla="*/ 22 h 45"/>
                  <a:gd name="T2" fmla="*/ 15 w 31"/>
                  <a:gd name="T3" fmla="*/ 45 h 45"/>
                  <a:gd name="T4" fmla="*/ 0 w 31"/>
                  <a:gd name="T5" fmla="*/ 22 h 45"/>
                  <a:gd name="T6" fmla="*/ 15 w 31"/>
                  <a:gd name="T7" fmla="*/ 0 h 45"/>
                  <a:gd name="T8" fmla="*/ 31 w 31"/>
                  <a:gd name="T9" fmla="*/ 22 h 45"/>
                  <a:gd name="T10" fmla="*/ 8 w 31"/>
                  <a:gd name="T11" fmla="*/ 22 h 45"/>
                  <a:gd name="T12" fmla="*/ 15 w 31"/>
                  <a:gd name="T13" fmla="*/ 39 h 45"/>
                  <a:gd name="T14" fmla="*/ 23 w 31"/>
                  <a:gd name="T15" fmla="*/ 22 h 45"/>
                  <a:gd name="T16" fmla="*/ 15 w 31"/>
                  <a:gd name="T17" fmla="*/ 6 h 45"/>
                  <a:gd name="T18" fmla="*/ 8 w 31"/>
                  <a:gd name="T19" fmla="*/ 2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31" y="22"/>
                    </a:moveTo>
                    <a:cubicBezTo>
                      <a:pt x="31" y="38"/>
                      <a:pt x="26" y="45"/>
                      <a:pt x="15" y="45"/>
                    </a:cubicBezTo>
                    <a:cubicBezTo>
                      <a:pt x="5" y="45"/>
                      <a:pt x="0" y="38"/>
                      <a:pt x="0" y="22"/>
                    </a:cubicBezTo>
                    <a:cubicBezTo>
                      <a:pt x="0" y="7"/>
                      <a:pt x="5" y="0"/>
                      <a:pt x="15" y="0"/>
                    </a:cubicBezTo>
                    <a:cubicBezTo>
                      <a:pt x="26" y="0"/>
                      <a:pt x="31" y="7"/>
                      <a:pt x="31" y="22"/>
                    </a:cubicBezTo>
                    <a:close/>
                    <a:moveTo>
                      <a:pt x="8" y="22"/>
                    </a:moveTo>
                    <a:cubicBezTo>
                      <a:pt x="8" y="33"/>
                      <a:pt x="10" y="39"/>
                      <a:pt x="15" y="39"/>
                    </a:cubicBezTo>
                    <a:cubicBezTo>
                      <a:pt x="20" y="39"/>
                      <a:pt x="23" y="33"/>
                      <a:pt x="23" y="22"/>
                    </a:cubicBezTo>
                    <a:cubicBezTo>
                      <a:pt x="23" y="11"/>
                      <a:pt x="20" y="6"/>
                      <a:pt x="15" y="6"/>
                    </a:cubicBezTo>
                    <a:cubicBezTo>
                      <a:pt x="10" y="6"/>
                      <a:pt x="8" y="11"/>
                      <a:pt x="8" y="2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87" name="Freeform 95">
                <a:extLst>
                  <a:ext uri="{FF2B5EF4-FFF2-40B4-BE49-F238E27FC236}">
                    <a16:creationId xmlns:a16="http://schemas.microsoft.com/office/drawing/2014/main" id="{3307519D-C913-3BD8-14E6-939250EC73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3350946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88" name="Freeform 96">
                <a:extLst>
                  <a:ext uri="{FF2B5EF4-FFF2-40B4-BE49-F238E27FC236}">
                    <a16:creationId xmlns:a16="http://schemas.microsoft.com/office/drawing/2014/main" id="{2CEC6089-ED81-0283-ADD7-21F2B24C9EE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3497488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89" name="Freeform 97">
                <a:extLst>
                  <a:ext uri="{FF2B5EF4-FFF2-40B4-BE49-F238E27FC236}">
                    <a16:creationId xmlns:a16="http://schemas.microsoft.com/office/drawing/2014/main" id="{A88B904B-D540-B8C4-57A7-40DBC12D35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3644030"/>
                <a:ext cx="52876" cy="84602"/>
              </a:xfrm>
              <a:custGeom>
                <a:avLst/>
                <a:gdLst>
                  <a:gd name="T0" fmla="*/ 16 w 35"/>
                  <a:gd name="T1" fmla="*/ 14 h 56"/>
                  <a:gd name="T2" fmla="*/ 7 w 35"/>
                  <a:gd name="T3" fmla="*/ 21 h 56"/>
                  <a:gd name="T4" fmla="*/ 0 w 35"/>
                  <a:gd name="T5" fmla="*/ 11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4"/>
                    </a:moveTo>
                    <a:lnTo>
                      <a:pt x="7" y="21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90" name="Freeform 98">
                <a:extLst>
                  <a:ext uri="{FF2B5EF4-FFF2-40B4-BE49-F238E27FC236}">
                    <a16:creationId xmlns:a16="http://schemas.microsoft.com/office/drawing/2014/main" id="{7E39B6C2-5B91-E99E-92F0-D318CC56A42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3790572"/>
                <a:ext cx="67984" cy="84602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91" name="Freeform 99">
                <a:extLst>
                  <a:ext uri="{FF2B5EF4-FFF2-40B4-BE49-F238E27FC236}">
                    <a16:creationId xmlns:a16="http://schemas.microsoft.com/office/drawing/2014/main" id="{87BE8EFC-FE52-20C8-53EA-0443109CED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3935604"/>
                <a:ext cx="52876" cy="86113"/>
              </a:xfrm>
              <a:custGeom>
                <a:avLst/>
                <a:gdLst>
                  <a:gd name="T0" fmla="*/ 16 w 35"/>
                  <a:gd name="T1" fmla="*/ 15 h 57"/>
                  <a:gd name="T2" fmla="*/ 7 w 35"/>
                  <a:gd name="T3" fmla="*/ 22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8 h 57"/>
                  <a:gd name="T12" fmla="*/ 35 w 35"/>
                  <a:gd name="T13" fmla="*/ 48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8 h 57"/>
                  <a:gd name="T20" fmla="*/ 16 w 35"/>
                  <a:gd name="T21" fmla="*/ 48 h 57"/>
                  <a:gd name="T22" fmla="*/ 16 w 35"/>
                  <a:gd name="T23" fmla="*/ 1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5"/>
                    </a:moveTo>
                    <a:lnTo>
                      <a:pt x="7" y="22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92" name="Freeform 100">
                <a:extLst>
                  <a:ext uri="{FF2B5EF4-FFF2-40B4-BE49-F238E27FC236}">
                    <a16:creationId xmlns:a16="http://schemas.microsoft.com/office/drawing/2014/main" id="{CFF89D04-20FF-3E81-9A3A-AFCB58758AB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4082145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93" name="Freeform 101">
                <a:extLst>
                  <a:ext uri="{FF2B5EF4-FFF2-40B4-BE49-F238E27FC236}">
                    <a16:creationId xmlns:a16="http://schemas.microsoft.com/office/drawing/2014/main" id="{8C6DCFDB-F47D-37B5-F8BD-DA592D924C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4228688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94" name="Freeform 102">
                <a:extLst>
                  <a:ext uri="{FF2B5EF4-FFF2-40B4-BE49-F238E27FC236}">
                    <a16:creationId xmlns:a16="http://schemas.microsoft.com/office/drawing/2014/main" id="{F33E4FFA-F5E5-8BCD-2F37-453C6F6013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4375229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95" name="Freeform 103">
                <a:extLst>
                  <a:ext uri="{FF2B5EF4-FFF2-40B4-BE49-F238E27FC236}">
                    <a16:creationId xmlns:a16="http://schemas.microsoft.com/office/drawing/2014/main" id="{156CBA57-CD33-5AEE-5737-4917D308C4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4524793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5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5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96" name="Freeform 104">
                <a:extLst>
                  <a:ext uri="{FF2B5EF4-FFF2-40B4-BE49-F238E27FC236}">
                    <a16:creationId xmlns:a16="http://schemas.microsoft.com/office/drawing/2014/main" id="{E442751C-5ABD-2E1B-7367-35038494A86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4668313"/>
                <a:ext cx="67984" cy="89134"/>
              </a:xfrm>
              <a:custGeom>
                <a:avLst/>
                <a:gdLst>
                  <a:gd name="T0" fmla="*/ 17 w 19"/>
                  <a:gd name="T1" fmla="*/ 4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4 h 25"/>
                  <a:gd name="T16" fmla="*/ 6 w 19"/>
                  <a:gd name="T17" fmla="*/ 12 h 25"/>
                  <a:gd name="T18" fmla="*/ 10 w 19"/>
                  <a:gd name="T19" fmla="*/ 20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3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97" name="Freeform 105">
                <a:extLst>
                  <a:ext uri="{FF2B5EF4-FFF2-40B4-BE49-F238E27FC236}">
                    <a16:creationId xmlns:a16="http://schemas.microsoft.com/office/drawing/2014/main" id="{219C99C9-9F67-2478-B85D-29E8E1CA08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4817877"/>
                <a:ext cx="52876" cy="81580"/>
              </a:xfrm>
              <a:custGeom>
                <a:avLst/>
                <a:gdLst>
                  <a:gd name="T0" fmla="*/ 16 w 35"/>
                  <a:gd name="T1" fmla="*/ 12 h 54"/>
                  <a:gd name="T2" fmla="*/ 7 w 35"/>
                  <a:gd name="T3" fmla="*/ 19 h 54"/>
                  <a:gd name="T4" fmla="*/ 0 w 35"/>
                  <a:gd name="T5" fmla="*/ 9 h 54"/>
                  <a:gd name="T6" fmla="*/ 19 w 35"/>
                  <a:gd name="T7" fmla="*/ 0 h 54"/>
                  <a:gd name="T8" fmla="*/ 28 w 35"/>
                  <a:gd name="T9" fmla="*/ 0 h 54"/>
                  <a:gd name="T10" fmla="*/ 28 w 35"/>
                  <a:gd name="T11" fmla="*/ 45 h 54"/>
                  <a:gd name="T12" fmla="*/ 35 w 35"/>
                  <a:gd name="T13" fmla="*/ 45 h 54"/>
                  <a:gd name="T14" fmla="*/ 35 w 35"/>
                  <a:gd name="T15" fmla="*/ 54 h 54"/>
                  <a:gd name="T16" fmla="*/ 9 w 35"/>
                  <a:gd name="T17" fmla="*/ 54 h 54"/>
                  <a:gd name="T18" fmla="*/ 9 w 35"/>
                  <a:gd name="T19" fmla="*/ 45 h 54"/>
                  <a:gd name="T20" fmla="*/ 16 w 35"/>
                  <a:gd name="T21" fmla="*/ 45 h 54"/>
                  <a:gd name="T22" fmla="*/ 16 w 35"/>
                  <a:gd name="T23" fmla="*/ 1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4">
                    <a:moveTo>
                      <a:pt x="16" y="12"/>
                    </a:moveTo>
                    <a:lnTo>
                      <a:pt x="7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4"/>
                    </a:lnTo>
                    <a:lnTo>
                      <a:pt x="9" y="54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98" name="Freeform 106">
                <a:extLst>
                  <a:ext uri="{FF2B5EF4-FFF2-40B4-BE49-F238E27FC236}">
                    <a16:creationId xmlns:a16="http://schemas.microsoft.com/office/drawing/2014/main" id="{6D1F0F81-9CE1-0096-FE10-8295D94813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4959887"/>
                <a:ext cx="67984" cy="89134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2 h 25"/>
                  <a:gd name="T18" fmla="*/ 10 w 19"/>
                  <a:gd name="T19" fmla="*/ 21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99" name="Freeform 107">
                <a:extLst>
                  <a:ext uri="{FF2B5EF4-FFF2-40B4-BE49-F238E27FC236}">
                    <a16:creationId xmlns:a16="http://schemas.microsoft.com/office/drawing/2014/main" id="{AC8358BB-3D45-3CE4-E267-D5262FF3EA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5106428"/>
                <a:ext cx="67984" cy="89134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2 h 25"/>
                  <a:gd name="T18" fmla="*/ 10 w 19"/>
                  <a:gd name="T19" fmla="*/ 21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00" name="Freeform 108">
                <a:extLst>
                  <a:ext uri="{FF2B5EF4-FFF2-40B4-BE49-F238E27FC236}">
                    <a16:creationId xmlns:a16="http://schemas.microsoft.com/office/drawing/2014/main" id="{D40C875A-98E5-FC6A-6BE3-94E00A492E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5255992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8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8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8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8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01" name="Freeform 109">
                <a:extLst>
                  <a:ext uri="{FF2B5EF4-FFF2-40B4-BE49-F238E27FC236}">
                    <a16:creationId xmlns:a16="http://schemas.microsoft.com/office/drawing/2014/main" id="{99515E6F-7ACC-441A-B885-8F461EDB85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5402534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8 h 55"/>
                  <a:gd name="T12" fmla="*/ 35 w 35"/>
                  <a:gd name="T13" fmla="*/ 48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8 h 55"/>
                  <a:gd name="T20" fmla="*/ 16 w 35"/>
                  <a:gd name="T21" fmla="*/ 48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02" name="Freeform 110">
                <a:extLst>
                  <a:ext uri="{FF2B5EF4-FFF2-40B4-BE49-F238E27FC236}">
                    <a16:creationId xmlns:a16="http://schemas.microsoft.com/office/drawing/2014/main" id="{2CC2B7EE-96D4-6FC4-7982-20A3A287BAF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5546055"/>
                <a:ext cx="67984" cy="89134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3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1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3 h 25"/>
                  <a:gd name="T18" fmla="*/ 10 w 19"/>
                  <a:gd name="T19" fmla="*/ 21 h 25"/>
                  <a:gd name="T20" fmla="*/ 14 w 19"/>
                  <a:gd name="T21" fmla="*/ 13 h 25"/>
                  <a:gd name="T22" fmla="*/ 10 w 19"/>
                  <a:gd name="T23" fmla="*/ 5 h 25"/>
                  <a:gd name="T24" fmla="*/ 6 w 19"/>
                  <a:gd name="T25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7"/>
                      <a:pt x="19" y="9"/>
                      <a:pt x="19" y="13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1"/>
                    </a:cubicBezTo>
                    <a:cubicBezTo>
                      <a:pt x="1" y="19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3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3"/>
                    </a:cubicBezTo>
                    <a:cubicBezTo>
                      <a:pt x="14" y="7"/>
                      <a:pt x="12" y="5"/>
                      <a:pt x="10" y="5"/>
                    </a:cubicBezTo>
                    <a:cubicBezTo>
                      <a:pt x="7" y="5"/>
                      <a:pt x="6" y="7"/>
                      <a:pt x="6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03" name="Freeform 111">
                <a:extLst>
                  <a:ext uri="{FF2B5EF4-FFF2-40B4-BE49-F238E27FC236}">
                    <a16:creationId xmlns:a16="http://schemas.microsoft.com/office/drawing/2014/main" id="{1117BF5A-D0FF-299F-0C91-8DF67A1F87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5695618"/>
                <a:ext cx="52876" cy="81580"/>
              </a:xfrm>
              <a:custGeom>
                <a:avLst/>
                <a:gdLst>
                  <a:gd name="T0" fmla="*/ 16 w 35"/>
                  <a:gd name="T1" fmla="*/ 12 h 54"/>
                  <a:gd name="T2" fmla="*/ 7 w 35"/>
                  <a:gd name="T3" fmla="*/ 19 h 54"/>
                  <a:gd name="T4" fmla="*/ 0 w 35"/>
                  <a:gd name="T5" fmla="*/ 9 h 54"/>
                  <a:gd name="T6" fmla="*/ 19 w 35"/>
                  <a:gd name="T7" fmla="*/ 0 h 54"/>
                  <a:gd name="T8" fmla="*/ 28 w 35"/>
                  <a:gd name="T9" fmla="*/ 0 h 54"/>
                  <a:gd name="T10" fmla="*/ 28 w 35"/>
                  <a:gd name="T11" fmla="*/ 47 h 54"/>
                  <a:gd name="T12" fmla="*/ 35 w 35"/>
                  <a:gd name="T13" fmla="*/ 47 h 54"/>
                  <a:gd name="T14" fmla="*/ 35 w 35"/>
                  <a:gd name="T15" fmla="*/ 54 h 54"/>
                  <a:gd name="T16" fmla="*/ 9 w 35"/>
                  <a:gd name="T17" fmla="*/ 54 h 54"/>
                  <a:gd name="T18" fmla="*/ 9 w 35"/>
                  <a:gd name="T19" fmla="*/ 47 h 54"/>
                  <a:gd name="T20" fmla="*/ 16 w 35"/>
                  <a:gd name="T21" fmla="*/ 47 h 54"/>
                  <a:gd name="T22" fmla="*/ 16 w 35"/>
                  <a:gd name="T23" fmla="*/ 1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4">
                    <a:moveTo>
                      <a:pt x="16" y="12"/>
                    </a:moveTo>
                    <a:lnTo>
                      <a:pt x="7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4"/>
                    </a:lnTo>
                    <a:lnTo>
                      <a:pt x="9" y="54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04" name="Freeform 112">
                <a:extLst>
                  <a:ext uri="{FF2B5EF4-FFF2-40B4-BE49-F238E27FC236}">
                    <a16:creationId xmlns:a16="http://schemas.microsoft.com/office/drawing/2014/main" id="{91DC2063-AD03-3375-F962-6D978643E3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5839139"/>
                <a:ext cx="67984" cy="89134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3 h 25"/>
                  <a:gd name="T4" fmla="*/ 17 w 19"/>
                  <a:gd name="T5" fmla="*/ 22 h 25"/>
                  <a:gd name="T6" fmla="*/ 10 w 19"/>
                  <a:gd name="T7" fmla="*/ 25 h 25"/>
                  <a:gd name="T8" fmla="*/ 2 w 19"/>
                  <a:gd name="T9" fmla="*/ 21 h 25"/>
                  <a:gd name="T10" fmla="*/ 0 w 19"/>
                  <a:gd name="T11" fmla="*/ 13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3 h 25"/>
                  <a:gd name="T18" fmla="*/ 10 w 19"/>
                  <a:gd name="T19" fmla="*/ 21 h 25"/>
                  <a:gd name="T20" fmla="*/ 14 w 19"/>
                  <a:gd name="T21" fmla="*/ 13 h 25"/>
                  <a:gd name="T22" fmla="*/ 10 w 19"/>
                  <a:gd name="T23" fmla="*/ 5 h 25"/>
                  <a:gd name="T24" fmla="*/ 6 w 19"/>
                  <a:gd name="T25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7"/>
                      <a:pt x="19" y="9"/>
                      <a:pt x="19" y="13"/>
                    </a:cubicBezTo>
                    <a:cubicBezTo>
                      <a:pt x="19" y="17"/>
                      <a:pt x="18" y="20"/>
                      <a:pt x="17" y="22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1"/>
                    </a:cubicBezTo>
                    <a:cubicBezTo>
                      <a:pt x="1" y="19"/>
                      <a:pt x="0" y="16"/>
                      <a:pt x="0" y="13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3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3"/>
                    </a:cubicBezTo>
                    <a:cubicBezTo>
                      <a:pt x="14" y="7"/>
                      <a:pt x="12" y="5"/>
                      <a:pt x="10" y="5"/>
                    </a:cubicBezTo>
                    <a:cubicBezTo>
                      <a:pt x="7" y="5"/>
                      <a:pt x="6" y="7"/>
                      <a:pt x="6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05" name="Freeform 113">
                <a:extLst>
                  <a:ext uri="{FF2B5EF4-FFF2-40B4-BE49-F238E27FC236}">
                    <a16:creationId xmlns:a16="http://schemas.microsoft.com/office/drawing/2014/main" id="{B652ACB8-D901-C0F7-EEB5-4C91461E62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5988702"/>
                <a:ext cx="52876" cy="84602"/>
              </a:xfrm>
              <a:custGeom>
                <a:avLst/>
                <a:gdLst>
                  <a:gd name="T0" fmla="*/ 16 w 35"/>
                  <a:gd name="T1" fmla="*/ 12 h 56"/>
                  <a:gd name="T2" fmla="*/ 7 w 35"/>
                  <a:gd name="T3" fmla="*/ 19 h 56"/>
                  <a:gd name="T4" fmla="*/ 0 w 35"/>
                  <a:gd name="T5" fmla="*/ 9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2"/>
                    </a:moveTo>
                    <a:lnTo>
                      <a:pt x="7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06" name="Freeform 114">
                <a:extLst>
                  <a:ext uri="{FF2B5EF4-FFF2-40B4-BE49-F238E27FC236}">
                    <a16:creationId xmlns:a16="http://schemas.microsoft.com/office/drawing/2014/main" id="{32164B54-C8F9-61F1-18CB-F0D126FEBD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6135244"/>
                <a:ext cx="52876" cy="84602"/>
              </a:xfrm>
              <a:custGeom>
                <a:avLst/>
                <a:gdLst>
                  <a:gd name="T0" fmla="*/ 16 w 35"/>
                  <a:gd name="T1" fmla="*/ 11 h 56"/>
                  <a:gd name="T2" fmla="*/ 7 w 35"/>
                  <a:gd name="T3" fmla="*/ 18 h 56"/>
                  <a:gd name="T4" fmla="*/ 0 w 35"/>
                  <a:gd name="T5" fmla="*/ 9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1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1"/>
                    </a:moveTo>
                    <a:lnTo>
                      <a:pt x="7" y="18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07" name="Freeform 115">
                <a:extLst>
                  <a:ext uri="{FF2B5EF4-FFF2-40B4-BE49-F238E27FC236}">
                    <a16:creationId xmlns:a16="http://schemas.microsoft.com/office/drawing/2014/main" id="{DE3524FE-A742-9B51-43E6-7B4CD6E805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6280275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8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5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7"/>
                      <a:pt x="7" y="20"/>
                      <a:pt x="10" y="20"/>
                    </a:cubicBezTo>
                    <a:cubicBezTo>
                      <a:pt x="12" y="20"/>
                      <a:pt x="14" y="17"/>
                      <a:pt x="14" y="12"/>
                    </a:cubicBezTo>
                    <a:cubicBezTo>
                      <a:pt x="14" y="6"/>
                      <a:pt x="12" y="4"/>
                      <a:pt x="10" y="4"/>
                    </a:cubicBezTo>
                    <a:cubicBezTo>
                      <a:pt x="7" y="4"/>
                      <a:pt x="6" y="6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08" name="Freeform 116">
                <a:extLst>
                  <a:ext uri="{FF2B5EF4-FFF2-40B4-BE49-F238E27FC236}">
                    <a16:creationId xmlns:a16="http://schemas.microsoft.com/office/drawing/2014/main" id="{6BAECBF0-B24B-CF64-EEA0-31419A27D5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6426817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8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5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7"/>
                      <a:pt x="7" y="20"/>
                      <a:pt x="10" y="20"/>
                    </a:cubicBezTo>
                    <a:cubicBezTo>
                      <a:pt x="12" y="20"/>
                      <a:pt x="14" y="17"/>
                      <a:pt x="14" y="12"/>
                    </a:cubicBezTo>
                    <a:cubicBezTo>
                      <a:pt x="14" y="6"/>
                      <a:pt x="12" y="4"/>
                      <a:pt x="10" y="4"/>
                    </a:cubicBezTo>
                    <a:cubicBezTo>
                      <a:pt x="7" y="4"/>
                      <a:pt x="6" y="6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09" name="Freeform 117">
                <a:extLst>
                  <a:ext uri="{FF2B5EF4-FFF2-40B4-BE49-F238E27FC236}">
                    <a16:creationId xmlns:a16="http://schemas.microsoft.com/office/drawing/2014/main" id="{F07032FA-7317-3C52-DC78-BD54DD1F2A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6573359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8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5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7"/>
                      <a:pt x="7" y="20"/>
                      <a:pt x="10" y="20"/>
                    </a:cubicBezTo>
                    <a:cubicBezTo>
                      <a:pt x="12" y="20"/>
                      <a:pt x="14" y="17"/>
                      <a:pt x="14" y="12"/>
                    </a:cubicBezTo>
                    <a:cubicBezTo>
                      <a:pt x="14" y="6"/>
                      <a:pt x="12" y="4"/>
                      <a:pt x="10" y="4"/>
                    </a:cubicBezTo>
                    <a:cubicBezTo>
                      <a:pt x="7" y="4"/>
                      <a:pt x="6" y="6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10" name="Freeform 118">
                <a:extLst>
                  <a:ext uri="{FF2B5EF4-FFF2-40B4-BE49-F238E27FC236}">
                    <a16:creationId xmlns:a16="http://schemas.microsoft.com/office/drawing/2014/main" id="{20B1A4C1-3738-F21F-F6FC-D1BCE704B9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6719901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11" name="Freeform 119">
                <a:extLst>
                  <a:ext uri="{FF2B5EF4-FFF2-40B4-BE49-F238E27FC236}">
                    <a16:creationId xmlns:a16="http://schemas.microsoft.com/office/drawing/2014/main" id="{3F366A97-EFE3-0DCA-B089-E9722F4389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6866443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8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5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6"/>
                      <a:pt x="12" y="4"/>
                      <a:pt x="10" y="4"/>
                    </a:cubicBezTo>
                    <a:cubicBezTo>
                      <a:pt x="7" y="4"/>
                      <a:pt x="6" y="6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12" name="Freeform 135">
                <a:extLst>
                  <a:ext uri="{FF2B5EF4-FFF2-40B4-BE49-F238E27FC236}">
                    <a16:creationId xmlns:a16="http://schemas.microsoft.com/office/drawing/2014/main" id="{CAB35B4B-4368-F030-FA18-1F3A3318B2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68629" y="3718057"/>
                <a:ext cx="60430" cy="111795"/>
              </a:xfrm>
              <a:custGeom>
                <a:avLst/>
                <a:gdLst>
                  <a:gd name="T0" fmla="*/ 19 w 40"/>
                  <a:gd name="T1" fmla="*/ 14 h 74"/>
                  <a:gd name="T2" fmla="*/ 4 w 40"/>
                  <a:gd name="T3" fmla="*/ 24 h 74"/>
                  <a:gd name="T4" fmla="*/ 0 w 40"/>
                  <a:gd name="T5" fmla="*/ 14 h 74"/>
                  <a:gd name="T6" fmla="*/ 21 w 40"/>
                  <a:gd name="T7" fmla="*/ 0 h 74"/>
                  <a:gd name="T8" fmla="*/ 30 w 40"/>
                  <a:gd name="T9" fmla="*/ 0 h 74"/>
                  <a:gd name="T10" fmla="*/ 30 w 40"/>
                  <a:gd name="T11" fmla="*/ 64 h 74"/>
                  <a:gd name="T12" fmla="*/ 40 w 40"/>
                  <a:gd name="T13" fmla="*/ 64 h 74"/>
                  <a:gd name="T14" fmla="*/ 40 w 40"/>
                  <a:gd name="T15" fmla="*/ 74 h 74"/>
                  <a:gd name="T16" fmla="*/ 9 w 40"/>
                  <a:gd name="T17" fmla="*/ 74 h 74"/>
                  <a:gd name="T18" fmla="*/ 9 w 40"/>
                  <a:gd name="T19" fmla="*/ 64 h 74"/>
                  <a:gd name="T20" fmla="*/ 19 w 40"/>
                  <a:gd name="T21" fmla="*/ 64 h 74"/>
                  <a:gd name="T22" fmla="*/ 19 w 40"/>
                  <a:gd name="T23" fmla="*/ 1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4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4"/>
                    </a:lnTo>
                    <a:lnTo>
                      <a:pt x="9" y="74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13" name="Freeform 136">
                <a:extLst>
                  <a:ext uri="{FF2B5EF4-FFF2-40B4-BE49-F238E27FC236}">
                    <a16:creationId xmlns:a16="http://schemas.microsoft.com/office/drawing/2014/main" id="{8C332711-6BB4-9DA0-09F1-2CDC74BF32D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64097" y="3906899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8 h 32"/>
                  <a:gd name="T14" fmla="*/ 16 w 21"/>
                  <a:gd name="T15" fmla="*/ 16 h 32"/>
                  <a:gd name="T16" fmla="*/ 10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0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0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14" name="Freeform 137">
                <a:extLst>
                  <a:ext uri="{FF2B5EF4-FFF2-40B4-BE49-F238E27FC236}">
                    <a16:creationId xmlns:a16="http://schemas.microsoft.com/office/drawing/2014/main" id="{A1E4A7A8-40BD-C574-475E-3008C5098F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64097" y="4289117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6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15" name="Freeform 138">
                <a:extLst>
                  <a:ext uri="{FF2B5EF4-FFF2-40B4-BE49-F238E27FC236}">
                    <a16:creationId xmlns:a16="http://schemas.microsoft.com/office/drawing/2014/main" id="{1368A0B4-24B3-B897-1082-3A86F64CE5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68629" y="4482492"/>
                <a:ext cx="60430" cy="107263"/>
              </a:xfrm>
              <a:custGeom>
                <a:avLst/>
                <a:gdLst>
                  <a:gd name="T0" fmla="*/ 19 w 40"/>
                  <a:gd name="T1" fmla="*/ 12 h 71"/>
                  <a:gd name="T2" fmla="*/ 4 w 40"/>
                  <a:gd name="T3" fmla="*/ 21 h 71"/>
                  <a:gd name="T4" fmla="*/ 0 w 40"/>
                  <a:gd name="T5" fmla="*/ 12 h 71"/>
                  <a:gd name="T6" fmla="*/ 21 w 40"/>
                  <a:gd name="T7" fmla="*/ 0 h 71"/>
                  <a:gd name="T8" fmla="*/ 30 w 40"/>
                  <a:gd name="T9" fmla="*/ 0 h 71"/>
                  <a:gd name="T10" fmla="*/ 30 w 40"/>
                  <a:gd name="T11" fmla="*/ 64 h 71"/>
                  <a:gd name="T12" fmla="*/ 40 w 40"/>
                  <a:gd name="T13" fmla="*/ 64 h 71"/>
                  <a:gd name="T14" fmla="*/ 40 w 40"/>
                  <a:gd name="T15" fmla="*/ 71 h 71"/>
                  <a:gd name="T16" fmla="*/ 9 w 40"/>
                  <a:gd name="T17" fmla="*/ 71 h 71"/>
                  <a:gd name="T18" fmla="*/ 9 w 40"/>
                  <a:gd name="T19" fmla="*/ 64 h 71"/>
                  <a:gd name="T20" fmla="*/ 19 w 40"/>
                  <a:gd name="T21" fmla="*/ 64 h 71"/>
                  <a:gd name="T22" fmla="*/ 19 w 40"/>
                  <a:gd name="T23" fmla="*/ 1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1">
                    <a:moveTo>
                      <a:pt x="19" y="12"/>
                    </a:moveTo>
                    <a:lnTo>
                      <a:pt x="4" y="21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1"/>
                    </a:lnTo>
                    <a:lnTo>
                      <a:pt x="9" y="71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16" name="Freeform 139">
                <a:extLst>
                  <a:ext uri="{FF2B5EF4-FFF2-40B4-BE49-F238E27FC236}">
                    <a16:creationId xmlns:a16="http://schemas.microsoft.com/office/drawing/2014/main" id="{9873DC88-9080-9F70-E5F2-1CC48D7D1A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68629" y="4671335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17" name="Freeform 140">
                <a:extLst>
                  <a:ext uri="{FF2B5EF4-FFF2-40B4-BE49-F238E27FC236}">
                    <a16:creationId xmlns:a16="http://schemas.microsoft.com/office/drawing/2014/main" id="{14C9504F-B1E9-8EE4-573C-6F7D1E3117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68629" y="4860178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18" name="Freeform 141">
                <a:extLst>
                  <a:ext uri="{FF2B5EF4-FFF2-40B4-BE49-F238E27FC236}">
                    <a16:creationId xmlns:a16="http://schemas.microsoft.com/office/drawing/2014/main" id="{88232144-050F-F1AD-4740-76D8C72B43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68629" y="5053553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1 h 73"/>
                  <a:gd name="T4" fmla="*/ 0 w 40"/>
                  <a:gd name="T5" fmla="*/ 12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1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19" name="Freeform 142">
                <a:extLst>
                  <a:ext uri="{FF2B5EF4-FFF2-40B4-BE49-F238E27FC236}">
                    <a16:creationId xmlns:a16="http://schemas.microsoft.com/office/drawing/2014/main" id="{CAE24B57-0401-7220-D980-B4983C6B960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64097" y="5242395"/>
                <a:ext cx="75537" cy="110285"/>
              </a:xfrm>
              <a:custGeom>
                <a:avLst/>
                <a:gdLst>
                  <a:gd name="T0" fmla="*/ 21 w 21"/>
                  <a:gd name="T1" fmla="*/ 15 h 31"/>
                  <a:gd name="T2" fmla="*/ 10 w 21"/>
                  <a:gd name="T3" fmla="*/ 31 h 31"/>
                  <a:gd name="T4" fmla="*/ 0 w 21"/>
                  <a:gd name="T5" fmla="*/ 15 h 31"/>
                  <a:gd name="T6" fmla="*/ 10 w 21"/>
                  <a:gd name="T7" fmla="*/ 0 h 31"/>
                  <a:gd name="T8" fmla="*/ 21 w 21"/>
                  <a:gd name="T9" fmla="*/ 15 h 31"/>
                  <a:gd name="T10" fmla="*/ 5 w 21"/>
                  <a:gd name="T11" fmla="*/ 15 h 31"/>
                  <a:gd name="T12" fmla="*/ 10 w 21"/>
                  <a:gd name="T13" fmla="*/ 27 h 31"/>
                  <a:gd name="T14" fmla="*/ 16 w 21"/>
                  <a:gd name="T15" fmla="*/ 15 h 31"/>
                  <a:gd name="T16" fmla="*/ 10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5"/>
                    </a:moveTo>
                    <a:cubicBezTo>
                      <a:pt x="21" y="26"/>
                      <a:pt x="18" y="31"/>
                      <a:pt x="10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5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0" y="27"/>
                    </a:cubicBezTo>
                    <a:cubicBezTo>
                      <a:pt x="14" y="27"/>
                      <a:pt x="16" y="23"/>
                      <a:pt x="16" y="15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20" name="Freeform 143">
                <a:extLst>
                  <a:ext uri="{FF2B5EF4-FFF2-40B4-BE49-F238E27FC236}">
                    <a16:creationId xmlns:a16="http://schemas.microsoft.com/office/drawing/2014/main" id="{B9C84BC9-4425-4F4F-E6F5-28FD72C54D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64097" y="5431238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21" name="Freeform 144">
                <a:extLst>
                  <a:ext uri="{FF2B5EF4-FFF2-40B4-BE49-F238E27FC236}">
                    <a16:creationId xmlns:a16="http://schemas.microsoft.com/office/drawing/2014/main" id="{DD003561-3631-9893-6D74-C83E238E26C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64097" y="6191141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8 h 32"/>
                  <a:gd name="T14" fmla="*/ 16 w 21"/>
                  <a:gd name="T15" fmla="*/ 16 h 32"/>
                  <a:gd name="T16" fmla="*/ 10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0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0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22" name="Freeform 145">
                <a:extLst>
                  <a:ext uri="{FF2B5EF4-FFF2-40B4-BE49-F238E27FC236}">
                    <a16:creationId xmlns:a16="http://schemas.microsoft.com/office/drawing/2014/main" id="{52BDFB15-DB0C-5146-360D-E876A5AFAC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64097" y="6384516"/>
                <a:ext cx="75537" cy="110285"/>
              </a:xfrm>
              <a:custGeom>
                <a:avLst/>
                <a:gdLst>
                  <a:gd name="T0" fmla="*/ 21 w 21"/>
                  <a:gd name="T1" fmla="*/ 16 h 31"/>
                  <a:gd name="T2" fmla="*/ 10 w 21"/>
                  <a:gd name="T3" fmla="*/ 31 h 31"/>
                  <a:gd name="T4" fmla="*/ 0 w 21"/>
                  <a:gd name="T5" fmla="*/ 15 h 31"/>
                  <a:gd name="T6" fmla="*/ 10 w 21"/>
                  <a:gd name="T7" fmla="*/ 0 h 31"/>
                  <a:gd name="T8" fmla="*/ 21 w 21"/>
                  <a:gd name="T9" fmla="*/ 16 h 31"/>
                  <a:gd name="T10" fmla="*/ 5 w 21"/>
                  <a:gd name="T11" fmla="*/ 15 h 31"/>
                  <a:gd name="T12" fmla="*/ 10 w 21"/>
                  <a:gd name="T13" fmla="*/ 27 h 31"/>
                  <a:gd name="T14" fmla="*/ 16 w 21"/>
                  <a:gd name="T15" fmla="*/ 16 h 31"/>
                  <a:gd name="T16" fmla="*/ 10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0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0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23" name="Freeform 146">
                <a:extLst>
                  <a:ext uri="{FF2B5EF4-FFF2-40B4-BE49-F238E27FC236}">
                    <a16:creationId xmlns:a16="http://schemas.microsoft.com/office/drawing/2014/main" id="{7F8636ED-0130-2581-88E9-848C36CA0D5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64097" y="6573359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24" name="Freeform 147">
                <a:extLst>
                  <a:ext uri="{FF2B5EF4-FFF2-40B4-BE49-F238E27FC236}">
                    <a16:creationId xmlns:a16="http://schemas.microsoft.com/office/drawing/2014/main" id="{DBF66B88-6413-B9EF-B7D6-2AAF9955DE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68629" y="6766734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3 h 73"/>
                  <a:gd name="T4" fmla="*/ 0 w 40"/>
                  <a:gd name="T5" fmla="*/ 12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3 h 73"/>
                  <a:gd name="T12" fmla="*/ 40 w 40"/>
                  <a:gd name="T13" fmla="*/ 63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3 h 73"/>
                  <a:gd name="T20" fmla="*/ 19 w 40"/>
                  <a:gd name="T21" fmla="*/ 63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3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3"/>
                    </a:lnTo>
                    <a:lnTo>
                      <a:pt x="40" y="63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3"/>
                    </a:lnTo>
                    <a:lnTo>
                      <a:pt x="19" y="63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25" name="Freeform 149">
                <a:extLst>
                  <a:ext uri="{FF2B5EF4-FFF2-40B4-BE49-F238E27FC236}">
                    <a16:creationId xmlns:a16="http://schemas.microsoft.com/office/drawing/2014/main" id="{3318F77F-6E78-EE4B-7AD6-FD741B3834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24929" y="3361522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26" name="Freeform 150">
                <a:extLst>
                  <a:ext uri="{FF2B5EF4-FFF2-40B4-BE49-F238E27FC236}">
                    <a16:creationId xmlns:a16="http://schemas.microsoft.com/office/drawing/2014/main" id="{326000FF-1AAA-F060-3ACE-A2B6D63CCCB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17375" y="3644030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27" name="Freeform 151">
                <a:extLst>
                  <a:ext uri="{FF2B5EF4-FFF2-40B4-BE49-F238E27FC236}">
                    <a16:creationId xmlns:a16="http://schemas.microsoft.com/office/drawing/2014/main" id="{071A105A-1B95-EDF2-524C-F9280D39A0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24929" y="3932582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28" name="Freeform 152">
                <a:extLst>
                  <a:ext uri="{FF2B5EF4-FFF2-40B4-BE49-F238E27FC236}">
                    <a16:creationId xmlns:a16="http://schemas.microsoft.com/office/drawing/2014/main" id="{5BC778D6-D814-A72E-1CEB-97D41CCE195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17375" y="4215090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29" name="Freeform 153">
                <a:extLst>
                  <a:ext uri="{FF2B5EF4-FFF2-40B4-BE49-F238E27FC236}">
                    <a16:creationId xmlns:a16="http://schemas.microsoft.com/office/drawing/2014/main" id="{E4C5D321-446D-E81F-96F8-7BDF87F353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24929" y="4503643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30" name="Freeform 154">
                <a:extLst>
                  <a:ext uri="{FF2B5EF4-FFF2-40B4-BE49-F238E27FC236}">
                    <a16:creationId xmlns:a16="http://schemas.microsoft.com/office/drawing/2014/main" id="{609ECD6E-EB6F-052B-C354-FC50584117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24929" y="4789172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31" name="Freeform 155">
                <a:extLst>
                  <a:ext uri="{FF2B5EF4-FFF2-40B4-BE49-F238E27FC236}">
                    <a16:creationId xmlns:a16="http://schemas.microsoft.com/office/drawing/2014/main" id="{1CCB72F2-6895-1F3A-583D-52F5DC7F4F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24929" y="5074703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7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7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7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7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32" name="Freeform 156">
                <a:extLst>
                  <a:ext uri="{FF2B5EF4-FFF2-40B4-BE49-F238E27FC236}">
                    <a16:creationId xmlns:a16="http://schemas.microsoft.com/office/drawing/2014/main" id="{6A98CDC4-CBC5-5D8D-D40D-060EF8DC9D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24929" y="5360233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5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7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7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5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7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7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33" name="Freeform 157">
                <a:extLst>
                  <a:ext uri="{FF2B5EF4-FFF2-40B4-BE49-F238E27FC236}">
                    <a16:creationId xmlns:a16="http://schemas.microsoft.com/office/drawing/2014/main" id="{A41907B5-4637-F243-A4AA-5F6A7A42E82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17375" y="5642742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34" name="Freeform 158">
                <a:extLst>
                  <a:ext uri="{FF2B5EF4-FFF2-40B4-BE49-F238E27FC236}">
                    <a16:creationId xmlns:a16="http://schemas.microsoft.com/office/drawing/2014/main" id="{D356F57F-2CFE-A56A-3B13-7FFDE92D8F4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17375" y="5928272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2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2"/>
                      <a:pt x="16" y="42"/>
                    </a:cubicBezTo>
                    <a:cubicBezTo>
                      <a:pt x="22" y="42"/>
                      <a:pt x="24" y="36"/>
                      <a:pt x="24" y="24"/>
                    </a:cubicBezTo>
                    <a:cubicBezTo>
                      <a:pt x="24" y="13"/>
                      <a:pt x="22" y="7"/>
                      <a:pt x="16" y="7"/>
                    </a:cubicBezTo>
                    <a:cubicBezTo>
                      <a:pt x="11" y="7"/>
                      <a:pt x="8" y="13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35" name="Freeform 159">
                <a:extLst>
                  <a:ext uri="{FF2B5EF4-FFF2-40B4-BE49-F238E27FC236}">
                    <a16:creationId xmlns:a16="http://schemas.microsoft.com/office/drawing/2014/main" id="{4D4B0126-31AE-61AF-F400-C79125A865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17375" y="6213803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2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2"/>
                      <a:pt x="16" y="42"/>
                    </a:cubicBezTo>
                    <a:cubicBezTo>
                      <a:pt x="22" y="42"/>
                      <a:pt x="24" y="36"/>
                      <a:pt x="24" y="24"/>
                    </a:cubicBezTo>
                    <a:cubicBezTo>
                      <a:pt x="24" y="13"/>
                      <a:pt x="22" y="7"/>
                      <a:pt x="16" y="7"/>
                    </a:cubicBezTo>
                    <a:cubicBezTo>
                      <a:pt x="11" y="7"/>
                      <a:pt x="8" y="13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36" name="Freeform 160">
                <a:extLst>
                  <a:ext uri="{FF2B5EF4-FFF2-40B4-BE49-F238E27FC236}">
                    <a16:creationId xmlns:a16="http://schemas.microsoft.com/office/drawing/2014/main" id="{1D941D4D-E388-04D1-0E08-13E165964D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17375" y="6499332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2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1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2"/>
                      <a:pt x="16" y="42"/>
                    </a:cubicBezTo>
                    <a:cubicBezTo>
                      <a:pt x="22" y="42"/>
                      <a:pt x="24" y="36"/>
                      <a:pt x="24" y="24"/>
                    </a:cubicBezTo>
                    <a:cubicBezTo>
                      <a:pt x="24" y="13"/>
                      <a:pt x="22" y="7"/>
                      <a:pt x="16" y="7"/>
                    </a:cubicBezTo>
                    <a:cubicBezTo>
                      <a:pt x="11" y="7"/>
                      <a:pt x="8" y="13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37" name="Freeform 161">
                <a:extLst>
                  <a:ext uri="{FF2B5EF4-FFF2-40B4-BE49-F238E27FC236}">
                    <a16:creationId xmlns:a16="http://schemas.microsoft.com/office/drawing/2014/main" id="{40B6A420-91B4-BAE2-618E-517773093D6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17375" y="6787885"/>
                <a:ext cx="114816" cy="167693"/>
              </a:xfrm>
              <a:custGeom>
                <a:avLst/>
                <a:gdLst>
                  <a:gd name="T0" fmla="*/ 32 w 32"/>
                  <a:gd name="T1" fmla="*/ 23 h 47"/>
                  <a:gd name="T2" fmla="*/ 16 w 32"/>
                  <a:gd name="T3" fmla="*/ 47 h 47"/>
                  <a:gd name="T4" fmla="*/ 0 w 32"/>
                  <a:gd name="T5" fmla="*/ 23 h 47"/>
                  <a:gd name="T6" fmla="*/ 16 w 32"/>
                  <a:gd name="T7" fmla="*/ 0 h 47"/>
                  <a:gd name="T8" fmla="*/ 32 w 32"/>
                  <a:gd name="T9" fmla="*/ 23 h 47"/>
                  <a:gd name="T10" fmla="*/ 8 w 32"/>
                  <a:gd name="T11" fmla="*/ 23 h 47"/>
                  <a:gd name="T12" fmla="*/ 16 w 32"/>
                  <a:gd name="T13" fmla="*/ 41 h 47"/>
                  <a:gd name="T14" fmla="*/ 24 w 32"/>
                  <a:gd name="T15" fmla="*/ 23 h 47"/>
                  <a:gd name="T16" fmla="*/ 16 w 32"/>
                  <a:gd name="T17" fmla="*/ 6 h 47"/>
                  <a:gd name="T18" fmla="*/ 8 w 32"/>
                  <a:gd name="T19" fmla="*/ 2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7">
                    <a:moveTo>
                      <a:pt x="32" y="23"/>
                    </a:moveTo>
                    <a:cubicBezTo>
                      <a:pt x="32" y="39"/>
                      <a:pt x="27" y="47"/>
                      <a:pt x="16" y="47"/>
                    </a:cubicBezTo>
                    <a:cubicBezTo>
                      <a:pt x="5" y="47"/>
                      <a:pt x="0" y="40"/>
                      <a:pt x="0" y="23"/>
                    </a:cubicBezTo>
                    <a:cubicBezTo>
                      <a:pt x="0" y="7"/>
                      <a:pt x="5" y="0"/>
                      <a:pt x="16" y="0"/>
                    </a:cubicBezTo>
                    <a:cubicBezTo>
                      <a:pt x="27" y="0"/>
                      <a:pt x="32" y="7"/>
                      <a:pt x="32" y="23"/>
                    </a:cubicBezTo>
                    <a:close/>
                    <a:moveTo>
                      <a:pt x="8" y="23"/>
                    </a:moveTo>
                    <a:cubicBezTo>
                      <a:pt x="8" y="35"/>
                      <a:pt x="11" y="41"/>
                      <a:pt x="16" y="41"/>
                    </a:cubicBezTo>
                    <a:cubicBezTo>
                      <a:pt x="22" y="41"/>
                      <a:pt x="24" y="35"/>
                      <a:pt x="24" y="23"/>
                    </a:cubicBezTo>
                    <a:cubicBezTo>
                      <a:pt x="24" y="12"/>
                      <a:pt x="22" y="6"/>
                      <a:pt x="16" y="6"/>
                    </a:cubicBezTo>
                    <a:cubicBezTo>
                      <a:pt x="11" y="6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38" name="Line 8">
                <a:extLst>
                  <a:ext uri="{FF2B5EF4-FFF2-40B4-BE49-F238E27FC236}">
                    <a16:creationId xmlns:a16="http://schemas.microsoft.com/office/drawing/2014/main" id="{70D76D16-7236-5523-D6B6-EDBF4532A56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282436" y="5576274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39" name="Line 9">
                <a:extLst>
                  <a:ext uri="{FF2B5EF4-FFF2-40B4-BE49-F238E27FC236}">
                    <a16:creationId xmlns:a16="http://schemas.microsoft.com/office/drawing/2014/main" id="{7B0C9F74-07DA-7735-6EDA-C0C4D388B2B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282436" y="5576274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40" name="Freeform 10">
                <a:extLst>
                  <a:ext uri="{FF2B5EF4-FFF2-40B4-BE49-F238E27FC236}">
                    <a16:creationId xmlns:a16="http://schemas.microsoft.com/office/drawing/2014/main" id="{6B402AD8-BC3B-96E6-FC5A-5ED628A63C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49546" y="6647390"/>
                <a:ext cx="99709" cy="157117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8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7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7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8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7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7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41" name="Freeform 11">
                <a:extLst>
                  <a:ext uri="{FF2B5EF4-FFF2-40B4-BE49-F238E27FC236}">
                    <a16:creationId xmlns:a16="http://schemas.microsoft.com/office/drawing/2014/main" id="{C244C23F-2618-6742-84CE-40985EB3ECA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635950" y="6914792"/>
                <a:ext cx="120859" cy="164671"/>
              </a:xfrm>
              <a:custGeom>
                <a:avLst/>
                <a:gdLst>
                  <a:gd name="T0" fmla="*/ 32 w 34"/>
                  <a:gd name="T1" fmla="*/ 8 h 46"/>
                  <a:gd name="T2" fmla="*/ 34 w 34"/>
                  <a:gd name="T3" fmla="*/ 23 h 46"/>
                  <a:gd name="T4" fmla="*/ 31 w 34"/>
                  <a:gd name="T5" fmla="*/ 39 h 46"/>
                  <a:gd name="T6" fmla="*/ 17 w 34"/>
                  <a:gd name="T7" fmla="*/ 46 h 46"/>
                  <a:gd name="T8" fmla="*/ 3 w 34"/>
                  <a:gd name="T9" fmla="*/ 37 h 46"/>
                  <a:gd name="T10" fmla="*/ 0 w 34"/>
                  <a:gd name="T11" fmla="*/ 23 h 46"/>
                  <a:gd name="T12" fmla="*/ 17 w 34"/>
                  <a:gd name="T13" fmla="*/ 0 h 46"/>
                  <a:gd name="T14" fmla="*/ 32 w 34"/>
                  <a:gd name="T15" fmla="*/ 8 h 46"/>
                  <a:gd name="T16" fmla="*/ 10 w 34"/>
                  <a:gd name="T17" fmla="*/ 23 h 46"/>
                  <a:gd name="T18" fmla="*/ 17 w 34"/>
                  <a:gd name="T19" fmla="*/ 38 h 46"/>
                  <a:gd name="T20" fmla="*/ 25 w 34"/>
                  <a:gd name="T21" fmla="*/ 23 h 46"/>
                  <a:gd name="T22" fmla="*/ 17 w 34"/>
                  <a:gd name="T23" fmla="*/ 8 h 46"/>
                  <a:gd name="T24" fmla="*/ 10 w 34"/>
                  <a:gd name="T25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46">
                    <a:moveTo>
                      <a:pt x="32" y="8"/>
                    </a:moveTo>
                    <a:cubicBezTo>
                      <a:pt x="34" y="12"/>
                      <a:pt x="34" y="16"/>
                      <a:pt x="34" y="23"/>
                    </a:cubicBezTo>
                    <a:cubicBezTo>
                      <a:pt x="34" y="31"/>
                      <a:pt x="33" y="36"/>
                      <a:pt x="31" y="39"/>
                    </a:cubicBezTo>
                    <a:cubicBezTo>
                      <a:pt x="28" y="43"/>
                      <a:pt x="23" y="46"/>
                      <a:pt x="17" y="46"/>
                    </a:cubicBezTo>
                    <a:cubicBezTo>
                      <a:pt x="11" y="46"/>
                      <a:pt x="6" y="43"/>
                      <a:pt x="3" y="37"/>
                    </a:cubicBezTo>
                    <a:cubicBezTo>
                      <a:pt x="1" y="34"/>
                      <a:pt x="0" y="29"/>
                      <a:pt x="0" y="23"/>
                    </a:cubicBezTo>
                    <a:cubicBezTo>
                      <a:pt x="0" y="8"/>
                      <a:pt x="6" y="0"/>
                      <a:pt x="17" y="0"/>
                    </a:cubicBezTo>
                    <a:cubicBezTo>
                      <a:pt x="24" y="0"/>
                      <a:pt x="29" y="3"/>
                      <a:pt x="32" y="8"/>
                    </a:cubicBezTo>
                    <a:close/>
                    <a:moveTo>
                      <a:pt x="10" y="23"/>
                    </a:moveTo>
                    <a:cubicBezTo>
                      <a:pt x="10" y="33"/>
                      <a:pt x="12" y="38"/>
                      <a:pt x="17" y="38"/>
                    </a:cubicBezTo>
                    <a:cubicBezTo>
                      <a:pt x="22" y="38"/>
                      <a:pt x="25" y="33"/>
                      <a:pt x="25" y="23"/>
                    </a:cubicBezTo>
                    <a:cubicBezTo>
                      <a:pt x="25" y="13"/>
                      <a:pt x="22" y="8"/>
                      <a:pt x="17" y="8"/>
                    </a:cubicBezTo>
                    <a:cubicBezTo>
                      <a:pt x="12" y="8"/>
                      <a:pt x="10" y="13"/>
                      <a:pt x="10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42" name="Freeform 23">
                <a:extLst>
                  <a:ext uri="{FF2B5EF4-FFF2-40B4-BE49-F238E27FC236}">
                    <a16:creationId xmlns:a16="http://schemas.microsoft.com/office/drawing/2014/main" id="{0700D480-B0CC-9C84-021B-57D22055EE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956227" y="5926766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8 h 32"/>
                  <a:gd name="T14" fmla="*/ 16 w 21"/>
                  <a:gd name="T15" fmla="*/ 16 h 32"/>
                  <a:gd name="T16" fmla="*/ 11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1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1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43" name="Freeform 24">
                <a:extLst>
                  <a:ext uri="{FF2B5EF4-FFF2-40B4-BE49-F238E27FC236}">
                    <a16:creationId xmlns:a16="http://schemas.microsoft.com/office/drawing/2014/main" id="{C07E2743-4921-9A4A-584F-DA4DE5170A0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956227" y="6118630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5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44" name="Freeform 25">
                <a:extLst>
                  <a:ext uri="{FF2B5EF4-FFF2-40B4-BE49-F238E27FC236}">
                    <a16:creationId xmlns:a16="http://schemas.microsoft.com/office/drawing/2014/main" id="{ECE0F9B6-F4C9-CC8D-CCA1-D408155095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63781" y="6500848"/>
                <a:ext cx="64962" cy="11028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2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2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45" name="Freeform 26">
                <a:extLst>
                  <a:ext uri="{FF2B5EF4-FFF2-40B4-BE49-F238E27FC236}">
                    <a16:creationId xmlns:a16="http://schemas.microsoft.com/office/drawing/2014/main" id="{6607D4BB-EBE5-30FD-DDEC-E21116B274A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956227" y="6689691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6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46" name="Freeform 27">
                <a:extLst>
                  <a:ext uri="{FF2B5EF4-FFF2-40B4-BE49-F238E27FC236}">
                    <a16:creationId xmlns:a16="http://schemas.microsoft.com/office/drawing/2014/main" id="{8EA1C925-76EB-5D15-BA48-09403B19336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956227" y="6880044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7 h 32"/>
                  <a:gd name="T14" fmla="*/ 16 w 21"/>
                  <a:gd name="T15" fmla="*/ 16 h 32"/>
                  <a:gd name="T16" fmla="*/ 11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1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47" name="Freeform 43">
                <a:extLst>
                  <a:ext uri="{FF2B5EF4-FFF2-40B4-BE49-F238E27FC236}">
                    <a16:creationId xmlns:a16="http://schemas.microsoft.com/office/drawing/2014/main" id="{66D04A03-F7FB-E1FF-A707-8A8CDCC5C9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196435" y="6126184"/>
                <a:ext cx="63451" cy="9366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5" y="0"/>
                      <a:pt x="18" y="5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48" name="Freeform 44">
                <a:extLst>
                  <a:ext uri="{FF2B5EF4-FFF2-40B4-BE49-F238E27FC236}">
                    <a16:creationId xmlns:a16="http://schemas.microsoft.com/office/drawing/2014/main" id="{1A68D531-4783-9292-3BAD-FE1CA8E355B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196435" y="6280280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1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49" name="Freeform 45">
                <a:extLst>
                  <a:ext uri="{FF2B5EF4-FFF2-40B4-BE49-F238E27FC236}">
                    <a16:creationId xmlns:a16="http://schemas.microsoft.com/office/drawing/2014/main" id="{77480F75-5F20-7DCB-ACC4-B8C8ABD76E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07010" y="6586960"/>
                <a:ext cx="49855" cy="89134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49 h 59"/>
                  <a:gd name="T20" fmla="*/ 17 w 33"/>
                  <a:gd name="T21" fmla="*/ 49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50" name="Freeform 46">
                <a:extLst>
                  <a:ext uri="{FF2B5EF4-FFF2-40B4-BE49-F238E27FC236}">
                    <a16:creationId xmlns:a16="http://schemas.microsoft.com/office/drawing/2014/main" id="{8049562F-B3CB-5FEF-87BA-7B2E07BAFE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196435" y="6736524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51" name="Freeform 47">
                <a:extLst>
                  <a:ext uri="{FF2B5EF4-FFF2-40B4-BE49-F238E27FC236}">
                    <a16:creationId xmlns:a16="http://schemas.microsoft.com/office/drawing/2014/main" id="{576132E2-F472-47F3-2F50-8E9DEA55E8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196435" y="6890620"/>
                <a:ext cx="63451" cy="89134"/>
              </a:xfrm>
              <a:custGeom>
                <a:avLst/>
                <a:gdLst>
                  <a:gd name="T0" fmla="*/ 18 w 18"/>
                  <a:gd name="T1" fmla="*/ 13 h 25"/>
                  <a:gd name="T2" fmla="*/ 9 w 18"/>
                  <a:gd name="T3" fmla="*/ 25 h 25"/>
                  <a:gd name="T4" fmla="*/ 0 w 18"/>
                  <a:gd name="T5" fmla="*/ 12 h 25"/>
                  <a:gd name="T6" fmla="*/ 9 w 18"/>
                  <a:gd name="T7" fmla="*/ 0 h 25"/>
                  <a:gd name="T8" fmla="*/ 18 w 18"/>
                  <a:gd name="T9" fmla="*/ 13 h 25"/>
                  <a:gd name="T10" fmla="*/ 5 w 18"/>
                  <a:gd name="T11" fmla="*/ 12 h 25"/>
                  <a:gd name="T12" fmla="*/ 9 w 18"/>
                  <a:gd name="T13" fmla="*/ 22 h 25"/>
                  <a:gd name="T14" fmla="*/ 13 w 18"/>
                  <a:gd name="T15" fmla="*/ 13 h 25"/>
                  <a:gd name="T16" fmla="*/ 9 w 18"/>
                  <a:gd name="T17" fmla="*/ 3 h 25"/>
                  <a:gd name="T18" fmla="*/ 5 w 18"/>
                  <a:gd name="T1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5">
                    <a:moveTo>
                      <a:pt x="18" y="13"/>
                    </a:moveTo>
                    <a:cubicBezTo>
                      <a:pt x="18" y="21"/>
                      <a:pt x="15" y="25"/>
                      <a:pt x="9" y="25"/>
                    </a:cubicBezTo>
                    <a:cubicBezTo>
                      <a:pt x="3" y="25"/>
                      <a:pt x="0" y="21"/>
                      <a:pt x="0" y="12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2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6"/>
                      <a:pt x="12" y="3"/>
                      <a:pt x="9" y="3"/>
                    </a:cubicBezTo>
                    <a:cubicBezTo>
                      <a:pt x="6" y="3"/>
                      <a:pt x="5" y="6"/>
                      <a:pt x="5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52" name="Freeform 63">
                <a:extLst>
                  <a:ext uri="{FF2B5EF4-FFF2-40B4-BE49-F238E27FC236}">
                    <a16:creationId xmlns:a16="http://schemas.microsoft.com/office/drawing/2014/main" id="{402F7EDF-ECF6-D2C2-4A35-EA750B23F8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69019" y="6126184"/>
                <a:ext cx="60430" cy="9366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4" y="0"/>
                      <a:pt x="17" y="5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53" name="Freeform 64">
                <a:extLst>
                  <a:ext uri="{FF2B5EF4-FFF2-40B4-BE49-F238E27FC236}">
                    <a16:creationId xmlns:a16="http://schemas.microsoft.com/office/drawing/2014/main" id="{ACB62EB8-8204-C53F-4C25-2746EC05DE5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69019" y="6280280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1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54" name="Freeform 65">
                <a:extLst>
                  <a:ext uri="{FF2B5EF4-FFF2-40B4-BE49-F238E27FC236}">
                    <a16:creationId xmlns:a16="http://schemas.microsoft.com/office/drawing/2014/main" id="{7AD976BF-6522-A08A-1D50-3E95E5E9A9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75062" y="6586960"/>
                <a:ext cx="49855" cy="89134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49 h 59"/>
                  <a:gd name="T20" fmla="*/ 16 w 33"/>
                  <a:gd name="T21" fmla="*/ 49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55" name="Freeform 66">
                <a:extLst>
                  <a:ext uri="{FF2B5EF4-FFF2-40B4-BE49-F238E27FC236}">
                    <a16:creationId xmlns:a16="http://schemas.microsoft.com/office/drawing/2014/main" id="{CDF8106C-DFDC-9A08-82C8-B3A852EAC13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69019" y="6736524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56" name="Freeform 67">
                <a:extLst>
                  <a:ext uri="{FF2B5EF4-FFF2-40B4-BE49-F238E27FC236}">
                    <a16:creationId xmlns:a16="http://schemas.microsoft.com/office/drawing/2014/main" id="{20AB4E10-D6DB-5C49-846C-0FC60490E53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69019" y="6890620"/>
                <a:ext cx="60430" cy="89134"/>
              </a:xfrm>
              <a:custGeom>
                <a:avLst/>
                <a:gdLst>
                  <a:gd name="T0" fmla="*/ 17 w 17"/>
                  <a:gd name="T1" fmla="*/ 13 h 25"/>
                  <a:gd name="T2" fmla="*/ 9 w 17"/>
                  <a:gd name="T3" fmla="*/ 25 h 25"/>
                  <a:gd name="T4" fmla="*/ 0 w 17"/>
                  <a:gd name="T5" fmla="*/ 12 h 25"/>
                  <a:gd name="T6" fmla="*/ 9 w 17"/>
                  <a:gd name="T7" fmla="*/ 0 h 25"/>
                  <a:gd name="T8" fmla="*/ 17 w 17"/>
                  <a:gd name="T9" fmla="*/ 13 h 25"/>
                  <a:gd name="T10" fmla="*/ 4 w 17"/>
                  <a:gd name="T11" fmla="*/ 12 h 25"/>
                  <a:gd name="T12" fmla="*/ 9 w 17"/>
                  <a:gd name="T13" fmla="*/ 22 h 25"/>
                  <a:gd name="T14" fmla="*/ 13 w 17"/>
                  <a:gd name="T15" fmla="*/ 13 h 25"/>
                  <a:gd name="T16" fmla="*/ 9 w 17"/>
                  <a:gd name="T17" fmla="*/ 3 h 25"/>
                  <a:gd name="T18" fmla="*/ 4 w 17"/>
                  <a:gd name="T1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5">
                    <a:moveTo>
                      <a:pt x="17" y="13"/>
                    </a:moveTo>
                    <a:cubicBezTo>
                      <a:pt x="17" y="21"/>
                      <a:pt x="14" y="25"/>
                      <a:pt x="9" y="25"/>
                    </a:cubicBezTo>
                    <a:cubicBezTo>
                      <a:pt x="3" y="25"/>
                      <a:pt x="0" y="21"/>
                      <a:pt x="0" y="12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2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6"/>
                      <a:pt x="11" y="3"/>
                      <a:pt x="9" y="3"/>
                    </a:cubicBezTo>
                    <a:cubicBezTo>
                      <a:pt x="6" y="3"/>
                      <a:pt x="4" y="6"/>
                      <a:pt x="4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57" name="Freeform 83">
                <a:extLst>
                  <a:ext uri="{FF2B5EF4-FFF2-40B4-BE49-F238E27FC236}">
                    <a16:creationId xmlns:a16="http://schemas.microsoft.com/office/drawing/2014/main" id="{EC72777F-5F04-D938-EDA0-C32DFD31B9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93593" y="6133738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3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58" name="Freeform 84">
                <a:extLst>
                  <a:ext uri="{FF2B5EF4-FFF2-40B4-BE49-F238E27FC236}">
                    <a16:creationId xmlns:a16="http://schemas.microsoft.com/office/drawing/2014/main" id="{488FF0BE-6AFD-808F-4B1E-8A7E03F8C41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78486" y="6401139"/>
                <a:ext cx="110285" cy="164671"/>
              </a:xfrm>
              <a:custGeom>
                <a:avLst/>
                <a:gdLst>
                  <a:gd name="T0" fmla="*/ 31 w 31"/>
                  <a:gd name="T1" fmla="*/ 23 h 46"/>
                  <a:gd name="T2" fmla="*/ 15 w 31"/>
                  <a:gd name="T3" fmla="*/ 46 h 46"/>
                  <a:gd name="T4" fmla="*/ 0 w 31"/>
                  <a:gd name="T5" fmla="*/ 23 h 46"/>
                  <a:gd name="T6" fmla="*/ 15 w 31"/>
                  <a:gd name="T7" fmla="*/ 0 h 46"/>
                  <a:gd name="T8" fmla="*/ 31 w 31"/>
                  <a:gd name="T9" fmla="*/ 23 h 46"/>
                  <a:gd name="T10" fmla="*/ 8 w 31"/>
                  <a:gd name="T11" fmla="*/ 23 h 46"/>
                  <a:gd name="T12" fmla="*/ 15 w 31"/>
                  <a:gd name="T13" fmla="*/ 39 h 46"/>
                  <a:gd name="T14" fmla="*/ 23 w 31"/>
                  <a:gd name="T15" fmla="*/ 23 h 46"/>
                  <a:gd name="T16" fmla="*/ 15 w 31"/>
                  <a:gd name="T17" fmla="*/ 7 h 46"/>
                  <a:gd name="T18" fmla="*/ 8 w 31"/>
                  <a:gd name="T19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6">
                    <a:moveTo>
                      <a:pt x="31" y="23"/>
                    </a:moveTo>
                    <a:cubicBezTo>
                      <a:pt x="31" y="38"/>
                      <a:pt x="26" y="46"/>
                      <a:pt x="15" y="46"/>
                    </a:cubicBezTo>
                    <a:cubicBezTo>
                      <a:pt x="5" y="46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7"/>
                      <a:pt x="15" y="7"/>
                    </a:cubicBezTo>
                    <a:cubicBezTo>
                      <a:pt x="10" y="7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59" name="Freeform 85">
                <a:extLst>
                  <a:ext uri="{FF2B5EF4-FFF2-40B4-BE49-F238E27FC236}">
                    <a16:creationId xmlns:a16="http://schemas.microsoft.com/office/drawing/2014/main" id="{BDA8B1F7-1312-3F78-C844-42149CF821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78486" y="6673073"/>
                <a:ext cx="110285" cy="160139"/>
              </a:xfrm>
              <a:custGeom>
                <a:avLst/>
                <a:gdLst>
                  <a:gd name="T0" fmla="*/ 31 w 31"/>
                  <a:gd name="T1" fmla="*/ 23 h 45"/>
                  <a:gd name="T2" fmla="*/ 15 w 31"/>
                  <a:gd name="T3" fmla="*/ 45 h 45"/>
                  <a:gd name="T4" fmla="*/ 0 w 31"/>
                  <a:gd name="T5" fmla="*/ 23 h 45"/>
                  <a:gd name="T6" fmla="*/ 15 w 31"/>
                  <a:gd name="T7" fmla="*/ 0 h 45"/>
                  <a:gd name="T8" fmla="*/ 31 w 31"/>
                  <a:gd name="T9" fmla="*/ 23 h 45"/>
                  <a:gd name="T10" fmla="*/ 8 w 31"/>
                  <a:gd name="T11" fmla="*/ 23 h 45"/>
                  <a:gd name="T12" fmla="*/ 15 w 31"/>
                  <a:gd name="T13" fmla="*/ 39 h 45"/>
                  <a:gd name="T14" fmla="*/ 23 w 31"/>
                  <a:gd name="T15" fmla="*/ 23 h 45"/>
                  <a:gd name="T16" fmla="*/ 15 w 31"/>
                  <a:gd name="T17" fmla="*/ 6 h 45"/>
                  <a:gd name="T18" fmla="*/ 8 w 31"/>
                  <a:gd name="T19" fmla="*/ 2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31" y="23"/>
                    </a:moveTo>
                    <a:cubicBezTo>
                      <a:pt x="31" y="38"/>
                      <a:pt x="26" y="45"/>
                      <a:pt x="15" y="45"/>
                    </a:cubicBezTo>
                    <a:cubicBezTo>
                      <a:pt x="5" y="45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6"/>
                      <a:pt x="15" y="6"/>
                    </a:cubicBezTo>
                    <a:cubicBezTo>
                      <a:pt x="10" y="6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60" name="Freeform 95">
                <a:extLst>
                  <a:ext uri="{FF2B5EF4-FFF2-40B4-BE49-F238E27FC236}">
                    <a16:creationId xmlns:a16="http://schemas.microsoft.com/office/drawing/2014/main" id="{C6685443-3F4A-D6F0-F2F4-59DA8F42B0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0939" y="5248443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61" name="Freeform 96">
                <a:extLst>
                  <a:ext uri="{FF2B5EF4-FFF2-40B4-BE49-F238E27FC236}">
                    <a16:creationId xmlns:a16="http://schemas.microsoft.com/office/drawing/2014/main" id="{C75A5AE3-E08A-F756-18DA-B479B9753C1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850363" y="5394985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62" name="Freeform 97">
                <a:extLst>
                  <a:ext uri="{FF2B5EF4-FFF2-40B4-BE49-F238E27FC236}">
                    <a16:creationId xmlns:a16="http://schemas.microsoft.com/office/drawing/2014/main" id="{4C27A611-1F16-9187-6E6F-514A119201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0939" y="5541527"/>
                <a:ext cx="52876" cy="84602"/>
              </a:xfrm>
              <a:custGeom>
                <a:avLst/>
                <a:gdLst>
                  <a:gd name="T0" fmla="*/ 16 w 35"/>
                  <a:gd name="T1" fmla="*/ 14 h 56"/>
                  <a:gd name="T2" fmla="*/ 7 w 35"/>
                  <a:gd name="T3" fmla="*/ 21 h 56"/>
                  <a:gd name="T4" fmla="*/ 0 w 35"/>
                  <a:gd name="T5" fmla="*/ 11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4"/>
                    </a:moveTo>
                    <a:lnTo>
                      <a:pt x="7" y="21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63" name="Freeform 98">
                <a:extLst>
                  <a:ext uri="{FF2B5EF4-FFF2-40B4-BE49-F238E27FC236}">
                    <a16:creationId xmlns:a16="http://schemas.microsoft.com/office/drawing/2014/main" id="{FD81B8A0-C181-B45D-20D9-E061CED3D7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850363" y="5688069"/>
                <a:ext cx="67984" cy="84602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64" name="Freeform 99">
                <a:extLst>
                  <a:ext uri="{FF2B5EF4-FFF2-40B4-BE49-F238E27FC236}">
                    <a16:creationId xmlns:a16="http://schemas.microsoft.com/office/drawing/2014/main" id="{FBD4DBD1-BE7B-8690-CA29-4782020980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0939" y="5833100"/>
                <a:ext cx="52876" cy="86113"/>
              </a:xfrm>
              <a:custGeom>
                <a:avLst/>
                <a:gdLst>
                  <a:gd name="T0" fmla="*/ 16 w 35"/>
                  <a:gd name="T1" fmla="*/ 15 h 57"/>
                  <a:gd name="T2" fmla="*/ 7 w 35"/>
                  <a:gd name="T3" fmla="*/ 22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8 h 57"/>
                  <a:gd name="T12" fmla="*/ 35 w 35"/>
                  <a:gd name="T13" fmla="*/ 48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8 h 57"/>
                  <a:gd name="T20" fmla="*/ 16 w 35"/>
                  <a:gd name="T21" fmla="*/ 48 h 57"/>
                  <a:gd name="T22" fmla="*/ 16 w 35"/>
                  <a:gd name="T23" fmla="*/ 1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5"/>
                    </a:moveTo>
                    <a:lnTo>
                      <a:pt x="7" y="22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5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65" name="Freeform 100">
                <a:extLst>
                  <a:ext uri="{FF2B5EF4-FFF2-40B4-BE49-F238E27FC236}">
                    <a16:creationId xmlns:a16="http://schemas.microsoft.com/office/drawing/2014/main" id="{B3916C13-125A-FA57-25E8-7DD7433D134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850363" y="5979642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66" name="Freeform 101">
                <a:extLst>
                  <a:ext uri="{FF2B5EF4-FFF2-40B4-BE49-F238E27FC236}">
                    <a16:creationId xmlns:a16="http://schemas.microsoft.com/office/drawing/2014/main" id="{3D11D95D-7A99-9CDF-F0A6-8761EDB41F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0939" y="6126184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67" name="Freeform 102">
                <a:extLst>
                  <a:ext uri="{FF2B5EF4-FFF2-40B4-BE49-F238E27FC236}">
                    <a16:creationId xmlns:a16="http://schemas.microsoft.com/office/drawing/2014/main" id="{FF84ACCA-3BB0-D0D6-A6DA-2EB063A909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0939" y="6272726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68" name="Freeform 103">
                <a:extLst>
                  <a:ext uri="{FF2B5EF4-FFF2-40B4-BE49-F238E27FC236}">
                    <a16:creationId xmlns:a16="http://schemas.microsoft.com/office/drawing/2014/main" id="{7A2D2769-653F-4844-C317-4BCAAA9B10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0939" y="6422290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5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5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69" name="Freeform 104">
                <a:extLst>
                  <a:ext uri="{FF2B5EF4-FFF2-40B4-BE49-F238E27FC236}">
                    <a16:creationId xmlns:a16="http://schemas.microsoft.com/office/drawing/2014/main" id="{DE6669BD-AAD2-CC99-9349-20FF8415F3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850363" y="6565810"/>
                <a:ext cx="67984" cy="89134"/>
              </a:xfrm>
              <a:custGeom>
                <a:avLst/>
                <a:gdLst>
                  <a:gd name="T0" fmla="*/ 17 w 19"/>
                  <a:gd name="T1" fmla="*/ 4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4 h 25"/>
                  <a:gd name="T16" fmla="*/ 6 w 19"/>
                  <a:gd name="T17" fmla="*/ 12 h 25"/>
                  <a:gd name="T18" fmla="*/ 10 w 19"/>
                  <a:gd name="T19" fmla="*/ 20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3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70" name="Freeform 105">
                <a:extLst>
                  <a:ext uri="{FF2B5EF4-FFF2-40B4-BE49-F238E27FC236}">
                    <a16:creationId xmlns:a16="http://schemas.microsoft.com/office/drawing/2014/main" id="{A85BA5B7-415A-C5CE-5BB8-F1BF8B63EB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0939" y="6715374"/>
                <a:ext cx="52876" cy="81580"/>
              </a:xfrm>
              <a:custGeom>
                <a:avLst/>
                <a:gdLst>
                  <a:gd name="T0" fmla="*/ 16 w 35"/>
                  <a:gd name="T1" fmla="*/ 12 h 54"/>
                  <a:gd name="T2" fmla="*/ 7 w 35"/>
                  <a:gd name="T3" fmla="*/ 19 h 54"/>
                  <a:gd name="T4" fmla="*/ 0 w 35"/>
                  <a:gd name="T5" fmla="*/ 9 h 54"/>
                  <a:gd name="T6" fmla="*/ 19 w 35"/>
                  <a:gd name="T7" fmla="*/ 0 h 54"/>
                  <a:gd name="T8" fmla="*/ 28 w 35"/>
                  <a:gd name="T9" fmla="*/ 0 h 54"/>
                  <a:gd name="T10" fmla="*/ 28 w 35"/>
                  <a:gd name="T11" fmla="*/ 45 h 54"/>
                  <a:gd name="T12" fmla="*/ 35 w 35"/>
                  <a:gd name="T13" fmla="*/ 45 h 54"/>
                  <a:gd name="T14" fmla="*/ 35 w 35"/>
                  <a:gd name="T15" fmla="*/ 54 h 54"/>
                  <a:gd name="T16" fmla="*/ 9 w 35"/>
                  <a:gd name="T17" fmla="*/ 54 h 54"/>
                  <a:gd name="T18" fmla="*/ 9 w 35"/>
                  <a:gd name="T19" fmla="*/ 45 h 54"/>
                  <a:gd name="T20" fmla="*/ 16 w 35"/>
                  <a:gd name="T21" fmla="*/ 45 h 54"/>
                  <a:gd name="T22" fmla="*/ 16 w 35"/>
                  <a:gd name="T23" fmla="*/ 1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4">
                    <a:moveTo>
                      <a:pt x="16" y="12"/>
                    </a:moveTo>
                    <a:lnTo>
                      <a:pt x="7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4"/>
                    </a:lnTo>
                    <a:lnTo>
                      <a:pt x="9" y="54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71" name="Freeform 106">
                <a:extLst>
                  <a:ext uri="{FF2B5EF4-FFF2-40B4-BE49-F238E27FC236}">
                    <a16:creationId xmlns:a16="http://schemas.microsoft.com/office/drawing/2014/main" id="{9C75AB93-2A6A-2EF6-CEC7-9602D6D3BCF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850363" y="6857383"/>
                <a:ext cx="67984" cy="89134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2 h 25"/>
                  <a:gd name="T18" fmla="*/ 10 w 19"/>
                  <a:gd name="T19" fmla="*/ 21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72" name="Freeform 135">
                <a:extLst>
                  <a:ext uri="{FF2B5EF4-FFF2-40B4-BE49-F238E27FC236}">
                    <a16:creationId xmlns:a16="http://schemas.microsoft.com/office/drawing/2014/main" id="{2AAF32D2-FF0C-B723-CEAA-AFB82C12F1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03296" y="5615554"/>
                <a:ext cx="60430" cy="111795"/>
              </a:xfrm>
              <a:custGeom>
                <a:avLst/>
                <a:gdLst>
                  <a:gd name="T0" fmla="*/ 19 w 40"/>
                  <a:gd name="T1" fmla="*/ 14 h 74"/>
                  <a:gd name="T2" fmla="*/ 4 w 40"/>
                  <a:gd name="T3" fmla="*/ 24 h 74"/>
                  <a:gd name="T4" fmla="*/ 0 w 40"/>
                  <a:gd name="T5" fmla="*/ 14 h 74"/>
                  <a:gd name="T6" fmla="*/ 21 w 40"/>
                  <a:gd name="T7" fmla="*/ 0 h 74"/>
                  <a:gd name="T8" fmla="*/ 30 w 40"/>
                  <a:gd name="T9" fmla="*/ 0 h 74"/>
                  <a:gd name="T10" fmla="*/ 30 w 40"/>
                  <a:gd name="T11" fmla="*/ 64 h 74"/>
                  <a:gd name="T12" fmla="*/ 40 w 40"/>
                  <a:gd name="T13" fmla="*/ 64 h 74"/>
                  <a:gd name="T14" fmla="*/ 40 w 40"/>
                  <a:gd name="T15" fmla="*/ 74 h 74"/>
                  <a:gd name="T16" fmla="*/ 9 w 40"/>
                  <a:gd name="T17" fmla="*/ 74 h 74"/>
                  <a:gd name="T18" fmla="*/ 9 w 40"/>
                  <a:gd name="T19" fmla="*/ 64 h 74"/>
                  <a:gd name="T20" fmla="*/ 19 w 40"/>
                  <a:gd name="T21" fmla="*/ 64 h 74"/>
                  <a:gd name="T22" fmla="*/ 19 w 40"/>
                  <a:gd name="T23" fmla="*/ 1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4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4"/>
                    </a:lnTo>
                    <a:lnTo>
                      <a:pt x="9" y="74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73" name="Freeform 136">
                <a:extLst>
                  <a:ext uri="{FF2B5EF4-FFF2-40B4-BE49-F238E27FC236}">
                    <a16:creationId xmlns:a16="http://schemas.microsoft.com/office/drawing/2014/main" id="{1435D4A7-D29D-252A-9636-FE652DD8676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392720" y="5804396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8 h 32"/>
                  <a:gd name="T14" fmla="*/ 16 w 21"/>
                  <a:gd name="T15" fmla="*/ 16 h 32"/>
                  <a:gd name="T16" fmla="*/ 10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0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0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74" name="Freeform 137">
                <a:extLst>
                  <a:ext uri="{FF2B5EF4-FFF2-40B4-BE49-F238E27FC236}">
                    <a16:creationId xmlns:a16="http://schemas.microsoft.com/office/drawing/2014/main" id="{7FF590E0-6809-1FB5-363F-1138F0D944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392720" y="6186614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6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75" name="Freeform 138">
                <a:extLst>
                  <a:ext uri="{FF2B5EF4-FFF2-40B4-BE49-F238E27FC236}">
                    <a16:creationId xmlns:a16="http://schemas.microsoft.com/office/drawing/2014/main" id="{4FF1B1C7-29B1-B80F-8CE5-5FCF8BC027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03296" y="6379989"/>
                <a:ext cx="60430" cy="107263"/>
              </a:xfrm>
              <a:custGeom>
                <a:avLst/>
                <a:gdLst>
                  <a:gd name="T0" fmla="*/ 19 w 40"/>
                  <a:gd name="T1" fmla="*/ 12 h 71"/>
                  <a:gd name="T2" fmla="*/ 4 w 40"/>
                  <a:gd name="T3" fmla="*/ 21 h 71"/>
                  <a:gd name="T4" fmla="*/ 0 w 40"/>
                  <a:gd name="T5" fmla="*/ 12 h 71"/>
                  <a:gd name="T6" fmla="*/ 21 w 40"/>
                  <a:gd name="T7" fmla="*/ 0 h 71"/>
                  <a:gd name="T8" fmla="*/ 30 w 40"/>
                  <a:gd name="T9" fmla="*/ 0 h 71"/>
                  <a:gd name="T10" fmla="*/ 30 w 40"/>
                  <a:gd name="T11" fmla="*/ 64 h 71"/>
                  <a:gd name="T12" fmla="*/ 40 w 40"/>
                  <a:gd name="T13" fmla="*/ 64 h 71"/>
                  <a:gd name="T14" fmla="*/ 40 w 40"/>
                  <a:gd name="T15" fmla="*/ 71 h 71"/>
                  <a:gd name="T16" fmla="*/ 9 w 40"/>
                  <a:gd name="T17" fmla="*/ 71 h 71"/>
                  <a:gd name="T18" fmla="*/ 9 w 40"/>
                  <a:gd name="T19" fmla="*/ 64 h 71"/>
                  <a:gd name="T20" fmla="*/ 19 w 40"/>
                  <a:gd name="T21" fmla="*/ 64 h 71"/>
                  <a:gd name="T22" fmla="*/ 19 w 40"/>
                  <a:gd name="T23" fmla="*/ 1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1">
                    <a:moveTo>
                      <a:pt x="19" y="12"/>
                    </a:moveTo>
                    <a:lnTo>
                      <a:pt x="4" y="21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1"/>
                    </a:lnTo>
                    <a:lnTo>
                      <a:pt x="9" y="71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76" name="Freeform 139">
                <a:extLst>
                  <a:ext uri="{FF2B5EF4-FFF2-40B4-BE49-F238E27FC236}">
                    <a16:creationId xmlns:a16="http://schemas.microsoft.com/office/drawing/2014/main" id="{289AFA1B-96CF-4CDF-A0D3-0585E2F32A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03296" y="6568831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77" name="Freeform 140">
                <a:extLst>
                  <a:ext uri="{FF2B5EF4-FFF2-40B4-BE49-F238E27FC236}">
                    <a16:creationId xmlns:a16="http://schemas.microsoft.com/office/drawing/2014/main" id="{DFFA93C7-BA1D-1C10-A5FB-56417DBB72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03296" y="6757674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78" name="Freeform 149">
                <a:extLst>
                  <a:ext uri="{FF2B5EF4-FFF2-40B4-BE49-F238E27FC236}">
                    <a16:creationId xmlns:a16="http://schemas.microsoft.com/office/drawing/2014/main" id="{EAFF2E4E-A9ED-E35C-F33C-2BD63D5EF7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15269" y="5259018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79" name="Freeform 150">
                <a:extLst>
                  <a:ext uri="{FF2B5EF4-FFF2-40B4-BE49-F238E27FC236}">
                    <a16:creationId xmlns:a16="http://schemas.microsoft.com/office/drawing/2014/main" id="{4C65F3B2-D4E2-E762-628F-775E4BE39F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400163" y="5541527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80" name="Freeform 151">
                <a:extLst>
                  <a:ext uri="{FF2B5EF4-FFF2-40B4-BE49-F238E27FC236}">
                    <a16:creationId xmlns:a16="http://schemas.microsoft.com/office/drawing/2014/main" id="{DA2B01BC-4813-EB40-23DB-7E5A3B0B9C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15269" y="5830079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81" name="Freeform 152">
                <a:extLst>
                  <a:ext uri="{FF2B5EF4-FFF2-40B4-BE49-F238E27FC236}">
                    <a16:creationId xmlns:a16="http://schemas.microsoft.com/office/drawing/2014/main" id="{A6A4C99F-E574-6920-36D5-F8A5F075A4A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400163" y="6112587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82" name="Freeform 153">
                <a:extLst>
                  <a:ext uri="{FF2B5EF4-FFF2-40B4-BE49-F238E27FC236}">
                    <a16:creationId xmlns:a16="http://schemas.microsoft.com/office/drawing/2014/main" id="{B1EBA6FE-0B40-7B5B-31F1-12D9143087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15269" y="6401139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83" name="Freeform 154">
                <a:extLst>
                  <a:ext uri="{FF2B5EF4-FFF2-40B4-BE49-F238E27FC236}">
                    <a16:creationId xmlns:a16="http://schemas.microsoft.com/office/drawing/2014/main" id="{F1159163-7E4F-DDBB-D824-63E0318831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15269" y="6686669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84" name="Line 8">
                <a:extLst>
                  <a:ext uri="{FF2B5EF4-FFF2-40B4-BE49-F238E27FC236}">
                    <a16:creationId xmlns:a16="http://schemas.microsoft.com/office/drawing/2014/main" id="{51EB4EED-9510-8719-8288-EE4447D98B6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03374" y="5783246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85" name="Line 9">
                <a:extLst>
                  <a:ext uri="{FF2B5EF4-FFF2-40B4-BE49-F238E27FC236}">
                    <a16:creationId xmlns:a16="http://schemas.microsoft.com/office/drawing/2014/main" id="{D8F4BE52-D19C-1494-5C6B-68B249276F3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03374" y="5783246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86" name="Freeform 10">
                <a:extLst>
                  <a:ext uri="{FF2B5EF4-FFF2-40B4-BE49-F238E27FC236}">
                    <a16:creationId xmlns:a16="http://schemas.microsoft.com/office/drawing/2014/main" id="{CD9BF6FF-E23E-E7E6-C7CF-3735D7DC56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6556" y="6854362"/>
                <a:ext cx="99709" cy="157117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8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7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7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8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7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7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87" name="Freeform 23">
                <a:extLst>
                  <a:ext uri="{FF2B5EF4-FFF2-40B4-BE49-F238E27FC236}">
                    <a16:creationId xmlns:a16="http://schemas.microsoft.com/office/drawing/2014/main" id="{631B11FD-6E6E-A04C-731C-AE847F92ED3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54046" y="6133738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8 h 32"/>
                  <a:gd name="T14" fmla="*/ 16 w 21"/>
                  <a:gd name="T15" fmla="*/ 16 h 32"/>
                  <a:gd name="T16" fmla="*/ 11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1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1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88" name="Freeform 24">
                <a:extLst>
                  <a:ext uri="{FF2B5EF4-FFF2-40B4-BE49-F238E27FC236}">
                    <a16:creationId xmlns:a16="http://schemas.microsoft.com/office/drawing/2014/main" id="{E2F54BD4-DC62-F0BC-E91D-C2966F83B0B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54046" y="6325602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5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89" name="Freeform 25">
                <a:extLst>
                  <a:ext uri="{FF2B5EF4-FFF2-40B4-BE49-F238E27FC236}">
                    <a16:creationId xmlns:a16="http://schemas.microsoft.com/office/drawing/2014/main" id="{E974255E-7BB1-77D2-87C5-AEBD405361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57068" y="6707820"/>
                <a:ext cx="64962" cy="11028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2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2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90" name="Freeform 26">
                <a:extLst>
                  <a:ext uri="{FF2B5EF4-FFF2-40B4-BE49-F238E27FC236}">
                    <a16:creationId xmlns:a16="http://schemas.microsoft.com/office/drawing/2014/main" id="{3868022C-0EF4-29FF-AAA4-70805839D83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54046" y="6896663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6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91" name="Freeform 43">
                <a:extLst>
                  <a:ext uri="{FF2B5EF4-FFF2-40B4-BE49-F238E27FC236}">
                    <a16:creationId xmlns:a16="http://schemas.microsoft.com/office/drawing/2014/main" id="{390E8CE0-9FB8-FF30-1D83-759258C9B1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25925" y="6333156"/>
                <a:ext cx="63451" cy="9366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5" y="0"/>
                      <a:pt x="18" y="5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92" name="Freeform 44">
                <a:extLst>
                  <a:ext uri="{FF2B5EF4-FFF2-40B4-BE49-F238E27FC236}">
                    <a16:creationId xmlns:a16="http://schemas.microsoft.com/office/drawing/2014/main" id="{E134E5F9-A5FD-7270-983F-323CCF61C9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25925" y="6487252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1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93" name="Freeform 45">
                <a:extLst>
                  <a:ext uri="{FF2B5EF4-FFF2-40B4-BE49-F238E27FC236}">
                    <a16:creationId xmlns:a16="http://schemas.microsoft.com/office/drawing/2014/main" id="{35957B87-3F5C-9716-EE1E-418A507472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28946" y="6793932"/>
                <a:ext cx="49855" cy="89134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49 h 59"/>
                  <a:gd name="T20" fmla="*/ 17 w 33"/>
                  <a:gd name="T21" fmla="*/ 49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94" name="Freeform 63">
                <a:extLst>
                  <a:ext uri="{FF2B5EF4-FFF2-40B4-BE49-F238E27FC236}">
                    <a16:creationId xmlns:a16="http://schemas.microsoft.com/office/drawing/2014/main" id="{8E4E7106-2B4D-15F2-4E8A-6519972FDF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756362" y="6333156"/>
                <a:ext cx="60430" cy="9366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4" y="0"/>
                      <a:pt x="17" y="5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95" name="Freeform 64">
                <a:extLst>
                  <a:ext uri="{FF2B5EF4-FFF2-40B4-BE49-F238E27FC236}">
                    <a16:creationId xmlns:a16="http://schemas.microsoft.com/office/drawing/2014/main" id="{2D3FA326-7CFC-FE30-3820-02B903F5A0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756362" y="6487252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1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96" name="Freeform 65">
                <a:extLst>
                  <a:ext uri="{FF2B5EF4-FFF2-40B4-BE49-F238E27FC236}">
                    <a16:creationId xmlns:a16="http://schemas.microsoft.com/office/drawing/2014/main" id="{323FE13E-B38F-E92F-8D87-2357DC4770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60894" y="6793932"/>
                <a:ext cx="49855" cy="89134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49 h 59"/>
                  <a:gd name="T20" fmla="*/ 16 w 33"/>
                  <a:gd name="T21" fmla="*/ 49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97" name="Freeform 83">
                <a:extLst>
                  <a:ext uri="{FF2B5EF4-FFF2-40B4-BE49-F238E27FC236}">
                    <a16:creationId xmlns:a16="http://schemas.microsoft.com/office/drawing/2014/main" id="{7EBB7827-539C-35C5-D12E-3984099C80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00062" y="6340710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3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98" name="Freeform 84">
                <a:extLst>
                  <a:ext uri="{FF2B5EF4-FFF2-40B4-BE49-F238E27FC236}">
                    <a16:creationId xmlns:a16="http://schemas.microsoft.com/office/drawing/2014/main" id="{44395C43-AB41-5EF2-6F6E-A13FF4588B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97040" y="6608111"/>
                <a:ext cx="110285" cy="164671"/>
              </a:xfrm>
              <a:custGeom>
                <a:avLst/>
                <a:gdLst>
                  <a:gd name="T0" fmla="*/ 31 w 31"/>
                  <a:gd name="T1" fmla="*/ 23 h 46"/>
                  <a:gd name="T2" fmla="*/ 15 w 31"/>
                  <a:gd name="T3" fmla="*/ 46 h 46"/>
                  <a:gd name="T4" fmla="*/ 0 w 31"/>
                  <a:gd name="T5" fmla="*/ 23 h 46"/>
                  <a:gd name="T6" fmla="*/ 15 w 31"/>
                  <a:gd name="T7" fmla="*/ 0 h 46"/>
                  <a:gd name="T8" fmla="*/ 31 w 31"/>
                  <a:gd name="T9" fmla="*/ 23 h 46"/>
                  <a:gd name="T10" fmla="*/ 8 w 31"/>
                  <a:gd name="T11" fmla="*/ 23 h 46"/>
                  <a:gd name="T12" fmla="*/ 15 w 31"/>
                  <a:gd name="T13" fmla="*/ 39 h 46"/>
                  <a:gd name="T14" fmla="*/ 23 w 31"/>
                  <a:gd name="T15" fmla="*/ 23 h 46"/>
                  <a:gd name="T16" fmla="*/ 15 w 31"/>
                  <a:gd name="T17" fmla="*/ 7 h 46"/>
                  <a:gd name="T18" fmla="*/ 8 w 31"/>
                  <a:gd name="T19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6">
                    <a:moveTo>
                      <a:pt x="31" y="23"/>
                    </a:moveTo>
                    <a:cubicBezTo>
                      <a:pt x="31" y="38"/>
                      <a:pt x="26" y="46"/>
                      <a:pt x="15" y="46"/>
                    </a:cubicBezTo>
                    <a:cubicBezTo>
                      <a:pt x="5" y="46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7"/>
                      <a:pt x="15" y="7"/>
                    </a:cubicBezTo>
                    <a:cubicBezTo>
                      <a:pt x="10" y="7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99" name="Freeform 85">
                <a:extLst>
                  <a:ext uri="{FF2B5EF4-FFF2-40B4-BE49-F238E27FC236}">
                    <a16:creationId xmlns:a16="http://schemas.microsoft.com/office/drawing/2014/main" id="{38394FA5-3A24-D933-29F7-F152C0A0721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97040" y="6880045"/>
                <a:ext cx="110285" cy="160139"/>
              </a:xfrm>
              <a:custGeom>
                <a:avLst/>
                <a:gdLst>
                  <a:gd name="T0" fmla="*/ 31 w 31"/>
                  <a:gd name="T1" fmla="*/ 23 h 45"/>
                  <a:gd name="T2" fmla="*/ 15 w 31"/>
                  <a:gd name="T3" fmla="*/ 45 h 45"/>
                  <a:gd name="T4" fmla="*/ 0 w 31"/>
                  <a:gd name="T5" fmla="*/ 23 h 45"/>
                  <a:gd name="T6" fmla="*/ 15 w 31"/>
                  <a:gd name="T7" fmla="*/ 0 h 45"/>
                  <a:gd name="T8" fmla="*/ 31 w 31"/>
                  <a:gd name="T9" fmla="*/ 23 h 45"/>
                  <a:gd name="T10" fmla="*/ 8 w 31"/>
                  <a:gd name="T11" fmla="*/ 23 h 45"/>
                  <a:gd name="T12" fmla="*/ 15 w 31"/>
                  <a:gd name="T13" fmla="*/ 39 h 45"/>
                  <a:gd name="T14" fmla="*/ 23 w 31"/>
                  <a:gd name="T15" fmla="*/ 23 h 45"/>
                  <a:gd name="T16" fmla="*/ 15 w 31"/>
                  <a:gd name="T17" fmla="*/ 6 h 45"/>
                  <a:gd name="T18" fmla="*/ 8 w 31"/>
                  <a:gd name="T19" fmla="*/ 2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31" y="23"/>
                    </a:moveTo>
                    <a:cubicBezTo>
                      <a:pt x="31" y="38"/>
                      <a:pt x="26" y="45"/>
                      <a:pt x="15" y="45"/>
                    </a:cubicBezTo>
                    <a:cubicBezTo>
                      <a:pt x="5" y="45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6"/>
                      <a:pt x="15" y="6"/>
                    </a:cubicBezTo>
                    <a:cubicBezTo>
                      <a:pt x="10" y="6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00" name="Freeform 95">
                <a:extLst>
                  <a:ext uri="{FF2B5EF4-FFF2-40B4-BE49-F238E27FC236}">
                    <a16:creationId xmlns:a16="http://schemas.microsoft.com/office/drawing/2014/main" id="{CF8F1A50-C0FC-FE84-253C-2033099985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1996" y="5455415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01" name="Freeform 96">
                <a:extLst>
                  <a:ext uri="{FF2B5EF4-FFF2-40B4-BE49-F238E27FC236}">
                    <a16:creationId xmlns:a16="http://schemas.microsoft.com/office/drawing/2014/main" id="{ADCDEC7D-4FE7-E6A4-5E24-88C70C7F88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67464" y="5601957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02" name="Freeform 97">
                <a:extLst>
                  <a:ext uri="{FF2B5EF4-FFF2-40B4-BE49-F238E27FC236}">
                    <a16:creationId xmlns:a16="http://schemas.microsoft.com/office/drawing/2014/main" id="{AB4172EE-AAA0-2A82-DA8E-E72C10A0E4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1996" y="5748499"/>
                <a:ext cx="52876" cy="84602"/>
              </a:xfrm>
              <a:custGeom>
                <a:avLst/>
                <a:gdLst>
                  <a:gd name="T0" fmla="*/ 16 w 35"/>
                  <a:gd name="T1" fmla="*/ 14 h 56"/>
                  <a:gd name="T2" fmla="*/ 7 w 35"/>
                  <a:gd name="T3" fmla="*/ 21 h 56"/>
                  <a:gd name="T4" fmla="*/ 0 w 35"/>
                  <a:gd name="T5" fmla="*/ 11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4"/>
                    </a:moveTo>
                    <a:lnTo>
                      <a:pt x="7" y="21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03" name="Freeform 98">
                <a:extLst>
                  <a:ext uri="{FF2B5EF4-FFF2-40B4-BE49-F238E27FC236}">
                    <a16:creationId xmlns:a16="http://schemas.microsoft.com/office/drawing/2014/main" id="{31EDAC66-6C4F-D811-E8EB-D75FCC03DD7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67464" y="5895041"/>
                <a:ext cx="67984" cy="84602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04" name="Freeform 99">
                <a:extLst>
                  <a:ext uri="{FF2B5EF4-FFF2-40B4-BE49-F238E27FC236}">
                    <a16:creationId xmlns:a16="http://schemas.microsoft.com/office/drawing/2014/main" id="{A126252E-D31F-EF9A-B65D-332FE55255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1996" y="6040072"/>
                <a:ext cx="52876" cy="86113"/>
              </a:xfrm>
              <a:custGeom>
                <a:avLst/>
                <a:gdLst>
                  <a:gd name="T0" fmla="*/ 16 w 35"/>
                  <a:gd name="T1" fmla="*/ 15 h 57"/>
                  <a:gd name="T2" fmla="*/ 7 w 35"/>
                  <a:gd name="T3" fmla="*/ 22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8 h 57"/>
                  <a:gd name="T12" fmla="*/ 35 w 35"/>
                  <a:gd name="T13" fmla="*/ 48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8 h 57"/>
                  <a:gd name="T20" fmla="*/ 16 w 35"/>
                  <a:gd name="T21" fmla="*/ 48 h 57"/>
                  <a:gd name="T22" fmla="*/ 16 w 35"/>
                  <a:gd name="T23" fmla="*/ 1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5"/>
                    </a:moveTo>
                    <a:lnTo>
                      <a:pt x="7" y="22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5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05" name="Freeform 100">
                <a:extLst>
                  <a:ext uri="{FF2B5EF4-FFF2-40B4-BE49-F238E27FC236}">
                    <a16:creationId xmlns:a16="http://schemas.microsoft.com/office/drawing/2014/main" id="{19F1F906-E47E-7BA0-174D-D914DFEE142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67464" y="6186614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06" name="Freeform 101">
                <a:extLst>
                  <a:ext uri="{FF2B5EF4-FFF2-40B4-BE49-F238E27FC236}">
                    <a16:creationId xmlns:a16="http://schemas.microsoft.com/office/drawing/2014/main" id="{8E06B7F5-71E0-A715-2FFD-E3B8D76126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1996" y="6333156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07" name="Freeform 102">
                <a:extLst>
                  <a:ext uri="{FF2B5EF4-FFF2-40B4-BE49-F238E27FC236}">
                    <a16:creationId xmlns:a16="http://schemas.microsoft.com/office/drawing/2014/main" id="{54FCEB8C-9D8E-90AD-49BB-66AB645830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1996" y="6479698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08" name="Freeform 103">
                <a:extLst>
                  <a:ext uri="{FF2B5EF4-FFF2-40B4-BE49-F238E27FC236}">
                    <a16:creationId xmlns:a16="http://schemas.microsoft.com/office/drawing/2014/main" id="{69174661-9C39-21D8-DD58-11AEC69B12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1996" y="6629262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5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5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09" name="Freeform 104">
                <a:extLst>
                  <a:ext uri="{FF2B5EF4-FFF2-40B4-BE49-F238E27FC236}">
                    <a16:creationId xmlns:a16="http://schemas.microsoft.com/office/drawing/2014/main" id="{22251F3A-B927-ED34-A230-F33D2DF7F01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67464" y="6772782"/>
                <a:ext cx="67984" cy="89134"/>
              </a:xfrm>
              <a:custGeom>
                <a:avLst/>
                <a:gdLst>
                  <a:gd name="T0" fmla="*/ 17 w 19"/>
                  <a:gd name="T1" fmla="*/ 4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4 h 25"/>
                  <a:gd name="T16" fmla="*/ 6 w 19"/>
                  <a:gd name="T17" fmla="*/ 12 h 25"/>
                  <a:gd name="T18" fmla="*/ 10 w 19"/>
                  <a:gd name="T19" fmla="*/ 20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3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10" name="Freeform 105">
                <a:extLst>
                  <a:ext uri="{FF2B5EF4-FFF2-40B4-BE49-F238E27FC236}">
                    <a16:creationId xmlns:a16="http://schemas.microsoft.com/office/drawing/2014/main" id="{A360385B-0E91-8F15-F896-F54BC692F3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1996" y="6922346"/>
                <a:ext cx="52876" cy="81580"/>
              </a:xfrm>
              <a:custGeom>
                <a:avLst/>
                <a:gdLst>
                  <a:gd name="T0" fmla="*/ 16 w 35"/>
                  <a:gd name="T1" fmla="*/ 12 h 54"/>
                  <a:gd name="T2" fmla="*/ 7 w 35"/>
                  <a:gd name="T3" fmla="*/ 19 h 54"/>
                  <a:gd name="T4" fmla="*/ 0 w 35"/>
                  <a:gd name="T5" fmla="*/ 9 h 54"/>
                  <a:gd name="T6" fmla="*/ 19 w 35"/>
                  <a:gd name="T7" fmla="*/ 0 h 54"/>
                  <a:gd name="T8" fmla="*/ 28 w 35"/>
                  <a:gd name="T9" fmla="*/ 0 h 54"/>
                  <a:gd name="T10" fmla="*/ 28 w 35"/>
                  <a:gd name="T11" fmla="*/ 45 h 54"/>
                  <a:gd name="T12" fmla="*/ 35 w 35"/>
                  <a:gd name="T13" fmla="*/ 45 h 54"/>
                  <a:gd name="T14" fmla="*/ 35 w 35"/>
                  <a:gd name="T15" fmla="*/ 54 h 54"/>
                  <a:gd name="T16" fmla="*/ 9 w 35"/>
                  <a:gd name="T17" fmla="*/ 54 h 54"/>
                  <a:gd name="T18" fmla="*/ 9 w 35"/>
                  <a:gd name="T19" fmla="*/ 45 h 54"/>
                  <a:gd name="T20" fmla="*/ 16 w 35"/>
                  <a:gd name="T21" fmla="*/ 45 h 54"/>
                  <a:gd name="T22" fmla="*/ 16 w 35"/>
                  <a:gd name="T23" fmla="*/ 1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4">
                    <a:moveTo>
                      <a:pt x="16" y="12"/>
                    </a:moveTo>
                    <a:lnTo>
                      <a:pt x="7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4"/>
                    </a:lnTo>
                    <a:lnTo>
                      <a:pt x="9" y="54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11" name="Freeform 135">
                <a:extLst>
                  <a:ext uri="{FF2B5EF4-FFF2-40B4-BE49-F238E27FC236}">
                    <a16:creationId xmlns:a16="http://schemas.microsoft.com/office/drawing/2014/main" id="{D024649B-31B4-9881-F43A-F5682E5637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22085" y="5822526"/>
                <a:ext cx="60430" cy="111795"/>
              </a:xfrm>
              <a:custGeom>
                <a:avLst/>
                <a:gdLst>
                  <a:gd name="T0" fmla="*/ 19 w 40"/>
                  <a:gd name="T1" fmla="*/ 14 h 74"/>
                  <a:gd name="T2" fmla="*/ 4 w 40"/>
                  <a:gd name="T3" fmla="*/ 24 h 74"/>
                  <a:gd name="T4" fmla="*/ 0 w 40"/>
                  <a:gd name="T5" fmla="*/ 14 h 74"/>
                  <a:gd name="T6" fmla="*/ 21 w 40"/>
                  <a:gd name="T7" fmla="*/ 0 h 74"/>
                  <a:gd name="T8" fmla="*/ 30 w 40"/>
                  <a:gd name="T9" fmla="*/ 0 h 74"/>
                  <a:gd name="T10" fmla="*/ 30 w 40"/>
                  <a:gd name="T11" fmla="*/ 64 h 74"/>
                  <a:gd name="T12" fmla="*/ 40 w 40"/>
                  <a:gd name="T13" fmla="*/ 64 h 74"/>
                  <a:gd name="T14" fmla="*/ 40 w 40"/>
                  <a:gd name="T15" fmla="*/ 74 h 74"/>
                  <a:gd name="T16" fmla="*/ 9 w 40"/>
                  <a:gd name="T17" fmla="*/ 74 h 74"/>
                  <a:gd name="T18" fmla="*/ 9 w 40"/>
                  <a:gd name="T19" fmla="*/ 64 h 74"/>
                  <a:gd name="T20" fmla="*/ 19 w 40"/>
                  <a:gd name="T21" fmla="*/ 64 h 74"/>
                  <a:gd name="T22" fmla="*/ 19 w 40"/>
                  <a:gd name="T23" fmla="*/ 1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4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4"/>
                    </a:lnTo>
                    <a:lnTo>
                      <a:pt x="9" y="74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12" name="Freeform 136">
                <a:extLst>
                  <a:ext uri="{FF2B5EF4-FFF2-40B4-BE49-F238E27FC236}">
                    <a16:creationId xmlns:a16="http://schemas.microsoft.com/office/drawing/2014/main" id="{F8960687-558C-8677-65BF-94A5DCC4FAF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17554" y="6011368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8 h 32"/>
                  <a:gd name="T14" fmla="*/ 16 w 21"/>
                  <a:gd name="T15" fmla="*/ 16 h 32"/>
                  <a:gd name="T16" fmla="*/ 10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0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0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13" name="Freeform 137">
                <a:extLst>
                  <a:ext uri="{FF2B5EF4-FFF2-40B4-BE49-F238E27FC236}">
                    <a16:creationId xmlns:a16="http://schemas.microsoft.com/office/drawing/2014/main" id="{DB780200-D49E-9AEF-339E-12490069827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17554" y="6393586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6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14" name="Freeform 138">
                <a:extLst>
                  <a:ext uri="{FF2B5EF4-FFF2-40B4-BE49-F238E27FC236}">
                    <a16:creationId xmlns:a16="http://schemas.microsoft.com/office/drawing/2014/main" id="{A42C7C9A-A32A-5D26-32E7-8234B6427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22085" y="6586961"/>
                <a:ext cx="60430" cy="107263"/>
              </a:xfrm>
              <a:custGeom>
                <a:avLst/>
                <a:gdLst>
                  <a:gd name="T0" fmla="*/ 19 w 40"/>
                  <a:gd name="T1" fmla="*/ 12 h 71"/>
                  <a:gd name="T2" fmla="*/ 4 w 40"/>
                  <a:gd name="T3" fmla="*/ 21 h 71"/>
                  <a:gd name="T4" fmla="*/ 0 w 40"/>
                  <a:gd name="T5" fmla="*/ 12 h 71"/>
                  <a:gd name="T6" fmla="*/ 21 w 40"/>
                  <a:gd name="T7" fmla="*/ 0 h 71"/>
                  <a:gd name="T8" fmla="*/ 30 w 40"/>
                  <a:gd name="T9" fmla="*/ 0 h 71"/>
                  <a:gd name="T10" fmla="*/ 30 w 40"/>
                  <a:gd name="T11" fmla="*/ 64 h 71"/>
                  <a:gd name="T12" fmla="*/ 40 w 40"/>
                  <a:gd name="T13" fmla="*/ 64 h 71"/>
                  <a:gd name="T14" fmla="*/ 40 w 40"/>
                  <a:gd name="T15" fmla="*/ 71 h 71"/>
                  <a:gd name="T16" fmla="*/ 9 w 40"/>
                  <a:gd name="T17" fmla="*/ 71 h 71"/>
                  <a:gd name="T18" fmla="*/ 9 w 40"/>
                  <a:gd name="T19" fmla="*/ 64 h 71"/>
                  <a:gd name="T20" fmla="*/ 19 w 40"/>
                  <a:gd name="T21" fmla="*/ 64 h 71"/>
                  <a:gd name="T22" fmla="*/ 19 w 40"/>
                  <a:gd name="T23" fmla="*/ 1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1">
                    <a:moveTo>
                      <a:pt x="19" y="12"/>
                    </a:moveTo>
                    <a:lnTo>
                      <a:pt x="4" y="21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1"/>
                    </a:lnTo>
                    <a:lnTo>
                      <a:pt x="9" y="71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15" name="Freeform 139">
                <a:extLst>
                  <a:ext uri="{FF2B5EF4-FFF2-40B4-BE49-F238E27FC236}">
                    <a16:creationId xmlns:a16="http://schemas.microsoft.com/office/drawing/2014/main" id="{863E54C2-0AB6-ED87-0E4A-FDDC2A2E09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22085" y="6775803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16" name="Freeform 149">
                <a:extLst>
                  <a:ext uri="{FF2B5EF4-FFF2-40B4-BE49-F238E27FC236}">
                    <a16:creationId xmlns:a16="http://schemas.microsoft.com/office/drawing/2014/main" id="{747F16CB-D693-956F-9192-EA6C5BAD22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78386" y="5465991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17" name="Freeform 150">
                <a:extLst>
                  <a:ext uri="{FF2B5EF4-FFF2-40B4-BE49-F238E27FC236}">
                    <a16:creationId xmlns:a16="http://schemas.microsoft.com/office/drawing/2014/main" id="{9487E938-E559-B2BD-AC33-676604696B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470831" y="5748499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18" name="Freeform 151">
                <a:extLst>
                  <a:ext uri="{FF2B5EF4-FFF2-40B4-BE49-F238E27FC236}">
                    <a16:creationId xmlns:a16="http://schemas.microsoft.com/office/drawing/2014/main" id="{5D48ADD5-3CF1-1917-8481-FA541161C4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78386" y="6037051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19" name="Freeform 152">
                <a:extLst>
                  <a:ext uri="{FF2B5EF4-FFF2-40B4-BE49-F238E27FC236}">
                    <a16:creationId xmlns:a16="http://schemas.microsoft.com/office/drawing/2014/main" id="{49C4027B-4164-3B4D-4C3B-FBFF8180F2B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470831" y="6319559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20" name="Freeform 153">
                <a:extLst>
                  <a:ext uri="{FF2B5EF4-FFF2-40B4-BE49-F238E27FC236}">
                    <a16:creationId xmlns:a16="http://schemas.microsoft.com/office/drawing/2014/main" id="{DABC37B6-6297-2FC2-5FFA-4405B3FB7B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78386" y="6608111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21" name="Freeform 154">
                <a:extLst>
                  <a:ext uri="{FF2B5EF4-FFF2-40B4-BE49-F238E27FC236}">
                    <a16:creationId xmlns:a16="http://schemas.microsoft.com/office/drawing/2014/main" id="{97B8EB6D-A30F-B23D-2F0A-1F620E629C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78386" y="6893641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</p:grpSp>
        <p:grpSp>
          <p:nvGrpSpPr>
            <p:cNvPr id="322" name="Group 321">
              <a:extLst>
                <a:ext uri="{FF2B5EF4-FFF2-40B4-BE49-F238E27FC236}">
                  <a16:creationId xmlns:a16="http://schemas.microsoft.com/office/drawing/2014/main" id="{AC7C84D1-2A50-66DB-ACAB-69EA87803034}"/>
                </a:ext>
              </a:extLst>
            </p:cNvPr>
            <p:cNvGrpSpPr/>
            <p:nvPr/>
          </p:nvGrpSpPr>
          <p:grpSpPr>
            <a:xfrm>
              <a:off x="5294449" y="5513701"/>
              <a:ext cx="1941807" cy="1394352"/>
              <a:chOff x="5046015" y="3147135"/>
              <a:chExt cx="1942818" cy="1395078"/>
            </a:xfrm>
          </p:grpSpPr>
          <p:sp>
            <p:nvSpPr>
              <p:cNvPr id="323" name="Line 8">
                <a:extLst>
                  <a:ext uri="{FF2B5EF4-FFF2-40B4-BE49-F238E27FC236}">
                    <a16:creationId xmlns:a16="http://schemas.microsoft.com/office/drawing/2014/main" id="{2A6987F5-47B2-F04B-1A34-EF13CA81C94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87777" y="3269798"/>
                <a:ext cx="0" cy="0"/>
              </a:xfrm>
              <a:prstGeom prst="lin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24" name="Line 9">
                <a:extLst>
                  <a:ext uri="{FF2B5EF4-FFF2-40B4-BE49-F238E27FC236}">
                    <a16:creationId xmlns:a16="http://schemas.microsoft.com/office/drawing/2014/main" id="{D6AF30CF-5A18-F6AE-1F9D-BDFCCFB9E55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87777" y="3269798"/>
                <a:ext cx="0" cy="0"/>
              </a:xfrm>
              <a:prstGeom prst="lin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25" name="Freeform 10">
                <a:extLst>
                  <a:ext uri="{FF2B5EF4-FFF2-40B4-BE49-F238E27FC236}">
                    <a16:creationId xmlns:a16="http://schemas.microsoft.com/office/drawing/2014/main" id="{BF405951-EFC6-BA6B-EDD7-F5E4757F62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3110" y="3670571"/>
                <a:ext cx="37308" cy="58788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8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7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7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8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7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7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26" name="Freeform 11">
                <a:extLst>
                  <a:ext uri="{FF2B5EF4-FFF2-40B4-BE49-F238E27FC236}">
                    <a16:creationId xmlns:a16="http://schemas.microsoft.com/office/drawing/2014/main" id="{7ADC4374-4527-6DC7-8F70-1FFEFAA5BEF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10284" y="3770623"/>
                <a:ext cx="45221" cy="61614"/>
              </a:xfrm>
              <a:custGeom>
                <a:avLst/>
                <a:gdLst>
                  <a:gd name="T0" fmla="*/ 32 w 34"/>
                  <a:gd name="T1" fmla="*/ 8 h 46"/>
                  <a:gd name="T2" fmla="*/ 34 w 34"/>
                  <a:gd name="T3" fmla="*/ 23 h 46"/>
                  <a:gd name="T4" fmla="*/ 31 w 34"/>
                  <a:gd name="T5" fmla="*/ 39 h 46"/>
                  <a:gd name="T6" fmla="*/ 17 w 34"/>
                  <a:gd name="T7" fmla="*/ 46 h 46"/>
                  <a:gd name="T8" fmla="*/ 3 w 34"/>
                  <a:gd name="T9" fmla="*/ 37 h 46"/>
                  <a:gd name="T10" fmla="*/ 0 w 34"/>
                  <a:gd name="T11" fmla="*/ 23 h 46"/>
                  <a:gd name="T12" fmla="*/ 17 w 34"/>
                  <a:gd name="T13" fmla="*/ 0 h 46"/>
                  <a:gd name="T14" fmla="*/ 32 w 34"/>
                  <a:gd name="T15" fmla="*/ 8 h 46"/>
                  <a:gd name="T16" fmla="*/ 10 w 34"/>
                  <a:gd name="T17" fmla="*/ 23 h 46"/>
                  <a:gd name="T18" fmla="*/ 17 w 34"/>
                  <a:gd name="T19" fmla="*/ 38 h 46"/>
                  <a:gd name="T20" fmla="*/ 25 w 34"/>
                  <a:gd name="T21" fmla="*/ 23 h 46"/>
                  <a:gd name="T22" fmla="*/ 17 w 34"/>
                  <a:gd name="T23" fmla="*/ 8 h 46"/>
                  <a:gd name="T24" fmla="*/ 10 w 34"/>
                  <a:gd name="T25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46">
                    <a:moveTo>
                      <a:pt x="32" y="8"/>
                    </a:moveTo>
                    <a:cubicBezTo>
                      <a:pt x="34" y="12"/>
                      <a:pt x="34" y="16"/>
                      <a:pt x="34" y="23"/>
                    </a:cubicBezTo>
                    <a:cubicBezTo>
                      <a:pt x="34" y="31"/>
                      <a:pt x="33" y="36"/>
                      <a:pt x="31" y="39"/>
                    </a:cubicBezTo>
                    <a:cubicBezTo>
                      <a:pt x="28" y="43"/>
                      <a:pt x="23" y="46"/>
                      <a:pt x="17" y="46"/>
                    </a:cubicBezTo>
                    <a:cubicBezTo>
                      <a:pt x="11" y="46"/>
                      <a:pt x="6" y="43"/>
                      <a:pt x="3" y="37"/>
                    </a:cubicBezTo>
                    <a:cubicBezTo>
                      <a:pt x="1" y="34"/>
                      <a:pt x="0" y="29"/>
                      <a:pt x="0" y="23"/>
                    </a:cubicBezTo>
                    <a:cubicBezTo>
                      <a:pt x="0" y="8"/>
                      <a:pt x="6" y="0"/>
                      <a:pt x="17" y="0"/>
                    </a:cubicBezTo>
                    <a:cubicBezTo>
                      <a:pt x="24" y="0"/>
                      <a:pt x="29" y="3"/>
                      <a:pt x="32" y="8"/>
                    </a:cubicBezTo>
                    <a:close/>
                    <a:moveTo>
                      <a:pt x="10" y="23"/>
                    </a:moveTo>
                    <a:cubicBezTo>
                      <a:pt x="10" y="33"/>
                      <a:pt x="12" y="38"/>
                      <a:pt x="17" y="38"/>
                    </a:cubicBezTo>
                    <a:cubicBezTo>
                      <a:pt x="22" y="38"/>
                      <a:pt x="25" y="33"/>
                      <a:pt x="25" y="23"/>
                    </a:cubicBezTo>
                    <a:cubicBezTo>
                      <a:pt x="25" y="13"/>
                      <a:pt x="22" y="8"/>
                      <a:pt x="17" y="8"/>
                    </a:cubicBezTo>
                    <a:cubicBezTo>
                      <a:pt x="12" y="8"/>
                      <a:pt x="10" y="13"/>
                      <a:pt x="10" y="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27" name="Freeform 12">
                <a:extLst>
                  <a:ext uri="{FF2B5EF4-FFF2-40B4-BE49-F238E27FC236}">
                    <a16:creationId xmlns:a16="http://schemas.microsoft.com/office/drawing/2014/main" id="{F9BF4DA0-84A7-DCA4-28B9-5985B75C9B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3110" y="3873502"/>
                <a:ext cx="37308" cy="58788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6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7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7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6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7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7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28" name="Freeform 13">
                <a:extLst>
                  <a:ext uri="{FF2B5EF4-FFF2-40B4-BE49-F238E27FC236}">
                    <a16:creationId xmlns:a16="http://schemas.microsoft.com/office/drawing/2014/main" id="{DE9CBEB3-B3DF-8C69-4B3B-9635B642BA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3110" y="3975250"/>
                <a:ext cx="37308" cy="58788"/>
              </a:xfrm>
              <a:custGeom>
                <a:avLst/>
                <a:gdLst>
                  <a:gd name="T0" fmla="*/ 30 w 66"/>
                  <a:gd name="T1" fmla="*/ 23 h 104"/>
                  <a:gd name="T2" fmla="*/ 9 w 66"/>
                  <a:gd name="T3" fmla="*/ 35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5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5 h 104"/>
                  <a:gd name="T22" fmla="*/ 30 w 66"/>
                  <a:gd name="T23" fmla="*/ 2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3"/>
                    </a:moveTo>
                    <a:lnTo>
                      <a:pt x="9" y="35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5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5"/>
                    </a:lnTo>
                    <a:lnTo>
                      <a:pt x="30" y="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29" name="Freeform 14">
                <a:extLst>
                  <a:ext uri="{FF2B5EF4-FFF2-40B4-BE49-F238E27FC236}">
                    <a16:creationId xmlns:a16="http://schemas.microsoft.com/office/drawing/2014/main" id="{67F78962-7F12-B21E-E27E-D6CD2C915C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3110" y="4076432"/>
                <a:ext cx="37308" cy="58788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6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5 h 104"/>
                  <a:gd name="T12" fmla="*/ 66 w 66"/>
                  <a:gd name="T13" fmla="*/ 88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8 h 104"/>
                  <a:gd name="T20" fmla="*/ 30 w 66"/>
                  <a:gd name="T21" fmla="*/ 85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6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5"/>
                    </a:lnTo>
                    <a:lnTo>
                      <a:pt x="66" y="88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8"/>
                    </a:lnTo>
                    <a:lnTo>
                      <a:pt x="30" y="85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30" name="Freeform 15">
                <a:extLst>
                  <a:ext uri="{FF2B5EF4-FFF2-40B4-BE49-F238E27FC236}">
                    <a16:creationId xmlns:a16="http://schemas.microsoft.com/office/drawing/2014/main" id="{B9BFFE28-B974-9C43-5720-46BA3F0C92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3110" y="4178180"/>
                <a:ext cx="37308" cy="57092"/>
              </a:xfrm>
              <a:custGeom>
                <a:avLst/>
                <a:gdLst>
                  <a:gd name="T0" fmla="*/ 30 w 66"/>
                  <a:gd name="T1" fmla="*/ 23 h 101"/>
                  <a:gd name="T2" fmla="*/ 9 w 66"/>
                  <a:gd name="T3" fmla="*/ 35 h 101"/>
                  <a:gd name="T4" fmla="*/ 0 w 66"/>
                  <a:gd name="T5" fmla="*/ 19 h 101"/>
                  <a:gd name="T6" fmla="*/ 33 w 66"/>
                  <a:gd name="T7" fmla="*/ 0 h 101"/>
                  <a:gd name="T8" fmla="*/ 52 w 66"/>
                  <a:gd name="T9" fmla="*/ 0 h 101"/>
                  <a:gd name="T10" fmla="*/ 52 w 66"/>
                  <a:gd name="T11" fmla="*/ 85 h 101"/>
                  <a:gd name="T12" fmla="*/ 66 w 66"/>
                  <a:gd name="T13" fmla="*/ 85 h 101"/>
                  <a:gd name="T14" fmla="*/ 66 w 66"/>
                  <a:gd name="T15" fmla="*/ 101 h 101"/>
                  <a:gd name="T16" fmla="*/ 16 w 66"/>
                  <a:gd name="T17" fmla="*/ 101 h 101"/>
                  <a:gd name="T18" fmla="*/ 16 w 66"/>
                  <a:gd name="T19" fmla="*/ 85 h 101"/>
                  <a:gd name="T20" fmla="*/ 30 w 66"/>
                  <a:gd name="T21" fmla="*/ 85 h 101"/>
                  <a:gd name="T22" fmla="*/ 30 w 66"/>
                  <a:gd name="T23" fmla="*/ 23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1">
                    <a:moveTo>
                      <a:pt x="30" y="23"/>
                    </a:moveTo>
                    <a:lnTo>
                      <a:pt x="9" y="35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5"/>
                    </a:lnTo>
                    <a:lnTo>
                      <a:pt x="66" y="85"/>
                    </a:lnTo>
                    <a:lnTo>
                      <a:pt x="66" y="101"/>
                    </a:lnTo>
                    <a:lnTo>
                      <a:pt x="16" y="101"/>
                    </a:lnTo>
                    <a:lnTo>
                      <a:pt x="16" y="85"/>
                    </a:lnTo>
                    <a:lnTo>
                      <a:pt x="30" y="85"/>
                    </a:lnTo>
                    <a:lnTo>
                      <a:pt x="30" y="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31" name="Freeform 16">
                <a:extLst>
                  <a:ext uri="{FF2B5EF4-FFF2-40B4-BE49-F238E27FC236}">
                    <a16:creationId xmlns:a16="http://schemas.microsoft.com/office/drawing/2014/main" id="{7EC6E9E6-A1CE-A548-21F8-C961C759265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10284" y="4379414"/>
                <a:ext cx="45221" cy="60484"/>
              </a:xfrm>
              <a:custGeom>
                <a:avLst/>
                <a:gdLst>
                  <a:gd name="T0" fmla="*/ 32 w 34"/>
                  <a:gd name="T1" fmla="*/ 8 h 45"/>
                  <a:gd name="T2" fmla="*/ 34 w 34"/>
                  <a:gd name="T3" fmla="*/ 22 h 45"/>
                  <a:gd name="T4" fmla="*/ 31 w 34"/>
                  <a:gd name="T5" fmla="*/ 39 h 45"/>
                  <a:gd name="T6" fmla="*/ 17 w 34"/>
                  <a:gd name="T7" fmla="*/ 45 h 45"/>
                  <a:gd name="T8" fmla="*/ 3 w 34"/>
                  <a:gd name="T9" fmla="*/ 37 h 45"/>
                  <a:gd name="T10" fmla="*/ 0 w 34"/>
                  <a:gd name="T11" fmla="*/ 22 h 45"/>
                  <a:gd name="T12" fmla="*/ 17 w 34"/>
                  <a:gd name="T13" fmla="*/ 0 h 45"/>
                  <a:gd name="T14" fmla="*/ 32 w 34"/>
                  <a:gd name="T15" fmla="*/ 8 h 45"/>
                  <a:gd name="T16" fmla="*/ 10 w 34"/>
                  <a:gd name="T17" fmla="*/ 22 h 45"/>
                  <a:gd name="T18" fmla="*/ 17 w 34"/>
                  <a:gd name="T19" fmla="*/ 37 h 45"/>
                  <a:gd name="T20" fmla="*/ 25 w 34"/>
                  <a:gd name="T21" fmla="*/ 22 h 45"/>
                  <a:gd name="T22" fmla="*/ 17 w 34"/>
                  <a:gd name="T23" fmla="*/ 7 h 45"/>
                  <a:gd name="T24" fmla="*/ 10 w 34"/>
                  <a:gd name="T25" fmla="*/ 2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45">
                    <a:moveTo>
                      <a:pt x="32" y="8"/>
                    </a:moveTo>
                    <a:cubicBezTo>
                      <a:pt x="34" y="11"/>
                      <a:pt x="34" y="16"/>
                      <a:pt x="34" y="22"/>
                    </a:cubicBezTo>
                    <a:cubicBezTo>
                      <a:pt x="34" y="30"/>
                      <a:pt x="33" y="35"/>
                      <a:pt x="31" y="39"/>
                    </a:cubicBezTo>
                    <a:cubicBezTo>
                      <a:pt x="28" y="43"/>
                      <a:pt x="23" y="45"/>
                      <a:pt x="17" y="45"/>
                    </a:cubicBezTo>
                    <a:cubicBezTo>
                      <a:pt x="11" y="45"/>
                      <a:pt x="6" y="42"/>
                      <a:pt x="3" y="37"/>
                    </a:cubicBezTo>
                    <a:cubicBezTo>
                      <a:pt x="1" y="33"/>
                      <a:pt x="0" y="29"/>
                      <a:pt x="0" y="22"/>
                    </a:cubicBezTo>
                    <a:cubicBezTo>
                      <a:pt x="0" y="7"/>
                      <a:pt x="6" y="0"/>
                      <a:pt x="17" y="0"/>
                    </a:cubicBezTo>
                    <a:cubicBezTo>
                      <a:pt x="24" y="0"/>
                      <a:pt x="29" y="2"/>
                      <a:pt x="32" y="8"/>
                    </a:cubicBezTo>
                    <a:close/>
                    <a:moveTo>
                      <a:pt x="10" y="22"/>
                    </a:moveTo>
                    <a:cubicBezTo>
                      <a:pt x="10" y="33"/>
                      <a:pt x="12" y="37"/>
                      <a:pt x="17" y="37"/>
                    </a:cubicBezTo>
                    <a:cubicBezTo>
                      <a:pt x="22" y="37"/>
                      <a:pt x="25" y="33"/>
                      <a:pt x="25" y="22"/>
                    </a:cubicBezTo>
                    <a:cubicBezTo>
                      <a:pt x="25" y="12"/>
                      <a:pt x="22" y="7"/>
                      <a:pt x="17" y="7"/>
                    </a:cubicBezTo>
                    <a:cubicBezTo>
                      <a:pt x="12" y="7"/>
                      <a:pt x="10" y="12"/>
                      <a:pt x="10" y="2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32" name="Freeform 17">
                <a:extLst>
                  <a:ext uri="{FF2B5EF4-FFF2-40B4-BE49-F238E27FC236}">
                    <a16:creationId xmlns:a16="http://schemas.microsoft.com/office/drawing/2014/main" id="{6F849D70-D8A3-4B9A-DFE5-F67CCF0043B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10284" y="4481162"/>
                <a:ext cx="45221" cy="59918"/>
              </a:xfrm>
              <a:custGeom>
                <a:avLst/>
                <a:gdLst>
                  <a:gd name="T0" fmla="*/ 32 w 34"/>
                  <a:gd name="T1" fmla="*/ 8 h 45"/>
                  <a:gd name="T2" fmla="*/ 34 w 34"/>
                  <a:gd name="T3" fmla="*/ 22 h 45"/>
                  <a:gd name="T4" fmla="*/ 31 w 34"/>
                  <a:gd name="T5" fmla="*/ 39 h 45"/>
                  <a:gd name="T6" fmla="*/ 17 w 34"/>
                  <a:gd name="T7" fmla="*/ 45 h 45"/>
                  <a:gd name="T8" fmla="*/ 3 w 34"/>
                  <a:gd name="T9" fmla="*/ 37 h 45"/>
                  <a:gd name="T10" fmla="*/ 0 w 34"/>
                  <a:gd name="T11" fmla="*/ 22 h 45"/>
                  <a:gd name="T12" fmla="*/ 17 w 34"/>
                  <a:gd name="T13" fmla="*/ 0 h 45"/>
                  <a:gd name="T14" fmla="*/ 32 w 34"/>
                  <a:gd name="T15" fmla="*/ 8 h 45"/>
                  <a:gd name="T16" fmla="*/ 10 w 34"/>
                  <a:gd name="T17" fmla="*/ 22 h 45"/>
                  <a:gd name="T18" fmla="*/ 17 w 34"/>
                  <a:gd name="T19" fmla="*/ 37 h 45"/>
                  <a:gd name="T20" fmla="*/ 25 w 34"/>
                  <a:gd name="T21" fmla="*/ 22 h 45"/>
                  <a:gd name="T22" fmla="*/ 17 w 34"/>
                  <a:gd name="T23" fmla="*/ 7 h 45"/>
                  <a:gd name="T24" fmla="*/ 10 w 34"/>
                  <a:gd name="T25" fmla="*/ 2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45">
                    <a:moveTo>
                      <a:pt x="32" y="8"/>
                    </a:moveTo>
                    <a:cubicBezTo>
                      <a:pt x="34" y="11"/>
                      <a:pt x="34" y="16"/>
                      <a:pt x="34" y="22"/>
                    </a:cubicBezTo>
                    <a:cubicBezTo>
                      <a:pt x="34" y="30"/>
                      <a:pt x="33" y="35"/>
                      <a:pt x="31" y="39"/>
                    </a:cubicBezTo>
                    <a:cubicBezTo>
                      <a:pt x="28" y="43"/>
                      <a:pt x="23" y="45"/>
                      <a:pt x="17" y="45"/>
                    </a:cubicBezTo>
                    <a:cubicBezTo>
                      <a:pt x="11" y="45"/>
                      <a:pt x="6" y="42"/>
                      <a:pt x="3" y="37"/>
                    </a:cubicBezTo>
                    <a:cubicBezTo>
                      <a:pt x="1" y="33"/>
                      <a:pt x="0" y="29"/>
                      <a:pt x="0" y="22"/>
                    </a:cubicBezTo>
                    <a:cubicBezTo>
                      <a:pt x="0" y="7"/>
                      <a:pt x="6" y="0"/>
                      <a:pt x="17" y="0"/>
                    </a:cubicBezTo>
                    <a:cubicBezTo>
                      <a:pt x="24" y="0"/>
                      <a:pt x="29" y="2"/>
                      <a:pt x="32" y="8"/>
                    </a:cubicBezTo>
                    <a:close/>
                    <a:moveTo>
                      <a:pt x="10" y="22"/>
                    </a:moveTo>
                    <a:cubicBezTo>
                      <a:pt x="10" y="33"/>
                      <a:pt x="12" y="37"/>
                      <a:pt x="17" y="37"/>
                    </a:cubicBezTo>
                    <a:cubicBezTo>
                      <a:pt x="22" y="37"/>
                      <a:pt x="25" y="33"/>
                      <a:pt x="25" y="22"/>
                    </a:cubicBezTo>
                    <a:cubicBezTo>
                      <a:pt x="25" y="12"/>
                      <a:pt x="22" y="7"/>
                      <a:pt x="17" y="7"/>
                    </a:cubicBezTo>
                    <a:cubicBezTo>
                      <a:pt x="12" y="7"/>
                      <a:pt x="10" y="12"/>
                      <a:pt x="10" y="2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33" name="Freeform 23">
                <a:extLst>
                  <a:ext uri="{FF2B5EF4-FFF2-40B4-BE49-F238E27FC236}">
                    <a16:creationId xmlns:a16="http://schemas.microsoft.com/office/drawing/2014/main" id="{716BF870-FC84-606A-6DA8-FAF78058AB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7405" y="3400940"/>
                <a:ext cx="28263" cy="42395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8 h 32"/>
                  <a:gd name="T14" fmla="*/ 16 w 21"/>
                  <a:gd name="T15" fmla="*/ 16 h 32"/>
                  <a:gd name="T16" fmla="*/ 11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1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1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34" name="Freeform 24">
                <a:extLst>
                  <a:ext uri="{FF2B5EF4-FFF2-40B4-BE49-F238E27FC236}">
                    <a16:creationId xmlns:a16="http://schemas.microsoft.com/office/drawing/2014/main" id="{60BC1133-A1B9-413C-1DF1-962703D74D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7405" y="3472728"/>
                <a:ext cx="28263" cy="41830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5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35" name="Freeform 25">
                <a:extLst>
                  <a:ext uri="{FF2B5EF4-FFF2-40B4-BE49-F238E27FC236}">
                    <a16:creationId xmlns:a16="http://schemas.microsoft.com/office/drawing/2014/main" id="{CAD1B40B-D7A5-C0A3-F2AF-1B9AE1C61F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8536" y="3615741"/>
                <a:ext cx="24306" cy="4126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2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2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36" name="Freeform 26">
                <a:extLst>
                  <a:ext uri="{FF2B5EF4-FFF2-40B4-BE49-F238E27FC236}">
                    <a16:creationId xmlns:a16="http://schemas.microsoft.com/office/drawing/2014/main" id="{4EB52AE5-DEB4-239F-EE2B-D5FEBEB400D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7405" y="3686399"/>
                <a:ext cx="28263" cy="41830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6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37" name="Freeform 27">
                <a:extLst>
                  <a:ext uri="{FF2B5EF4-FFF2-40B4-BE49-F238E27FC236}">
                    <a16:creationId xmlns:a16="http://schemas.microsoft.com/office/drawing/2014/main" id="{9F80BC62-5F28-F6B3-05DF-558D588300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7405" y="3757622"/>
                <a:ext cx="28263" cy="42395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7 h 32"/>
                  <a:gd name="T14" fmla="*/ 16 w 21"/>
                  <a:gd name="T15" fmla="*/ 16 h 32"/>
                  <a:gd name="T16" fmla="*/ 11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1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38" name="Freeform 28">
                <a:extLst>
                  <a:ext uri="{FF2B5EF4-FFF2-40B4-BE49-F238E27FC236}">
                    <a16:creationId xmlns:a16="http://schemas.microsoft.com/office/drawing/2014/main" id="{CB11C25E-1342-7CBB-2FE7-EB6E1893F0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8536" y="3900069"/>
                <a:ext cx="24306" cy="41830"/>
              </a:xfrm>
              <a:custGeom>
                <a:avLst/>
                <a:gdLst>
                  <a:gd name="T0" fmla="*/ 19 w 43"/>
                  <a:gd name="T1" fmla="*/ 14 h 74"/>
                  <a:gd name="T2" fmla="*/ 5 w 43"/>
                  <a:gd name="T3" fmla="*/ 24 h 74"/>
                  <a:gd name="T4" fmla="*/ 0 w 43"/>
                  <a:gd name="T5" fmla="*/ 14 h 74"/>
                  <a:gd name="T6" fmla="*/ 22 w 43"/>
                  <a:gd name="T7" fmla="*/ 0 h 74"/>
                  <a:gd name="T8" fmla="*/ 34 w 43"/>
                  <a:gd name="T9" fmla="*/ 0 h 74"/>
                  <a:gd name="T10" fmla="*/ 34 w 43"/>
                  <a:gd name="T11" fmla="*/ 64 h 74"/>
                  <a:gd name="T12" fmla="*/ 43 w 43"/>
                  <a:gd name="T13" fmla="*/ 64 h 74"/>
                  <a:gd name="T14" fmla="*/ 43 w 43"/>
                  <a:gd name="T15" fmla="*/ 74 h 74"/>
                  <a:gd name="T16" fmla="*/ 10 w 43"/>
                  <a:gd name="T17" fmla="*/ 74 h 74"/>
                  <a:gd name="T18" fmla="*/ 10 w 43"/>
                  <a:gd name="T19" fmla="*/ 64 h 74"/>
                  <a:gd name="T20" fmla="*/ 19 w 43"/>
                  <a:gd name="T21" fmla="*/ 64 h 74"/>
                  <a:gd name="T22" fmla="*/ 19 w 43"/>
                  <a:gd name="T23" fmla="*/ 1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4">
                    <a:moveTo>
                      <a:pt x="19" y="14"/>
                    </a:moveTo>
                    <a:lnTo>
                      <a:pt x="5" y="24"/>
                    </a:lnTo>
                    <a:lnTo>
                      <a:pt x="0" y="14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4"/>
                    </a:lnTo>
                    <a:lnTo>
                      <a:pt x="10" y="74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39" name="Freeform 29">
                <a:extLst>
                  <a:ext uri="{FF2B5EF4-FFF2-40B4-BE49-F238E27FC236}">
                    <a16:creationId xmlns:a16="http://schemas.microsoft.com/office/drawing/2014/main" id="{463BD6DD-BC0F-D27F-CCE3-DFC6A93909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7405" y="3971293"/>
                <a:ext cx="28263" cy="42395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8 h 32"/>
                  <a:gd name="T14" fmla="*/ 16 w 21"/>
                  <a:gd name="T15" fmla="*/ 16 h 32"/>
                  <a:gd name="T16" fmla="*/ 11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1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1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40" name="Freeform 30">
                <a:extLst>
                  <a:ext uri="{FF2B5EF4-FFF2-40B4-BE49-F238E27FC236}">
                    <a16:creationId xmlns:a16="http://schemas.microsoft.com/office/drawing/2014/main" id="{8E00AF7A-D753-DE4A-F134-B6D2AB647C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8536" y="4043082"/>
                <a:ext cx="24306" cy="4126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4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4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41" name="Freeform 31">
                <a:extLst>
                  <a:ext uri="{FF2B5EF4-FFF2-40B4-BE49-F238E27FC236}">
                    <a16:creationId xmlns:a16="http://schemas.microsoft.com/office/drawing/2014/main" id="{72CD0F3C-B87C-B0A3-194B-AD49B9A365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7405" y="4113739"/>
                <a:ext cx="28263" cy="42960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7 h 32"/>
                  <a:gd name="T14" fmla="*/ 16 w 21"/>
                  <a:gd name="T15" fmla="*/ 16 h 32"/>
                  <a:gd name="T16" fmla="*/ 11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1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42" name="Freeform 32">
                <a:extLst>
                  <a:ext uri="{FF2B5EF4-FFF2-40B4-BE49-F238E27FC236}">
                    <a16:creationId xmlns:a16="http://schemas.microsoft.com/office/drawing/2014/main" id="{3B149C8C-E2F5-784A-0FF7-90B48E413A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8536" y="4186094"/>
                <a:ext cx="24306" cy="40134"/>
              </a:xfrm>
              <a:custGeom>
                <a:avLst/>
                <a:gdLst>
                  <a:gd name="T0" fmla="*/ 19 w 43"/>
                  <a:gd name="T1" fmla="*/ 12 h 71"/>
                  <a:gd name="T2" fmla="*/ 5 w 43"/>
                  <a:gd name="T3" fmla="*/ 21 h 71"/>
                  <a:gd name="T4" fmla="*/ 0 w 43"/>
                  <a:gd name="T5" fmla="*/ 12 h 71"/>
                  <a:gd name="T6" fmla="*/ 22 w 43"/>
                  <a:gd name="T7" fmla="*/ 0 h 71"/>
                  <a:gd name="T8" fmla="*/ 34 w 43"/>
                  <a:gd name="T9" fmla="*/ 0 h 71"/>
                  <a:gd name="T10" fmla="*/ 34 w 43"/>
                  <a:gd name="T11" fmla="*/ 64 h 71"/>
                  <a:gd name="T12" fmla="*/ 43 w 43"/>
                  <a:gd name="T13" fmla="*/ 64 h 71"/>
                  <a:gd name="T14" fmla="*/ 43 w 43"/>
                  <a:gd name="T15" fmla="*/ 71 h 71"/>
                  <a:gd name="T16" fmla="*/ 10 w 43"/>
                  <a:gd name="T17" fmla="*/ 71 h 71"/>
                  <a:gd name="T18" fmla="*/ 10 w 43"/>
                  <a:gd name="T19" fmla="*/ 64 h 71"/>
                  <a:gd name="T20" fmla="*/ 19 w 43"/>
                  <a:gd name="T21" fmla="*/ 64 h 71"/>
                  <a:gd name="T22" fmla="*/ 19 w 43"/>
                  <a:gd name="T23" fmla="*/ 1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1">
                    <a:moveTo>
                      <a:pt x="19" y="12"/>
                    </a:moveTo>
                    <a:lnTo>
                      <a:pt x="5" y="21"/>
                    </a:lnTo>
                    <a:lnTo>
                      <a:pt x="0" y="12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1"/>
                    </a:lnTo>
                    <a:lnTo>
                      <a:pt x="10" y="71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43" name="Freeform 33">
                <a:extLst>
                  <a:ext uri="{FF2B5EF4-FFF2-40B4-BE49-F238E27FC236}">
                    <a16:creationId xmlns:a16="http://schemas.microsoft.com/office/drawing/2014/main" id="{4F8D52E2-C86A-E985-FDE5-B40C57E8A2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8536" y="4256752"/>
                <a:ext cx="24306" cy="4126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4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4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44" name="Freeform 34">
                <a:extLst>
                  <a:ext uri="{FF2B5EF4-FFF2-40B4-BE49-F238E27FC236}">
                    <a16:creationId xmlns:a16="http://schemas.microsoft.com/office/drawing/2014/main" id="{E60E7C09-6CB5-84EA-C4A1-D68E5F6DE9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8536" y="4327410"/>
                <a:ext cx="24306" cy="4126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4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4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45" name="Freeform 43">
                <a:extLst>
                  <a:ext uri="{FF2B5EF4-FFF2-40B4-BE49-F238E27FC236}">
                    <a16:creationId xmlns:a16="http://schemas.microsoft.com/office/drawing/2014/main" id="{E9C06FD5-E492-C2C9-C681-8C79F5C0D7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2050" y="3475555"/>
                <a:ext cx="23741" cy="3504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5" y="0"/>
                      <a:pt x="18" y="5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46" name="Freeform 44">
                <a:extLst>
                  <a:ext uri="{FF2B5EF4-FFF2-40B4-BE49-F238E27FC236}">
                    <a16:creationId xmlns:a16="http://schemas.microsoft.com/office/drawing/2014/main" id="{6E15BDA8-FE69-E435-4FC1-003A00D819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2050" y="3533212"/>
                <a:ext cx="23741" cy="34481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1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47" name="Freeform 45">
                <a:extLst>
                  <a:ext uri="{FF2B5EF4-FFF2-40B4-BE49-F238E27FC236}">
                    <a16:creationId xmlns:a16="http://schemas.microsoft.com/office/drawing/2014/main" id="{E33ED3C5-D471-B0DC-CE9B-76403F2BB7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3181" y="3647960"/>
                <a:ext cx="18654" cy="33351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49 h 59"/>
                  <a:gd name="T20" fmla="*/ 17 w 33"/>
                  <a:gd name="T21" fmla="*/ 49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48" name="Freeform 46">
                <a:extLst>
                  <a:ext uri="{FF2B5EF4-FFF2-40B4-BE49-F238E27FC236}">
                    <a16:creationId xmlns:a16="http://schemas.microsoft.com/office/drawing/2014/main" id="{220A23BD-8CC7-59F1-6A0C-E0DD758E07B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2050" y="3703922"/>
                <a:ext cx="23741" cy="34481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49" name="Freeform 47">
                <a:extLst>
                  <a:ext uri="{FF2B5EF4-FFF2-40B4-BE49-F238E27FC236}">
                    <a16:creationId xmlns:a16="http://schemas.microsoft.com/office/drawing/2014/main" id="{C8C3CB9E-3186-8266-FE7D-FEBA5CBA2C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2050" y="3761579"/>
                <a:ext cx="23741" cy="33351"/>
              </a:xfrm>
              <a:custGeom>
                <a:avLst/>
                <a:gdLst>
                  <a:gd name="T0" fmla="*/ 18 w 18"/>
                  <a:gd name="T1" fmla="*/ 13 h 25"/>
                  <a:gd name="T2" fmla="*/ 9 w 18"/>
                  <a:gd name="T3" fmla="*/ 25 h 25"/>
                  <a:gd name="T4" fmla="*/ 0 w 18"/>
                  <a:gd name="T5" fmla="*/ 12 h 25"/>
                  <a:gd name="T6" fmla="*/ 9 w 18"/>
                  <a:gd name="T7" fmla="*/ 0 h 25"/>
                  <a:gd name="T8" fmla="*/ 18 w 18"/>
                  <a:gd name="T9" fmla="*/ 13 h 25"/>
                  <a:gd name="T10" fmla="*/ 5 w 18"/>
                  <a:gd name="T11" fmla="*/ 12 h 25"/>
                  <a:gd name="T12" fmla="*/ 9 w 18"/>
                  <a:gd name="T13" fmla="*/ 22 h 25"/>
                  <a:gd name="T14" fmla="*/ 13 w 18"/>
                  <a:gd name="T15" fmla="*/ 13 h 25"/>
                  <a:gd name="T16" fmla="*/ 9 w 18"/>
                  <a:gd name="T17" fmla="*/ 3 h 25"/>
                  <a:gd name="T18" fmla="*/ 5 w 18"/>
                  <a:gd name="T1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5">
                    <a:moveTo>
                      <a:pt x="18" y="13"/>
                    </a:moveTo>
                    <a:cubicBezTo>
                      <a:pt x="18" y="21"/>
                      <a:pt x="15" y="25"/>
                      <a:pt x="9" y="25"/>
                    </a:cubicBezTo>
                    <a:cubicBezTo>
                      <a:pt x="3" y="25"/>
                      <a:pt x="0" y="21"/>
                      <a:pt x="0" y="12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2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6"/>
                      <a:pt x="12" y="3"/>
                      <a:pt x="9" y="3"/>
                    </a:cubicBezTo>
                    <a:cubicBezTo>
                      <a:pt x="6" y="3"/>
                      <a:pt x="5" y="6"/>
                      <a:pt x="5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50" name="Freeform 48">
                <a:extLst>
                  <a:ext uri="{FF2B5EF4-FFF2-40B4-BE49-F238E27FC236}">
                    <a16:creationId xmlns:a16="http://schemas.microsoft.com/office/drawing/2014/main" id="{0C0F3E27-2B98-CCF8-39DF-015A0ACEB1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3181" y="3876328"/>
                <a:ext cx="18654" cy="31655"/>
              </a:xfrm>
              <a:custGeom>
                <a:avLst/>
                <a:gdLst>
                  <a:gd name="T0" fmla="*/ 17 w 33"/>
                  <a:gd name="T1" fmla="*/ 9 h 56"/>
                  <a:gd name="T2" fmla="*/ 5 w 33"/>
                  <a:gd name="T3" fmla="*/ 16 h 56"/>
                  <a:gd name="T4" fmla="*/ 0 w 33"/>
                  <a:gd name="T5" fmla="*/ 9 h 56"/>
                  <a:gd name="T6" fmla="*/ 19 w 33"/>
                  <a:gd name="T7" fmla="*/ 0 h 56"/>
                  <a:gd name="T8" fmla="*/ 26 w 33"/>
                  <a:gd name="T9" fmla="*/ 0 h 56"/>
                  <a:gd name="T10" fmla="*/ 26 w 33"/>
                  <a:gd name="T11" fmla="*/ 49 h 56"/>
                  <a:gd name="T12" fmla="*/ 33 w 33"/>
                  <a:gd name="T13" fmla="*/ 49 h 56"/>
                  <a:gd name="T14" fmla="*/ 33 w 33"/>
                  <a:gd name="T15" fmla="*/ 56 h 56"/>
                  <a:gd name="T16" fmla="*/ 10 w 33"/>
                  <a:gd name="T17" fmla="*/ 56 h 56"/>
                  <a:gd name="T18" fmla="*/ 10 w 33"/>
                  <a:gd name="T19" fmla="*/ 49 h 56"/>
                  <a:gd name="T20" fmla="*/ 17 w 33"/>
                  <a:gd name="T21" fmla="*/ 49 h 56"/>
                  <a:gd name="T22" fmla="*/ 17 w 33"/>
                  <a:gd name="T23" fmla="*/ 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6">
                    <a:moveTo>
                      <a:pt x="17" y="9"/>
                    </a:moveTo>
                    <a:lnTo>
                      <a:pt x="5" y="16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6"/>
                    </a:lnTo>
                    <a:lnTo>
                      <a:pt x="10" y="56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51" name="Freeform 49">
                <a:extLst>
                  <a:ext uri="{FF2B5EF4-FFF2-40B4-BE49-F238E27FC236}">
                    <a16:creationId xmlns:a16="http://schemas.microsoft.com/office/drawing/2014/main" id="{236033F7-29EF-B45D-DD50-16D69984D0B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2050" y="3932289"/>
                <a:ext cx="23741" cy="33351"/>
              </a:xfrm>
              <a:custGeom>
                <a:avLst/>
                <a:gdLst>
                  <a:gd name="T0" fmla="*/ 18 w 18"/>
                  <a:gd name="T1" fmla="*/ 13 h 25"/>
                  <a:gd name="T2" fmla="*/ 9 w 18"/>
                  <a:gd name="T3" fmla="*/ 25 h 25"/>
                  <a:gd name="T4" fmla="*/ 0 w 18"/>
                  <a:gd name="T5" fmla="*/ 13 h 25"/>
                  <a:gd name="T6" fmla="*/ 9 w 18"/>
                  <a:gd name="T7" fmla="*/ 0 h 25"/>
                  <a:gd name="T8" fmla="*/ 18 w 18"/>
                  <a:gd name="T9" fmla="*/ 13 h 25"/>
                  <a:gd name="T10" fmla="*/ 5 w 18"/>
                  <a:gd name="T11" fmla="*/ 13 h 25"/>
                  <a:gd name="T12" fmla="*/ 9 w 18"/>
                  <a:gd name="T13" fmla="*/ 22 h 25"/>
                  <a:gd name="T14" fmla="*/ 13 w 18"/>
                  <a:gd name="T15" fmla="*/ 13 h 25"/>
                  <a:gd name="T16" fmla="*/ 9 w 18"/>
                  <a:gd name="T17" fmla="*/ 3 h 25"/>
                  <a:gd name="T18" fmla="*/ 5 w 18"/>
                  <a:gd name="T19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5">
                    <a:moveTo>
                      <a:pt x="18" y="13"/>
                    </a:moveTo>
                    <a:cubicBezTo>
                      <a:pt x="18" y="21"/>
                      <a:pt x="15" y="25"/>
                      <a:pt x="9" y="25"/>
                    </a:cubicBezTo>
                    <a:cubicBezTo>
                      <a:pt x="3" y="25"/>
                      <a:pt x="0" y="21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6"/>
                      <a:pt x="12" y="3"/>
                      <a:pt x="9" y="3"/>
                    </a:cubicBezTo>
                    <a:cubicBezTo>
                      <a:pt x="6" y="3"/>
                      <a:pt x="5" y="6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52" name="Freeform 50">
                <a:extLst>
                  <a:ext uri="{FF2B5EF4-FFF2-40B4-BE49-F238E27FC236}">
                    <a16:creationId xmlns:a16="http://schemas.microsoft.com/office/drawing/2014/main" id="{46152D50-918A-922A-FE9C-E55CA386D9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3181" y="3989946"/>
                <a:ext cx="18654" cy="33351"/>
              </a:xfrm>
              <a:custGeom>
                <a:avLst/>
                <a:gdLst>
                  <a:gd name="T0" fmla="*/ 17 w 33"/>
                  <a:gd name="T1" fmla="*/ 11 h 59"/>
                  <a:gd name="T2" fmla="*/ 5 w 33"/>
                  <a:gd name="T3" fmla="*/ 18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52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52 h 59"/>
                  <a:gd name="T20" fmla="*/ 17 w 33"/>
                  <a:gd name="T21" fmla="*/ 49 h 59"/>
                  <a:gd name="T22" fmla="*/ 17 w 33"/>
                  <a:gd name="T23" fmla="*/ 11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1"/>
                    </a:moveTo>
                    <a:lnTo>
                      <a:pt x="5" y="18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52"/>
                    </a:lnTo>
                    <a:lnTo>
                      <a:pt x="17" y="49"/>
                    </a:lnTo>
                    <a:lnTo>
                      <a:pt x="17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53" name="Freeform 51">
                <a:extLst>
                  <a:ext uri="{FF2B5EF4-FFF2-40B4-BE49-F238E27FC236}">
                    <a16:creationId xmlns:a16="http://schemas.microsoft.com/office/drawing/2014/main" id="{C46C1656-3057-0900-E91D-660EC7B7985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2050" y="4045908"/>
                <a:ext cx="23741" cy="34481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54" name="Freeform 52">
                <a:extLst>
                  <a:ext uri="{FF2B5EF4-FFF2-40B4-BE49-F238E27FC236}">
                    <a16:creationId xmlns:a16="http://schemas.microsoft.com/office/drawing/2014/main" id="{6D35BE26-1899-E528-E52F-956CE5E3C1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3181" y="4102999"/>
                <a:ext cx="18654" cy="33351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12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52 h 59"/>
                  <a:gd name="T12" fmla="*/ 33 w 33"/>
                  <a:gd name="T13" fmla="*/ 52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52 h 59"/>
                  <a:gd name="T20" fmla="*/ 17 w 33"/>
                  <a:gd name="T21" fmla="*/ 52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52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52"/>
                    </a:lnTo>
                    <a:lnTo>
                      <a:pt x="17" y="52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55" name="Freeform 53">
                <a:extLst>
                  <a:ext uri="{FF2B5EF4-FFF2-40B4-BE49-F238E27FC236}">
                    <a16:creationId xmlns:a16="http://schemas.microsoft.com/office/drawing/2014/main" id="{637FA19A-7F7E-4EBA-F571-F4B0982BC1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3181" y="4160657"/>
                <a:ext cx="18654" cy="33351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52 h 59"/>
                  <a:gd name="T12" fmla="*/ 33 w 33"/>
                  <a:gd name="T13" fmla="*/ 52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52 h 59"/>
                  <a:gd name="T20" fmla="*/ 17 w 33"/>
                  <a:gd name="T21" fmla="*/ 52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52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52"/>
                    </a:lnTo>
                    <a:lnTo>
                      <a:pt x="17" y="52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56" name="Freeform 54">
                <a:extLst>
                  <a:ext uri="{FF2B5EF4-FFF2-40B4-BE49-F238E27FC236}">
                    <a16:creationId xmlns:a16="http://schemas.microsoft.com/office/drawing/2014/main" id="{F6FBF721-CB81-6CB0-8802-7A35F9E604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3181" y="4218314"/>
                <a:ext cx="18654" cy="31655"/>
              </a:xfrm>
              <a:custGeom>
                <a:avLst/>
                <a:gdLst>
                  <a:gd name="T0" fmla="*/ 17 w 33"/>
                  <a:gd name="T1" fmla="*/ 9 h 56"/>
                  <a:gd name="T2" fmla="*/ 5 w 33"/>
                  <a:gd name="T3" fmla="*/ 16 h 56"/>
                  <a:gd name="T4" fmla="*/ 0 w 33"/>
                  <a:gd name="T5" fmla="*/ 9 h 56"/>
                  <a:gd name="T6" fmla="*/ 19 w 33"/>
                  <a:gd name="T7" fmla="*/ 0 h 56"/>
                  <a:gd name="T8" fmla="*/ 26 w 33"/>
                  <a:gd name="T9" fmla="*/ 0 h 56"/>
                  <a:gd name="T10" fmla="*/ 26 w 33"/>
                  <a:gd name="T11" fmla="*/ 49 h 56"/>
                  <a:gd name="T12" fmla="*/ 33 w 33"/>
                  <a:gd name="T13" fmla="*/ 49 h 56"/>
                  <a:gd name="T14" fmla="*/ 33 w 33"/>
                  <a:gd name="T15" fmla="*/ 56 h 56"/>
                  <a:gd name="T16" fmla="*/ 10 w 33"/>
                  <a:gd name="T17" fmla="*/ 56 h 56"/>
                  <a:gd name="T18" fmla="*/ 10 w 33"/>
                  <a:gd name="T19" fmla="*/ 49 h 56"/>
                  <a:gd name="T20" fmla="*/ 17 w 33"/>
                  <a:gd name="T21" fmla="*/ 49 h 56"/>
                  <a:gd name="T22" fmla="*/ 17 w 33"/>
                  <a:gd name="T23" fmla="*/ 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6">
                    <a:moveTo>
                      <a:pt x="17" y="9"/>
                    </a:moveTo>
                    <a:lnTo>
                      <a:pt x="5" y="16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6"/>
                    </a:lnTo>
                    <a:lnTo>
                      <a:pt x="10" y="56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57" name="Freeform 55">
                <a:extLst>
                  <a:ext uri="{FF2B5EF4-FFF2-40B4-BE49-F238E27FC236}">
                    <a16:creationId xmlns:a16="http://schemas.microsoft.com/office/drawing/2014/main" id="{485CCE35-E753-41C0-3AB2-D53548D428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2050" y="4387893"/>
                <a:ext cx="23741" cy="34481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58" name="Freeform 56">
                <a:extLst>
                  <a:ext uri="{FF2B5EF4-FFF2-40B4-BE49-F238E27FC236}">
                    <a16:creationId xmlns:a16="http://schemas.microsoft.com/office/drawing/2014/main" id="{73B7639F-80C6-FAFF-0181-5E90D223BB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2050" y="4444985"/>
                <a:ext cx="23741" cy="33351"/>
              </a:xfrm>
              <a:custGeom>
                <a:avLst/>
                <a:gdLst>
                  <a:gd name="T0" fmla="*/ 18 w 18"/>
                  <a:gd name="T1" fmla="*/ 13 h 25"/>
                  <a:gd name="T2" fmla="*/ 9 w 18"/>
                  <a:gd name="T3" fmla="*/ 25 h 25"/>
                  <a:gd name="T4" fmla="*/ 0 w 18"/>
                  <a:gd name="T5" fmla="*/ 13 h 25"/>
                  <a:gd name="T6" fmla="*/ 9 w 18"/>
                  <a:gd name="T7" fmla="*/ 0 h 25"/>
                  <a:gd name="T8" fmla="*/ 18 w 18"/>
                  <a:gd name="T9" fmla="*/ 13 h 25"/>
                  <a:gd name="T10" fmla="*/ 5 w 18"/>
                  <a:gd name="T11" fmla="*/ 13 h 25"/>
                  <a:gd name="T12" fmla="*/ 9 w 18"/>
                  <a:gd name="T13" fmla="*/ 22 h 25"/>
                  <a:gd name="T14" fmla="*/ 13 w 18"/>
                  <a:gd name="T15" fmla="*/ 13 h 25"/>
                  <a:gd name="T16" fmla="*/ 9 w 18"/>
                  <a:gd name="T17" fmla="*/ 4 h 25"/>
                  <a:gd name="T18" fmla="*/ 5 w 18"/>
                  <a:gd name="T19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5">
                    <a:moveTo>
                      <a:pt x="18" y="13"/>
                    </a:moveTo>
                    <a:cubicBezTo>
                      <a:pt x="18" y="21"/>
                      <a:pt x="15" y="25"/>
                      <a:pt x="9" y="25"/>
                    </a:cubicBezTo>
                    <a:cubicBezTo>
                      <a:pt x="3" y="25"/>
                      <a:pt x="0" y="21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59" name="Freeform 63">
                <a:extLst>
                  <a:ext uri="{FF2B5EF4-FFF2-40B4-BE49-F238E27FC236}">
                    <a16:creationId xmlns:a16="http://schemas.microsoft.com/office/drawing/2014/main" id="{011AE629-F9EF-2EF4-228D-ECE2DDFA384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81768" y="3475555"/>
                <a:ext cx="22611" cy="3504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4" y="0"/>
                      <a:pt x="17" y="5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60" name="Freeform 64">
                <a:extLst>
                  <a:ext uri="{FF2B5EF4-FFF2-40B4-BE49-F238E27FC236}">
                    <a16:creationId xmlns:a16="http://schemas.microsoft.com/office/drawing/2014/main" id="{35F975F3-9264-6ECD-9AD3-86E19A6066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81768" y="3533212"/>
                <a:ext cx="22611" cy="34481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1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61" name="Freeform 65">
                <a:extLst>
                  <a:ext uri="{FF2B5EF4-FFF2-40B4-BE49-F238E27FC236}">
                    <a16:creationId xmlns:a16="http://schemas.microsoft.com/office/drawing/2014/main" id="{0D11AB4A-6603-3409-231E-5B0ED85DA1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3464" y="3647960"/>
                <a:ext cx="18654" cy="33351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49 h 59"/>
                  <a:gd name="T20" fmla="*/ 16 w 33"/>
                  <a:gd name="T21" fmla="*/ 49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62" name="Freeform 66">
                <a:extLst>
                  <a:ext uri="{FF2B5EF4-FFF2-40B4-BE49-F238E27FC236}">
                    <a16:creationId xmlns:a16="http://schemas.microsoft.com/office/drawing/2014/main" id="{1A0D8F78-318D-FA03-36B5-51DF68BE102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81768" y="3703922"/>
                <a:ext cx="22611" cy="34481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63" name="Freeform 67">
                <a:extLst>
                  <a:ext uri="{FF2B5EF4-FFF2-40B4-BE49-F238E27FC236}">
                    <a16:creationId xmlns:a16="http://schemas.microsoft.com/office/drawing/2014/main" id="{FCC598B1-E40A-1769-8E3B-8186787D89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81768" y="3761579"/>
                <a:ext cx="22611" cy="33351"/>
              </a:xfrm>
              <a:custGeom>
                <a:avLst/>
                <a:gdLst>
                  <a:gd name="T0" fmla="*/ 17 w 17"/>
                  <a:gd name="T1" fmla="*/ 13 h 25"/>
                  <a:gd name="T2" fmla="*/ 9 w 17"/>
                  <a:gd name="T3" fmla="*/ 25 h 25"/>
                  <a:gd name="T4" fmla="*/ 0 w 17"/>
                  <a:gd name="T5" fmla="*/ 12 h 25"/>
                  <a:gd name="T6" fmla="*/ 9 w 17"/>
                  <a:gd name="T7" fmla="*/ 0 h 25"/>
                  <a:gd name="T8" fmla="*/ 17 w 17"/>
                  <a:gd name="T9" fmla="*/ 13 h 25"/>
                  <a:gd name="T10" fmla="*/ 4 w 17"/>
                  <a:gd name="T11" fmla="*/ 12 h 25"/>
                  <a:gd name="T12" fmla="*/ 9 w 17"/>
                  <a:gd name="T13" fmla="*/ 22 h 25"/>
                  <a:gd name="T14" fmla="*/ 13 w 17"/>
                  <a:gd name="T15" fmla="*/ 13 h 25"/>
                  <a:gd name="T16" fmla="*/ 9 w 17"/>
                  <a:gd name="T17" fmla="*/ 3 h 25"/>
                  <a:gd name="T18" fmla="*/ 4 w 17"/>
                  <a:gd name="T1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5">
                    <a:moveTo>
                      <a:pt x="17" y="13"/>
                    </a:moveTo>
                    <a:cubicBezTo>
                      <a:pt x="17" y="21"/>
                      <a:pt x="14" y="25"/>
                      <a:pt x="9" y="25"/>
                    </a:cubicBezTo>
                    <a:cubicBezTo>
                      <a:pt x="3" y="25"/>
                      <a:pt x="0" y="21"/>
                      <a:pt x="0" y="12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2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6"/>
                      <a:pt x="11" y="3"/>
                      <a:pt x="9" y="3"/>
                    </a:cubicBezTo>
                    <a:cubicBezTo>
                      <a:pt x="6" y="3"/>
                      <a:pt x="4" y="6"/>
                      <a:pt x="4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64" name="Freeform 68">
                <a:extLst>
                  <a:ext uri="{FF2B5EF4-FFF2-40B4-BE49-F238E27FC236}">
                    <a16:creationId xmlns:a16="http://schemas.microsoft.com/office/drawing/2014/main" id="{6B68F4CF-55A0-83CA-7AFE-E1CCB570D3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3464" y="3876328"/>
                <a:ext cx="18654" cy="31655"/>
              </a:xfrm>
              <a:custGeom>
                <a:avLst/>
                <a:gdLst>
                  <a:gd name="T0" fmla="*/ 16 w 33"/>
                  <a:gd name="T1" fmla="*/ 9 h 56"/>
                  <a:gd name="T2" fmla="*/ 4 w 33"/>
                  <a:gd name="T3" fmla="*/ 16 h 56"/>
                  <a:gd name="T4" fmla="*/ 0 w 33"/>
                  <a:gd name="T5" fmla="*/ 9 h 56"/>
                  <a:gd name="T6" fmla="*/ 16 w 33"/>
                  <a:gd name="T7" fmla="*/ 0 h 56"/>
                  <a:gd name="T8" fmla="*/ 26 w 33"/>
                  <a:gd name="T9" fmla="*/ 0 h 56"/>
                  <a:gd name="T10" fmla="*/ 26 w 33"/>
                  <a:gd name="T11" fmla="*/ 49 h 56"/>
                  <a:gd name="T12" fmla="*/ 33 w 33"/>
                  <a:gd name="T13" fmla="*/ 49 h 56"/>
                  <a:gd name="T14" fmla="*/ 33 w 33"/>
                  <a:gd name="T15" fmla="*/ 56 h 56"/>
                  <a:gd name="T16" fmla="*/ 7 w 33"/>
                  <a:gd name="T17" fmla="*/ 56 h 56"/>
                  <a:gd name="T18" fmla="*/ 7 w 33"/>
                  <a:gd name="T19" fmla="*/ 49 h 56"/>
                  <a:gd name="T20" fmla="*/ 16 w 33"/>
                  <a:gd name="T21" fmla="*/ 49 h 56"/>
                  <a:gd name="T22" fmla="*/ 16 w 33"/>
                  <a:gd name="T23" fmla="*/ 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6">
                    <a:moveTo>
                      <a:pt x="16" y="9"/>
                    </a:moveTo>
                    <a:lnTo>
                      <a:pt x="4" y="16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6"/>
                    </a:lnTo>
                    <a:lnTo>
                      <a:pt x="7" y="56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65" name="Freeform 69">
                <a:extLst>
                  <a:ext uri="{FF2B5EF4-FFF2-40B4-BE49-F238E27FC236}">
                    <a16:creationId xmlns:a16="http://schemas.microsoft.com/office/drawing/2014/main" id="{B3A8AA7F-9794-B915-ED99-9D13B659CC4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81768" y="3932289"/>
                <a:ext cx="22611" cy="33351"/>
              </a:xfrm>
              <a:custGeom>
                <a:avLst/>
                <a:gdLst>
                  <a:gd name="T0" fmla="*/ 17 w 17"/>
                  <a:gd name="T1" fmla="*/ 13 h 25"/>
                  <a:gd name="T2" fmla="*/ 9 w 17"/>
                  <a:gd name="T3" fmla="*/ 25 h 25"/>
                  <a:gd name="T4" fmla="*/ 0 w 17"/>
                  <a:gd name="T5" fmla="*/ 13 h 25"/>
                  <a:gd name="T6" fmla="*/ 9 w 17"/>
                  <a:gd name="T7" fmla="*/ 0 h 25"/>
                  <a:gd name="T8" fmla="*/ 17 w 17"/>
                  <a:gd name="T9" fmla="*/ 13 h 25"/>
                  <a:gd name="T10" fmla="*/ 4 w 17"/>
                  <a:gd name="T11" fmla="*/ 13 h 25"/>
                  <a:gd name="T12" fmla="*/ 9 w 17"/>
                  <a:gd name="T13" fmla="*/ 22 h 25"/>
                  <a:gd name="T14" fmla="*/ 13 w 17"/>
                  <a:gd name="T15" fmla="*/ 13 h 25"/>
                  <a:gd name="T16" fmla="*/ 9 w 17"/>
                  <a:gd name="T17" fmla="*/ 3 h 25"/>
                  <a:gd name="T18" fmla="*/ 4 w 17"/>
                  <a:gd name="T19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5">
                    <a:moveTo>
                      <a:pt x="17" y="13"/>
                    </a:moveTo>
                    <a:cubicBezTo>
                      <a:pt x="17" y="21"/>
                      <a:pt x="14" y="25"/>
                      <a:pt x="9" y="25"/>
                    </a:cubicBezTo>
                    <a:cubicBezTo>
                      <a:pt x="3" y="25"/>
                      <a:pt x="0" y="21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6"/>
                      <a:pt x="11" y="3"/>
                      <a:pt x="9" y="3"/>
                    </a:cubicBezTo>
                    <a:cubicBezTo>
                      <a:pt x="6" y="3"/>
                      <a:pt x="4" y="6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66" name="Freeform 70">
                <a:extLst>
                  <a:ext uri="{FF2B5EF4-FFF2-40B4-BE49-F238E27FC236}">
                    <a16:creationId xmlns:a16="http://schemas.microsoft.com/office/drawing/2014/main" id="{60669007-C97C-182C-0BB1-00B5F29BDB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3464" y="3989946"/>
                <a:ext cx="18654" cy="33351"/>
              </a:xfrm>
              <a:custGeom>
                <a:avLst/>
                <a:gdLst>
                  <a:gd name="T0" fmla="*/ 16 w 33"/>
                  <a:gd name="T1" fmla="*/ 11 h 59"/>
                  <a:gd name="T2" fmla="*/ 4 w 33"/>
                  <a:gd name="T3" fmla="*/ 18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52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52 h 59"/>
                  <a:gd name="T20" fmla="*/ 16 w 33"/>
                  <a:gd name="T21" fmla="*/ 49 h 59"/>
                  <a:gd name="T22" fmla="*/ 16 w 33"/>
                  <a:gd name="T23" fmla="*/ 11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1"/>
                    </a:moveTo>
                    <a:lnTo>
                      <a:pt x="4" y="18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52"/>
                    </a:lnTo>
                    <a:lnTo>
                      <a:pt x="16" y="49"/>
                    </a:lnTo>
                    <a:lnTo>
                      <a:pt x="16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67" name="Freeform 71">
                <a:extLst>
                  <a:ext uri="{FF2B5EF4-FFF2-40B4-BE49-F238E27FC236}">
                    <a16:creationId xmlns:a16="http://schemas.microsoft.com/office/drawing/2014/main" id="{E2A5C1A4-BB82-241B-2020-D620CDC7927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81768" y="4045908"/>
                <a:ext cx="22611" cy="34481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68" name="Freeform 72">
                <a:extLst>
                  <a:ext uri="{FF2B5EF4-FFF2-40B4-BE49-F238E27FC236}">
                    <a16:creationId xmlns:a16="http://schemas.microsoft.com/office/drawing/2014/main" id="{1421F804-DB24-D9D9-D1F0-DE3EED92DF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3464" y="4102999"/>
                <a:ext cx="18654" cy="33351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12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52 h 59"/>
                  <a:gd name="T12" fmla="*/ 33 w 33"/>
                  <a:gd name="T13" fmla="*/ 52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52 h 59"/>
                  <a:gd name="T20" fmla="*/ 16 w 33"/>
                  <a:gd name="T21" fmla="*/ 52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12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52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52"/>
                    </a:lnTo>
                    <a:lnTo>
                      <a:pt x="16" y="52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69" name="Freeform 73">
                <a:extLst>
                  <a:ext uri="{FF2B5EF4-FFF2-40B4-BE49-F238E27FC236}">
                    <a16:creationId xmlns:a16="http://schemas.microsoft.com/office/drawing/2014/main" id="{04833AEF-B0CB-BD99-C9AD-EDE33AF2C8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3464" y="4160657"/>
                <a:ext cx="18654" cy="33351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52 h 59"/>
                  <a:gd name="T12" fmla="*/ 33 w 33"/>
                  <a:gd name="T13" fmla="*/ 52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52 h 59"/>
                  <a:gd name="T20" fmla="*/ 16 w 33"/>
                  <a:gd name="T21" fmla="*/ 52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52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52"/>
                    </a:lnTo>
                    <a:lnTo>
                      <a:pt x="16" y="52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70" name="Freeform 74">
                <a:extLst>
                  <a:ext uri="{FF2B5EF4-FFF2-40B4-BE49-F238E27FC236}">
                    <a16:creationId xmlns:a16="http://schemas.microsoft.com/office/drawing/2014/main" id="{CB661586-CE9E-9BAE-C0DF-49798C6013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3464" y="4218314"/>
                <a:ext cx="18654" cy="31655"/>
              </a:xfrm>
              <a:custGeom>
                <a:avLst/>
                <a:gdLst>
                  <a:gd name="T0" fmla="*/ 16 w 33"/>
                  <a:gd name="T1" fmla="*/ 9 h 56"/>
                  <a:gd name="T2" fmla="*/ 4 w 33"/>
                  <a:gd name="T3" fmla="*/ 16 h 56"/>
                  <a:gd name="T4" fmla="*/ 0 w 33"/>
                  <a:gd name="T5" fmla="*/ 9 h 56"/>
                  <a:gd name="T6" fmla="*/ 16 w 33"/>
                  <a:gd name="T7" fmla="*/ 0 h 56"/>
                  <a:gd name="T8" fmla="*/ 26 w 33"/>
                  <a:gd name="T9" fmla="*/ 0 h 56"/>
                  <a:gd name="T10" fmla="*/ 26 w 33"/>
                  <a:gd name="T11" fmla="*/ 49 h 56"/>
                  <a:gd name="T12" fmla="*/ 33 w 33"/>
                  <a:gd name="T13" fmla="*/ 49 h 56"/>
                  <a:gd name="T14" fmla="*/ 33 w 33"/>
                  <a:gd name="T15" fmla="*/ 56 h 56"/>
                  <a:gd name="T16" fmla="*/ 7 w 33"/>
                  <a:gd name="T17" fmla="*/ 56 h 56"/>
                  <a:gd name="T18" fmla="*/ 7 w 33"/>
                  <a:gd name="T19" fmla="*/ 49 h 56"/>
                  <a:gd name="T20" fmla="*/ 16 w 33"/>
                  <a:gd name="T21" fmla="*/ 49 h 56"/>
                  <a:gd name="T22" fmla="*/ 16 w 33"/>
                  <a:gd name="T23" fmla="*/ 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6">
                    <a:moveTo>
                      <a:pt x="16" y="9"/>
                    </a:moveTo>
                    <a:lnTo>
                      <a:pt x="4" y="16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6"/>
                    </a:lnTo>
                    <a:lnTo>
                      <a:pt x="7" y="56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71" name="Freeform 75">
                <a:extLst>
                  <a:ext uri="{FF2B5EF4-FFF2-40B4-BE49-F238E27FC236}">
                    <a16:creationId xmlns:a16="http://schemas.microsoft.com/office/drawing/2014/main" id="{0AF58345-0144-10A8-8BD8-B029A8909D6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81768" y="4387893"/>
                <a:ext cx="22611" cy="34481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72" name="Freeform 76">
                <a:extLst>
                  <a:ext uri="{FF2B5EF4-FFF2-40B4-BE49-F238E27FC236}">
                    <a16:creationId xmlns:a16="http://schemas.microsoft.com/office/drawing/2014/main" id="{DD475673-6049-478F-54C6-BCF594D85C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81768" y="4444985"/>
                <a:ext cx="22611" cy="33351"/>
              </a:xfrm>
              <a:custGeom>
                <a:avLst/>
                <a:gdLst>
                  <a:gd name="T0" fmla="*/ 17 w 17"/>
                  <a:gd name="T1" fmla="*/ 13 h 25"/>
                  <a:gd name="T2" fmla="*/ 9 w 17"/>
                  <a:gd name="T3" fmla="*/ 25 h 25"/>
                  <a:gd name="T4" fmla="*/ 0 w 17"/>
                  <a:gd name="T5" fmla="*/ 13 h 25"/>
                  <a:gd name="T6" fmla="*/ 9 w 17"/>
                  <a:gd name="T7" fmla="*/ 0 h 25"/>
                  <a:gd name="T8" fmla="*/ 17 w 17"/>
                  <a:gd name="T9" fmla="*/ 13 h 25"/>
                  <a:gd name="T10" fmla="*/ 4 w 17"/>
                  <a:gd name="T11" fmla="*/ 13 h 25"/>
                  <a:gd name="T12" fmla="*/ 9 w 17"/>
                  <a:gd name="T13" fmla="*/ 22 h 25"/>
                  <a:gd name="T14" fmla="*/ 13 w 17"/>
                  <a:gd name="T15" fmla="*/ 13 h 25"/>
                  <a:gd name="T16" fmla="*/ 9 w 17"/>
                  <a:gd name="T17" fmla="*/ 4 h 25"/>
                  <a:gd name="T18" fmla="*/ 4 w 17"/>
                  <a:gd name="T19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5">
                    <a:moveTo>
                      <a:pt x="17" y="13"/>
                    </a:moveTo>
                    <a:cubicBezTo>
                      <a:pt x="17" y="21"/>
                      <a:pt x="14" y="25"/>
                      <a:pt x="9" y="25"/>
                    </a:cubicBezTo>
                    <a:cubicBezTo>
                      <a:pt x="3" y="25"/>
                      <a:pt x="0" y="21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73" name="Freeform 83">
                <a:extLst>
                  <a:ext uri="{FF2B5EF4-FFF2-40B4-BE49-F238E27FC236}">
                    <a16:creationId xmlns:a16="http://schemas.microsoft.com/office/drawing/2014/main" id="{A458165A-45B0-0FEB-7861-C1594E794B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23954" y="3478381"/>
                <a:ext cx="34481" cy="58788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3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74" name="Freeform 84">
                <a:extLst>
                  <a:ext uri="{FF2B5EF4-FFF2-40B4-BE49-F238E27FC236}">
                    <a16:creationId xmlns:a16="http://schemas.microsoft.com/office/drawing/2014/main" id="{3C39F28A-8FCF-3DA1-C859-BF64CCEEB6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22824" y="3578433"/>
                <a:ext cx="41265" cy="61614"/>
              </a:xfrm>
              <a:custGeom>
                <a:avLst/>
                <a:gdLst>
                  <a:gd name="T0" fmla="*/ 31 w 31"/>
                  <a:gd name="T1" fmla="*/ 23 h 46"/>
                  <a:gd name="T2" fmla="*/ 15 w 31"/>
                  <a:gd name="T3" fmla="*/ 46 h 46"/>
                  <a:gd name="T4" fmla="*/ 0 w 31"/>
                  <a:gd name="T5" fmla="*/ 23 h 46"/>
                  <a:gd name="T6" fmla="*/ 15 w 31"/>
                  <a:gd name="T7" fmla="*/ 0 h 46"/>
                  <a:gd name="T8" fmla="*/ 31 w 31"/>
                  <a:gd name="T9" fmla="*/ 23 h 46"/>
                  <a:gd name="T10" fmla="*/ 8 w 31"/>
                  <a:gd name="T11" fmla="*/ 23 h 46"/>
                  <a:gd name="T12" fmla="*/ 15 w 31"/>
                  <a:gd name="T13" fmla="*/ 39 h 46"/>
                  <a:gd name="T14" fmla="*/ 23 w 31"/>
                  <a:gd name="T15" fmla="*/ 23 h 46"/>
                  <a:gd name="T16" fmla="*/ 15 w 31"/>
                  <a:gd name="T17" fmla="*/ 7 h 46"/>
                  <a:gd name="T18" fmla="*/ 8 w 31"/>
                  <a:gd name="T19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6">
                    <a:moveTo>
                      <a:pt x="31" y="23"/>
                    </a:moveTo>
                    <a:cubicBezTo>
                      <a:pt x="31" y="38"/>
                      <a:pt x="26" y="46"/>
                      <a:pt x="15" y="46"/>
                    </a:cubicBezTo>
                    <a:cubicBezTo>
                      <a:pt x="5" y="46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7"/>
                      <a:pt x="15" y="7"/>
                    </a:cubicBezTo>
                    <a:cubicBezTo>
                      <a:pt x="10" y="7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75" name="Freeform 85">
                <a:extLst>
                  <a:ext uri="{FF2B5EF4-FFF2-40B4-BE49-F238E27FC236}">
                    <a16:creationId xmlns:a16="http://schemas.microsoft.com/office/drawing/2014/main" id="{3688888D-C63C-5A10-18DB-3D132B5F64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22824" y="3680181"/>
                <a:ext cx="41265" cy="59918"/>
              </a:xfrm>
              <a:custGeom>
                <a:avLst/>
                <a:gdLst>
                  <a:gd name="T0" fmla="*/ 31 w 31"/>
                  <a:gd name="T1" fmla="*/ 23 h 45"/>
                  <a:gd name="T2" fmla="*/ 15 w 31"/>
                  <a:gd name="T3" fmla="*/ 45 h 45"/>
                  <a:gd name="T4" fmla="*/ 0 w 31"/>
                  <a:gd name="T5" fmla="*/ 23 h 45"/>
                  <a:gd name="T6" fmla="*/ 15 w 31"/>
                  <a:gd name="T7" fmla="*/ 0 h 45"/>
                  <a:gd name="T8" fmla="*/ 31 w 31"/>
                  <a:gd name="T9" fmla="*/ 23 h 45"/>
                  <a:gd name="T10" fmla="*/ 8 w 31"/>
                  <a:gd name="T11" fmla="*/ 23 h 45"/>
                  <a:gd name="T12" fmla="*/ 15 w 31"/>
                  <a:gd name="T13" fmla="*/ 39 h 45"/>
                  <a:gd name="T14" fmla="*/ 23 w 31"/>
                  <a:gd name="T15" fmla="*/ 23 h 45"/>
                  <a:gd name="T16" fmla="*/ 15 w 31"/>
                  <a:gd name="T17" fmla="*/ 6 h 45"/>
                  <a:gd name="T18" fmla="*/ 8 w 31"/>
                  <a:gd name="T19" fmla="*/ 2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31" y="23"/>
                    </a:moveTo>
                    <a:cubicBezTo>
                      <a:pt x="31" y="38"/>
                      <a:pt x="26" y="45"/>
                      <a:pt x="15" y="45"/>
                    </a:cubicBezTo>
                    <a:cubicBezTo>
                      <a:pt x="5" y="45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6"/>
                      <a:pt x="15" y="6"/>
                    </a:cubicBezTo>
                    <a:cubicBezTo>
                      <a:pt x="10" y="6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76" name="Freeform 86">
                <a:extLst>
                  <a:ext uri="{FF2B5EF4-FFF2-40B4-BE49-F238E27FC236}">
                    <a16:creationId xmlns:a16="http://schemas.microsoft.com/office/drawing/2014/main" id="{98643E66-247A-C551-B85F-E004F43138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23954" y="3782494"/>
                <a:ext cx="34481" cy="58788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4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4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77" name="Freeform 87">
                <a:extLst>
                  <a:ext uri="{FF2B5EF4-FFF2-40B4-BE49-F238E27FC236}">
                    <a16:creationId xmlns:a16="http://schemas.microsoft.com/office/drawing/2014/main" id="{9F0225D4-BEE5-90F3-4BBD-98E3D32E46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23954" y="3884242"/>
                <a:ext cx="34481" cy="58788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1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1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78" name="Freeform 88">
                <a:extLst>
                  <a:ext uri="{FF2B5EF4-FFF2-40B4-BE49-F238E27FC236}">
                    <a16:creationId xmlns:a16="http://schemas.microsoft.com/office/drawing/2014/main" id="{B007D71C-98B1-9C79-2FEC-F66B383471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23954" y="3985989"/>
                <a:ext cx="34481" cy="58223"/>
              </a:xfrm>
              <a:custGeom>
                <a:avLst/>
                <a:gdLst>
                  <a:gd name="T0" fmla="*/ 31 w 61"/>
                  <a:gd name="T1" fmla="*/ 18 h 103"/>
                  <a:gd name="T2" fmla="*/ 10 w 61"/>
                  <a:gd name="T3" fmla="*/ 30 h 103"/>
                  <a:gd name="T4" fmla="*/ 0 w 61"/>
                  <a:gd name="T5" fmla="*/ 18 h 103"/>
                  <a:gd name="T6" fmla="*/ 31 w 61"/>
                  <a:gd name="T7" fmla="*/ 0 h 103"/>
                  <a:gd name="T8" fmla="*/ 47 w 61"/>
                  <a:gd name="T9" fmla="*/ 0 h 103"/>
                  <a:gd name="T10" fmla="*/ 47 w 61"/>
                  <a:gd name="T11" fmla="*/ 89 h 103"/>
                  <a:gd name="T12" fmla="*/ 61 w 61"/>
                  <a:gd name="T13" fmla="*/ 89 h 103"/>
                  <a:gd name="T14" fmla="*/ 61 w 61"/>
                  <a:gd name="T15" fmla="*/ 103 h 103"/>
                  <a:gd name="T16" fmla="*/ 17 w 61"/>
                  <a:gd name="T17" fmla="*/ 103 h 103"/>
                  <a:gd name="T18" fmla="*/ 17 w 61"/>
                  <a:gd name="T19" fmla="*/ 89 h 103"/>
                  <a:gd name="T20" fmla="*/ 31 w 61"/>
                  <a:gd name="T21" fmla="*/ 89 h 103"/>
                  <a:gd name="T22" fmla="*/ 31 w 61"/>
                  <a:gd name="T23" fmla="*/ 18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3">
                    <a:moveTo>
                      <a:pt x="31" y="18"/>
                    </a:moveTo>
                    <a:lnTo>
                      <a:pt x="10" y="30"/>
                    </a:lnTo>
                    <a:lnTo>
                      <a:pt x="0" y="18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89"/>
                    </a:lnTo>
                    <a:lnTo>
                      <a:pt x="61" y="89"/>
                    </a:lnTo>
                    <a:lnTo>
                      <a:pt x="61" y="103"/>
                    </a:lnTo>
                    <a:lnTo>
                      <a:pt x="17" y="103"/>
                    </a:lnTo>
                    <a:lnTo>
                      <a:pt x="17" y="89"/>
                    </a:lnTo>
                    <a:lnTo>
                      <a:pt x="31" y="89"/>
                    </a:lnTo>
                    <a:lnTo>
                      <a:pt x="31" y="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79" name="Freeform 89">
                <a:extLst>
                  <a:ext uri="{FF2B5EF4-FFF2-40B4-BE49-F238E27FC236}">
                    <a16:creationId xmlns:a16="http://schemas.microsoft.com/office/drawing/2014/main" id="{350E8BE5-6BA2-CB90-F1D4-E392605D92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22824" y="4086042"/>
                <a:ext cx="41265" cy="59918"/>
              </a:xfrm>
              <a:custGeom>
                <a:avLst/>
                <a:gdLst>
                  <a:gd name="T0" fmla="*/ 31 w 31"/>
                  <a:gd name="T1" fmla="*/ 23 h 45"/>
                  <a:gd name="T2" fmla="*/ 15 w 31"/>
                  <a:gd name="T3" fmla="*/ 45 h 45"/>
                  <a:gd name="T4" fmla="*/ 0 w 31"/>
                  <a:gd name="T5" fmla="*/ 22 h 45"/>
                  <a:gd name="T6" fmla="*/ 15 w 31"/>
                  <a:gd name="T7" fmla="*/ 0 h 45"/>
                  <a:gd name="T8" fmla="*/ 31 w 31"/>
                  <a:gd name="T9" fmla="*/ 23 h 45"/>
                  <a:gd name="T10" fmla="*/ 8 w 31"/>
                  <a:gd name="T11" fmla="*/ 22 h 45"/>
                  <a:gd name="T12" fmla="*/ 15 w 31"/>
                  <a:gd name="T13" fmla="*/ 39 h 45"/>
                  <a:gd name="T14" fmla="*/ 23 w 31"/>
                  <a:gd name="T15" fmla="*/ 23 h 45"/>
                  <a:gd name="T16" fmla="*/ 15 w 31"/>
                  <a:gd name="T17" fmla="*/ 6 h 45"/>
                  <a:gd name="T18" fmla="*/ 8 w 31"/>
                  <a:gd name="T19" fmla="*/ 2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31" y="23"/>
                    </a:moveTo>
                    <a:cubicBezTo>
                      <a:pt x="31" y="38"/>
                      <a:pt x="26" y="45"/>
                      <a:pt x="15" y="45"/>
                    </a:cubicBezTo>
                    <a:cubicBezTo>
                      <a:pt x="5" y="45"/>
                      <a:pt x="0" y="38"/>
                      <a:pt x="0" y="22"/>
                    </a:cubicBezTo>
                    <a:cubicBezTo>
                      <a:pt x="0" y="7"/>
                      <a:pt x="5" y="0"/>
                      <a:pt x="15" y="0"/>
                    </a:cubicBezTo>
                    <a:cubicBezTo>
                      <a:pt x="26" y="0"/>
                      <a:pt x="31" y="7"/>
                      <a:pt x="31" y="23"/>
                    </a:cubicBezTo>
                    <a:close/>
                    <a:moveTo>
                      <a:pt x="8" y="22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1"/>
                      <a:pt x="20" y="6"/>
                      <a:pt x="15" y="6"/>
                    </a:cubicBezTo>
                    <a:cubicBezTo>
                      <a:pt x="10" y="6"/>
                      <a:pt x="8" y="11"/>
                      <a:pt x="8" y="2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80" name="Freeform 90">
                <a:extLst>
                  <a:ext uri="{FF2B5EF4-FFF2-40B4-BE49-F238E27FC236}">
                    <a16:creationId xmlns:a16="http://schemas.microsoft.com/office/drawing/2014/main" id="{5EAE2ECB-CDFE-EB6A-4629-C538396C82F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22824" y="4390154"/>
                <a:ext cx="41265" cy="60484"/>
              </a:xfrm>
              <a:custGeom>
                <a:avLst/>
                <a:gdLst>
                  <a:gd name="T0" fmla="*/ 31 w 31"/>
                  <a:gd name="T1" fmla="*/ 22 h 45"/>
                  <a:gd name="T2" fmla="*/ 15 w 31"/>
                  <a:gd name="T3" fmla="*/ 45 h 45"/>
                  <a:gd name="T4" fmla="*/ 0 w 31"/>
                  <a:gd name="T5" fmla="*/ 22 h 45"/>
                  <a:gd name="T6" fmla="*/ 15 w 31"/>
                  <a:gd name="T7" fmla="*/ 0 h 45"/>
                  <a:gd name="T8" fmla="*/ 31 w 31"/>
                  <a:gd name="T9" fmla="*/ 22 h 45"/>
                  <a:gd name="T10" fmla="*/ 8 w 31"/>
                  <a:gd name="T11" fmla="*/ 22 h 45"/>
                  <a:gd name="T12" fmla="*/ 15 w 31"/>
                  <a:gd name="T13" fmla="*/ 39 h 45"/>
                  <a:gd name="T14" fmla="*/ 23 w 31"/>
                  <a:gd name="T15" fmla="*/ 22 h 45"/>
                  <a:gd name="T16" fmla="*/ 15 w 31"/>
                  <a:gd name="T17" fmla="*/ 6 h 45"/>
                  <a:gd name="T18" fmla="*/ 8 w 31"/>
                  <a:gd name="T19" fmla="*/ 2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31" y="22"/>
                    </a:moveTo>
                    <a:cubicBezTo>
                      <a:pt x="31" y="38"/>
                      <a:pt x="26" y="45"/>
                      <a:pt x="15" y="45"/>
                    </a:cubicBezTo>
                    <a:cubicBezTo>
                      <a:pt x="5" y="45"/>
                      <a:pt x="0" y="38"/>
                      <a:pt x="0" y="22"/>
                    </a:cubicBezTo>
                    <a:cubicBezTo>
                      <a:pt x="0" y="7"/>
                      <a:pt x="5" y="0"/>
                      <a:pt x="15" y="0"/>
                    </a:cubicBezTo>
                    <a:cubicBezTo>
                      <a:pt x="26" y="0"/>
                      <a:pt x="31" y="7"/>
                      <a:pt x="31" y="22"/>
                    </a:cubicBezTo>
                    <a:close/>
                    <a:moveTo>
                      <a:pt x="8" y="22"/>
                    </a:moveTo>
                    <a:cubicBezTo>
                      <a:pt x="8" y="33"/>
                      <a:pt x="10" y="39"/>
                      <a:pt x="15" y="39"/>
                    </a:cubicBezTo>
                    <a:cubicBezTo>
                      <a:pt x="20" y="39"/>
                      <a:pt x="23" y="33"/>
                      <a:pt x="23" y="22"/>
                    </a:cubicBezTo>
                    <a:cubicBezTo>
                      <a:pt x="23" y="11"/>
                      <a:pt x="20" y="6"/>
                      <a:pt x="15" y="6"/>
                    </a:cubicBezTo>
                    <a:cubicBezTo>
                      <a:pt x="10" y="6"/>
                      <a:pt x="8" y="11"/>
                      <a:pt x="8" y="2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81" name="Freeform 95">
                <a:extLst>
                  <a:ext uri="{FF2B5EF4-FFF2-40B4-BE49-F238E27FC236}">
                    <a16:creationId xmlns:a16="http://schemas.microsoft.com/office/drawing/2014/main" id="{087AC2D8-2262-2F88-9445-8B52666E8A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5702" y="3147135"/>
                <a:ext cx="19784" cy="32220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82" name="Freeform 96">
                <a:extLst>
                  <a:ext uri="{FF2B5EF4-FFF2-40B4-BE49-F238E27FC236}">
                    <a16:creationId xmlns:a16="http://schemas.microsoft.com/office/drawing/2014/main" id="{151E1638-DF0E-2E36-891E-A918107B21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4006" y="3201966"/>
                <a:ext cx="25437" cy="32220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83" name="Freeform 97">
                <a:extLst>
                  <a:ext uri="{FF2B5EF4-FFF2-40B4-BE49-F238E27FC236}">
                    <a16:creationId xmlns:a16="http://schemas.microsoft.com/office/drawing/2014/main" id="{8B4A8BC5-A832-7338-E470-B80F3CDD2B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5702" y="3256797"/>
                <a:ext cx="19784" cy="31655"/>
              </a:xfrm>
              <a:custGeom>
                <a:avLst/>
                <a:gdLst>
                  <a:gd name="T0" fmla="*/ 16 w 35"/>
                  <a:gd name="T1" fmla="*/ 14 h 56"/>
                  <a:gd name="T2" fmla="*/ 7 w 35"/>
                  <a:gd name="T3" fmla="*/ 21 h 56"/>
                  <a:gd name="T4" fmla="*/ 0 w 35"/>
                  <a:gd name="T5" fmla="*/ 11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4"/>
                    </a:moveTo>
                    <a:lnTo>
                      <a:pt x="7" y="21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84" name="Freeform 98">
                <a:extLst>
                  <a:ext uri="{FF2B5EF4-FFF2-40B4-BE49-F238E27FC236}">
                    <a16:creationId xmlns:a16="http://schemas.microsoft.com/office/drawing/2014/main" id="{315BF0C8-520D-1211-266B-514C639D6E1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4006" y="3311627"/>
                <a:ext cx="25437" cy="31655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85" name="Freeform 99">
                <a:extLst>
                  <a:ext uri="{FF2B5EF4-FFF2-40B4-BE49-F238E27FC236}">
                    <a16:creationId xmlns:a16="http://schemas.microsoft.com/office/drawing/2014/main" id="{95C0BE5A-4B99-9680-E391-6A74C134E1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5702" y="3365893"/>
                <a:ext cx="19784" cy="32220"/>
              </a:xfrm>
              <a:custGeom>
                <a:avLst/>
                <a:gdLst>
                  <a:gd name="T0" fmla="*/ 16 w 35"/>
                  <a:gd name="T1" fmla="*/ 15 h 57"/>
                  <a:gd name="T2" fmla="*/ 7 w 35"/>
                  <a:gd name="T3" fmla="*/ 22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8 h 57"/>
                  <a:gd name="T12" fmla="*/ 35 w 35"/>
                  <a:gd name="T13" fmla="*/ 48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8 h 57"/>
                  <a:gd name="T20" fmla="*/ 16 w 35"/>
                  <a:gd name="T21" fmla="*/ 48 h 57"/>
                  <a:gd name="T22" fmla="*/ 16 w 35"/>
                  <a:gd name="T23" fmla="*/ 1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5"/>
                    </a:moveTo>
                    <a:lnTo>
                      <a:pt x="7" y="22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86" name="Freeform 100">
                <a:extLst>
                  <a:ext uri="{FF2B5EF4-FFF2-40B4-BE49-F238E27FC236}">
                    <a16:creationId xmlns:a16="http://schemas.microsoft.com/office/drawing/2014/main" id="{D33953D9-97A7-00D9-A5A5-F400DFF6F0A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4006" y="3420724"/>
                <a:ext cx="25437" cy="32220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0059B8A0-8795-71DD-2C40-CBCE358D54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5702" y="3475555"/>
                <a:ext cx="19784" cy="32220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88" name="Freeform 102">
                <a:extLst>
                  <a:ext uri="{FF2B5EF4-FFF2-40B4-BE49-F238E27FC236}">
                    <a16:creationId xmlns:a16="http://schemas.microsoft.com/office/drawing/2014/main" id="{88481939-48F2-6854-49BD-D1555457F6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5702" y="3530385"/>
                <a:ext cx="19784" cy="32220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89" name="Freeform 103">
                <a:extLst>
                  <a:ext uri="{FF2B5EF4-FFF2-40B4-BE49-F238E27FC236}">
                    <a16:creationId xmlns:a16="http://schemas.microsoft.com/office/drawing/2014/main" id="{6156AD7C-8257-FAB8-C60C-0687F1C13D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5702" y="3586347"/>
                <a:ext cx="19784" cy="31090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5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5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90" name="Freeform 104">
                <a:extLst>
                  <a:ext uri="{FF2B5EF4-FFF2-40B4-BE49-F238E27FC236}">
                    <a16:creationId xmlns:a16="http://schemas.microsoft.com/office/drawing/2014/main" id="{3DAC564B-7A1D-72B3-4719-CDBBF2CDFB6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4006" y="3640047"/>
                <a:ext cx="25437" cy="33351"/>
              </a:xfrm>
              <a:custGeom>
                <a:avLst/>
                <a:gdLst>
                  <a:gd name="T0" fmla="*/ 17 w 19"/>
                  <a:gd name="T1" fmla="*/ 4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4 h 25"/>
                  <a:gd name="T16" fmla="*/ 6 w 19"/>
                  <a:gd name="T17" fmla="*/ 12 h 25"/>
                  <a:gd name="T18" fmla="*/ 10 w 19"/>
                  <a:gd name="T19" fmla="*/ 20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3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91" name="Freeform 105">
                <a:extLst>
                  <a:ext uri="{FF2B5EF4-FFF2-40B4-BE49-F238E27FC236}">
                    <a16:creationId xmlns:a16="http://schemas.microsoft.com/office/drawing/2014/main" id="{8BD1A366-389D-CB2C-13C3-35D8738066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5702" y="3696008"/>
                <a:ext cx="19784" cy="30524"/>
              </a:xfrm>
              <a:custGeom>
                <a:avLst/>
                <a:gdLst>
                  <a:gd name="T0" fmla="*/ 16 w 35"/>
                  <a:gd name="T1" fmla="*/ 12 h 54"/>
                  <a:gd name="T2" fmla="*/ 7 w 35"/>
                  <a:gd name="T3" fmla="*/ 19 h 54"/>
                  <a:gd name="T4" fmla="*/ 0 w 35"/>
                  <a:gd name="T5" fmla="*/ 9 h 54"/>
                  <a:gd name="T6" fmla="*/ 19 w 35"/>
                  <a:gd name="T7" fmla="*/ 0 h 54"/>
                  <a:gd name="T8" fmla="*/ 28 w 35"/>
                  <a:gd name="T9" fmla="*/ 0 h 54"/>
                  <a:gd name="T10" fmla="*/ 28 w 35"/>
                  <a:gd name="T11" fmla="*/ 45 h 54"/>
                  <a:gd name="T12" fmla="*/ 35 w 35"/>
                  <a:gd name="T13" fmla="*/ 45 h 54"/>
                  <a:gd name="T14" fmla="*/ 35 w 35"/>
                  <a:gd name="T15" fmla="*/ 54 h 54"/>
                  <a:gd name="T16" fmla="*/ 9 w 35"/>
                  <a:gd name="T17" fmla="*/ 54 h 54"/>
                  <a:gd name="T18" fmla="*/ 9 w 35"/>
                  <a:gd name="T19" fmla="*/ 45 h 54"/>
                  <a:gd name="T20" fmla="*/ 16 w 35"/>
                  <a:gd name="T21" fmla="*/ 45 h 54"/>
                  <a:gd name="T22" fmla="*/ 16 w 35"/>
                  <a:gd name="T23" fmla="*/ 1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4">
                    <a:moveTo>
                      <a:pt x="16" y="12"/>
                    </a:moveTo>
                    <a:lnTo>
                      <a:pt x="7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4"/>
                    </a:lnTo>
                    <a:lnTo>
                      <a:pt x="9" y="54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92" name="Freeform 106">
                <a:extLst>
                  <a:ext uri="{FF2B5EF4-FFF2-40B4-BE49-F238E27FC236}">
                    <a16:creationId xmlns:a16="http://schemas.microsoft.com/office/drawing/2014/main" id="{B9838672-8C54-B27E-9BAF-48C007874B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4006" y="3749143"/>
                <a:ext cx="25437" cy="33351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2 h 25"/>
                  <a:gd name="T18" fmla="*/ 10 w 19"/>
                  <a:gd name="T19" fmla="*/ 21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93" name="Freeform 107">
                <a:extLst>
                  <a:ext uri="{FF2B5EF4-FFF2-40B4-BE49-F238E27FC236}">
                    <a16:creationId xmlns:a16="http://schemas.microsoft.com/office/drawing/2014/main" id="{EEEA44D8-14DC-E99C-A375-B675CA3C1B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4006" y="3803974"/>
                <a:ext cx="25437" cy="33351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2 h 25"/>
                  <a:gd name="T18" fmla="*/ 10 w 19"/>
                  <a:gd name="T19" fmla="*/ 21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94" name="Freeform 108">
                <a:extLst>
                  <a:ext uri="{FF2B5EF4-FFF2-40B4-BE49-F238E27FC236}">
                    <a16:creationId xmlns:a16="http://schemas.microsoft.com/office/drawing/2014/main" id="{27A64B4A-40C9-37A0-E2EB-362FC60631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5702" y="3859935"/>
                <a:ext cx="19784" cy="31090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8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8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8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8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95" name="Freeform 109">
                <a:extLst>
                  <a:ext uri="{FF2B5EF4-FFF2-40B4-BE49-F238E27FC236}">
                    <a16:creationId xmlns:a16="http://schemas.microsoft.com/office/drawing/2014/main" id="{01600F86-D3E6-FF74-4420-B46E1760BC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5702" y="3914766"/>
                <a:ext cx="19784" cy="31090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8 h 55"/>
                  <a:gd name="T12" fmla="*/ 35 w 35"/>
                  <a:gd name="T13" fmla="*/ 48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8 h 55"/>
                  <a:gd name="T20" fmla="*/ 16 w 35"/>
                  <a:gd name="T21" fmla="*/ 48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96" name="Freeform 110">
                <a:extLst>
                  <a:ext uri="{FF2B5EF4-FFF2-40B4-BE49-F238E27FC236}">
                    <a16:creationId xmlns:a16="http://schemas.microsoft.com/office/drawing/2014/main" id="{8B041D2C-876B-F674-BAF6-C4B1468EBD1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4006" y="3968466"/>
                <a:ext cx="25437" cy="33351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3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1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3 h 25"/>
                  <a:gd name="T18" fmla="*/ 10 w 19"/>
                  <a:gd name="T19" fmla="*/ 21 h 25"/>
                  <a:gd name="T20" fmla="*/ 14 w 19"/>
                  <a:gd name="T21" fmla="*/ 13 h 25"/>
                  <a:gd name="T22" fmla="*/ 10 w 19"/>
                  <a:gd name="T23" fmla="*/ 5 h 25"/>
                  <a:gd name="T24" fmla="*/ 6 w 19"/>
                  <a:gd name="T25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7"/>
                      <a:pt x="19" y="9"/>
                      <a:pt x="19" y="13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1"/>
                    </a:cubicBezTo>
                    <a:cubicBezTo>
                      <a:pt x="1" y="19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3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3"/>
                    </a:cubicBezTo>
                    <a:cubicBezTo>
                      <a:pt x="14" y="7"/>
                      <a:pt x="12" y="5"/>
                      <a:pt x="10" y="5"/>
                    </a:cubicBezTo>
                    <a:cubicBezTo>
                      <a:pt x="7" y="5"/>
                      <a:pt x="6" y="7"/>
                      <a:pt x="6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97" name="Freeform 111">
                <a:extLst>
                  <a:ext uri="{FF2B5EF4-FFF2-40B4-BE49-F238E27FC236}">
                    <a16:creationId xmlns:a16="http://schemas.microsoft.com/office/drawing/2014/main" id="{83489619-C0D5-D985-8E6F-D8C540CA9B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5702" y="4024428"/>
                <a:ext cx="19784" cy="30524"/>
              </a:xfrm>
              <a:custGeom>
                <a:avLst/>
                <a:gdLst>
                  <a:gd name="T0" fmla="*/ 16 w 35"/>
                  <a:gd name="T1" fmla="*/ 12 h 54"/>
                  <a:gd name="T2" fmla="*/ 7 w 35"/>
                  <a:gd name="T3" fmla="*/ 19 h 54"/>
                  <a:gd name="T4" fmla="*/ 0 w 35"/>
                  <a:gd name="T5" fmla="*/ 9 h 54"/>
                  <a:gd name="T6" fmla="*/ 19 w 35"/>
                  <a:gd name="T7" fmla="*/ 0 h 54"/>
                  <a:gd name="T8" fmla="*/ 28 w 35"/>
                  <a:gd name="T9" fmla="*/ 0 h 54"/>
                  <a:gd name="T10" fmla="*/ 28 w 35"/>
                  <a:gd name="T11" fmla="*/ 47 h 54"/>
                  <a:gd name="T12" fmla="*/ 35 w 35"/>
                  <a:gd name="T13" fmla="*/ 47 h 54"/>
                  <a:gd name="T14" fmla="*/ 35 w 35"/>
                  <a:gd name="T15" fmla="*/ 54 h 54"/>
                  <a:gd name="T16" fmla="*/ 9 w 35"/>
                  <a:gd name="T17" fmla="*/ 54 h 54"/>
                  <a:gd name="T18" fmla="*/ 9 w 35"/>
                  <a:gd name="T19" fmla="*/ 47 h 54"/>
                  <a:gd name="T20" fmla="*/ 16 w 35"/>
                  <a:gd name="T21" fmla="*/ 47 h 54"/>
                  <a:gd name="T22" fmla="*/ 16 w 35"/>
                  <a:gd name="T23" fmla="*/ 1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4">
                    <a:moveTo>
                      <a:pt x="16" y="12"/>
                    </a:moveTo>
                    <a:lnTo>
                      <a:pt x="7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4"/>
                    </a:lnTo>
                    <a:lnTo>
                      <a:pt x="9" y="54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98" name="Freeform 112">
                <a:extLst>
                  <a:ext uri="{FF2B5EF4-FFF2-40B4-BE49-F238E27FC236}">
                    <a16:creationId xmlns:a16="http://schemas.microsoft.com/office/drawing/2014/main" id="{773430D9-1E5B-0729-82EC-DA7D57608B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4006" y="4078128"/>
                <a:ext cx="25437" cy="33351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3 h 25"/>
                  <a:gd name="T4" fmla="*/ 17 w 19"/>
                  <a:gd name="T5" fmla="*/ 22 h 25"/>
                  <a:gd name="T6" fmla="*/ 10 w 19"/>
                  <a:gd name="T7" fmla="*/ 25 h 25"/>
                  <a:gd name="T8" fmla="*/ 2 w 19"/>
                  <a:gd name="T9" fmla="*/ 21 h 25"/>
                  <a:gd name="T10" fmla="*/ 0 w 19"/>
                  <a:gd name="T11" fmla="*/ 13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3 h 25"/>
                  <a:gd name="T18" fmla="*/ 10 w 19"/>
                  <a:gd name="T19" fmla="*/ 21 h 25"/>
                  <a:gd name="T20" fmla="*/ 14 w 19"/>
                  <a:gd name="T21" fmla="*/ 13 h 25"/>
                  <a:gd name="T22" fmla="*/ 10 w 19"/>
                  <a:gd name="T23" fmla="*/ 5 h 25"/>
                  <a:gd name="T24" fmla="*/ 6 w 19"/>
                  <a:gd name="T25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7"/>
                      <a:pt x="19" y="9"/>
                      <a:pt x="19" y="13"/>
                    </a:cubicBezTo>
                    <a:cubicBezTo>
                      <a:pt x="19" y="17"/>
                      <a:pt x="18" y="20"/>
                      <a:pt x="17" y="22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1"/>
                    </a:cubicBezTo>
                    <a:cubicBezTo>
                      <a:pt x="1" y="19"/>
                      <a:pt x="0" y="16"/>
                      <a:pt x="0" y="13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3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3"/>
                    </a:cubicBezTo>
                    <a:cubicBezTo>
                      <a:pt x="14" y="7"/>
                      <a:pt x="12" y="5"/>
                      <a:pt x="10" y="5"/>
                    </a:cubicBezTo>
                    <a:cubicBezTo>
                      <a:pt x="7" y="5"/>
                      <a:pt x="6" y="7"/>
                      <a:pt x="6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99" name="Freeform 113">
                <a:extLst>
                  <a:ext uri="{FF2B5EF4-FFF2-40B4-BE49-F238E27FC236}">
                    <a16:creationId xmlns:a16="http://schemas.microsoft.com/office/drawing/2014/main" id="{4B7DD9F3-44E6-63B0-9A7A-8791979662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5702" y="4134089"/>
                <a:ext cx="19784" cy="31655"/>
              </a:xfrm>
              <a:custGeom>
                <a:avLst/>
                <a:gdLst>
                  <a:gd name="T0" fmla="*/ 16 w 35"/>
                  <a:gd name="T1" fmla="*/ 12 h 56"/>
                  <a:gd name="T2" fmla="*/ 7 w 35"/>
                  <a:gd name="T3" fmla="*/ 19 h 56"/>
                  <a:gd name="T4" fmla="*/ 0 w 35"/>
                  <a:gd name="T5" fmla="*/ 9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2"/>
                    </a:moveTo>
                    <a:lnTo>
                      <a:pt x="7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00" name="Freeform 114">
                <a:extLst>
                  <a:ext uri="{FF2B5EF4-FFF2-40B4-BE49-F238E27FC236}">
                    <a16:creationId xmlns:a16="http://schemas.microsoft.com/office/drawing/2014/main" id="{07CA3DDB-14B0-20B9-016E-120F4AD827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5702" y="4188920"/>
                <a:ext cx="19784" cy="31655"/>
              </a:xfrm>
              <a:custGeom>
                <a:avLst/>
                <a:gdLst>
                  <a:gd name="T0" fmla="*/ 16 w 35"/>
                  <a:gd name="T1" fmla="*/ 11 h 56"/>
                  <a:gd name="T2" fmla="*/ 7 w 35"/>
                  <a:gd name="T3" fmla="*/ 18 h 56"/>
                  <a:gd name="T4" fmla="*/ 0 w 35"/>
                  <a:gd name="T5" fmla="*/ 9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1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1"/>
                    </a:moveTo>
                    <a:lnTo>
                      <a:pt x="7" y="18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01" name="Freeform 115">
                <a:extLst>
                  <a:ext uri="{FF2B5EF4-FFF2-40B4-BE49-F238E27FC236}">
                    <a16:creationId xmlns:a16="http://schemas.microsoft.com/office/drawing/2014/main" id="{47E0DBA1-971F-9D30-D5E6-66600268C7B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4006" y="4243185"/>
                <a:ext cx="25437" cy="32220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8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5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7"/>
                      <a:pt x="7" y="20"/>
                      <a:pt x="10" y="20"/>
                    </a:cubicBezTo>
                    <a:cubicBezTo>
                      <a:pt x="12" y="20"/>
                      <a:pt x="14" y="17"/>
                      <a:pt x="14" y="12"/>
                    </a:cubicBezTo>
                    <a:cubicBezTo>
                      <a:pt x="14" y="6"/>
                      <a:pt x="12" y="4"/>
                      <a:pt x="10" y="4"/>
                    </a:cubicBezTo>
                    <a:cubicBezTo>
                      <a:pt x="7" y="4"/>
                      <a:pt x="6" y="6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02" name="Freeform 116">
                <a:extLst>
                  <a:ext uri="{FF2B5EF4-FFF2-40B4-BE49-F238E27FC236}">
                    <a16:creationId xmlns:a16="http://schemas.microsoft.com/office/drawing/2014/main" id="{83EB5EE8-DF2E-551F-DDC6-9BD6D9CA334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4006" y="4298016"/>
                <a:ext cx="25437" cy="32220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8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5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7"/>
                      <a:pt x="7" y="20"/>
                      <a:pt x="10" y="20"/>
                    </a:cubicBezTo>
                    <a:cubicBezTo>
                      <a:pt x="12" y="20"/>
                      <a:pt x="14" y="17"/>
                      <a:pt x="14" y="12"/>
                    </a:cubicBezTo>
                    <a:cubicBezTo>
                      <a:pt x="14" y="6"/>
                      <a:pt x="12" y="4"/>
                      <a:pt x="10" y="4"/>
                    </a:cubicBezTo>
                    <a:cubicBezTo>
                      <a:pt x="7" y="4"/>
                      <a:pt x="6" y="6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03" name="Freeform 117">
                <a:extLst>
                  <a:ext uri="{FF2B5EF4-FFF2-40B4-BE49-F238E27FC236}">
                    <a16:creationId xmlns:a16="http://schemas.microsoft.com/office/drawing/2014/main" id="{04F6D091-0C01-4FCA-B882-68E27AEE365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4006" y="4352847"/>
                <a:ext cx="25437" cy="32220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8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5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7"/>
                      <a:pt x="7" y="20"/>
                      <a:pt x="10" y="20"/>
                    </a:cubicBezTo>
                    <a:cubicBezTo>
                      <a:pt x="12" y="20"/>
                      <a:pt x="14" y="17"/>
                      <a:pt x="14" y="12"/>
                    </a:cubicBezTo>
                    <a:cubicBezTo>
                      <a:pt x="14" y="6"/>
                      <a:pt x="12" y="4"/>
                      <a:pt x="10" y="4"/>
                    </a:cubicBezTo>
                    <a:cubicBezTo>
                      <a:pt x="7" y="4"/>
                      <a:pt x="6" y="6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04" name="Freeform 118">
                <a:extLst>
                  <a:ext uri="{FF2B5EF4-FFF2-40B4-BE49-F238E27FC236}">
                    <a16:creationId xmlns:a16="http://schemas.microsoft.com/office/drawing/2014/main" id="{1C4C9B5B-4BB1-E4EB-23CF-CF943E8E24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5702" y="4407678"/>
                <a:ext cx="19784" cy="32220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05" name="Freeform 119">
                <a:extLst>
                  <a:ext uri="{FF2B5EF4-FFF2-40B4-BE49-F238E27FC236}">
                    <a16:creationId xmlns:a16="http://schemas.microsoft.com/office/drawing/2014/main" id="{FB595CBF-BA9F-1457-A5B5-8D93894909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4006" y="4462509"/>
                <a:ext cx="25437" cy="32220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8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5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6"/>
                      <a:pt x="12" y="4"/>
                      <a:pt x="10" y="4"/>
                    </a:cubicBezTo>
                    <a:cubicBezTo>
                      <a:pt x="7" y="4"/>
                      <a:pt x="6" y="6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06" name="Freeform 135">
                <a:extLst>
                  <a:ext uri="{FF2B5EF4-FFF2-40B4-BE49-F238E27FC236}">
                    <a16:creationId xmlns:a16="http://schemas.microsoft.com/office/drawing/2014/main" id="{E854255D-0956-8BEC-2CC9-5DD9B25A6A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9945" y="3284495"/>
                <a:ext cx="22611" cy="41830"/>
              </a:xfrm>
              <a:custGeom>
                <a:avLst/>
                <a:gdLst>
                  <a:gd name="T0" fmla="*/ 19 w 40"/>
                  <a:gd name="T1" fmla="*/ 14 h 74"/>
                  <a:gd name="T2" fmla="*/ 4 w 40"/>
                  <a:gd name="T3" fmla="*/ 24 h 74"/>
                  <a:gd name="T4" fmla="*/ 0 w 40"/>
                  <a:gd name="T5" fmla="*/ 14 h 74"/>
                  <a:gd name="T6" fmla="*/ 21 w 40"/>
                  <a:gd name="T7" fmla="*/ 0 h 74"/>
                  <a:gd name="T8" fmla="*/ 30 w 40"/>
                  <a:gd name="T9" fmla="*/ 0 h 74"/>
                  <a:gd name="T10" fmla="*/ 30 w 40"/>
                  <a:gd name="T11" fmla="*/ 64 h 74"/>
                  <a:gd name="T12" fmla="*/ 40 w 40"/>
                  <a:gd name="T13" fmla="*/ 64 h 74"/>
                  <a:gd name="T14" fmla="*/ 40 w 40"/>
                  <a:gd name="T15" fmla="*/ 74 h 74"/>
                  <a:gd name="T16" fmla="*/ 9 w 40"/>
                  <a:gd name="T17" fmla="*/ 74 h 74"/>
                  <a:gd name="T18" fmla="*/ 9 w 40"/>
                  <a:gd name="T19" fmla="*/ 64 h 74"/>
                  <a:gd name="T20" fmla="*/ 19 w 40"/>
                  <a:gd name="T21" fmla="*/ 64 h 74"/>
                  <a:gd name="T22" fmla="*/ 19 w 40"/>
                  <a:gd name="T23" fmla="*/ 1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4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4"/>
                    </a:lnTo>
                    <a:lnTo>
                      <a:pt x="9" y="74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07" name="Freeform 136">
                <a:extLst>
                  <a:ext uri="{FF2B5EF4-FFF2-40B4-BE49-F238E27FC236}">
                    <a16:creationId xmlns:a16="http://schemas.microsoft.com/office/drawing/2014/main" id="{194CDAB6-5B91-4A00-E12C-1418DF1A475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18250" y="3355153"/>
                <a:ext cx="28263" cy="42960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8 h 32"/>
                  <a:gd name="T14" fmla="*/ 16 w 21"/>
                  <a:gd name="T15" fmla="*/ 16 h 32"/>
                  <a:gd name="T16" fmla="*/ 10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0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0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08" name="Freeform 137">
                <a:extLst>
                  <a:ext uri="{FF2B5EF4-FFF2-40B4-BE49-F238E27FC236}">
                    <a16:creationId xmlns:a16="http://schemas.microsoft.com/office/drawing/2014/main" id="{F56E1305-5B38-FF4F-A5DB-317B4B0E885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18250" y="3498165"/>
                <a:ext cx="28263" cy="42960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6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09" name="Freeform 138">
                <a:extLst>
                  <a:ext uri="{FF2B5EF4-FFF2-40B4-BE49-F238E27FC236}">
                    <a16:creationId xmlns:a16="http://schemas.microsoft.com/office/drawing/2014/main" id="{2737AE15-7A72-521E-B0AA-491FC66521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9945" y="3570519"/>
                <a:ext cx="22611" cy="40134"/>
              </a:xfrm>
              <a:custGeom>
                <a:avLst/>
                <a:gdLst>
                  <a:gd name="T0" fmla="*/ 19 w 40"/>
                  <a:gd name="T1" fmla="*/ 12 h 71"/>
                  <a:gd name="T2" fmla="*/ 4 w 40"/>
                  <a:gd name="T3" fmla="*/ 21 h 71"/>
                  <a:gd name="T4" fmla="*/ 0 w 40"/>
                  <a:gd name="T5" fmla="*/ 12 h 71"/>
                  <a:gd name="T6" fmla="*/ 21 w 40"/>
                  <a:gd name="T7" fmla="*/ 0 h 71"/>
                  <a:gd name="T8" fmla="*/ 30 w 40"/>
                  <a:gd name="T9" fmla="*/ 0 h 71"/>
                  <a:gd name="T10" fmla="*/ 30 w 40"/>
                  <a:gd name="T11" fmla="*/ 64 h 71"/>
                  <a:gd name="T12" fmla="*/ 40 w 40"/>
                  <a:gd name="T13" fmla="*/ 64 h 71"/>
                  <a:gd name="T14" fmla="*/ 40 w 40"/>
                  <a:gd name="T15" fmla="*/ 71 h 71"/>
                  <a:gd name="T16" fmla="*/ 9 w 40"/>
                  <a:gd name="T17" fmla="*/ 71 h 71"/>
                  <a:gd name="T18" fmla="*/ 9 w 40"/>
                  <a:gd name="T19" fmla="*/ 64 h 71"/>
                  <a:gd name="T20" fmla="*/ 19 w 40"/>
                  <a:gd name="T21" fmla="*/ 64 h 71"/>
                  <a:gd name="T22" fmla="*/ 19 w 40"/>
                  <a:gd name="T23" fmla="*/ 1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1">
                    <a:moveTo>
                      <a:pt x="19" y="12"/>
                    </a:moveTo>
                    <a:lnTo>
                      <a:pt x="4" y="21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1"/>
                    </a:lnTo>
                    <a:lnTo>
                      <a:pt x="9" y="71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10" name="Freeform 139">
                <a:extLst>
                  <a:ext uri="{FF2B5EF4-FFF2-40B4-BE49-F238E27FC236}">
                    <a16:creationId xmlns:a16="http://schemas.microsoft.com/office/drawing/2014/main" id="{AA64F828-75AE-9C77-E679-AAD1A025E9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9945" y="3641177"/>
                <a:ext cx="22611" cy="4126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11" name="Freeform 140">
                <a:extLst>
                  <a:ext uri="{FF2B5EF4-FFF2-40B4-BE49-F238E27FC236}">
                    <a16:creationId xmlns:a16="http://schemas.microsoft.com/office/drawing/2014/main" id="{E5C80AC9-34F4-05DE-B0BF-E155B2BAEC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9945" y="3711836"/>
                <a:ext cx="22611" cy="4126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12" name="Freeform 141">
                <a:extLst>
                  <a:ext uri="{FF2B5EF4-FFF2-40B4-BE49-F238E27FC236}">
                    <a16:creationId xmlns:a16="http://schemas.microsoft.com/office/drawing/2014/main" id="{82FF8B92-7AA7-D4C8-F4A5-B56DA61258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9945" y="3784190"/>
                <a:ext cx="22611" cy="4126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1 h 73"/>
                  <a:gd name="T4" fmla="*/ 0 w 40"/>
                  <a:gd name="T5" fmla="*/ 12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1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13" name="Freeform 142">
                <a:extLst>
                  <a:ext uri="{FF2B5EF4-FFF2-40B4-BE49-F238E27FC236}">
                    <a16:creationId xmlns:a16="http://schemas.microsoft.com/office/drawing/2014/main" id="{0F4A5B93-0DD6-CA6E-0E3F-DD6053BBE4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18250" y="3854848"/>
                <a:ext cx="28263" cy="41265"/>
              </a:xfrm>
              <a:custGeom>
                <a:avLst/>
                <a:gdLst>
                  <a:gd name="T0" fmla="*/ 21 w 21"/>
                  <a:gd name="T1" fmla="*/ 15 h 31"/>
                  <a:gd name="T2" fmla="*/ 10 w 21"/>
                  <a:gd name="T3" fmla="*/ 31 h 31"/>
                  <a:gd name="T4" fmla="*/ 0 w 21"/>
                  <a:gd name="T5" fmla="*/ 15 h 31"/>
                  <a:gd name="T6" fmla="*/ 10 w 21"/>
                  <a:gd name="T7" fmla="*/ 0 h 31"/>
                  <a:gd name="T8" fmla="*/ 21 w 21"/>
                  <a:gd name="T9" fmla="*/ 15 h 31"/>
                  <a:gd name="T10" fmla="*/ 5 w 21"/>
                  <a:gd name="T11" fmla="*/ 15 h 31"/>
                  <a:gd name="T12" fmla="*/ 10 w 21"/>
                  <a:gd name="T13" fmla="*/ 27 h 31"/>
                  <a:gd name="T14" fmla="*/ 16 w 21"/>
                  <a:gd name="T15" fmla="*/ 15 h 31"/>
                  <a:gd name="T16" fmla="*/ 10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5"/>
                    </a:moveTo>
                    <a:cubicBezTo>
                      <a:pt x="21" y="26"/>
                      <a:pt x="18" y="31"/>
                      <a:pt x="10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5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0" y="27"/>
                    </a:cubicBezTo>
                    <a:cubicBezTo>
                      <a:pt x="14" y="27"/>
                      <a:pt x="16" y="23"/>
                      <a:pt x="16" y="15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14" name="Freeform 143">
                <a:extLst>
                  <a:ext uri="{FF2B5EF4-FFF2-40B4-BE49-F238E27FC236}">
                    <a16:creationId xmlns:a16="http://schemas.microsoft.com/office/drawing/2014/main" id="{284378CC-C43A-9018-CDAF-B203C8DEF7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18250" y="3925506"/>
                <a:ext cx="28263" cy="42960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15" name="Freeform 144">
                <a:extLst>
                  <a:ext uri="{FF2B5EF4-FFF2-40B4-BE49-F238E27FC236}">
                    <a16:creationId xmlns:a16="http://schemas.microsoft.com/office/drawing/2014/main" id="{DCE64A6A-ADDF-8E6A-7D40-BC4B0F3903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18250" y="4209835"/>
                <a:ext cx="28263" cy="42960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8 h 32"/>
                  <a:gd name="T14" fmla="*/ 16 w 21"/>
                  <a:gd name="T15" fmla="*/ 16 h 32"/>
                  <a:gd name="T16" fmla="*/ 10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0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0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16" name="Freeform 145">
                <a:extLst>
                  <a:ext uri="{FF2B5EF4-FFF2-40B4-BE49-F238E27FC236}">
                    <a16:creationId xmlns:a16="http://schemas.microsoft.com/office/drawing/2014/main" id="{FB3DA7EA-E65E-FE6A-2100-D8DCDB7543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18250" y="4282189"/>
                <a:ext cx="28263" cy="41265"/>
              </a:xfrm>
              <a:custGeom>
                <a:avLst/>
                <a:gdLst>
                  <a:gd name="T0" fmla="*/ 21 w 21"/>
                  <a:gd name="T1" fmla="*/ 16 h 31"/>
                  <a:gd name="T2" fmla="*/ 10 w 21"/>
                  <a:gd name="T3" fmla="*/ 31 h 31"/>
                  <a:gd name="T4" fmla="*/ 0 w 21"/>
                  <a:gd name="T5" fmla="*/ 15 h 31"/>
                  <a:gd name="T6" fmla="*/ 10 w 21"/>
                  <a:gd name="T7" fmla="*/ 0 h 31"/>
                  <a:gd name="T8" fmla="*/ 21 w 21"/>
                  <a:gd name="T9" fmla="*/ 16 h 31"/>
                  <a:gd name="T10" fmla="*/ 5 w 21"/>
                  <a:gd name="T11" fmla="*/ 15 h 31"/>
                  <a:gd name="T12" fmla="*/ 10 w 21"/>
                  <a:gd name="T13" fmla="*/ 27 h 31"/>
                  <a:gd name="T14" fmla="*/ 16 w 21"/>
                  <a:gd name="T15" fmla="*/ 16 h 31"/>
                  <a:gd name="T16" fmla="*/ 10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0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0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17" name="Freeform 146">
                <a:extLst>
                  <a:ext uri="{FF2B5EF4-FFF2-40B4-BE49-F238E27FC236}">
                    <a16:creationId xmlns:a16="http://schemas.microsoft.com/office/drawing/2014/main" id="{F0481A32-0B3C-2C9C-70D3-7651826E4B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18250" y="4352847"/>
                <a:ext cx="28263" cy="42960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18" name="Freeform 147">
                <a:extLst>
                  <a:ext uri="{FF2B5EF4-FFF2-40B4-BE49-F238E27FC236}">
                    <a16:creationId xmlns:a16="http://schemas.microsoft.com/office/drawing/2014/main" id="{AC4E2B38-DC90-781E-9B95-01E78B8167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9945" y="4425201"/>
                <a:ext cx="22611" cy="4126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3 h 73"/>
                  <a:gd name="T4" fmla="*/ 0 w 40"/>
                  <a:gd name="T5" fmla="*/ 12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3 h 73"/>
                  <a:gd name="T12" fmla="*/ 40 w 40"/>
                  <a:gd name="T13" fmla="*/ 63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3 h 73"/>
                  <a:gd name="T20" fmla="*/ 19 w 40"/>
                  <a:gd name="T21" fmla="*/ 63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3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3"/>
                    </a:lnTo>
                    <a:lnTo>
                      <a:pt x="40" y="63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3"/>
                    </a:lnTo>
                    <a:lnTo>
                      <a:pt x="19" y="63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19" name="Freeform 149">
                <a:extLst>
                  <a:ext uri="{FF2B5EF4-FFF2-40B4-BE49-F238E27FC236}">
                    <a16:creationId xmlns:a16="http://schemas.microsoft.com/office/drawing/2014/main" id="{C40D1865-2F0E-8918-D83C-682C924E5B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7759" y="3151092"/>
                <a:ext cx="34481" cy="61614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20" name="Freeform 150">
                <a:extLst>
                  <a:ext uri="{FF2B5EF4-FFF2-40B4-BE49-F238E27FC236}">
                    <a16:creationId xmlns:a16="http://schemas.microsoft.com/office/drawing/2014/main" id="{D5176CE0-23C9-0AD3-F618-AB2ED31CDC8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74932" y="3256797"/>
                <a:ext cx="42960" cy="63875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21" name="Freeform 151">
                <a:extLst>
                  <a:ext uri="{FF2B5EF4-FFF2-40B4-BE49-F238E27FC236}">
                    <a16:creationId xmlns:a16="http://schemas.microsoft.com/office/drawing/2014/main" id="{2587CA79-66DD-E359-F4CB-0763CFF764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7759" y="3364762"/>
                <a:ext cx="34481" cy="61614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22" name="Freeform 152">
                <a:extLst>
                  <a:ext uri="{FF2B5EF4-FFF2-40B4-BE49-F238E27FC236}">
                    <a16:creationId xmlns:a16="http://schemas.microsoft.com/office/drawing/2014/main" id="{C7BF4B79-01E3-71D7-ED59-3F18C296612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74932" y="3470467"/>
                <a:ext cx="42960" cy="63875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23" name="Freeform 153">
                <a:extLst>
                  <a:ext uri="{FF2B5EF4-FFF2-40B4-BE49-F238E27FC236}">
                    <a16:creationId xmlns:a16="http://schemas.microsoft.com/office/drawing/2014/main" id="{B21124A5-62A3-AABA-54B0-50087CCE15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7759" y="3578433"/>
                <a:ext cx="34481" cy="61614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24" name="Freeform 154">
                <a:extLst>
                  <a:ext uri="{FF2B5EF4-FFF2-40B4-BE49-F238E27FC236}">
                    <a16:creationId xmlns:a16="http://schemas.microsoft.com/office/drawing/2014/main" id="{7D0739EE-8547-BA79-07DB-8BA457D510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7759" y="3685268"/>
                <a:ext cx="34481" cy="61614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25" name="Freeform 155">
                <a:extLst>
                  <a:ext uri="{FF2B5EF4-FFF2-40B4-BE49-F238E27FC236}">
                    <a16:creationId xmlns:a16="http://schemas.microsoft.com/office/drawing/2014/main" id="{2A89363E-8E46-E7C2-9941-A1F2F6F651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7759" y="3792103"/>
                <a:ext cx="34481" cy="61614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7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7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7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7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26" name="Freeform 156">
                <a:extLst>
                  <a:ext uri="{FF2B5EF4-FFF2-40B4-BE49-F238E27FC236}">
                    <a16:creationId xmlns:a16="http://schemas.microsoft.com/office/drawing/2014/main" id="{D2B6AADE-29AF-34AF-6F68-1C71886AB3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7759" y="3898938"/>
                <a:ext cx="34481" cy="61614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5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7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7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5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7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7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27" name="Freeform 157">
                <a:extLst>
                  <a:ext uri="{FF2B5EF4-FFF2-40B4-BE49-F238E27FC236}">
                    <a16:creationId xmlns:a16="http://schemas.microsoft.com/office/drawing/2014/main" id="{73F32051-B735-BA78-6070-32C041D01E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74932" y="4004643"/>
                <a:ext cx="42960" cy="63875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28" name="Freeform 158">
                <a:extLst>
                  <a:ext uri="{FF2B5EF4-FFF2-40B4-BE49-F238E27FC236}">
                    <a16:creationId xmlns:a16="http://schemas.microsoft.com/office/drawing/2014/main" id="{943398CC-B0AD-2E76-EBE7-A8A7F65221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74932" y="4111478"/>
                <a:ext cx="42960" cy="63875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2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2"/>
                      <a:pt x="16" y="42"/>
                    </a:cubicBezTo>
                    <a:cubicBezTo>
                      <a:pt x="22" y="42"/>
                      <a:pt x="24" y="36"/>
                      <a:pt x="24" y="24"/>
                    </a:cubicBezTo>
                    <a:cubicBezTo>
                      <a:pt x="24" y="13"/>
                      <a:pt x="22" y="7"/>
                      <a:pt x="16" y="7"/>
                    </a:cubicBezTo>
                    <a:cubicBezTo>
                      <a:pt x="11" y="7"/>
                      <a:pt x="8" y="13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29" name="Freeform 159">
                <a:extLst>
                  <a:ext uri="{FF2B5EF4-FFF2-40B4-BE49-F238E27FC236}">
                    <a16:creationId xmlns:a16="http://schemas.microsoft.com/office/drawing/2014/main" id="{1468D80A-3694-8946-1CBE-60E26C562DB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74932" y="4218314"/>
                <a:ext cx="42960" cy="63875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2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2"/>
                      <a:pt x="16" y="42"/>
                    </a:cubicBezTo>
                    <a:cubicBezTo>
                      <a:pt x="22" y="42"/>
                      <a:pt x="24" y="36"/>
                      <a:pt x="24" y="24"/>
                    </a:cubicBezTo>
                    <a:cubicBezTo>
                      <a:pt x="24" y="13"/>
                      <a:pt x="22" y="7"/>
                      <a:pt x="16" y="7"/>
                    </a:cubicBezTo>
                    <a:cubicBezTo>
                      <a:pt x="11" y="7"/>
                      <a:pt x="8" y="13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30" name="Freeform 160">
                <a:extLst>
                  <a:ext uri="{FF2B5EF4-FFF2-40B4-BE49-F238E27FC236}">
                    <a16:creationId xmlns:a16="http://schemas.microsoft.com/office/drawing/2014/main" id="{0F220CE2-5CAC-DA33-C5DD-B20D7155B0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74932" y="4325149"/>
                <a:ext cx="42960" cy="63875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2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1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2"/>
                      <a:pt x="16" y="42"/>
                    </a:cubicBezTo>
                    <a:cubicBezTo>
                      <a:pt x="22" y="42"/>
                      <a:pt x="24" y="36"/>
                      <a:pt x="24" y="24"/>
                    </a:cubicBezTo>
                    <a:cubicBezTo>
                      <a:pt x="24" y="13"/>
                      <a:pt x="22" y="7"/>
                      <a:pt x="16" y="7"/>
                    </a:cubicBezTo>
                    <a:cubicBezTo>
                      <a:pt x="11" y="7"/>
                      <a:pt x="8" y="13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31" name="Freeform 161">
                <a:extLst>
                  <a:ext uri="{FF2B5EF4-FFF2-40B4-BE49-F238E27FC236}">
                    <a16:creationId xmlns:a16="http://schemas.microsoft.com/office/drawing/2014/main" id="{988CE084-AEC9-DEE1-BF2C-AE1145E0B7B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74932" y="4433115"/>
                <a:ext cx="42960" cy="62745"/>
              </a:xfrm>
              <a:custGeom>
                <a:avLst/>
                <a:gdLst>
                  <a:gd name="T0" fmla="*/ 32 w 32"/>
                  <a:gd name="T1" fmla="*/ 23 h 47"/>
                  <a:gd name="T2" fmla="*/ 16 w 32"/>
                  <a:gd name="T3" fmla="*/ 47 h 47"/>
                  <a:gd name="T4" fmla="*/ 0 w 32"/>
                  <a:gd name="T5" fmla="*/ 23 h 47"/>
                  <a:gd name="T6" fmla="*/ 16 w 32"/>
                  <a:gd name="T7" fmla="*/ 0 h 47"/>
                  <a:gd name="T8" fmla="*/ 32 w 32"/>
                  <a:gd name="T9" fmla="*/ 23 h 47"/>
                  <a:gd name="T10" fmla="*/ 8 w 32"/>
                  <a:gd name="T11" fmla="*/ 23 h 47"/>
                  <a:gd name="T12" fmla="*/ 16 w 32"/>
                  <a:gd name="T13" fmla="*/ 41 h 47"/>
                  <a:gd name="T14" fmla="*/ 24 w 32"/>
                  <a:gd name="T15" fmla="*/ 23 h 47"/>
                  <a:gd name="T16" fmla="*/ 16 w 32"/>
                  <a:gd name="T17" fmla="*/ 6 h 47"/>
                  <a:gd name="T18" fmla="*/ 8 w 32"/>
                  <a:gd name="T19" fmla="*/ 2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7">
                    <a:moveTo>
                      <a:pt x="32" y="23"/>
                    </a:moveTo>
                    <a:cubicBezTo>
                      <a:pt x="32" y="39"/>
                      <a:pt x="27" y="47"/>
                      <a:pt x="16" y="47"/>
                    </a:cubicBezTo>
                    <a:cubicBezTo>
                      <a:pt x="5" y="47"/>
                      <a:pt x="0" y="40"/>
                      <a:pt x="0" y="23"/>
                    </a:cubicBezTo>
                    <a:cubicBezTo>
                      <a:pt x="0" y="7"/>
                      <a:pt x="5" y="0"/>
                      <a:pt x="16" y="0"/>
                    </a:cubicBezTo>
                    <a:cubicBezTo>
                      <a:pt x="27" y="0"/>
                      <a:pt x="32" y="7"/>
                      <a:pt x="32" y="23"/>
                    </a:cubicBezTo>
                    <a:close/>
                    <a:moveTo>
                      <a:pt x="8" y="23"/>
                    </a:moveTo>
                    <a:cubicBezTo>
                      <a:pt x="8" y="35"/>
                      <a:pt x="11" y="41"/>
                      <a:pt x="16" y="41"/>
                    </a:cubicBezTo>
                    <a:cubicBezTo>
                      <a:pt x="22" y="41"/>
                      <a:pt x="24" y="35"/>
                      <a:pt x="24" y="23"/>
                    </a:cubicBezTo>
                    <a:cubicBezTo>
                      <a:pt x="24" y="12"/>
                      <a:pt x="22" y="6"/>
                      <a:pt x="16" y="6"/>
                    </a:cubicBezTo>
                    <a:cubicBezTo>
                      <a:pt x="11" y="6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32" name="Line 8">
                <a:extLst>
                  <a:ext uri="{FF2B5EF4-FFF2-40B4-BE49-F238E27FC236}">
                    <a16:creationId xmlns:a16="http://schemas.microsoft.com/office/drawing/2014/main" id="{0EE56ADE-93CA-16ED-7B2B-CC99E914AF6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623106" y="3979773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33" name="Line 9">
                <a:extLst>
                  <a:ext uri="{FF2B5EF4-FFF2-40B4-BE49-F238E27FC236}">
                    <a16:creationId xmlns:a16="http://schemas.microsoft.com/office/drawing/2014/main" id="{C3CEC000-349A-D80F-9047-BEDF2906102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623106" y="3979773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34" name="Freeform 10">
                <a:extLst>
                  <a:ext uri="{FF2B5EF4-FFF2-40B4-BE49-F238E27FC236}">
                    <a16:creationId xmlns:a16="http://schemas.microsoft.com/office/drawing/2014/main" id="{10E545FF-6DCA-A4B8-F4F5-D2C3F37A9A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60466" y="4380547"/>
                <a:ext cx="37308" cy="58788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8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7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7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8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7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7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35" name="Freeform 11">
                <a:extLst>
                  <a:ext uri="{FF2B5EF4-FFF2-40B4-BE49-F238E27FC236}">
                    <a16:creationId xmlns:a16="http://schemas.microsoft.com/office/drawing/2014/main" id="{E6AB307A-DC3C-8949-F40C-1CF74483558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55378" y="4480599"/>
                <a:ext cx="45221" cy="61614"/>
              </a:xfrm>
              <a:custGeom>
                <a:avLst/>
                <a:gdLst>
                  <a:gd name="T0" fmla="*/ 32 w 34"/>
                  <a:gd name="T1" fmla="*/ 8 h 46"/>
                  <a:gd name="T2" fmla="*/ 34 w 34"/>
                  <a:gd name="T3" fmla="*/ 23 h 46"/>
                  <a:gd name="T4" fmla="*/ 31 w 34"/>
                  <a:gd name="T5" fmla="*/ 39 h 46"/>
                  <a:gd name="T6" fmla="*/ 17 w 34"/>
                  <a:gd name="T7" fmla="*/ 46 h 46"/>
                  <a:gd name="T8" fmla="*/ 3 w 34"/>
                  <a:gd name="T9" fmla="*/ 37 h 46"/>
                  <a:gd name="T10" fmla="*/ 0 w 34"/>
                  <a:gd name="T11" fmla="*/ 23 h 46"/>
                  <a:gd name="T12" fmla="*/ 17 w 34"/>
                  <a:gd name="T13" fmla="*/ 0 h 46"/>
                  <a:gd name="T14" fmla="*/ 32 w 34"/>
                  <a:gd name="T15" fmla="*/ 8 h 46"/>
                  <a:gd name="T16" fmla="*/ 10 w 34"/>
                  <a:gd name="T17" fmla="*/ 23 h 46"/>
                  <a:gd name="T18" fmla="*/ 17 w 34"/>
                  <a:gd name="T19" fmla="*/ 38 h 46"/>
                  <a:gd name="T20" fmla="*/ 25 w 34"/>
                  <a:gd name="T21" fmla="*/ 23 h 46"/>
                  <a:gd name="T22" fmla="*/ 17 w 34"/>
                  <a:gd name="T23" fmla="*/ 8 h 46"/>
                  <a:gd name="T24" fmla="*/ 10 w 34"/>
                  <a:gd name="T25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46">
                    <a:moveTo>
                      <a:pt x="32" y="8"/>
                    </a:moveTo>
                    <a:cubicBezTo>
                      <a:pt x="34" y="12"/>
                      <a:pt x="34" y="16"/>
                      <a:pt x="34" y="23"/>
                    </a:cubicBezTo>
                    <a:cubicBezTo>
                      <a:pt x="34" y="31"/>
                      <a:pt x="33" y="36"/>
                      <a:pt x="31" y="39"/>
                    </a:cubicBezTo>
                    <a:cubicBezTo>
                      <a:pt x="28" y="43"/>
                      <a:pt x="23" y="46"/>
                      <a:pt x="17" y="46"/>
                    </a:cubicBezTo>
                    <a:cubicBezTo>
                      <a:pt x="11" y="46"/>
                      <a:pt x="6" y="43"/>
                      <a:pt x="3" y="37"/>
                    </a:cubicBezTo>
                    <a:cubicBezTo>
                      <a:pt x="1" y="34"/>
                      <a:pt x="0" y="29"/>
                      <a:pt x="0" y="23"/>
                    </a:cubicBezTo>
                    <a:cubicBezTo>
                      <a:pt x="0" y="8"/>
                      <a:pt x="6" y="0"/>
                      <a:pt x="17" y="0"/>
                    </a:cubicBezTo>
                    <a:cubicBezTo>
                      <a:pt x="24" y="0"/>
                      <a:pt x="29" y="3"/>
                      <a:pt x="32" y="8"/>
                    </a:cubicBezTo>
                    <a:close/>
                    <a:moveTo>
                      <a:pt x="10" y="23"/>
                    </a:moveTo>
                    <a:cubicBezTo>
                      <a:pt x="10" y="33"/>
                      <a:pt x="12" y="38"/>
                      <a:pt x="17" y="38"/>
                    </a:cubicBezTo>
                    <a:cubicBezTo>
                      <a:pt x="22" y="38"/>
                      <a:pt x="25" y="33"/>
                      <a:pt x="25" y="23"/>
                    </a:cubicBezTo>
                    <a:cubicBezTo>
                      <a:pt x="25" y="13"/>
                      <a:pt x="22" y="8"/>
                      <a:pt x="17" y="8"/>
                    </a:cubicBezTo>
                    <a:cubicBezTo>
                      <a:pt x="12" y="8"/>
                      <a:pt x="10" y="13"/>
                      <a:pt x="10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36" name="Freeform 23">
                <a:extLst>
                  <a:ext uri="{FF2B5EF4-FFF2-40B4-BE49-F238E27FC236}">
                    <a16:creationId xmlns:a16="http://schemas.microsoft.com/office/drawing/2014/main" id="{24E84C7B-61E5-6D31-1B50-6C2FA1199F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75215" y="4110915"/>
                <a:ext cx="28263" cy="42395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8 h 32"/>
                  <a:gd name="T14" fmla="*/ 16 w 21"/>
                  <a:gd name="T15" fmla="*/ 16 h 32"/>
                  <a:gd name="T16" fmla="*/ 11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1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1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37" name="Freeform 24">
                <a:extLst>
                  <a:ext uri="{FF2B5EF4-FFF2-40B4-BE49-F238E27FC236}">
                    <a16:creationId xmlns:a16="http://schemas.microsoft.com/office/drawing/2014/main" id="{EAB81CE1-AEFD-B064-44F6-579702AA6F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75215" y="4182704"/>
                <a:ext cx="28263" cy="41830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5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38" name="Freeform 25">
                <a:extLst>
                  <a:ext uri="{FF2B5EF4-FFF2-40B4-BE49-F238E27FC236}">
                    <a16:creationId xmlns:a16="http://schemas.microsoft.com/office/drawing/2014/main" id="{4A9F20E1-BFA5-45C2-40CA-6ABCD457AB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78041" y="4325716"/>
                <a:ext cx="24306" cy="4126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2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2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39" name="Freeform 26">
                <a:extLst>
                  <a:ext uri="{FF2B5EF4-FFF2-40B4-BE49-F238E27FC236}">
                    <a16:creationId xmlns:a16="http://schemas.microsoft.com/office/drawing/2014/main" id="{A6D69C71-8929-A9E4-CDF4-13FB545E833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75215" y="4396374"/>
                <a:ext cx="28263" cy="41830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6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40" name="Freeform 27">
                <a:extLst>
                  <a:ext uri="{FF2B5EF4-FFF2-40B4-BE49-F238E27FC236}">
                    <a16:creationId xmlns:a16="http://schemas.microsoft.com/office/drawing/2014/main" id="{8000DCCF-30AF-195D-B825-193E3576FAC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75215" y="4467598"/>
                <a:ext cx="28263" cy="42395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7 h 32"/>
                  <a:gd name="T14" fmla="*/ 16 w 21"/>
                  <a:gd name="T15" fmla="*/ 16 h 32"/>
                  <a:gd name="T16" fmla="*/ 11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1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41" name="Freeform 43">
                <a:extLst>
                  <a:ext uri="{FF2B5EF4-FFF2-40B4-BE49-F238E27FC236}">
                    <a16:creationId xmlns:a16="http://schemas.microsoft.com/office/drawing/2014/main" id="{A8D9C707-780D-90F6-42B0-22BBE77A50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65092" y="4185530"/>
                <a:ext cx="23741" cy="3504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5" y="0"/>
                      <a:pt x="18" y="5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42" name="Freeform 44">
                <a:extLst>
                  <a:ext uri="{FF2B5EF4-FFF2-40B4-BE49-F238E27FC236}">
                    <a16:creationId xmlns:a16="http://schemas.microsoft.com/office/drawing/2014/main" id="{F90EAE4A-B735-51B2-567C-48CFE09297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65092" y="4243187"/>
                <a:ext cx="23741" cy="34481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1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43" name="Freeform 45">
                <a:extLst>
                  <a:ext uri="{FF2B5EF4-FFF2-40B4-BE49-F238E27FC236}">
                    <a16:creationId xmlns:a16="http://schemas.microsoft.com/office/drawing/2014/main" id="{A16C40E9-76C0-5A8E-3DB5-DDCE82F3B5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69049" y="4357936"/>
                <a:ext cx="18654" cy="33351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49 h 59"/>
                  <a:gd name="T20" fmla="*/ 17 w 33"/>
                  <a:gd name="T21" fmla="*/ 49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44" name="Freeform 46">
                <a:extLst>
                  <a:ext uri="{FF2B5EF4-FFF2-40B4-BE49-F238E27FC236}">
                    <a16:creationId xmlns:a16="http://schemas.microsoft.com/office/drawing/2014/main" id="{F8852104-00B9-7FE8-4B20-CC7EB3B352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65092" y="4413897"/>
                <a:ext cx="23741" cy="34481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45" name="Freeform 47">
                <a:extLst>
                  <a:ext uri="{FF2B5EF4-FFF2-40B4-BE49-F238E27FC236}">
                    <a16:creationId xmlns:a16="http://schemas.microsoft.com/office/drawing/2014/main" id="{D0EAD15E-D89E-6619-1D29-6737DC25F3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65092" y="4471555"/>
                <a:ext cx="23741" cy="33351"/>
              </a:xfrm>
              <a:custGeom>
                <a:avLst/>
                <a:gdLst>
                  <a:gd name="T0" fmla="*/ 18 w 18"/>
                  <a:gd name="T1" fmla="*/ 13 h 25"/>
                  <a:gd name="T2" fmla="*/ 9 w 18"/>
                  <a:gd name="T3" fmla="*/ 25 h 25"/>
                  <a:gd name="T4" fmla="*/ 0 w 18"/>
                  <a:gd name="T5" fmla="*/ 12 h 25"/>
                  <a:gd name="T6" fmla="*/ 9 w 18"/>
                  <a:gd name="T7" fmla="*/ 0 h 25"/>
                  <a:gd name="T8" fmla="*/ 18 w 18"/>
                  <a:gd name="T9" fmla="*/ 13 h 25"/>
                  <a:gd name="T10" fmla="*/ 5 w 18"/>
                  <a:gd name="T11" fmla="*/ 12 h 25"/>
                  <a:gd name="T12" fmla="*/ 9 w 18"/>
                  <a:gd name="T13" fmla="*/ 22 h 25"/>
                  <a:gd name="T14" fmla="*/ 13 w 18"/>
                  <a:gd name="T15" fmla="*/ 13 h 25"/>
                  <a:gd name="T16" fmla="*/ 9 w 18"/>
                  <a:gd name="T17" fmla="*/ 3 h 25"/>
                  <a:gd name="T18" fmla="*/ 5 w 18"/>
                  <a:gd name="T1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5">
                    <a:moveTo>
                      <a:pt x="18" y="13"/>
                    </a:moveTo>
                    <a:cubicBezTo>
                      <a:pt x="18" y="21"/>
                      <a:pt x="15" y="25"/>
                      <a:pt x="9" y="25"/>
                    </a:cubicBezTo>
                    <a:cubicBezTo>
                      <a:pt x="3" y="25"/>
                      <a:pt x="0" y="21"/>
                      <a:pt x="0" y="12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2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6"/>
                      <a:pt x="12" y="3"/>
                      <a:pt x="9" y="3"/>
                    </a:cubicBezTo>
                    <a:cubicBezTo>
                      <a:pt x="6" y="3"/>
                      <a:pt x="5" y="6"/>
                      <a:pt x="5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46" name="Freeform 63">
                <a:extLst>
                  <a:ext uri="{FF2B5EF4-FFF2-40B4-BE49-F238E27FC236}">
                    <a16:creationId xmlns:a16="http://schemas.microsoft.com/office/drawing/2014/main" id="{4C820301-1E49-9E38-C790-17D28443B4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06505" y="4185530"/>
                <a:ext cx="22611" cy="3504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4" y="0"/>
                      <a:pt x="17" y="5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47" name="Freeform 64">
                <a:extLst>
                  <a:ext uri="{FF2B5EF4-FFF2-40B4-BE49-F238E27FC236}">
                    <a16:creationId xmlns:a16="http://schemas.microsoft.com/office/drawing/2014/main" id="{37318592-B2DC-CDE2-432F-ABE6077945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06505" y="4243187"/>
                <a:ext cx="22611" cy="34481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1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48" name="Freeform 65">
                <a:extLst>
                  <a:ext uri="{FF2B5EF4-FFF2-40B4-BE49-F238E27FC236}">
                    <a16:creationId xmlns:a16="http://schemas.microsoft.com/office/drawing/2014/main" id="{C8D4910D-2A8E-A6F8-F9D8-121D905C02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8766" y="4357936"/>
                <a:ext cx="18654" cy="33351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49 h 59"/>
                  <a:gd name="T20" fmla="*/ 16 w 33"/>
                  <a:gd name="T21" fmla="*/ 49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49" name="Freeform 66">
                <a:extLst>
                  <a:ext uri="{FF2B5EF4-FFF2-40B4-BE49-F238E27FC236}">
                    <a16:creationId xmlns:a16="http://schemas.microsoft.com/office/drawing/2014/main" id="{136181FC-1F67-2932-711D-188EF12569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06505" y="4413897"/>
                <a:ext cx="22611" cy="34481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50" name="Freeform 67">
                <a:extLst>
                  <a:ext uri="{FF2B5EF4-FFF2-40B4-BE49-F238E27FC236}">
                    <a16:creationId xmlns:a16="http://schemas.microsoft.com/office/drawing/2014/main" id="{AB5C21E8-9DEA-30F8-FDF4-4C281647CF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06505" y="4471555"/>
                <a:ext cx="22611" cy="33351"/>
              </a:xfrm>
              <a:custGeom>
                <a:avLst/>
                <a:gdLst>
                  <a:gd name="T0" fmla="*/ 17 w 17"/>
                  <a:gd name="T1" fmla="*/ 13 h 25"/>
                  <a:gd name="T2" fmla="*/ 9 w 17"/>
                  <a:gd name="T3" fmla="*/ 25 h 25"/>
                  <a:gd name="T4" fmla="*/ 0 w 17"/>
                  <a:gd name="T5" fmla="*/ 12 h 25"/>
                  <a:gd name="T6" fmla="*/ 9 w 17"/>
                  <a:gd name="T7" fmla="*/ 0 h 25"/>
                  <a:gd name="T8" fmla="*/ 17 w 17"/>
                  <a:gd name="T9" fmla="*/ 13 h 25"/>
                  <a:gd name="T10" fmla="*/ 4 w 17"/>
                  <a:gd name="T11" fmla="*/ 12 h 25"/>
                  <a:gd name="T12" fmla="*/ 9 w 17"/>
                  <a:gd name="T13" fmla="*/ 22 h 25"/>
                  <a:gd name="T14" fmla="*/ 13 w 17"/>
                  <a:gd name="T15" fmla="*/ 13 h 25"/>
                  <a:gd name="T16" fmla="*/ 9 w 17"/>
                  <a:gd name="T17" fmla="*/ 3 h 25"/>
                  <a:gd name="T18" fmla="*/ 4 w 17"/>
                  <a:gd name="T1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5">
                    <a:moveTo>
                      <a:pt x="17" y="13"/>
                    </a:moveTo>
                    <a:cubicBezTo>
                      <a:pt x="17" y="21"/>
                      <a:pt x="14" y="25"/>
                      <a:pt x="9" y="25"/>
                    </a:cubicBezTo>
                    <a:cubicBezTo>
                      <a:pt x="3" y="25"/>
                      <a:pt x="0" y="21"/>
                      <a:pt x="0" y="12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2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6"/>
                      <a:pt x="11" y="3"/>
                      <a:pt x="9" y="3"/>
                    </a:cubicBezTo>
                    <a:cubicBezTo>
                      <a:pt x="6" y="3"/>
                      <a:pt x="4" y="6"/>
                      <a:pt x="4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51" name="Freeform 83">
                <a:extLst>
                  <a:ext uri="{FF2B5EF4-FFF2-40B4-BE49-F238E27FC236}">
                    <a16:creationId xmlns:a16="http://schemas.microsoft.com/office/drawing/2014/main" id="{6B80778A-567C-4EEF-AA1B-AB7743DA6E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2448" y="4188356"/>
                <a:ext cx="34481" cy="58788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3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52" name="Freeform 84">
                <a:extLst>
                  <a:ext uri="{FF2B5EF4-FFF2-40B4-BE49-F238E27FC236}">
                    <a16:creationId xmlns:a16="http://schemas.microsoft.com/office/drawing/2014/main" id="{42EE68E7-37EB-C9D6-EA96-6C6516BFCC3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46795" y="4288408"/>
                <a:ext cx="41265" cy="61614"/>
              </a:xfrm>
              <a:custGeom>
                <a:avLst/>
                <a:gdLst>
                  <a:gd name="T0" fmla="*/ 31 w 31"/>
                  <a:gd name="T1" fmla="*/ 23 h 46"/>
                  <a:gd name="T2" fmla="*/ 15 w 31"/>
                  <a:gd name="T3" fmla="*/ 46 h 46"/>
                  <a:gd name="T4" fmla="*/ 0 w 31"/>
                  <a:gd name="T5" fmla="*/ 23 h 46"/>
                  <a:gd name="T6" fmla="*/ 15 w 31"/>
                  <a:gd name="T7" fmla="*/ 0 h 46"/>
                  <a:gd name="T8" fmla="*/ 31 w 31"/>
                  <a:gd name="T9" fmla="*/ 23 h 46"/>
                  <a:gd name="T10" fmla="*/ 8 w 31"/>
                  <a:gd name="T11" fmla="*/ 23 h 46"/>
                  <a:gd name="T12" fmla="*/ 15 w 31"/>
                  <a:gd name="T13" fmla="*/ 39 h 46"/>
                  <a:gd name="T14" fmla="*/ 23 w 31"/>
                  <a:gd name="T15" fmla="*/ 23 h 46"/>
                  <a:gd name="T16" fmla="*/ 15 w 31"/>
                  <a:gd name="T17" fmla="*/ 7 h 46"/>
                  <a:gd name="T18" fmla="*/ 8 w 31"/>
                  <a:gd name="T19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6">
                    <a:moveTo>
                      <a:pt x="31" y="23"/>
                    </a:moveTo>
                    <a:cubicBezTo>
                      <a:pt x="31" y="38"/>
                      <a:pt x="26" y="46"/>
                      <a:pt x="15" y="46"/>
                    </a:cubicBezTo>
                    <a:cubicBezTo>
                      <a:pt x="5" y="46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7"/>
                      <a:pt x="15" y="7"/>
                    </a:cubicBezTo>
                    <a:cubicBezTo>
                      <a:pt x="10" y="7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53" name="Freeform 85">
                <a:extLst>
                  <a:ext uri="{FF2B5EF4-FFF2-40B4-BE49-F238E27FC236}">
                    <a16:creationId xmlns:a16="http://schemas.microsoft.com/office/drawing/2014/main" id="{32965EB1-2EBA-29AC-70DB-81696782680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46795" y="4390156"/>
                <a:ext cx="41265" cy="59918"/>
              </a:xfrm>
              <a:custGeom>
                <a:avLst/>
                <a:gdLst>
                  <a:gd name="T0" fmla="*/ 31 w 31"/>
                  <a:gd name="T1" fmla="*/ 23 h 45"/>
                  <a:gd name="T2" fmla="*/ 15 w 31"/>
                  <a:gd name="T3" fmla="*/ 45 h 45"/>
                  <a:gd name="T4" fmla="*/ 0 w 31"/>
                  <a:gd name="T5" fmla="*/ 23 h 45"/>
                  <a:gd name="T6" fmla="*/ 15 w 31"/>
                  <a:gd name="T7" fmla="*/ 0 h 45"/>
                  <a:gd name="T8" fmla="*/ 31 w 31"/>
                  <a:gd name="T9" fmla="*/ 23 h 45"/>
                  <a:gd name="T10" fmla="*/ 8 w 31"/>
                  <a:gd name="T11" fmla="*/ 23 h 45"/>
                  <a:gd name="T12" fmla="*/ 15 w 31"/>
                  <a:gd name="T13" fmla="*/ 39 h 45"/>
                  <a:gd name="T14" fmla="*/ 23 w 31"/>
                  <a:gd name="T15" fmla="*/ 23 h 45"/>
                  <a:gd name="T16" fmla="*/ 15 w 31"/>
                  <a:gd name="T17" fmla="*/ 6 h 45"/>
                  <a:gd name="T18" fmla="*/ 8 w 31"/>
                  <a:gd name="T19" fmla="*/ 2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31" y="23"/>
                    </a:moveTo>
                    <a:cubicBezTo>
                      <a:pt x="31" y="38"/>
                      <a:pt x="26" y="45"/>
                      <a:pt x="15" y="45"/>
                    </a:cubicBezTo>
                    <a:cubicBezTo>
                      <a:pt x="5" y="45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6"/>
                      <a:pt x="15" y="6"/>
                    </a:cubicBezTo>
                    <a:cubicBezTo>
                      <a:pt x="10" y="6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54" name="Freeform 95">
                <a:extLst>
                  <a:ext uri="{FF2B5EF4-FFF2-40B4-BE49-F238E27FC236}">
                    <a16:creationId xmlns:a16="http://schemas.microsoft.com/office/drawing/2014/main" id="{0CFE8A9A-FEF3-86EE-5344-8339DD9333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5397" y="3857111"/>
                <a:ext cx="19784" cy="32220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55" name="Freeform 96">
                <a:extLst>
                  <a:ext uri="{FF2B5EF4-FFF2-40B4-BE49-F238E27FC236}">
                    <a16:creationId xmlns:a16="http://schemas.microsoft.com/office/drawing/2014/main" id="{BE7C2C0C-A9EC-1BFC-51CB-A0498E310E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61440" y="3911941"/>
                <a:ext cx="25437" cy="32220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56" name="Freeform 97">
                <a:extLst>
                  <a:ext uri="{FF2B5EF4-FFF2-40B4-BE49-F238E27FC236}">
                    <a16:creationId xmlns:a16="http://schemas.microsoft.com/office/drawing/2014/main" id="{08744EDC-6CDE-7048-D75E-AD5C5CCA69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5397" y="3966772"/>
                <a:ext cx="19784" cy="31655"/>
              </a:xfrm>
              <a:custGeom>
                <a:avLst/>
                <a:gdLst>
                  <a:gd name="T0" fmla="*/ 16 w 35"/>
                  <a:gd name="T1" fmla="*/ 14 h 56"/>
                  <a:gd name="T2" fmla="*/ 7 w 35"/>
                  <a:gd name="T3" fmla="*/ 21 h 56"/>
                  <a:gd name="T4" fmla="*/ 0 w 35"/>
                  <a:gd name="T5" fmla="*/ 11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4"/>
                    </a:moveTo>
                    <a:lnTo>
                      <a:pt x="7" y="21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57" name="Freeform 98">
                <a:extLst>
                  <a:ext uri="{FF2B5EF4-FFF2-40B4-BE49-F238E27FC236}">
                    <a16:creationId xmlns:a16="http://schemas.microsoft.com/office/drawing/2014/main" id="{CE894BE9-B948-9748-A189-27713FB38F1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61440" y="4021603"/>
                <a:ext cx="25437" cy="31655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58" name="Freeform 99">
                <a:extLst>
                  <a:ext uri="{FF2B5EF4-FFF2-40B4-BE49-F238E27FC236}">
                    <a16:creationId xmlns:a16="http://schemas.microsoft.com/office/drawing/2014/main" id="{CB2DE63A-B28B-6EE5-335D-68FC93CBD4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5397" y="4075868"/>
                <a:ext cx="19784" cy="32220"/>
              </a:xfrm>
              <a:custGeom>
                <a:avLst/>
                <a:gdLst>
                  <a:gd name="T0" fmla="*/ 16 w 35"/>
                  <a:gd name="T1" fmla="*/ 15 h 57"/>
                  <a:gd name="T2" fmla="*/ 7 w 35"/>
                  <a:gd name="T3" fmla="*/ 22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8 h 57"/>
                  <a:gd name="T12" fmla="*/ 35 w 35"/>
                  <a:gd name="T13" fmla="*/ 48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8 h 57"/>
                  <a:gd name="T20" fmla="*/ 16 w 35"/>
                  <a:gd name="T21" fmla="*/ 48 h 57"/>
                  <a:gd name="T22" fmla="*/ 16 w 35"/>
                  <a:gd name="T23" fmla="*/ 1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5"/>
                    </a:moveTo>
                    <a:lnTo>
                      <a:pt x="7" y="22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5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59" name="Freeform 100">
                <a:extLst>
                  <a:ext uri="{FF2B5EF4-FFF2-40B4-BE49-F238E27FC236}">
                    <a16:creationId xmlns:a16="http://schemas.microsoft.com/office/drawing/2014/main" id="{A871D7F2-55A8-0EA7-A81C-648C56A0F6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61440" y="4130699"/>
                <a:ext cx="25437" cy="32220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60" name="Freeform 101">
                <a:extLst>
                  <a:ext uri="{FF2B5EF4-FFF2-40B4-BE49-F238E27FC236}">
                    <a16:creationId xmlns:a16="http://schemas.microsoft.com/office/drawing/2014/main" id="{B2F92EAB-5B76-2A84-98E3-2414F09536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5397" y="4185530"/>
                <a:ext cx="19784" cy="32220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61" name="Freeform 102">
                <a:extLst>
                  <a:ext uri="{FF2B5EF4-FFF2-40B4-BE49-F238E27FC236}">
                    <a16:creationId xmlns:a16="http://schemas.microsoft.com/office/drawing/2014/main" id="{284E75C8-6716-2235-10E2-B5E5175924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5397" y="4240361"/>
                <a:ext cx="19784" cy="32220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62" name="Freeform 103">
                <a:extLst>
                  <a:ext uri="{FF2B5EF4-FFF2-40B4-BE49-F238E27FC236}">
                    <a16:creationId xmlns:a16="http://schemas.microsoft.com/office/drawing/2014/main" id="{81A2C3D6-4632-FE8E-B86B-9BBB307309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5397" y="4296322"/>
                <a:ext cx="19784" cy="31090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5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5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63" name="Freeform 104">
                <a:extLst>
                  <a:ext uri="{FF2B5EF4-FFF2-40B4-BE49-F238E27FC236}">
                    <a16:creationId xmlns:a16="http://schemas.microsoft.com/office/drawing/2014/main" id="{E041A534-A02A-5157-3DDA-655BDA3CDA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61440" y="4350022"/>
                <a:ext cx="25437" cy="33351"/>
              </a:xfrm>
              <a:custGeom>
                <a:avLst/>
                <a:gdLst>
                  <a:gd name="T0" fmla="*/ 17 w 19"/>
                  <a:gd name="T1" fmla="*/ 4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4 h 25"/>
                  <a:gd name="T16" fmla="*/ 6 w 19"/>
                  <a:gd name="T17" fmla="*/ 12 h 25"/>
                  <a:gd name="T18" fmla="*/ 10 w 19"/>
                  <a:gd name="T19" fmla="*/ 20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3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64" name="Freeform 105">
                <a:extLst>
                  <a:ext uri="{FF2B5EF4-FFF2-40B4-BE49-F238E27FC236}">
                    <a16:creationId xmlns:a16="http://schemas.microsoft.com/office/drawing/2014/main" id="{19D92279-96BA-6E21-34CD-D85F40B77A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5397" y="4405984"/>
                <a:ext cx="19784" cy="30524"/>
              </a:xfrm>
              <a:custGeom>
                <a:avLst/>
                <a:gdLst>
                  <a:gd name="T0" fmla="*/ 16 w 35"/>
                  <a:gd name="T1" fmla="*/ 12 h 54"/>
                  <a:gd name="T2" fmla="*/ 7 w 35"/>
                  <a:gd name="T3" fmla="*/ 19 h 54"/>
                  <a:gd name="T4" fmla="*/ 0 w 35"/>
                  <a:gd name="T5" fmla="*/ 9 h 54"/>
                  <a:gd name="T6" fmla="*/ 19 w 35"/>
                  <a:gd name="T7" fmla="*/ 0 h 54"/>
                  <a:gd name="T8" fmla="*/ 28 w 35"/>
                  <a:gd name="T9" fmla="*/ 0 h 54"/>
                  <a:gd name="T10" fmla="*/ 28 w 35"/>
                  <a:gd name="T11" fmla="*/ 45 h 54"/>
                  <a:gd name="T12" fmla="*/ 35 w 35"/>
                  <a:gd name="T13" fmla="*/ 45 h 54"/>
                  <a:gd name="T14" fmla="*/ 35 w 35"/>
                  <a:gd name="T15" fmla="*/ 54 h 54"/>
                  <a:gd name="T16" fmla="*/ 9 w 35"/>
                  <a:gd name="T17" fmla="*/ 54 h 54"/>
                  <a:gd name="T18" fmla="*/ 9 w 35"/>
                  <a:gd name="T19" fmla="*/ 45 h 54"/>
                  <a:gd name="T20" fmla="*/ 16 w 35"/>
                  <a:gd name="T21" fmla="*/ 45 h 54"/>
                  <a:gd name="T22" fmla="*/ 16 w 35"/>
                  <a:gd name="T23" fmla="*/ 1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4">
                    <a:moveTo>
                      <a:pt x="16" y="12"/>
                    </a:moveTo>
                    <a:lnTo>
                      <a:pt x="7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4"/>
                    </a:lnTo>
                    <a:lnTo>
                      <a:pt x="9" y="54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65" name="Freeform 106">
                <a:extLst>
                  <a:ext uri="{FF2B5EF4-FFF2-40B4-BE49-F238E27FC236}">
                    <a16:creationId xmlns:a16="http://schemas.microsoft.com/office/drawing/2014/main" id="{17C4CA3C-4A93-BAF2-8040-14FF64AE1CC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61440" y="4459119"/>
                <a:ext cx="25437" cy="33351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2 h 25"/>
                  <a:gd name="T18" fmla="*/ 10 w 19"/>
                  <a:gd name="T19" fmla="*/ 21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66" name="Freeform 135">
                <a:extLst>
                  <a:ext uri="{FF2B5EF4-FFF2-40B4-BE49-F238E27FC236}">
                    <a16:creationId xmlns:a16="http://schemas.microsoft.com/office/drawing/2014/main" id="{83429A8B-B5A8-0432-B2A5-237EC43525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68328" y="3994470"/>
                <a:ext cx="22611" cy="41830"/>
              </a:xfrm>
              <a:custGeom>
                <a:avLst/>
                <a:gdLst>
                  <a:gd name="T0" fmla="*/ 19 w 40"/>
                  <a:gd name="T1" fmla="*/ 14 h 74"/>
                  <a:gd name="T2" fmla="*/ 4 w 40"/>
                  <a:gd name="T3" fmla="*/ 24 h 74"/>
                  <a:gd name="T4" fmla="*/ 0 w 40"/>
                  <a:gd name="T5" fmla="*/ 14 h 74"/>
                  <a:gd name="T6" fmla="*/ 21 w 40"/>
                  <a:gd name="T7" fmla="*/ 0 h 74"/>
                  <a:gd name="T8" fmla="*/ 30 w 40"/>
                  <a:gd name="T9" fmla="*/ 0 h 74"/>
                  <a:gd name="T10" fmla="*/ 30 w 40"/>
                  <a:gd name="T11" fmla="*/ 64 h 74"/>
                  <a:gd name="T12" fmla="*/ 40 w 40"/>
                  <a:gd name="T13" fmla="*/ 64 h 74"/>
                  <a:gd name="T14" fmla="*/ 40 w 40"/>
                  <a:gd name="T15" fmla="*/ 74 h 74"/>
                  <a:gd name="T16" fmla="*/ 9 w 40"/>
                  <a:gd name="T17" fmla="*/ 74 h 74"/>
                  <a:gd name="T18" fmla="*/ 9 w 40"/>
                  <a:gd name="T19" fmla="*/ 64 h 74"/>
                  <a:gd name="T20" fmla="*/ 19 w 40"/>
                  <a:gd name="T21" fmla="*/ 64 h 74"/>
                  <a:gd name="T22" fmla="*/ 19 w 40"/>
                  <a:gd name="T23" fmla="*/ 1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4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4"/>
                    </a:lnTo>
                    <a:lnTo>
                      <a:pt x="9" y="74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67" name="Freeform 136">
                <a:extLst>
                  <a:ext uri="{FF2B5EF4-FFF2-40B4-BE49-F238E27FC236}">
                    <a16:creationId xmlns:a16="http://schemas.microsoft.com/office/drawing/2014/main" id="{F294A596-1DEB-6652-98E4-47B03281A76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64370" y="4065128"/>
                <a:ext cx="28263" cy="42960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8 h 32"/>
                  <a:gd name="T14" fmla="*/ 16 w 21"/>
                  <a:gd name="T15" fmla="*/ 16 h 32"/>
                  <a:gd name="T16" fmla="*/ 10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0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0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68" name="Freeform 137">
                <a:extLst>
                  <a:ext uri="{FF2B5EF4-FFF2-40B4-BE49-F238E27FC236}">
                    <a16:creationId xmlns:a16="http://schemas.microsoft.com/office/drawing/2014/main" id="{6FAA2577-B4A8-C1B1-F1DC-6C19EA5E47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64370" y="4208141"/>
                <a:ext cx="28263" cy="42960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6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69" name="Freeform 138">
                <a:extLst>
                  <a:ext uri="{FF2B5EF4-FFF2-40B4-BE49-F238E27FC236}">
                    <a16:creationId xmlns:a16="http://schemas.microsoft.com/office/drawing/2014/main" id="{E1475340-4C30-173E-396C-8CB58C5AF4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68329" y="4280495"/>
                <a:ext cx="22611" cy="40134"/>
              </a:xfrm>
              <a:custGeom>
                <a:avLst/>
                <a:gdLst>
                  <a:gd name="T0" fmla="*/ 19 w 40"/>
                  <a:gd name="T1" fmla="*/ 12 h 71"/>
                  <a:gd name="T2" fmla="*/ 4 w 40"/>
                  <a:gd name="T3" fmla="*/ 21 h 71"/>
                  <a:gd name="T4" fmla="*/ 0 w 40"/>
                  <a:gd name="T5" fmla="*/ 12 h 71"/>
                  <a:gd name="T6" fmla="*/ 21 w 40"/>
                  <a:gd name="T7" fmla="*/ 0 h 71"/>
                  <a:gd name="T8" fmla="*/ 30 w 40"/>
                  <a:gd name="T9" fmla="*/ 0 h 71"/>
                  <a:gd name="T10" fmla="*/ 30 w 40"/>
                  <a:gd name="T11" fmla="*/ 64 h 71"/>
                  <a:gd name="T12" fmla="*/ 40 w 40"/>
                  <a:gd name="T13" fmla="*/ 64 h 71"/>
                  <a:gd name="T14" fmla="*/ 40 w 40"/>
                  <a:gd name="T15" fmla="*/ 71 h 71"/>
                  <a:gd name="T16" fmla="*/ 9 w 40"/>
                  <a:gd name="T17" fmla="*/ 71 h 71"/>
                  <a:gd name="T18" fmla="*/ 9 w 40"/>
                  <a:gd name="T19" fmla="*/ 64 h 71"/>
                  <a:gd name="T20" fmla="*/ 19 w 40"/>
                  <a:gd name="T21" fmla="*/ 64 h 71"/>
                  <a:gd name="T22" fmla="*/ 19 w 40"/>
                  <a:gd name="T23" fmla="*/ 1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1">
                    <a:moveTo>
                      <a:pt x="19" y="12"/>
                    </a:moveTo>
                    <a:lnTo>
                      <a:pt x="4" y="21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1"/>
                    </a:lnTo>
                    <a:lnTo>
                      <a:pt x="9" y="71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70" name="Freeform 139">
                <a:extLst>
                  <a:ext uri="{FF2B5EF4-FFF2-40B4-BE49-F238E27FC236}">
                    <a16:creationId xmlns:a16="http://schemas.microsoft.com/office/drawing/2014/main" id="{CB717576-048D-CCE4-8022-EE22C4FDBA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68329" y="4351153"/>
                <a:ext cx="22611" cy="4126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71" name="Freeform 140">
                <a:extLst>
                  <a:ext uri="{FF2B5EF4-FFF2-40B4-BE49-F238E27FC236}">
                    <a16:creationId xmlns:a16="http://schemas.microsoft.com/office/drawing/2014/main" id="{DA8AD131-713D-9831-E9B5-E6AC4DED67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68329" y="4421811"/>
                <a:ext cx="22611" cy="4126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72" name="Freeform 149">
                <a:extLst>
                  <a:ext uri="{FF2B5EF4-FFF2-40B4-BE49-F238E27FC236}">
                    <a16:creationId xmlns:a16="http://schemas.microsoft.com/office/drawing/2014/main" id="{65D2650E-2E80-BAFB-0680-EF21EFAB81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8644" y="3861067"/>
                <a:ext cx="34481" cy="61614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73" name="Freeform 150">
                <a:extLst>
                  <a:ext uri="{FF2B5EF4-FFF2-40B4-BE49-F238E27FC236}">
                    <a16:creationId xmlns:a16="http://schemas.microsoft.com/office/drawing/2014/main" id="{9AEAEF25-7508-BE07-9588-D3DC281E920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92992" y="3966772"/>
                <a:ext cx="42960" cy="63875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74" name="Freeform 151">
                <a:extLst>
                  <a:ext uri="{FF2B5EF4-FFF2-40B4-BE49-F238E27FC236}">
                    <a16:creationId xmlns:a16="http://schemas.microsoft.com/office/drawing/2014/main" id="{102D4FF7-0C48-EC54-F5AF-5D2336C50C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8644" y="4074738"/>
                <a:ext cx="34481" cy="61614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75" name="Freeform 152">
                <a:extLst>
                  <a:ext uri="{FF2B5EF4-FFF2-40B4-BE49-F238E27FC236}">
                    <a16:creationId xmlns:a16="http://schemas.microsoft.com/office/drawing/2014/main" id="{1475CB9F-2C7F-0D14-AF79-3D671CA226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92992" y="4180443"/>
                <a:ext cx="42960" cy="63875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76" name="Freeform 153">
                <a:extLst>
                  <a:ext uri="{FF2B5EF4-FFF2-40B4-BE49-F238E27FC236}">
                    <a16:creationId xmlns:a16="http://schemas.microsoft.com/office/drawing/2014/main" id="{A2E6ABEF-88F7-A9E2-8675-FD2D25042F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8644" y="4288408"/>
                <a:ext cx="34481" cy="61614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77" name="Freeform 154">
                <a:extLst>
                  <a:ext uri="{FF2B5EF4-FFF2-40B4-BE49-F238E27FC236}">
                    <a16:creationId xmlns:a16="http://schemas.microsoft.com/office/drawing/2014/main" id="{9B25B61E-AFC9-EF0C-8052-6422996A9E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8644" y="4395244"/>
                <a:ext cx="34481" cy="61614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78" name="Freeform 63">
                <a:extLst>
                  <a:ext uri="{FF2B5EF4-FFF2-40B4-BE49-F238E27FC236}">
                    <a16:creationId xmlns:a16="http://schemas.microsoft.com/office/drawing/2014/main" id="{5F596D27-8751-C151-4A3B-D0DAA977E7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03776" y="4262972"/>
                <a:ext cx="22611" cy="3504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4" y="0"/>
                      <a:pt x="17" y="5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79" name="Freeform 64">
                <a:extLst>
                  <a:ext uri="{FF2B5EF4-FFF2-40B4-BE49-F238E27FC236}">
                    <a16:creationId xmlns:a16="http://schemas.microsoft.com/office/drawing/2014/main" id="{23B58FF2-C4D5-019B-8448-64AAD58A480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03777" y="4320629"/>
                <a:ext cx="22611" cy="34481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1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80" name="Freeform 65">
                <a:extLst>
                  <a:ext uri="{FF2B5EF4-FFF2-40B4-BE49-F238E27FC236}">
                    <a16:creationId xmlns:a16="http://schemas.microsoft.com/office/drawing/2014/main" id="{EE4124AD-C6A4-1D6E-0A05-2F340EB496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5472" y="4435377"/>
                <a:ext cx="18654" cy="33351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49 h 59"/>
                  <a:gd name="T20" fmla="*/ 16 w 33"/>
                  <a:gd name="T21" fmla="*/ 49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81" name="Freeform 95">
                <a:extLst>
                  <a:ext uri="{FF2B5EF4-FFF2-40B4-BE49-F238E27FC236}">
                    <a16:creationId xmlns:a16="http://schemas.microsoft.com/office/drawing/2014/main" id="{0764A304-2AA9-F620-8D9F-8C3D197D20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7710" y="3934551"/>
                <a:ext cx="19784" cy="32220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82" name="Freeform 96">
                <a:extLst>
                  <a:ext uri="{FF2B5EF4-FFF2-40B4-BE49-F238E27FC236}">
                    <a16:creationId xmlns:a16="http://schemas.microsoft.com/office/drawing/2014/main" id="{6D089495-35FD-8B3A-8AC5-CED7468303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46015" y="3989382"/>
                <a:ext cx="25437" cy="32220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83" name="Freeform 97">
                <a:extLst>
                  <a:ext uri="{FF2B5EF4-FFF2-40B4-BE49-F238E27FC236}">
                    <a16:creationId xmlns:a16="http://schemas.microsoft.com/office/drawing/2014/main" id="{8B9F60C0-74EA-B44F-E093-77D5B82C73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7710" y="4044213"/>
                <a:ext cx="19784" cy="31655"/>
              </a:xfrm>
              <a:custGeom>
                <a:avLst/>
                <a:gdLst>
                  <a:gd name="T0" fmla="*/ 16 w 35"/>
                  <a:gd name="T1" fmla="*/ 14 h 56"/>
                  <a:gd name="T2" fmla="*/ 7 w 35"/>
                  <a:gd name="T3" fmla="*/ 21 h 56"/>
                  <a:gd name="T4" fmla="*/ 0 w 35"/>
                  <a:gd name="T5" fmla="*/ 11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4"/>
                    </a:moveTo>
                    <a:lnTo>
                      <a:pt x="7" y="21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84" name="Freeform 98">
                <a:extLst>
                  <a:ext uri="{FF2B5EF4-FFF2-40B4-BE49-F238E27FC236}">
                    <a16:creationId xmlns:a16="http://schemas.microsoft.com/office/drawing/2014/main" id="{C3400BBD-1BDF-2A9E-5517-5D4F8DB469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46015" y="4099044"/>
                <a:ext cx="25437" cy="31655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85" name="Freeform 99">
                <a:extLst>
                  <a:ext uri="{FF2B5EF4-FFF2-40B4-BE49-F238E27FC236}">
                    <a16:creationId xmlns:a16="http://schemas.microsoft.com/office/drawing/2014/main" id="{07152965-D27B-03FA-7CB0-D5B89F8D92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7710" y="4153309"/>
                <a:ext cx="19784" cy="32220"/>
              </a:xfrm>
              <a:custGeom>
                <a:avLst/>
                <a:gdLst>
                  <a:gd name="T0" fmla="*/ 16 w 35"/>
                  <a:gd name="T1" fmla="*/ 15 h 57"/>
                  <a:gd name="T2" fmla="*/ 7 w 35"/>
                  <a:gd name="T3" fmla="*/ 22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8 h 57"/>
                  <a:gd name="T12" fmla="*/ 35 w 35"/>
                  <a:gd name="T13" fmla="*/ 48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8 h 57"/>
                  <a:gd name="T20" fmla="*/ 16 w 35"/>
                  <a:gd name="T21" fmla="*/ 48 h 57"/>
                  <a:gd name="T22" fmla="*/ 16 w 35"/>
                  <a:gd name="T23" fmla="*/ 1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5"/>
                    </a:moveTo>
                    <a:lnTo>
                      <a:pt x="7" y="22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5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86" name="Freeform 100">
                <a:extLst>
                  <a:ext uri="{FF2B5EF4-FFF2-40B4-BE49-F238E27FC236}">
                    <a16:creationId xmlns:a16="http://schemas.microsoft.com/office/drawing/2014/main" id="{85EF8EE3-B832-C0B3-2A1E-8B22FE5184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46015" y="4208140"/>
                <a:ext cx="25437" cy="32220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87" name="Freeform 101">
                <a:extLst>
                  <a:ext uri="{FF2B5EF4-FFF2-40B4-BE49-F238E27FC236}">
                    <a16:creationId xmlns:a16="http://schemas.microsoft.com/office/drawing/2014/main" id="{BF7E96F7-5EF4-4DA8-AD8C-ABC4C1E4F0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7710" y="4262971"/>
                <a:ext cx="19784" cy="32220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88" name="Freeform 102">
                <a:extLst>
                  <a:ext uri="{FF2B5EF4-FFF2-40B4-BE49-F238E27FC236}">
                    <a16:creationId xmlns:a16="http://schemas.microsoft.com/office/drawing/2014/main" id="{10ABDDF0-C064-2533-FA7C-FEBE515D94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7710" y="4317801"/>
                <a:ext cx="19784" cy="32220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89" name="Freeform 103">
                <a:extLst>
                  <a:ext uri="{FF2B5EF4-FFF2-40B4-BE49-F238E27FC236}">
                    <a16:creationId xmlns:a16="http://schemas.microsoft.com/office/drawing/2014/main" id="{5BA8D9FE-DF9D-2DC7-D17F-555755D12B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7710" y="4373763"/>
                <a:ext cx="19784" cy="31090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5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5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90" name="Freeform 104">
                <a:extLst>
                  <a:ext uri="{FF2B5EF4-FFF2-40B4-BE49-F238E27FC236}">
                    <a16:creationId xmlns:a16="http://schemas.microsoft.com/office/drawing/2014/main" id="{94EBBA22-3F65-BD98-8512-7BEAF4030F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46015" y="4427463"/>
                <a:ext cx="25437" cy="33351"/>
              </a:xfrm>
              <a:custGeom>
                <a:avLst/>
                <a:gdLst>
                  <a:gd name="T0" fmla="*/ 17 w 19"/>
                  <a:gd name="T1" fmla="*/ 4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4 h 25"/>
                  <a:gd name="T16" fmla="*/ 6 w 19"/>
                  <a:gd name="T17" fmla="*/ 12 h 25"/>
                  <a:gd name="T18" fmla="*/ 10 w 19"/>
                  <a:gd name="T19" fmla="*/ 20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3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91" name="Freeform 105">
                <a:extLst>
                  <a:ext uri="{FF2B5EF4-FFF2-40B4-BE49-F238E27FC236}">
                    <a16:creationId xmlns:a16="http://schemas.microsoft.com/office/drawing/2014/main" id="{0E80D49D-0C3C-DFE7-7B57-6D07CD3CC9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7710" y="4483424"/>
                <a:ext cx="19784" cy="30524"/>
              </a:xfrm>
              <a:custGeom>
                <a:avLst/>
                <a:gdLst>
                  <a:gd name="T0" fmla="*/ 16 w 35"/>
                  <a:gd name="T1" fmla="*/ 12 h 54"/>
                  <a:gd name="T2" fmla="*/ 7 w 35"/>
                  <a:gd name="T3" fmla="*/ 19 h 54"/>
                  <a:gd name="T4" fmla="*/ 0 w 35"/>
                  <a:gd name="T5" fmla="*/ 9 h 54"/>
                  <a:gd name="T6" fmla="*/ 19 w 35"/>
                  <a:gd name="T7" fmla="*/ 0 h 54"/>
                  <a:gd name="T8" fmla="*/ 28 w 35"/>
                  <a:gd name="T9" fmla="*/ 0 h 54"/>
                  <a:gd name="T10" fmla="*/ 28 w 35"/>
                  <a:gd name="T11" fmla="*/ 45 h 54"/>
                  <a:gd name="T12" fmla="*/ 35 w 35"/>
                  <a:gd name="T13" fmla="*/ 45 h 54"/>
                  <a:gd name="T14" fmla="*/ 35 w 35"/>
                  <a:gd name="T15" fmla="*/ 54 h 54"/>
                  <a:gd name="T16" fmla="*/ 9 w 35"/>
                  <a:gd name="T17" fmla="*/ 54 h 54"/>
                  <a:gd name="T18" fmla="*/ 9 w 35"/>
                  <a:gd name="T19" fmla="*/ 45 h 54"/>
                  <a:gd name="T20" fmla="*/ 16 w 35"/>
                  <a:gd name="T21" fmla="*/ 45 h 54"/>
                  <a:gd name="T22" fmla="*/ 16 w 35"/>
                  <a:gd name="T23" fmla="*/ 1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4">
                    <a:moveTo>
                      <a:pt x="16" y="12"/>
                    </a:moveTo>
                    <a:lnTo>
                      <a:pt x="7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4"/>
                    </a:lnTo>
                    <a:lnTo>
                      <a:pt x="9" y="54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92" name="Freeform 149">
                <a:extLst>
                  <a:ext uri="{FF2B5EF4-FFF2-40B4-BE49-F238E27FC236}">
                    <a16:creationId xmlns:a16="http://schemas.microsoft.com/office/drawing/2014/main" id="{0821C437-6710-31AB-E18D-4622155863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9768" y="3938508"/>
                <a:ext cx="34481" cy="61614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93" name="Freeform 150">
                <a:extLst>
                  <a:ext uri="{FF2B5EF4-FFF2-40B4-BE49-F238E27FC236}">
                    <a16:creationId xmlns:a16="http://schemas.microsoft.com/office/drawing/2014/main" id="{ABE7FCEA-F37D-0A34-8ACC-0987D09FE8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96934" y="4044213"/>
                <a:ext cx="42960" cy="63875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94" name="Freeform 151">
                <a:extLst>
                  <a:ext uri="{FF2B5EF4-FFF2-40B4-BE49-F238E27FC236}">
                    <a16:creationId xmlns:a16="http://schemas.microsoft.com/office/drawing/2014/main" id="{2D95714D-9482-9D53-9133-53587A258B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9760" y="4152178"/>
                <a:ext cx="34481" cy="61614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95" name="Freeform 152">
                <a:extLst>
                  <a:ext uri="{FF2B5EF4-FFF2-40B4-BE49-F238E27FC236}">
                    <a16:creationId xmlns:a16="http://schemas.microsoft.com/office/drawing/2014/main" id="{3316C595-0455-632D-0841-2904C379E2F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96924" y="4257883"/>
                <a:ext cx="42960" cy="63875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96" name="Freeform 153">
                <a:extLst>
                  <a:ext uri="{FF2B5EF4-FFF2-40B4-BE49-F238E27FC236}">
                    <a16:creationId xmlns:a16="http://schemas.microsoft.com/office/drawing/2014/main" id="{B6DE1E6B-8389-066E-9C49-72A35D23F6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9743" y="4365847"/>
                <a:ext cx="34481" cy="61614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497" name="Freeform 154">
                <a:extLst>
                  <a:ext uri="{FF2B5EF4-FFF2-40B4-BE49-F238E27FC236}">
                    <a16:creationId xmlns:a16="http://schemas.microsoft.com/office/drawing/2014/main" id="{944F58CA-6AC7-9B74-B73A-5A6438AB0A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9732" y="4472682"/>
                <a:ext cx="34481" cy="61614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</p:grpSp>
        <p:grpSp>
          <p:nvGrpSpPr>
            <p:cNvPr id="498" name="Gruppieren 2">
              <a:extLst>
                <a:ext uri="{FF2B5EF4-FFF2-40B4-BE49-F238E27FC236}">
                  <a16:creationId xmlns:a16="http://schemas.microsoft.com/office/drawing/2014/main" id="{9B2574E6-7E3B-2E61-A60E-E9EA884604AC}"/>
                </a:ext>
              </a:extLst>
            </p:cNvPr>
            <p:cNvGrpSpPr/>
            <p:nvPr/>
          </p:nvGrpSpPr>
          <p:grpSpPr>
            <a:xfrm>
              <a:off x="6935261" y="5541389"/>
              <a:ext cx="4335028" cy="1394352"/>
              <a:chOff x="667960" y="3350946"/>
              <a:chExt cx="11591926" cy="3728517"/>
            </a:xfrm>
          </p:grpSpPr>
          <p:sp>
            <p:nvSpPr>
              <p:cNvPr id="499" name="Line 8">
                <a:extLst>
                  <a:ext uri="{FF2B5EF4-FFF2-40B4-BE49-F238E27FC236}">
                    <a16:creationId xmlns:a16="http://schemas.microsoft.com/office/drawing/2014/main" id="{E3E8FBBB-65D5-545E-85FD-ECBF40237AA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645410" y="5893530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00" name="Line 9">
                <a:extLst>
                  <a:ext uri="{FF2B5EF4-FFF2-40B4-BE49-F238E27FC236}">
                    <a16:creationId xmlns:a16="http://schemas.microsoft.com/office/drawing/2014/main" id="{BE62840D-D3BF-4F27-FA75-0E87F03B146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645410" y="5893530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01" name="Freeform 23">
                <a:extLst>
                  <a:ext uri="{FF2B5EF4-FFF2-40B4-BE49-F238E27FC236}">
                    <a16:creationId xmlns:a16="http://schemas.microsoft.com/office/drawing/2014/main" id="{B16136C6-7E5B-38AA-36D4-03B5D87B74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96082" y="6244022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8 h 32"/>
                  <a:gd name="T14" fmla="*/ 16 w 21"/>
                  <a:gd name="T15" fmla="*/ 16 h 32"/>
                  <a:gd name="T16" fmla="*/ 11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1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1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02" name="Freeform 24">
                <a:extLst>
                  <a:ext uri="{FF2B5EF4-FFF2-40B4-BE49-F238E27FC236}">
                    <a16:creationId xmlns:a16="http://schemas.microsoft.com/office/drawing/2014/main" id="{6E8B5D6E-7D00-7B07-31CD-8D1F8ACCFF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96082" y="6435886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5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03" name="Freeform 25">
                <a:extLst>
                  <a:ext uri="{FF2B5EF4-FFF2-40B4-BE49-F238E27FC236}">
                    <a16:creationId xmlns:a16="http://schemas.microsoft.com/office/drawing/2014/main" id="{85EDADC9-DCA6-5614-61F3-FE2111F9D3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9103" y="6818104"/>
                <a:ext cx="64962" cy="11028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2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2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04" name="Freeform 43">
                <a:extLst>
                  <a:ext uri="{FF2B5EF4-FFF2-40B4-BE49-F238E27FC236}">
                    <a16:creationId xmlns:a16="http://schemas.microsoft.com/office/drawing/2014/main" id="{E1E470AF-3FC6-3E16-0EA2-C82A84A362A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7960" y="6443440"/>
                <a:ext cx="63451" cy="9366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5" y="0"/>
                      <a:pt x="18" y="5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05" name="Freeform 44">
                <a:extLst>
                  <a:ext uri="{FF2B5EF4-FFF2-40B4-BE49-F238E27FC236}">
                    <a16:creationId xmlns:a16="http://schemas.microsoft.com/office/drawing/2014/main" id="{05D02FD3-779A-4554-6AEC-19D505178B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7960" y="6597536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1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06" name="Freeform 45">
                <a:extLst>
                  <a:ext uri="{FF2B5EF4-FFF2-40B4-BE49-F238E27FC236}">
                    <a16:creationId xmlns:a16="http://schemas.microsoft.com/office/drawing/2014/main" id="{188306AE-C0AF-9042-670A-CFD4C6C9CB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0981" y="6904216"/>
                <a:ext cx="49855" cy="89134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49 h 59"/>
                  <a:gd name="T20" fmla="*/ 17 w 33"/>
                  <a:gd name="T21" fmla="*/ 49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07" name="Freeform 63">
                <a:extLst>
                  <a:ext uri="{FF2B5EF4-FFF2-40B4-BE49-F238E27FC236}">
                    <a16:creationId xmlns:a16="http://schemas.microsoft.com/office/drawing/2014/main" id="{76AD594D-E523-FD1E-C9FD-A84325CDF7D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98397" y="6443440"/>
                <a:ext cx="60430" cy="9366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4" y="0"/>
                      <a:pt x="17" y="5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08" name="Freeform 64">
                <a:extLst>
                  <a:ext uri="{FF2B5EF4-FFF2-40B4-BE49-F238E27FC236}">
                    <a16:creationId xmlns:a16="http://schemas.microsoft.com/office/drawing/2014/main" id="{EFA2D9F9-3BBB-9CF3-C0FE-139C7D90DA1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98397" y="6597536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1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09" name="Freeform 65">
                <a:extLst>
                  <a:ext uri="{FF2B5EF4-FFF2-40B4-BE49-F238E27FC236}">
                    <a16:creationId xmlns:a16="http://schemas.microsoft.com/office/drawing/2014/main" id="{31489B98-14EA-29C9-2377-6E9C21142E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2929" y="6904216"/>
                <a:ext cx="49855" cy="89134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49 h 59"/>
                  <a:gd name="T20" fmla="*/ 16 w 33"/>
                  <a:gd name="T21" fmla="*/ 49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10" name="Freeform 83">
                <a:extLst>
                  <a:ext uri="{FF2B5EF4-FFF2-40B4-BE49-F238E27FC236}">
                    <a16:creationId xmlns:a16="http://schemas.microsoft.com/office/drawing/2014/main" id="{D511D702-EF50-1EEA-D2B4-17E863F648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2097" y="6450993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3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11" name="Freeform 84">
                <a:extLst>
                  <a:ext uri="{FF2B5EF4-FFF2-40B4-BE49-F238E27FC236}">
                    <a16:creationId xmlns:a16="http://schemas.microsoft.com/office/drawing/2014/main" id="{41260325-D6D7-5133-EACD-BE1BE8E1CB6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39076" y="6718395"/>
                <a:ext cx="110285" cy="164671"/>
              </a:xfrm>
              <a:custGeom>
                <a:avLst/>
                <a:gdLst>
                  <a:gd name="T0" fmla="*/ 31 w 31"/>
                  <a:gd name="T1" fmla="*/ 23 h 46"/>
                  <a:gd name="T2" fmla="*/ 15 w 31"/>
                  <a:gd name="T3" fmla="*/ 46 h 46"/>
                  <a:gd name="T4" fmla="*/ 0 w 31"/>
                  <a:gd name="T5" fmla="*/ 23 h 46"/>
                  <a:gd name="T6" fmla="*/ 15 w 31"/>
                  <a:gd name="T7" fmla="*/ 0 h 46"/>
                  <a:gd name="T8" fmla="*/ 31 w 31"/>
                  <a:gd name="T9" fmla="*/ 23 h 46"/>
                  <a:gd name="T10" fmla="*/ 8 w 31"/>
                  <a:gd name="T11" fmla="*/ 23 h 46"/>
                  <a:gd name="T12" fmla="*/ 15 w 31"/>
                  <a:gd name="T13" fmla="*/ 39 h 46"/>
                  <a:gd name="T14" fmla="*/ 23 w 31"/>
                  <a:gd name="T15" fmla="*/ 23 h 46"/>
                  <a:gd name="T16" fmla="*/ 15 w 31"/>
                  <a:gd name="T17" fmla="*/ 7 h 46"/>
                  <a:gd name="T18" fmla="*/ 8 w 31"/>
                  <a:gd name="T19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6">
                    <a:moveTo>
                      <a:pt x="31" y="23"/>
                    </a:moveTo>
                    <a:cubicBezTo>
                      <a:pt x="31" y="38"/>
                      <a:pt x="26" y="46"/>
                      <a:pt x="15" y="46"/>
                    </a:cubicBezTo>
                    <a:cubicBezTo>
                      <a:pt x="5" y="46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7"/>
                      <a:pt x="15" y="7"/>
                    </a:cubicBezTo>
                    <a:cubicBezTo>
                      <a:pt x="10" y="7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12" name="Freeform 95">
                <a:extLst>
                  <a:ext uri="{FF2B5EF4-FFF2-40B4-BE49-F238E27FC236}">
                    <a16:creationId xmlns:a16="http://schemas.microsoft.com/office/drawing/2014/main" id="{840D3161-1991-8B43-FCF5-0AB065C7E3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4031" y="5565699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13" name="Freeform 96">
                <a:extLst>
                  <a:ext uri="{FF2B5EF4-FFF2-40B4-BE49-F238E27FC236}">
                    <a16:creationId xmlns:a16="http://schemas.microsoft.com/office/drawing/2014/main" id="{DE59E0D7-6083-57B8-16F3-E605A05C3D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09499" y="5712241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14" name="Freeform 97">
                <a:extLst>
                  <a:ext uri="{FF2B5EF4-FFF2-40B4-BE49-F238E27FC236}">
                    <a16:creationId xmlns:a16="http://schemas.microsoft.com/office/drawing/2014/main" id="{00067C04-E452-BB84-5300-ACE8BF1CAF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4031" y="5858783"/>
                <a:ext cx="52876" cy="84602"/>
              </a:xfrm>
              <a:custGeom>
                <a:avLst/>
                <a:gdLst>
                  <a:gd name="T0" fmla="*/ 16 w 35"/>
                  <a:gd name="T1" fmla="*/ 14 h 56"/>
                  <a:gd name="T2" fmla="*/ 7 w 35"/>
                  <a:gd name="T3" fmla="*/ 21 h 56"/>
                  <a:gd name="T4" fmla="*/ 0 w 35"/>
                  <a:gd name="T5" fmla="*/ 11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4"/>
                    </a:moveTo>
                    <a:lnTo>
                      <a:pt x="7" y="21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15" name="Freeform 98">
                <a:extLst>
                  <a:ext uri="{FF2B5EF4-FFF2-40B4-BE49-F238E27FC236}">
                    <a16:creationId xmlns:a16="http://schemas.microsoft.com/office/drawing/2014/main" id="{FC3C726E-53B0-AAB8-185D-9BC6F59F73E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09499" y="6005325"/>
                <a:ext cx="67984" cy="84602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16" name="Freeform 99">
                <a:extLst>
                  <a:ext uri="{FF2B5EF4-FFF2-40B4-BE49-F238E27FC236}">
                    <a16:creationId xmlns:a16="http://schemas.microsoft.com/office/drawing/2014/main" id="{007FCCD4-C0E6-0258-EBDB-6ED03E4CB9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4031" y="6150356"/>
                <a:ext cx="52876" cy="86113"/>
              </a:xfrm>
              <a:custGeom>
                <a:avLst/>
                <a:gdLst>
                  <a:gd name="T0" fmla="*/ 16 w 35"/>
                  <a:gd name="T1" fmla="*/ 15 h 57"/>
                  <a:gd name="T2" fmla="*/ 7 w 35"/>
                  <a:gd name="T3" fmla="*/ 22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8 h 57"/>
                  <a:gd name="T12" fmla="*/ 35 w 35"/>
                  <a:gd name="T13" fmla="*/ 48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8 h 57"/>
                  <a:gd name="T20" fmla="*/ 16 w 35"/>
                  <a:gd name="T21" fmla="*/ 48 h 57"/>
                  <a:gd name="T22" fmla="*/ 16 w 35"/>
                  <a:gd name="T23" fmla="*/ 1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5"/>
                    </a:moveTo>
                    <a:lnTo>
                      <a:pt x="7" y="22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5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17" name="Freeform 100">
                <a:extLst>
                  <a:ext uri="{FF2B5EF4-FFF2-40B4-BE49-F238E27FC236}">
                    <a16:creationId xmlns:a16="http://schemas.microsoft.com/office/drawing/2014/main" id="{2BC218C0-A37E-0C91-FD16-FF07459D27C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09499" y="6296898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18" name="Freeform 101">
                <a:extLst>
                  <a:ext uri="{FF2B5EF4-FFF2-40B4-BE49-F238E27FC236}">
                    <a16:creationId xmlns:a16="http://schemas.microsoft.com/office/drawing/2014/main" id="{DE10409F-E14C-EB15-233C-21BCEC47CC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4031" y="6443440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19" name="Freeform 102">
                <a:extLst>
                  <a:ext uri="{FF2B5EF4-FFF2-40B4-BE49-F238E27FC236}">
                    <a16:creationId xmlns:a16="http://schemas.microsoft.com/office/drawing/2014/main" id="{9C148A68-9433-5903-49DE-9B66BCA1C3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4031" y="6589982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20" name="Freeform 103">
                <a:extLst>
                  <a:ext uri="{FF2B5EF4-FFF2-40B4-BE49-F238E27FC236}">
                    <a16:creationId xmlns:a16="http://schemas.microsoft.com/office/drawing/2014/main" id="{837FD717-7FA0-D4E1-F0F4-6EB1FD254D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4031" y="6739546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5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5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21" name="Freeform 104">
                <a:extLst>
                  <a:ext uri="{FF2B5EF4-FFF2-40B4-BE49-F238E27FC236}">
                    <a16:creationId xmlns:a16="http://schemas.microsoft.com/office/drawing/2014/main" id="{A03DFD8F-2672-7197-EB1F-4838315CFD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09499" y="6883066"/>
                <a:ext cx="67984" cy="89134"/>
              </a:xfrm>
              <a:custGeom>
                <a:avLst/>
                <a:gdLst>
                  <a:gd name="T0" fmla="*/ 17 w 19"/>
                  <a:gd name="T1" fmla="*/ 4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4 h 25"/>
                  <a:gd name="T16" fmla="*/ 6 w 19"/>
                  <a:gd name="T17" fmla="*/ 12 h 25"/>
                  <a:gd name="T18" fmla="*/ 10 w 19"/>
                  <a:gd name="T19" fmla="*/ 20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3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22" name="Freeform 135">
                <a:extLst>
                  <a:ext uri="{FF2B5EF4-FFF2-40B4-BE49-F238E27FC236}">
                    <a16:creationId xmlns:a16="http://schemas.microsoft.com/office/drawing/2014/main" id="{EBEEE142-0B99-DCA6-2A9A-B11C2B62C9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4121" y="5932809"/>
                <a:ext cx="60430" cy="111795"/>
              </a:xfrm>
              <a:custGeom>
                <a:avLst/>
                <a:gdLst>
                  <a:gd name="T0" fmla="*/ 19 w 40"/>
                  <a:gd name="T1" fmla="*/ 14 h 74"/>
                  <a:gd name="T2" fmla="*/ 4 w 40"/>
                  <a:gd name="T3" fmla="*/ 24 h 74"/>
                  <a:gd name="T4" fmla="*/ 0 w 40"/>
                  <a:gd name="T5" fmla="*/ 14 h 74"/>
                  <a:gd name="T6" fmla="*/ 21 w 40"/>
                  <a:gd name="T7" fmla="*/ 0 h 74"/>
                  <a:gd name="T8" fmla="*/ 30 w 40"/>
                  <a:gd name="T9" fmla="*/ 0 h 74"/>
                  <a:gd name="T10" fmla="*/ 30 w 40"/>
                  <a:gd name="T11" fmla="*/ 64 h 74"/>
                  <a:gd name="T12" fmla="*/ 40 w 40"/>
                  <a:gd name="T13" fmla="*/ 64 h 74"/>
                  <a:gd name="T14" fmla="*/ 40 w 40"/>
                  <a:gd name="T15" fmla="*/ 74 h 74"/>
                  <a:gd name="T16" fmla="*/ 9 w 40"/>
                  <a:gd name="T17" fmla="*/ 74 h 74"/>
                  <a:gd name="T18" fmla="*/ 9 w 40"/>
                  <a:gd name="T19" fmla="*/ 64 h 74"/>
                  <a:gd name="T20" fmla="*/ 19 w 40"/>
                  <a:gd name="T21" fmla="*/ 64 h 74"/>
                  <a:gd name="T22" fmla="*/ 19 w 40"/>
                  <a:gd name="T23" fmla="*/ 1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4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4"/>
                    </a:lnTo>
                    <a:lnTo>
                      <a:pt x="9" y="74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23" name="Freeform 136">
                <a:extLst>
                  <a:ext uri="{FF2B5EF4-FFF2-40B4-BE49-F238E27FC236}">
                    <a16:creationId xmlns:a16="http://schemas.microsoft.com/office/drawing/2014/main" id="{545D49BD-FA92-A67B-CA7D-A264F9DAB14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459589" y="6121652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8 h 32"/>
                  <a:gd name="T14" fmla="*/ 16 w 21"/>
                  <a:gd name="T15" fmla="*/ 16 h 32"/>
                  <a:gd name="T16" fmla="*/ 10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0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0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24" name="Freeform 137">
                <a:extLst>
                  <a:ext uri="{FF2B5EF4-FFF2-40B4-BE49-F238E27FC236}">
                    <a16:creationId xmlns:a16="http://schemas.microsoft.com/office/drawing/2014/main" id="{9C19E2FA-A3F6-C72E-C13E-BAC3B066E1F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459589" y="6503870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6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25" name="Freeform 138">
                <a:extLst>
                  <a:ext uri="{FF2B5EF4-FFF2-40B4-BE49-F238E27FC236}">
                    <a16:creationId xmlns:a16="http://schemas.microsoft.com/office/drawing/2014/main" id="{FEDB490F-BD25-5414-CB06-B362341E57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4121" y="6697245"/>
                <a:ext cx="60430" cy="107263"/>
              </a:xfrm>
              <a:custGeom>
                <a:avLst/>
                <a:gdLst>
                  <a:gd name="T0" fmla="*/ 19 w 40"/>
                  <a:gd name="T1" fmla="*/ 12 h 71"/>
                  <a:gd name="T2" fmla="*/ 4 w 40"/>
                  <a:gd name="T3" fmla="*/ 21 h 71"/>
                  <a:gd name="T4" fmla="*/ 0 w 40"/>
                  <a:gd name="T5" fmla="*/ 12 h 71"/>
                  <a:gd name="T6" fmla="*/ 21 w 40"/>
                  <a:gd name="T7" fmla="*/ 0 h 71"/>
                  <a:gd name="T8" fmla="*/ 30 w 40"/>
                  <a:gd name="T9" fmla="*/ 0 h 71"/>
                  <a:gd name="T10" fmla="*/ 30 w 40"/>
                  <a:gd name="T11" fmla="*/ 64 h 71"/>
                  <a:gd name="T12" fmla="*/ 40 w 40"/>
                  <a:gd name="T13" fmla="*/ 64 h 71"/>
                  <a:gd name="T14" fmla="*/ 40 w 40"/>
                  <a:gd name="T15" fmla="*/ 71 h 71"/>
                  <a:gd name="T16" fmla="*/ 9 w 40"/>
                  <a:gd name="T17" fmla="*/ 71 h 71"/>
                  <a:gd name="T18" fmla="*/ 9 w 40"/>
                  <a:gd name="T19" fmla="*/ 64 h 71"/>
                  <a:gd name="T20" fmla="*/ 19 w 40"/>
                  <a:gd name="T21" fmla="*/ 64 h 71"/>
                  <a:gd name="T22" fmla="*/ 19 w 40"/>
                  <a:gd name="T23" fmla="*/ 1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1">
                    <a:moveTo>
                      <a:pt x="19" y="12"/>
                    </a:moveTo>
                    <a:lnTo>
                      <a:pt x="4" y="21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1"/>
                    </a:lnTo>
                    <a:lnTo>
                      <a:pt x="9" y="71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26" name="Freeform 139">
                <a:extLst>
                  <a:ext uri="{FF2B5EF4-FFF2-40B4-BE49-F238E27FC236}">
                    <a16:creationId xmlns:a16="http://schemas.microsoft.com/office/drawing/2014/main" id="{1AD36BF0-9932-19DD-5F9B-BC562345AC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4121" y="6886087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27" name="Freeform 149">
                <a:extLst>
                  <a:ext uri="{FF2B5EF4-FFF2-40B4-BE49-F238E27FC236}">
                    <a16:creationId xmlns:a16="http://schemas.microsoft.com/office/drawing/2014/main" id="{68686874-7316-8145-B287-04BD023BBE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0421" y="5576274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28" name="Freeform 150">
                <a:extLst>
                  <a:ext uri="{FF2B5EF4-FFF2-40B4-BE49-F238E27FC236}">
                    <a16:creationId xmlns:a16="http://schemas.microsoft.com/office/drawing/2014/main" id="{8398D8F6-C02E-DD7D-33C2-07BADF717F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12867" y="5858783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29" name="Freeform 151">
                <a:extLst>
                  <a:ext uri="{FF2B5EF4-FFF2-40B4-BE49-F238E27FC236}">
                    <a16:creationId xmlns:a16="http://schemas.microsoft.com/office/drawing/2014/main" id="{3C254CD7-DF64-F4F6-B115-CC7AD8BB06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0421" y="6147335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30" name="Freeform 152">
                <a:extLst>
                  <a:ext uri="{FF2B5EF4-FFF2-40B4-BE49-F238E27FC236}">
                    <a16:creationId xmlns:a16="http://schemas.microsoft.com/office/drawing/2014/main" id="{0A7C1B79-2450-375E-2CFB-D579642C752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12867" y="6429843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31" name="Freeform 153">
                <a:extLst>
                  <a:ext uri="{FF2B5EF4-FFF2-40B4-BE49-F238E27FC236}">
                    <a16:creationId xmlns:a16="http://schemas.microsoft.com/office/drawing/2014/main" id="{02C48B26-1334-4265-30AB-1458D911D7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0421" y="6718395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32" name="Line 8">
                <a:extLst>
                  <a:ext uri="{FF2B5EF4-FFF2-40B4-BE49-F238E27FC236}">
                    <a16:creationId xmlns:a16="http://schemas.microsoft.com/office/drawing/2014/main" id="{F056DE82-79E2-5F7F-31A5-DAFAA477511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81365" y="5104923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33" name="Line 9">
                <a:extLst>
                  <a:ext uri="{FF2B5EF4-FFF2-40B4-BE49-F238E27FC236}">
                    <a16:creationId xmlns:a16="http://schemas.microsoft.com/office/drawing/2014/main" id="{0EF50001-9AB8-1E84-F6D4-F164031AE1A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81365" y="5104923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34" name="Freeform 10">
                <a:extLst>
                  <a:ext uri="{FF2B5EF4-FFF2-40B4-BE49-F238E27FC236}">
                    <a16:creationId xmlns:a16="http://schemas.microsoft.com/office/drawing/2014/main" id="{06FEDF70-BCAC-001A-78B5-A0376A8C42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8475" y="6176038"/>
                <a:ext cx="99709" cy="157117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8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7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7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8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7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7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35" name="Freeform 11">
                <a:extLst>
                  <a:ext uri="{FF2B5EF4-FFF2-40B4-BE49-F238E27FC236}">
                    <a16:creationId xmlns:a16="http://schemas.microsoft.com/office/drawing/2014/main" id="{3616F2D2-4468-D245-BF5A-302B05864BD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34879" y="6443440"/>
                <a:ext cx="120859" cy="164671"/>
              </a:xfrm>
              <a:custGeom>
                <a:avLst/>
                <a:gdLst>
                  <a:gd name="T0" fmla="*/ 32 w 34"/>
                  <a:gd name="T1" fmla="*/ 8 h 46"/>
                  <a:gd name="T2" fmla="*/ 34 w 34"/>
                  <a:gd name="T3" fmla="*/ 23 h 46"/>
                  <a:gd name="T4" fmla="*/ 31 w 34"/>
                  <a:gd name="T5" fmla="*/ 39 h 46"/>
                  <a:gd name="T6" fmla="*/ 17 w 34"/>
                  <a:gd name="T7" fmla="*/ 46 h 46"/>
                  <a:gd name="T8" fmla="*/ 3 w 34"/>
                  <a:gd name="T9" fmla="*/ 37 h 46"/>
                  <a:gd name="T10" fmla="*/ 0 w 34"/>
                  <a:gd name="T11" fmla="*/ 23 h 46"/>
                  <a:gd name="T12" fmla="*/ 17 w 34"/>
                  <a:gd name="T13" fmla="*/ 0 h 46"/>
                  <a:gd name="T14" fmla="*/ 32 w 34"/>
                  <a:gd name="T15" fmla="*/ 8 h 46"/>
                  <a:gd name="T16" fmla="*/ 10 w 34"/>
                  <a:gd name="T17" fmla="*/ 23 h 46"/>
                  <a:gd name="T18" fmla="*/ 17 w 34"/>
                  <a:gd name="T19" fmla="*/ 38 h 46"/>
                  <a:gd name="T20" fmla="*/ 25 w 34"/>
                  <a:gd name="T21" fmla="*/ 23 h 46"/>
                  <a:gd name="T22" fmla="*/ 17 w 34"/>
                  <a:gd name="T23" fmla="*/ 8 h 46"/>
                  <a:gd name="T24" fmla="*/ 10 w 34"/>
                  <a:gd name="T25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46">
                    <a:moveTo>
                      <a:pt x="32" y="8"/>
                    </a:moveTo>
                    <a:cubicBezTo>
                      <a:pt x="34" y="12"/>
                      <a:pt x="34" y="16"/>
                      <a:pt x="34" y="23"/>
                    </a:cubicBezTo>
                    <a:cubicBezTo>
                      <a:pt x="34" y="31"/>
                      <a:pt x="33" y="36"/>
                      <a:pt x="31" y="39"/>
                    </a:cubicBezTo>
                    <a:cubicBezTo>
                      <a:pt x="28" y="43"/>
                      <a:pt x="23" y="46"/>
                      <a:pt x="17" y="46"/>
                    </a:cubicBezTo>
                    <a:cubicBezTo>
                      <a:pt x="11" y="46"/>
                      <a:pt x="6" y="43"/>
                      <a:pt x="3" y="37"/>
                    </a:cubicBezTo>
                    <a:cubicBezTo>
                      <a:pt x="1" y="34"/>
                      <a:pt x="0" y="29"/>
                      <a:pt x="0" y="23"/>
                    </a:cubicBezTo>
                    <a:cubicBezTo>
                      <a:pt x="0" y="8"/>
                      <a:pt x="6" y="0"/>
                      <a:pt x="17" y="0"/>
                    </a:cubicBezTo>
                    <a:cubicBezTo>
                      <a:pt x="24" y="0"/>
                      <a:pt x="29" y="3"/>
                      <a:pt x="32" y="8"/>
                    </a:cubicBezTo>
                    <a:close/>
                    <a:moveTo>
                      <a:pt x="10" y="23"/>
                    </a:moveTo>
                    <a:cubicBezTo>
                      <a:pt x="10" y="33"/>
                      <a:pt x="12" y="38"/>
                      <a:pt x="17" y="38"/>
                    </a:cubicBezTo>
                    <a:cubicBezTo>
                      <a:pt x="22" y="38"/>
                      <a:pt x="25" y="33"/>
                      <a:pt x="25" y="23"/>
                    </a:cubicBezTo>
                    <a:cubicBezTo>
                      <a:pt x="25" y="13"/>
                      <a:pt x="22" y="8"/>
                      <a:pt x="17" y="8"/>
                    </a:cubicBezTo>
                    <a:cubicBezTo>
                      <a:pt x="12" y="8"/>
                      <a:pt x="10" y="13"/>
                      <a:pt x="10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36" name="Freeform 12">
                <a:extLst>
                  <a:ext uri="{FF2B5EF4-FFF2-40B4-BE49-F238E27FC236}">
                    <a16:creationId xmlns:a16="http://schemas.microsoft.com/office/drawing/2014/main" id="{A2A26301-017C-6698-FE54-9214CDBE49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8475" y="6718395"/>
                <a:ext cx="99709" cy="157117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6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7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7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6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7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7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37" name="Freeform 23">
                <a:extLst>
                  <a:ext uri="{FF2B5EF4-FFF2-40B4-BE49-F238E27FC236}">
                    <a16:creationId xmlns:a16="http://schemas.microsoft.com/office/drawing/2014/main" id="{18AD7A40-2334-0DF5-A58E-2F554DF6CAC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55156" y="5455415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8 h 32"/>
                  <a:gd name="T14" fmla="*/ 16 w 21"/>
                  <a:gd name="T15" fmla="*/ 16 h 32"/>
                  <a:gd name="T16" fmla="*/ 11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1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1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38" name="Freeform 24">
                <a:extLst>
                  <a:ext uri="{FF2B5EF4-FFF2-40B4-BE49-F238E27FC236}">
                    <a16:creationId xmlns:a16="http://schemas.microsoft.com/office/drawing/2014/main" id="{453F0633-2201-8518-E6DD-E6242F81205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55156" y="5647279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5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39" name="Freeform 25">
                <a:extLst>
                  <a:ext uri="{FF2B5EF4-FFF2-40B4-BE49-F238E27FC236}">
                    <a16:creationId xmlns:a16="http://schemas.microsoft.com/office/drawing/2014/main" id="{923AF22F-4170-036B-7BAD-D715E3FED7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2709" y="6029497"/>
                <a:ext cx="64962" cy="11028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2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2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40" name="Freeform 26">
                <a:extLst>
                  <a:ext uri="{FF2B5EF4-FFF2-40B4-BE49-F238E27FC236}">
                    <a16:creationId xmlns:a16="http://schemas.microsoft.com/office/drawing/2014/main" id="{4EDB73E8-8A06-E3D3-0272-ECB7C6943E6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55156" y="6218339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6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41" name="Freeform 27">
                <a:extLst>
                  <a:ext uri="{FF2B5EF4-FFF2-40B4-BE49-F238E27FC236}">
                    <a16:creationId xmlns:a16="http://schemas.microsoft.com/office/drawing/2014/main" id="{9206F923-AA69-C5BC-62B3-0A8269C7863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55156" y="6408693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7 h 32"/>
                  <a:gd name="T14" fmla="*/ 16 w 21"/>
                  <a:gd name="T15" fmla="*/ 16 h 32"/>
                  <a:gd name="T16" fmla="*/ 11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1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42" name="Freeform 28">
                <a:extLst>
                  <a:ext uri="{FF2B5EF4-FFF2-40B4-BE49-F238E27FC236}">
                    <a16:creationId xmlns:a16="http://schemas.microsoft.com/office/drawing/2014/main" id="{9B0F2295-AC56-8E25-BD47-B72DC24843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2709" y="6789400"/>
                <a:ext cx="64962" cy="111795"/>
              </a:xfrm>
              <a:custGeom>
                <a:avLst/>
                <a:gdLst>
                  <a:gd name="T0" fmla="*/ 19 w 43"/>
                  <a:gd name="T1" fmla="*/ 14 h 74"/>
                  <a:gd name="T2" fmla="*/ 5 w 43"/>
                  <a:gd name="T3" fmla="*/ 24 h 74"/>
                  <a:gd name="T4" fmla="*/ 0 w 43"/>
                  <a:gd name="T5" fmla="*/ 14 h 74"/>
                  <a:gd name="T6" fmla="*/ 22 w 43"/>
                  <a:gd name="T7" fmla="*/ 0 h 74"/>
                  <a:gd name="T8" fmla="*/ 34 w 43"/>
                  <a:gd name="T9" fmla="*/ 0 h 74"/>
                  <a:gd name="T10" fmla="*/ 34 w 43"/>
                  <a:gd name="T11" fmla="*/ 64 h 74"/>
                  <a:gd name="T12" fmla="*/ 43 w 43"/>
                  <a:gd name="T13" fmla="*/ 64 h 74"/>
                  <a:gd name="T14" fmla="*/ 43 w 43"/>
                  <a:gd name="T15" fmla="*/ 74 h 74"/>
                  <a:gd name="T16" fmla="*/ 10 w 43"/>
                  <a:gd name="T17" fmla="*/ 74 h 74"/>
                  <a:gd name="T18" fmla="*/ 10 w 43"/>
                  <a:gd name="T19" fmla="*/ 64 h 74"/>
                  <a:gd name="T20" fmla="*/ 19 w 43"/>
                  <a:gd name="T21" fmla="*/ 64 h 74"/>
                  <a:gd name="T22" fmla="*/ 19 w 43"/>
                  <a:gd name="T23" fmla="*/ 1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4">
                    <a:moveTo>
                      <a:pt x="19" y="14"/>
                    </a:moveTo>
                    <a:lnTo>
                      <a:pt x="5" y="24"/>
                    </a:lnTo>
                    <a:lnTo>
                      <a:pt x="0" y="14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4"/>
                    </a:lnTo>
                    <a:lnTo>
                      <a:pt x="10" y="74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43" name="Freeform 43">
                <a:extLst>
                  <a:ext uri="{FF2B5EF4-FFF2-40B4-BE49-F238E27FC236}">
                    <a16:creationId xmlns:a16="http://schemas.microsoft.com/office/drawing/2014/main" id="{064DD16D-4060-5552-4DC2-33F8BB751C9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5364" y="5654833"/>
                <a:ext cx="63451" cy="9366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5" y="0"/>
                      <a:pt x="18" y="5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44" name="Freeform 44">
                <a:extLst>
                  <a:ext uri="{FF2B5EF4-FFF2-40B4-BE49-F238E27FC236}">
                    <a16:creationId xmlns:a16="http://schemas.microsoft.com/office/drawing/2014/main" id="{7875FF18-B9D9-86A2-4F1A-9FD8AEE9D3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5364" y="5808928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1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45" name="Freeform 45">
                <a:extLst>
                  <a:ext uri="{FF2B5EF4-FFF2-40B4-BE49-F238E27FC236}">
                    <a16:creationId xmlns:a16="http://schemas.microsoft.com/office/drawing/2014/main" id="{9D0B5026-E270-FFA1-94BD-108B7CD63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5938" y="6115609"/>
                <a:ext cx="49855" cy="89134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49 h 59"/>
                  <a:gd name="T20" fmla="*/ 17 w 33"/>
                  <a:gd name="T21" fmla="*/ 49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46" name="Freeform 46">
                <a:extLst>
                  <a:ext uri="{FF2B5EF4-FFF2-40B4-BE49-F238E27FC236}">
                    <a16:creationId xmlns:a16="http://schemas.microsoft.com/office/drawing/2014/main" id="{6877A6DC-95C0-2CD2-0E4E-04F1C45A429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5364" y="6265173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47" name="Freeform 47">
                <a:extLst>
                  <a:ext uri="{FF2B5EF4-FFF2-40B4-BE49-F238E27FC236}">
                    <a16:creationId xmlns:a16="http://schemas.microsoft.com/office/drawing/2014/main" id="{D52CE433-DB2E-CF1A-E293-B0B8E59D844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5364" y="6419268"/>
                <a:ext cx="63451" cy="89134"/>
              </a:xfrm>
              <a:custGeom>
                <a:avLst/>
                <a:gdLst>
                  <a:gd name="T0" fmla="*/ 18 w 18"/>
                  <a:gd name="T1" fmla="*/ 13 h 25"/>
                  <a:gd name="T2" fmla="*/ 9 w 18"/>
                  <a:gd name="T3" fmla="*/ 25 h 25"/>
                  <a:gd name="T4" fmla="*/ 0 w 18"/>
                  <a:gd name="T5" fmla="*/ 12 h 25"/>
                  <a:gd name="T6" fmla="*/ 9 w 18"/>
                  <a:gd name="T7" fmla="*/ 0 h 25"/>
                  <a:gd name="T8" fmla="*/ 18 w 18"/>
                  <a:gd name="T9" fmla="*/ 13 h 25"/>
                  <a:gd name="T10" fmla="*/ 5 w 18"/>
                  <a:gd name="T11" fmla="*/ 12 h 25"/>
                  <a:gd name="T12" fmla="*/ 9 w 18"/>
                  <a:gd name="T13" fmla="*/ 22 h 25"/>
                  <a:gd name="T14" fmla="*/ 13 w 18"/>
                  <a:gd name="T15" fmla="*/ 13 h 25"/>
                  <a:gd name="T16" fmla="*/ 9 w 18"/>
                  <a:gd name="T17" fmla="*/ 3 h 25"/>
                  <a:gd name="T18" fmla="*/ 5 w 18"/>
                  <a:gd name="T1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5">
                    <a:moveTo>
                      <a:pt x="18" y="13"/>
                    </a:moveTo>
                    <a:cubicBezTo>
                      <a:pt x="18" y="21"/>
                      <a:pt x="15" y="25"/>
                      <a:pt x="9" y="25"/>
                    </a:cubicBezTo>
                    <a:cubicBezTo>
                      <a:pt x="3" y="25"/>
                      <a:pt x="0" y="21"/>
                      <a:pt x="0" y="12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2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6"/>
                      <a:pt x="12" y="3"/>
                      <a:pt x="9" y="3"/>
                    </a:cubicBezTo>
                    <a:cubicBezTo>
                      <a:pt x="6" y="3"/>
                      <a:pt x="5" y="6"/>
                      <a:pt x="5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48" name="Freeform 48">
                <a:extLst>
                  <a:ext uri="{FF2B5EF4-FFF2-40B4-BE49-F238E27FC236}">
                    <a16:creationId xmlns:a16="http://schemas.microsoft.com/office/drawing/2014/main" id="{A7E33B22-94EA-A945-29BA-42C59C10D5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5938" y="6725948"/>
                <a:ext cx="49855" cy="84602"/>
              </a:xfrm>
              <a:custGeom>
                <a:avLst/>
                <a:gdLst>
                  <a:gd name="T0" fmla="*/ 17 w 33"/>
                  <a:gd name="T1" fmla="*/ 9 h 56"/>
                  <a:gd name="T2" fmla="*/ 5 w 33"/>
                  <a:gd name="T3" fmla="*/ 16 h 56"/>
                  <a:gd name="T4" fmla="*/ 0 w 33"/>
                  <a:gd name="T5" fmla="*/ 9 h 56"/>
                  <a:gd name="T6" fmla="*/ 19 w 33"/>
                  <a:gd name="T7" fmla="*/ 0 h 56"/>
                  <a:gd name="T8" fmla="*/ 26 w 33"/>
                  <a:gd name="T9" fmla="*/ 0 h 56"/>
                  <a:gd name="T10" fmla="*/ 26 w 33"/>
                  <a:gd name="T11" fmla="*/ 49 h 56"/>
                  <a:gd name="T12" fmla="*/ 33 w 33"/>
                  <a:gd name="T13" fmla="*/ 49 h 56"/>
                  <a:gd name="T14" fmla="*/ 33 w 33"/>
                  <a:gd name="T15" fmla="*/ 56 h 56"/>
                  <a:gd name="T16" fmla="*/ 10 w 33"/>
                  <a:gd name="T17" fmla="*/ 56 h 56"/>
                  <a:gd name="T18" fmla="*/ 10 w 33"/>
                  <a:gd name="T19" fmla="*/ 49 h 56"/>
                  <a:gd name="T20" fmla="*/ 17 w 33"/>
                  <a:gd name="T21" fmla="*/ 49 h 56"/>
                  <a:gd name="T22" fmla="*/ 17 w 33"/>
                  <a:gd name="T23" fmla="*/ 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6">
                    <a:moveTo>
                      <a:pt x="17" y="9"/>
                    </a:moveTo>
                    <a:lnTo>
                      <a:pt x="5" y="16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6"/>
                    </a:lnTo>
                    <a:lnTo>
                      <a:pt x="10" y="56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9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49" name="Freeform 49">
                <a:extLst>
                  <a:ext uri="{FF2B5EF4-FFF2-40B4-BE49-F238E27FC236}">
                    <a16:creationId xmlns:a16="http://schemas.microsoft.com/office/drawing/2014/main" id="{BD57B9DB-0172-1FE1-D522-EDEE909409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5364" y="6875512"/>
                <a:ext cx="63451" cy="89134"/>
              </a:xfrm>
              <a:custGeom>
                <a:avLst/>
                <a:gdLst>
                  <a:gd name="T0" fmla="*/ 18 w 18"/>
                  <a:gd name="T1" fmla="*/ 13 h 25"/>
                  <a:gd name="T2" fmla="*/ 9 w 18"/>
                  <a:gd name="T3" fmla="*/ 25 h 25"/>
                  <a:gd name="T4" fmla="*/ 0 w 18"/>
                  <a:gd name="T5" fmla="*/ 13 h 25"/>
                  <a:gd name="T6" fmla="*/ 9 w 18"/>
                  <a:gd name="T7" fmla="*/ 0 h 25"/>
                  <a:gd name="T8" fmla="*/ 18 w 18"/>
                  <a:gd name="T9" fmla="*/ 13 h 25"/>
                  <a:gd name="T10" fmla="*/ 5 w 18"/>
                  <a:gd name="T11" fmla="*/ 13 h 25"/>
                  <a:gd name="T12" fmla="*/ 9 w 18"/>
                  <a:gd name="T13" fmla="*/ 22 h 25"/>
                  <a:gd name="T14" fmla="*/ 13 w 18"/>
                  <a:gd name="T15" fmla="*/ 13 h 25"/>
                  <a:gd name="T16" fmla="*/ 9 w 18"/>
                  <a:gd name="T17" fmla="*/ 3 h 25"/>
                  <a:gd name="T18" fmla="*/ 5 w 18"/>
                  <a:gd name="T19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5">
                    <a:moveTo>
                      <a:pt x="18" y="13"/>
                    </a:moveTo>
                    <a:cubicBezTo>
                      <a:pt x="18" y="21"/>
                      <a:pt x="15" y="25"/>
                      <a:pt x="9" y="25"/>
                    </a:cubicBezTo>
                    <a:cubicBezTo>
                      <a:pt x="3" y="25"/>
                      <a:pt x="0" y="21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6"/>
                      <a:pt x="12" y="3"/>
                      <a:pt x="9" y="3"/>
                    </a:cubicBezTo>
                    <a:cubicBezTo>
                      <a:pt x="6" y="3"/>
                      <a:pt x="5" y="6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50" name="Freeform 63">
                <a:extLst>
                  <a:ext uri="{FF2B5EF4-FFF2-40B4-BE49-F238E27FC236}">
                    <a16:creationId xmlns:a16="http://schemas.microsoft.com/office/drawing/2014/main" id="{5E40DFE8-CFE1-5F60-5776-5016F0140EB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67948" y="5654833"/>
                <a:ext cx="60430" cy="9366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4" y="0"/>
                      <a:pt x="17" y="5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51" name="Freeform 64">
                <a:extLst>
                  <a:ext uri="{FF2B5EF4-FFF2-40B4-BE49-F238E27FC236}">
                    <a16:creationId xmlns:a16="http://schemas.microsoft.com/office/drawing/2014/main" id="{478D4D4B-4037-1074-C198-FB340F6BC60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67948" y="5808928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1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52" name="Freeform 65">
                <a:extLst>
                  <a:ext uri="{FF2B5EF4-FFF2-40B4-BE49-F238E27FC236}">
                    <a16:creationId xmlns:a16="http://schemas.microsoft.com/office/drawing/2014/main" id="{F03415ED-2B56-5475-5020-1296B11B24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3991" y="6115609"/>
                <a:ext cx="49855" cy="89134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49 h 59"/>
                  <a:gd name="T20" fmla="*/ 16 w 33"/>
                  <a:gd name="T21" fmla="*/ 49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53" name="Freeform 66">
                <a:extLst>
                  <a:ext uri="{FF2B5EF4-FFF2-40B4-BE49-F238E27FC236}">
                    <a16:creationId xmlns:a16="http://schemas.microsoft.com/office/drawing/2014/main" id="{13341B44-6E1E-F716-3B1E-530F0C8D4AF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67948" y="6265173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54" name="Freeform 67">
                <a:extLst>
                  <a:ext uri="{FF2B5EF4-FFF2-40B4-BE49-F238E27FC236}">
                    <a16:creationId xmlns:a16="http://schemas.microsoft.com/office/drawing/2014/main" id="{51C4E507-42A0-EC21-71F6-8AF77ACC0EA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67948" y="6419268"/>
                <a:ext cx="60430" cy="89134"/>
              </a:xfrm>
              <a:custGeom>
                <a:avLst/>
                <a:gdLst>
                  <a:gd name="T0" fmla="*/ 17 w 17"/>
                  <a:gd name="T1" fmla="*/ 13 h 25"/>
                  <a:gd name="T2" fmla="*/ 9 w 17"/>
                  <a:gd name="T3" fmla="*/ 25 h 25"/>
                  <a:gd name="T4" fmla="*/ 0 w 17"/>
                  <a:gd name="T5" fmla="*/ 12 h 25"/>
                  <a:gd name="T6" fmla="*/ 9 w 17"/>
                  <a:gd name="T7" fmla="*/ 0 h 25"/>
                  <a:gd name="T8" fmla="*/ 17 w 17"/>
                  <a:gd name="T9" fmla="*/ 13 h 25"/>
                  <a:gd name="T10" fmla="*/ 4 w 17"/>
                  <a:gd name="T11" fmla="*/ 12 h 25"/>
                  <a:gd name="T12" fmla="*/ 9 w 17"/>
                  <a:gd name="T13" fmla="*/ 22 h 25"/>
                  <a:gd name="T14" fmla="*/ 13 w 17"/>
                  <a:gd name="T15" fmla="*/ 13 h 25"/>
                  <a:gd name="T16" fmla="*/ 9 w 17"/>
                  <a:gd name="T17" fmla="*/ 3 h 25"/>
                  <a:gd name="T18" fmla="*/ 4 w 17"/>
                  <a:gd name="T1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5">
                    <a:moveTo>
                      <a:pt x="17" y="13"/>
                    </a:moveTo>
                    <a:cubicBezTo>
                      <a:pt x="17" y="21"/>
                      <a:pt x="14" y="25"/>
                      <a:pt x="9" y="25"/>
                    </a:cubicBezTo>
                    <a:cubicBezTo>
                      <a:pt x="3" y="25"/>
                      <a:pt x="0" y="21"/>
                      <a:pt x="0" y="12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2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6"/>
                      <a:pt x="11" y="3"/>
                      <a:pt x="9" y="3"/>
                    </a:cubicBezTo>
                    <a:cubicBezTo>
                      <a:pt x="6" y="3"/>
                      <a:pt x="4" y="6"/>
                      <a:pt x="4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55" name="Freeform 68">
                <a:extLst>
                  <a:ext uri="{FF2B5EF4-FFF2-40B4-BE49-F238E27FC236}">
                    <a16:creationId xmlns:a16="http://schemas.microsoft.com/office/drawing/2014/main" id="{4DD284F8-968B-CD3E-22C0-5DB69CEC9A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3991" y="6725948"/>
                <a:ext cx="49855" cy="84602"/>
              </a:xfrm>
              <a:custGeom>
                <a:avLst/>
                <a:gdLst>
                  <a:gd name="T0" fmla="*/ 16 w 33"/>
                  <a:gd name="T1" fmla="*/ 9 h 56"/>
                  <a:gd name="T2" fmla="*/ 4 w 33"/>
                  <a:gd name="T3" fmla="*/ 16 h 56"/>
                  <a:gd name="T4" fmla="*/ 0 w 33"/>
                  <a:gd name="T5" fmla="*/ 9 h 56"/>
                  <a:gd name="T6" fmla="*/ 16 w 33"/>
                  <a:gd name="T7" fmla="*/ 0 h 56"/>
                  <a:gd name="T8" fmla="*/ 26 w 33"/>
                  <a:gd name="T9" fmla="*/ 0 h 56"/>
                  <a:gd name="T10" fmla="*/ 26 w 33"/>
                  <a:gd name="T11" fmla="*/ 49 h 56"/>
                  <a:gd name="T12" fmla="*/ 33 w 33"/>
                  <a:gd name="T13" fmla="*/ 49 h 56"/>
                  <a:gd name="T14" fmla="*/ 33 w 33"/>
                  <a:gd name="T15" fmla="*/ 56 h 56"/>
                  <a:gd name="T16" fmla="*/ 7 w 33"/>
                  <a:gd name="T17" fmla="*/ 56 h 56"/>
                  <a:gd name="T18" fmla="*/ 7 w 33"/>
                  <a:gd name="T19" fmla="*/ 49 h 56"/>
                  <a:gd name="T20" fmla="*/ 16 w 33"/>
                  <a:gd name="T21" fmla="*/ 49 h 56"/>
                  <a:gd name="T22" fmla="*/ 16 w 33"/>
                  <a:gd name="T23" fmla="*/ 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6">
                    <a:moveTo>
                      <a:pt x="16" y="9"/>
                    </a:moveTo>
                    <a:lnTo>
                      <a:pt x="4" y="16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6"/>
                    </a:lnTo>
                    <a:lnTo>
                      <a:pt x="7" y="56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9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56" name="Freeform 69">
                <a:extLst>
                  <a:ext uri="{FF2B5EF4-FFF2-40B4-BE49-F238E27FC236}">
                    <a16:creationId xmlns:a16="http://schemas.microsoft.com/office/drawing/2014/main" id="{AEC3BB2E-0F26-A6B8-0781-200FDCB574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67948" y="6875512"/>
                <a:ext cx="60430" cy="89134"/>
              </a:xfrm>
              <a:custGeom>
                <a:avLst/>
                <a:gdLst>
                  <a:gd name="T0" fmla="*/ 17 w 17"/>
                  <a:gd name="T1" fmla="*/ 13 h 25"/>
                  <a:gd name="T2" fmla="*/ 9 w 17"/>
                  <a:gd name="T3" fmla="*/ 25 h 25"/>
                  <a:gd name="T4" fmla="*/ 0 w 17"/>
                  <a:gd name="T5" fmla="*/ 13 h 25"/>
                  <a:gd name="T6" fmla="*/ 9 w 17"/>
                  <a:gd name="T7" fmla="*/ 0 h 25"/>
                  <a:gd name="T8" fmla="*/ 17 w 17"/>
                  <a:gd name="T9" fmla="*/ 13 h 25"/>
                  <a:gd name="T10" fmla="*/ 4 w 17"/>
                  <a:gd name="T11" fmla="*/ 13 h 25"/>
                  <a:gd name="T12" fmla="*/ 9 w 17"/>
                  <a:gd name="T13" fmla="*/ 22 h 25"/>
                  <a:gd name="T14" fmla="*/ 13 w 17"/>
                  <a:gd name="T15" fmla="*/ 13 h 25"/>
                  <a:gd name="T16" fmla="*/ 9 w 17"/>
                  <a:gd name="T17" fmla="*/ 3 h 25"/>
                  <a:gd name="T18" fmla="*/ 4 w 17"/>
                  <a:gd name="T19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5">
                    <a:moveTo>
                      <a:pt x="17" y="13"/>
                    </a:moveTo>
                    <a:cubicBezTo>
                      <a:pt x="17" y="21"/>
                      <a:pt x="14" y="25"/>
                      <a:pt x="9" y="25"/>
                    </a:cubicBezTo>
                    <a:cubicBezTo>
                      <a:pt x="3" y="25"/>
                      <a:pt x="0" y="21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6"/>
                      <a:pt x="11" y="3"/>
                      <a:pt x="9" y="3"/>
                    </a:cubicBezTo>
                    <a:cubicBezTo>
                      <a:pt x="6" y="3"/>
                      <a:pt x="4" y="6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57" name="Freeform 83">
                <a:extLst>
                  <a:ext uri="{FF2B5EF4-FFF2-40B4-BE49-F238E27FC236}">
                    <a16:creationId xmlns:a16="http://schemas.microsoft.com/office/drawing/2014/main" id="{BF08328A-0D01-F484-9D61-7F351A3817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2522" y="5662386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3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58" name="Freeform 84">
                <a:extLst>
                  <a:ext uri="{FF2B5EF4-FFF2-40B4-BE49-F238E27FC236}">
                    <a16:creationId xmlns:a16="http://schemas.microsoft.com/office/drawing/2014/main" id="{4CAF9E16-96F6-9727-3B4F-FC352ACD159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77415" y="5929788"/>
                <a:ext cx="110285" cy="164671"/>
              </a:xfrm>
              <a:custGeom>
                <a:avLst/>
                <a:gdLst>
                  <a:gd name="T0" fmla="*/ 31 w 31"/>
                  <a:gd name="T1" fmla="*/ 23 h 46"/>
                  <a:gd name="T2" fmla="*/ 15 w 31"/>
                  <a:gd name="T3" fmla="*/ 46 h 46"/>
                  <a:gd name="T4" fmla="*/ 0 w 31"/>
                  <a:gd name="T5" fmla="*/ 23 h 46"/>
                  <a:gd name="T6" fmla="*/ 15 w 31"/>
                  <a:gd name="T7" fmla="*/ 0 h 46"/>
                  <a:gd name="T8" fmla="*/ 31 w 31"/>
                  <a:gd name="T9" fmla="*/ 23 h 46"/>
                  <a:gd name="T10" fmla="*/ 8 w 31"/>
                  <a:gd name="T11" fmla="*/ 23 h 46"/>
                  <a:gd name="T12" fmla="*/ 15 w 31"/>
                  <a:gd name="T13" fmla="*/ 39 h 46"/>
                  <a:gd name="T14" fmla="*/ 23 w 31"/>
                  <a:gd name="T15" fmla="*/ 23 h 46"/>
                  <a:gd name="T16" fmla="*/ 15 w 31"/>
                  <a:gd name="T17" fmla="*/ 7 h 46"/>
                  <a:gd name="T18" fmla="*/ 8 w 31"/>
                  <a:gd name="T19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6">
                    <a:moveTo>
                      <a:pt x="31" y="23"/>
                    </a:moveTo>
                    <a:cubicBezTo>
                      <a:pt x="31" y="38"/>
                      <a:pt x="26" y="46"/>
                      <a:pt x="15" y="46"/>
                    </a:cubicBezTo>
                    <a:cubicBezTo>
                      <a:pt x="5" y="46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7"/>
                      <a:pt x="15" y="7"/>
                    </a:cubicBezTo>
                    <a:cubicBezTo>
                      <a:pt x="10" y="7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59" name="Freeform 85">
                <a:extLst>
                  <a:ext uri="{FF2B5EF4-FFF2-40B4-BE49-F238E27FC236}">
                    <a16:creationId xmlns:a16="http://schemas.microsoft.com/office/drawing/2014/main" id="{5361FDB2-1E93-B7E7-44C1-6E9C28EDC4A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77415" y="6201721"/>
                <a:ext cx="110285" cy="160139"/>
              </a:xfrm>
              <a:custGeom>
                <a:avLst/>
                <a:gdLst>
                  <a:gd name="T0" fmla="*/ 31 w 31"/>
                  <a:gd name="T1" fmla="*/ 23 h 45"/>
                  <a:gd name="T2" fmla="*/ 15 w 31"/>
                  <a:gd name="T3" fmla="*/ 45 h 45"/>
                  <a:gd name="T4" fmla="*/ 0 w 31"/>
                  <a:gd name="T5" fmla="*/ 23 h 45"/>
                  <a:gd name="T6" fmla="*/ 15 w 31"/>
                  <a:gd name="T7" fmla="*/ 0 h 45"/>
                  <a:gd name="T8" fmla="*/ 31 w 31"/>
                  <a:gd name="T9" fmla="*/ 23 h 45"/>
                  <a:gd name="T10" fmla="*/ 8 w 31"/>
                  <a:gd name="T11" fmla="*/ 23 h 45"/>
                  <a:gd name="T12" fmla="*/ 15 w 31"/>
                  <a:gd name="T13" fmla="*/ 39 h 45"/>
                  <a:gd name="T14" fmla="*/ 23 w 31"/>
                  <a:gd name="T15" fmla="*/ 23 h 45"/>
                  <a:gd name="T16" fmla="*/ 15 w 31"/>
                  <a:gd name="T17" fmla="*/ 6 h 45"/>
                  <a:gd name="T18" fmla="*/ 8 w 31"/>
                  <a:gd name="T19" fmla="*/ 2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31" y="23"/>
                    </a:moveTo>
                    <a:cubicBezTo>
                      <a:pt x="31" y="38"/>
                      <a:pt x="26" y="45"/>
                      <a:pt x="15" y="45"/>
                    </a:cubicBezTo>
                    <a:cubicBezTo>
                      <a:pt x="5" y="45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6"/>
                      <a:pt x="15" y="6"/>
                    </a:cubicBezTo>
                    <a:cubicBezTo>
                      <a:pt x="10" y="6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60" name="Freeform 86">
                <a:extLst>
                  <a:ext uri="{FF2B5EF4-FFF2-40B4-BE49-F238E27FC236}">
                    <a16:creationId xmlns:a16="http://schemas.microsoft.com/office/drawing/2014/main" id="{E0E512E6-3F4C-E764-849C-A36660F836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2522" y="6475165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4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4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61" name="Freeform 87">
                <a:extLst>
                  <a:ext uri="{FF2B5EF4-FFF2-40B4-BE49-F238E27FC236}">
                    <a16:creationId xmlns:a16="http://schemas.microsoft.com/office/drawing/2014/main" id="{581899C4-4E2D-2668-D1C0-DA0C58D67C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2522" y="6747099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1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1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62" name="Freeform 95">
                <a:extLst>
                  <a:ext uri="{FF2B5EF4-FFF2-40B4-BE49-F238E27FC236}">
                    <a16:creationId xmlns:a16="http://schemas.microsoft.com/office/drawing/2014/main" id="{32448EE4-F7B8-6EB7-B033-FC8189CC64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4777091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63" name="Freeform 96">
                <a:extLst>
                  <a:ext uri="{FF2B5EF4-FFF2-40B4-BE49-F238E27FC236}">
                    <a16:creationId xmlns:a16="http://schemas.microsoft.com/office/drawing/2014/main" id="{1904D08D-B21C-660F-A7E8-36E2854E531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9292" y="4923634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64" name="Freeform 97">
                <a:extLst>
                  <a:ext uri="{FF2B5EF4-FFF2-40B4-BE49-F238E27FC236}">
                    <a16:creationId xmlns:a16="http://schemas.microsoft.com/office/drawing/2014/main" id="{5F725F82-0649-4D58-0356-2442F5555C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5070175"/>
                <a:ext cx="52876" cy="84602"/>
              </a:xfrm>
              <a:custGeom>
                <a:avLst/>
                <a:gdLst>
                  <a:gd name="T0" fmla="*/ 16 w 35"/>
                  <a:gd name="T1" fmla="*/ 14 h 56"/>
                  <a:gd name="T2" fmla="*/ 7 w 35"/>
                  <a:gd name="T3" fmla="*/ 21 h 56"/>
                  <a:gd name="T4" fmla="*/ 0 w 35"/>
                  <a:gd name="T5" fmla="*/ 11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4"/>
                    </a:moveTo>
                    <a:lnTo>
                      <a:pt x="7" y="21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65" name="Freeform 98">
                <a:extLst>
                  <a:ext uri="{FF2B5EF4-FFF2-40B4-BE49-F238E27FC236}">
                    <a16:creationId xmlns:a16="http://schemas.microsoft.com/office/drawing/2014/main" id="{896C1816-BFBD-E2D3-C86E-55628BE917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9292" y="5216718"/>
                <a:ext cx="67984" cy="84602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66" name="Freeform 99">
                <a:extLst>
                  <a:ext uri="{FF2B5EF4-FFF2-40B4-BE49-F238E27FC236}">
                    <a16:creationId xmlns:a16="http://schemas.microsoft.com/office/drawing/2014/main" id="{C085E86E-EC57-DDBA-93D0-3FFF620D6C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5361749"/>
                <a:ext cx="52876" cy="86113"/>
              </a:xfrm>
              <a:custGeom>
                <a:avLst/>
                <a:gdLst>
                  <a:gd name="T0" fmla="*/ 16 w 35"/>
                  <a:gd name="T1" fmla="*/ 15 h 57"/>
                  <a:gd name="T2" fmla="*/ 7 w 35"/>
                  <a:gd name="T3" fmla="*/ 22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8 h 57"/>
                  <a:gd name="T12" fmla="*/ 35 w 35"/>
                  <a:gd name="T13" fmla="*/ 48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8 h 57"/>
                  <a:gd name="T20" fmla="*/ 16 w 35"/>
                  <a:gd name="T21" fmla="*/ 48 h 57"/>
                  <a:gd name="T22" fmla="*/ 16 w 35"/>
                  <a:gd name="T23" fmla="*/ 1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5"/>
                    </a:moveTo>
                    <a:lnTo>
                      <a:pt x="7" y="22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5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67" name="Freeform 100">
                <a:extLst>
                  <a:ext uri="{FF2B5EF4-FFF2-40B4-BE49-F238E27FC236}">
                    <a16:creationId xmlns:a16="http://schemas.microsoft.com/office/drawing/2014/main" id="{BF97849F-306E-7214-2F25-CB28F9CA31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9292" y="5508290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68" name="Freeform 101">
                <a:extLst>
                  <a:ext uri="{FF2B5EF4-FFF2-40B4-BE49-F238E27FC236}">
                    <a16:creationId xmlns:a16="http://schemas.microsoft.com/office/drawing/2014/main" id="{D65B5DC8-39D6-2043-1DEE-43D34BACD1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5654833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69" name="Freeform 102">
                <a:extLst>
                  <a:ext uri="{FF2B5EF4-FFF2-40B4-BE49-F238E27FC236}">
                    <a16:creationId xmlns:a16="http://schemas.microsoft.com/office/drawing/2014/main" id="{A66CAF9E-925B-8F32-5F2D-4F2FA184C1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5801374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70" name="Freeform 103">
                <a:extLst>
                  <a:ext uri="{FF2B5EF4-FFF2-40B4-BE49-F238E27FC236}">
                    <a16:creationId xmlns:a16="http://schemas.microsoft.com/office/drawing/2014/main" id="{01AE767C-D795-E0D5-744F-FBDE5F6D91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5950938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5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5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71" name="Freeform 104">
                <a:extLst>
                  <a:ext uri="{FF2B5EF4-FFF2-40B4-BE49-F238E27FC236}">
                    <a16:creationId xmlns:a16="http://schemas.microsoft.com/office/drawing/2014/main" id="{856C235F-041D-EF0E-BD5A-EF9480B27A0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9292" y="6094458"/>
                <a:ext cx="67984" cy="89134"/>
              </a:xfrm>
              <a:custGeom>
                <a:avLst/>
                <a:gdLst>
                  <a:gd name="T0" fmla="*/ 17 w 19"/>
                  <a:gd name="T1" fmla="*/ 4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4 h 25"/>
                  <a:gd name="T16" fmla="*/ 6 w 19"/>
                  <a:gd name="T17" fmla="*/ 12 h 25"/>
                  <a:gd name="T18" fmla="*/ 10 w 19"/>
                  <a:gd name="T19" fmla="*/ 20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3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72" name="Freeform 105">
                <a:extLst>
                  <a:ext uri="{FF2B5EF4-FFF2-40B4-BE49-F238E27FC236}">
                    <a16:creationId xmlns:a16="http://schemas.microsoft.com/office/drawing/2014/main" id="{89BB9CC1-0E4D-564D-C60B-8935FF73BC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6244022"/>
                <a:ext cx="52876" cy="81580"/>
              </a:xfrm>
              <a:custGeom>
                <a:avLst/>
                <a:gdLst>
                  <a:gd name="T0" fmla="*/ 16 w 35"/>
                  <a:gd name="T1" fmla="*/ 12 h 54"/>
                  <a:gd name="T2" fmla="*/ 7 w 35"/>
                  <a:gd name="T3" fmla="*/ 19 h 54"/>
                  <a:gd name="T4" fmla="*/ 0 w 35"/>
                  <a:gd name="T5" fmla="*/ 9 h 54"/>
                  <a:gd name="T6" fmla="*/ 19 w 35"/>
                  <a:gd name="T7" fmla="*/ 0 h 54"/>
                  <a:gd name="T8" fmla="*/ 28 w 35"/>
                  <a:gd name="T9" fmla="*/ 0 h 54"/>
                  <a:gd name="T10" fmla="*/ 28 w 35"/>
                  <a:gd name="T11" fmla="*/ 45 h 54"/>
                  <a:gd name="T12" fmla="*/ 35 w 35"/>
                  <a:gd name="T13" fmla="*/ 45 h 54"/>
                  <a:gd name="T14" fmla="*/ 35 w 35"/>
                  <a:gd name="T15" fmla="*/ 54 h 54"/>
                  <a:gd name="T16" fmla="*/ 9 w 35"/>
                  <a:gd name="T17" fmla="*/ 54 h 54"/>
                  <a:gd name="T18" fmla="*/ 9 w 35"/>
                  <a:gd name="T19" fmla="*/ 45 h 54"/>
                  <a:gd name="T20" fmla="*/ 16 w 35"/>
                  <a:gd name="T21" fmla="*/ 45 h 54"/>
                  <a:gd name="T22" fmla="*/ 16 w 35"/>
                  <a:gd name="T23" fmla="*/ 1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4">
                    <a:moveTo>
                      <a:pt x="16" y="12"/>
                    </a:moveTo>
                    <a:lnTo>
                      <a:pt x="7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4"/>
                    </a:lnTo>
                    <a:lnTo>
                      <a:pt x="9" y="54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73" name="Freeform 106">
                <a:extLst>
                  <a:ext uri="{FF2B5EF4-FFF2-40B4-BE49-F238E27FC236}">
                    <a16:creationId xmlns:a16="http://schemas.microsoft.com/office/drawing/2014/main" id="{626924E2-2EF9-DED3-F6E9-037A432BB9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9292" y="6386032"/>
                <a:ext cx="67984" cy="89134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2 h 25"/>
                  <a:gd name="T18" fmla="*/ 10 w 19"/>
                  <a:gd name="T19" fmla="*/ 21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74" name="Freeform 107">
                <a:extLst>
                  <a:ext uri="{FF2B5EF4-FFF2-40B4-BE49-F238E27FC236}">
                    <a16:creationId xmlns:a16="http://schemas.microsoft.com/office/drawing/2014/main" id="{92DE7B00-14E2-4BD1-8901-0BA9666B24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9292" y="6532573"/>
                <a:ext cx="67984" cy="89134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2 h 25"/>
                  <a:gd name="T18" fmla="*/ 10 w 19"/>
                  <a:gd name="T19" fmla="*/ 21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75" name="Freeform 108">
                <a:extLst>
                  <a:ext uri="{FF2B5EF4-FFF2-40B4-BE49-F238E27FC236}">
                    <a16:creationId xmlns:a16="http://schemas.microsoft.com/office/drawing/2014/main" id="{7FF4E1CF-F360-26AC-EE25-B3D8EFE431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6682137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8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8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8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8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76" name="Freeform 109">
                <a:extLst>
                  <a:ext uri="{FF2B5EF4-FFF2-40B4-BE49-F238E27FC236}">
                    <a16:creationId xmlns:a16="http://schemas.microsoft.com/office/drawing/2014/main" id="{13E42B5B-B483-919A-369E-8C1F925C4A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9868" y="6828679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8 h 55"/>
                  <a:gd name="T12" fmla="*/ 35 w 35"/>
                  <a:gd name="T13" fmla="*/ 48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8 h 55"/>
                  <a:gd name="T20" fmla="*/ 16 w 35"/>
                  <a:gd name="T21" fmla="*/ 48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77" name="Freeform 135">
                <a:extLst>
                  <a:ext uri="{FF2B5EF4-FFF2-40B4-BE49-F238E27FC236}">
                    <a16:creationId xmlns:a16="http://schemas.microsoft.com/office/drawing/2014/main" id="{923832E1-F971-78AD-6759-1F83E70619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2225" y="5144202"/>
                <a:ext cx="60430" cy="111795"/>
              </a:xfrm>
              <a:custGeom>
                <a:avLst/>
                <a:gdLst>
                  <a:gd name="T0" fmla="*/ 19 w 40"/>
                  <a:gd name="T1" fmla="*/ 14 h 74"/>
                  <a:gd name="T2" fmla="*/ 4 w 40"/>
                  <a:gd name="T3" fmla="*/ 24 h 74"/>
                  <a:gd name="T4" fmla="*/ 0 w 40"/>
                  <a:gd name="T5" fmla="*/ 14 h 74"/>
                  <a:gd name="T6" fmla="*/ 21 w 40"/>
                  <a:gd name="T7" fmla="*/ 0 h 74"/>
                  <a:gd name="T8" fmla="*/ 30 w 40"/>
                  <a:gd name="T9" fmla="*/ 0 h 74"/>
                  <a:gd name="T10" fmla="*/ 30 w 40"/>
                  <a:gd name="T11" fmla="*/ 64 h 74"/>
                  <a:gd name="T12" fmla="*/ 40 w 40"/>
                  <a:gd name="T13" fmla="*/ 64 h 74"/>
                  <a:gd name="T14" fmla="*/ 40 w 40"/>
                  <a:gd name="T15" fmla="*/ 74 h 74"/>
                  <a:gd name="T16" fmla="*/ 9 w 40"/>
                  <a:gd name="T17" fmla="*/ 74 h 74"/>
                  <a:gd name="T18" fmla="*/ 9 w 40"/>
                  <a:gd name="T19" fmla="*/ 64 h 74"/>
                  <a:gd name="T20" fmla="*/ 19 w 40"/>
                  <a:gd name="T21" fmla="*/ 64 h 74"/>
                  <a:gd name="T22" fmla="*/ 19 w 40"/>
                  <a:gd name="T23" fmla="*/ 1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4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4"/>
                    </a:lnTo>
                    <a:lnTo>
                      <a:pt x="9" y="74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78" name="Freeform 136">
                <a:extLst>
                  <a:ext uri="{FF2B5EF4-FFF2-40B4-BE49-F238E27FC236}">
                    <a16:creationId xmlns:a16="http://schemas.microsoft.com/office/drawing/2014/main" id="{0ABB868D-2A6A-66CE-FD50-06CEC53E524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91649" y="5333044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8 h 32"/>
                  <a:gd name="T14" fmla="*/ 16 w 21"/>
                  <a:gd name="T15" fmla="*/ 16 h 32"/>
                  <a:gd name="T16" fmla="*/ 10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0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0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79" name="Freeform 137">
                <a:extLst>
                  <a:ext uri="{FF2B5EF4-FFF2-40B4-BE49-F238E27FC236}">
                    <a16:creationId xmlns:a16="http://schemas.microsoft.com/office/drawing/2014/main" id="{C967FD23-94D3-6C03-A0CB-9EA5D8D230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91649" y="5715262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6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80" name="Freeform 138">
                <a:extLst>
                  <a:ext uri="{FF2B5EF4-FFF2-40B4-BE49-F238E27FC236}">
                    <a16:creationId xmlns:a16="http://schemas.microsoft.com/office/drawing/2014/main" id="{9BB7C5DC-2320-1860-77DF-07F5534F45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2225" y="5908637"/>
                <a:ext cx="60430" cy="107263"/>
              </a:xfrm>
              <a:custGeom>
                <a:avLst/>
                <a:gdLst>
                  <a:gd name="T0" fmla="*/ 19 w 40"/>
                  <a:gd name="T1" fmla="*/ 12 h 71"/>
                  <a:gd name="T2" fmla="*/ 4 w 40"/>
                  <a:gd name="T3" fmla="*/ 21 h 71"/>
                  <a:gd name="T4" fmla="*/ 0 w 40"/>
                  <a:gd name="T5" fmla="*/ 12 h 71"/>
                  <a:gd name="T6" fmla="*/ 21 w 40"/>
                  <a:gd name="T7" fmla="*/ 0 h 71"/>
                  <a:gd name="T8" fmla="*/ 30 w 40"/>
                  <a:gd name="T9" fmla="*/ 0 h 71"/>
                  <a:gd name="T10" fmla="*/ 30 w 40"/>
                  <a:gd name="T11" fmla="*/ 64 h 71"/>
                  <a:gd name="T12" fmla="*/ 40 w 40"/>
                  <a:gd name="T13" fmla="*/ 64 h 71"/>
                  <a:gd name="T14" fmla="*/ 40 w 40"/>
                  <a:gd name="T15" fmla="*/ 71 h 71"/>
                  <a:gd name="T16" fmla="*/ 9 w 40"/>
                  <a:gd name="T17" fmla="*/ 71 h 71"/>
                  <a:gd name="T18" fmla="*/ 9 w 40"/>
                  <a:gd name="T19" fmla="*/ 64 h 71"/>
                  <a:gd name="T20" fmla="*/ 19 w 40"/>
                  <a:gd name="T21" fmla="*/ 64 h 71"/>
                  <a:gd name="T22" fmla="*/ 19 w 40"/>
                  <a:gd name="T23" fmla="*/ 1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1">
                    <a:moveTo>
                      <a:pt x="19" y="12"/>
                    </a:moveTo>
                    <a:lnTo>
                      <a:pt x="4" y="21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1"/>
                    </a:lnTo>
                    <a:lnTo>
                      <a:pt x="9" y="71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81" name="Freeform 139">
                <a:extLst>
                  <a:ext uri="{FF2B5EF4-FFF2-40B4-BE49-F238E27FC236}">
                    <a16:creationId xmlns:a16="http://schemas.microsoft.com/office/drawing/2014/main" id="{B7676CDA-EEA7-8789-97FC-F25C15968E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2225" y="6097480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82" name="Freeform 140">
                <a:extLst>
                  <a:ext uri="{FF2B5EF4-FFF2-40B4-BE49-F238E27FC236}">
                    <a16:creationId xmlns:a16="http://schemas.microsoft.com/office/drawing/2014/main" id="{2899360E-4FB4-41E6-2DB4-A13F8AB97F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2225" y="6286323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83" name="Freeform 141">
                <a:extLst>
                  <a:ext uri="{FF2B5EF4-FFF2-40B4-BE49-F238E27FC236}">
                    <a16:creationId xmlns:a16="http://schemas.microsoft.com/office/drawing/2014/main" id="{2FFAECF3-AF26-5924-A56B-AC939915BD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2225" y="6479698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1 h 73"/>
                  <a:gd name="T4" fmla="*/ 0 w 40"/>
                  <a:gd name="T5" fmla="*/ 12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1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84" name="Freeform 142">
                <a:extLst>
                  <a:ext uri="{FF2B5EF4-FFF2-40B4-BE49-F238E27FC236}">
                    <a16:creationId xmlns:a16="http://schemas.microsoft.com/office/drawing/2014/main" id="{30AFA674-C80C-1879-8F0C-497082DAEF4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91649" y="6668540"/>
                <a:ext cx="75537" cy="110285"/>
              </a:xfrm>
              <a:custGeom>
                <a:avLst/>
                <a:gdLst>
                  <a:gd name="T0" fmla="*/ 21 w 21"/>
                  <a:gd name="T1" fmla="*/ 15 h 31"/>
                  <a:gd name="T2" fmla="*/ 10 w 21"/>
                  <a:gd name="T3" fmla="*/ 31 h 31"/>
                  <a:gd name="T4" fmla="*/ 0 w 21"/>
                  <a:gd name="T5" fmla="*/ 15 h 31"/>
                  <a:gd name="T6" fmla="*/ 10 w 21"/>
                  <a:gd name="T7" fmla="*/ 0 h 31"/>
                  <a:gd name="T8" fmla="*/ 21 w 21"/>
                  <a:gd name="T9" fmla="*/ 15 h 31"/>
                  <a:gd name="T10" fmla="*/ 5 w 21"/>
                  <a:gd name="T11" fmla="*/ 15 h 31"/>
                  <a:gd name="T12" fmla="*/ 10 w 21"/>
                  <a:gd name="T13" fmla="*/ 27 h 31"/>
                  <a:gd name="T14" fmla="*/ 16 w 21"/>
                  <a:gd name="T15" fmla="*/ 15 h 31"/>
                  <a:gd name="T16" fmla="*/ 10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5"/>
                    </a:moveTo>
                    <a:cubicBezTo>
                      <a:pt x="21" y="26"/>
                      <a:pt x="18" y="31"/>
                      <a:pt x="10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5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0" y="27"/>
                    </a:cubicBezTo>
                    <a:cubicBezTo>
                      <a:pt x="14" y="27"/>
                      <a:pt x="16" y="23"/>
                      <a:pt x="16" y="15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85" name="Freeform 143">
                <a:extLst>
                  <a:ext uri="{FF2B5EF4-FFF2-40B4-BE49-F238E27FC236}">
                    <a16:creationId xmlns:a16="http://schemas.microsoft.com/office/drawing/2014/main" id="{A7EE0BBB-BD13-CC42-9E7B-23E57B0C2FF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91649" y="6857383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86" name="Freeform 149">
                <a:extLst>
                  <a:ext uri="{FF2B5EF4-FFF2-40B4-BE49-F238E27FC236}">
                    <a16:creationId xmlns:a16="http://schemas.microsoft.com/office/drawing/2014/main" id="{A020ED8A-AE86-EF66-BC32-B2F8E327B6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4198" y="4787667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87" name="Freeform 150">
                <a:extLst>
                  <a:ext uri="{FF2B5EF4-FFF2-40B4-BE49-F238E27FC236}">
                    <a16:creationId xmlns:a16="http://schemas.microsoft.com/office/drawing/2014/main" id="{8D43F17B-9E18-4EBF-BAAC-DD7153A70F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99092" y="5070175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88" name="Freeform 151">
                <a:extLst>
                  <a:ext uri="{FF2B5EF4-FFF2-40B4-BE49-F238E27FC236}">
                    <a16:creationId xmlns:a16="http://schemas.microsoft.com/office/drawing/2014/main" id="{482293DB-D2D9-7E0F-4DC0-7653354B00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4198" y="5358727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89" name="Freeform 152">
                <a:extLst>
                  <a:ext uri="{FF2B5EF4-FFF2-40B4-BE49-F238E27FC236}">
                    <a16:creationId xmlns:a16="http://schemas.microsoft.com/office/drawing/2014/main" id="{5C675363-4C90-2F45-1B40-365B9C4715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99092" y="5641236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90" name="Freeform 153">
                <a:extLst>
                  <a:ext uri="{FF2B5EF4-FFF2-40B4-BE49-F238E27FC236}">
                    <a16:creationId xmlns:a16="http://schemas.microsoft.com/office/drawing/2014/main" id="{9C20782E-DC20-F382-2381-462C657396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4198" y="5929788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91" name="Freeform 154">
                <a:extLst>
                  <a:ext uri="{FF2B5EF4-FFF2-40B4-BE49-F238E27FC236}">
                    <a16:creationId xmlns:a16="http://schemas.microsoft.com/office/drawing/2014/main" id="{C66A6D8A-BAD9-6D59-20C6-C739771A50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4198" y="6215318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92" name="Freeform 155">
                <a:extLst>
                  <a:ext uri="{FF2B5EF4-FFF2-40B4-BE49-F238E27FC236}">
                    <a16:creationId xmlns:a16="http://schemas.microsoft.com/office/drawing/2014/main" id="{D399DE27-EC3B-3C86-0BC3-CFAEF5855D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4198" y="6500848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7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7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7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7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93" name="Freeform 156">
                <a:extLst>
                  <a:ext uri="{FF2B5EF4-FFF2-40B4-BE49-F238E27FC236}">
                    <a16:creationId xmlns:a16="http://schemas.microsoft.com/office/drawing/2014/main" id="{E4DD5B48-38D9-D05D-4B99-A01ABA04F2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4198" y="6786378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5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7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7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5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7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7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94" name="Line 8">
                <a:extLst>
                  <a:ext uri="{FF2B5EF4-FFF2-40B4-BE49-F238E27FC236}">
                    <a16:creationId xmlns:a16="http://schemas.microsoft.com/office/drawing/2014/main" id="{696856E6-1288-BF33-7F8B-F77459EBB52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049918" y="3678777"/>
                <a:ext cx="0" cy="0"/>
              </a:xfrm>
              <a:prstGeom prst="lin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95" name="Line 9">
                <a:extLst>
                  <a:ext uri="{FF2B5EF4-FFF2-40B4-BE49-F238E27FC236}">
                    <a16:creationId xmlns:a16="http://schemas.microsoft.com/office/drawing/2014/main" id="{6F38E85D-440F-1ED9-4911-F0AD2BC69BB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049918" y="3678777"/>
                <a:ext cx="0" cy="0"/>
              </a:xfrm>
              <a:prstGeom prst="lin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96" name="Freeform 10">
                <a:extLst>
                  <a:ext uri="{FF2B5EF4-FFF2-40B4-BE49-F238E27FC236}">
                    <a16:creationId xmlns:a16="http://schemas.microsoft.com/office/drawing/2014/main" id="{DA6F2196-E612-FD42-1EA9-AADBCB5591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83099" y="4749893"/>
                <a:ext cx="99709" cy="157117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8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7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7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8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7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7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97" name="Freeform 11">
                <a:extLst>
                  <a:ext uri="{FF2B5EF4-FFF2-40B4-BE49-F238E27FC236}">
                    <a16:creationId xmlns:a16="http://schemas.microsoft.com/office/drawing/2014/main" id="{30F0E59C-BB37-E8E5-8AB7-93864174324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75545" y="5017295"/>
                <a:ext cx="120859" cy="164671"/>
              </a:xfrm>
              <a:custGeom>
                <a:avLst/>
                <a:gdLst>
                  <a:gd name="T0" fmla="*/ 32 w 34"/>
                  <a:gd name="T1" fmla="*/ 8 h 46"/>
                  <a:gd name="T2" fmla="*/ 34 w 34"/>
                  <a:gd name="T3" fmla="*/ 23 h 46"/>
                  <a:gd name="T4" fmla="*/ 31 w 34"/>
                  <a:gd name="T5" fmla="*/ 39 h 46"/>
                  <a:gd name="T6" fmla="*/ 17 w 34"/>
                  <a:gd name="T7" fmla="*/ 46 h 46"/>
                  <a:gd name="T8" fmla="*/ 3 w 34"/>
                  <a:gd name="T9" fmla="*/ 37 h 46"/>
                  <a:gd name="T10" fmla="*/ 0 w 34"/>
                  <a:gd name="T11" fmla="*/ 23 h 46"/>
                  <a:gd name="T12" fmla="*/ 17 w 34"/>
                  <a:gd name="T13" fmla="*/ 0 h 46"/>
                  <a:gd name="T14" fmla="*/ 32 w 34"/>
                  <a:gd name="T15" fmla="*/ 8 h 46"/>
                  <a:gd name="T16" fmla="*/ 10 w 34"/>
                  <a:gd name="T17" fmla="*/ 23 h 46"/>
                  <a:gd name="T18" fmla="*/ 17 w 34"/>
                  <a:gd name="T19" fmla="*/ 38 h 46"/>
                  <a:gd name="T20" fmla="*/ 25 w 34"/>
                  <a:gd name="T21" fmla="*/ 23 h 46"/>
                  <a:gd name="T22" fmla="*/ 17 w 34"/>
                  <a:gd name="T23" fmla="*/ 8 h 46"/>
                  <a:gd name="T24" fmla="*/ 10 w 34"/>
                  <a:gd name="T25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46">
                    <a:moveTo>
                      <a:pt x="32" y="8"/>
                    </a:moveTo>
                    <a:cubicBezTo>
                      <a:pt x="34" y="12"/>
                      <a:pt x="34" y="16"/>
                      <a:pt x="34" y="23"/>
                    </a:cubicBezTo>
                    <a:cubicBezTo>
                      <a:pt x="34" y="31"/>
                      <a:pt x="33" y="36"/>
                      <a:pt x="31" y="39"/>
                    </a:cubicBezTo>
                    <a:cubicBezTo>
                      <a:pt x="28" y="43"/>
                      <a:pt x="23" y="46"/>
                      <a:pt x="17" y="46"/>
                    </a:cubicBezTo>
                    <a:cubicBezTo>
                      <a:pt x="11" y="46"/>
                      <a:pt x="6" y="43"/>
                      <a:pt x="3" y="37"/>
                    </a:cubicBezTo>
                    <a:cubicBezTo>
                      <a:pt x="1" y="34"/>
                      <a:pt x="0" y="29"/>
                      <a:pt x="0" y="23"/>
                    </a:cubicBezTo>
                    <a:cubicBezTo>
                      <a:pt x="0" y="8"/>
                      <a:pt x="6" y="0"/>
                      <a:pt x="17" y="0"/>
                    </a:cubicBezTo>
                    <a:cubicBezTo>
                      <a:pt x="24" y="0"/>
                      <a:pt x="29" y="3"/>
                      <a:pt x="32" y="8"/>
                    </a:cubicBezTo>
                    <a:close/>
                    <a:moveTo>
                      <a:pt x="10" y="23"/>
                    </a:moveTo>
                    <a:cubicBezTo>
                      <a:pt x="10" y="33"/>
                      <a:pt x="12" y="38"/>
                      <a:pt x="17" y="38"/>
                    </a:cubicBezTo>
                    <a:cubicBezTo>
                      <a:pt x="22" y="38"/>
                      <a:pt x="25" y="33"/>
                      <a:pt x="25" y="23"/>
                    </a:cubicBezTo>
                    <a:cubicBezTo>
                      <a:pt x="25" y="13"/>
                      <a:pt x="22" y="8"/>
                      <a:pt x="17" y="8"/>
                    </a:cubicBezTo>
                    <a:cubicBezTo>
                      <a:pt x="12" y="8"/>
                      <a:pt x="10" y="13"/>
                      <a:pt x="10" y="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98" name="Freeform 12">
                <a:extLst>
                  <a:ext uri="{FF2B5EF4-FFF2-40B4-BE49-F238E27FC236}">
                    <a16:creationId xmlns:a16="http://schemas.microsoft.com/office/drawing/2014/main" id="{922A74C5-B005-300D-5B09-961A621D0D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83099" y="5292250"/>
                <a:ext cx="99709" cy="157117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6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7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7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6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7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7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99" name="Freeform 13">
                <a:extLst>
                  <a:ext uri="{FF2B5EF4-FFF2-40B4-BE49-F238E27FC236}">
                    <a16:creationId xmlns:a16="http://schemas.microsoft.com/office/drawing/2014/main" id="{59F25142-D7C9-1AA9-5237-12B12DD4EB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83099" y="5564184"/>
                <a:ext cx="99709" cy="157117"/>
              </a:xfrm>
              <a:custGeom>
                <a:avLst/>
                <a:gdLst>
                  <a:gd name="T0" fmla="*/ 30 w 66"/>
                  <a:gd name="T1" fmla="*/ 23 h 104"/>
                  <a:gd name="T2" fmla="*/ 9 w 66"/>
                  <a:gd name="T3" fmla="*/ 35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5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5 h 104"/>
                  <a:gd name="T22" fmla="*/ 30 w 66"/>
                  <a:gd name="T23" fmla="*/ 2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3"/>
                    </a:moveTo>
                    <a:lnTo>
                      <a:pt x="9" y="35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5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5"/>
                    </a:lnTo>
                    <a:lnTo>
                      <a:pt x="30" y="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00" name="Freeform 14">
                <a:extLst>
                  <a:ext uri="{FF2B5EF4-FFF2-40B4-BE49-F238E27FC236}">
                    <a16:creationId xmlns:a16="http://schemas.microsoft.com/office/drawing/2014/main" id="{52C75280-77A3-9C15-DBB9-1E1740C52B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83099" y="5834606"/>
                <a:ext cx="99709" cy="157117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6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5 h 104"/>
                  <a:gd name="T12" fmla="*/ 66 w 66"/>
                  <a:gd name="T13" fmla="*/ 88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8 h 104"/>
                  <a:gd name="T20" fmla="*/ 30 w 66"/>
                  <a:gd name="T21" fmla="*/ 85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6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5"/>
                    </a:lnTo>
                    <a:lnTo>
                      <a:pt x="66" y="88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8"/>
                    </a:lnTo>
                    <a:lnTo>
                      <a:pt x="30" y="85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01" name="Freeform 15">
                <a:extLst>
                  <a:ext uri="{FF2B5EF4-FFF2-40B4-BE49-F238E27FC236}">
                    <a16:creationId xmlns:a16="http://schemas.microsoft.com/office/drawing/2014/main" id="{3D7E332C-400C-CC16-D7F0-3C70E03957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83099" y="6106539"/>
                <a:ext cx="99709" cy="152585"/>
              </a:xfrm>
              <a:custGeom>
                <a:avLst/>
                <a:gdLst>
                  <a:gd name="T0" fmla="*/ 30 w 66"/>
                  <a:gd name="T1" fmla="*/ 23 h 101"/>
                  <a:gd name="T2" fmla="*/ 9 w 66"/>
                  <a:gd name="T3" fmla="*/ 35 h 101"/>
                  <a:gd name="T4" fmla="*/ 0 w 66"/>
                  <a:gd name="T5" fmla="*/ 19 h 101"/>
                  <a:gd name="T6" fmla="*/ 33 w 66"/>
                  <a:gd name="T7" fmla="*/ 0 h 101"/>
                  <a:gd name="T8" fmla="*/ 52 w 66"/>
                  <a:gd name="T9" fmla="*/ 0 h 101"/>
                  <a:gd name="T10" fmla="*/ 52 w 66"/>
                  <a:gd name="T11" fmla="*/ 85 h 101"/>
                  <a:gd name="T12" fmla="*/ 66 w 66"/>
                  <a:gd name="T13" fmla="*/ 85 h 101"/>
                  <a:gd name="T14" fmla="*/ 66 w 66"/>
                  <a:gd name="T15" fmla="*/ 101 h 101"/>
                  <a:gd name="T16" fmla="*/ 16 w 66"/>
                  <a:gd name="T17" fmla="*/ 101 h 101"/>
                  <a:gd name="T18" fmla="*/ 16 w 66"/>
                  <a:gd name="T19" fmla="*/ 85 h 101"/>
                  <a:gd name="T20" fmla="*/ 30 w 66"/>
                  <a:gd name="T21" fmla="*/ 85 h 101"/>
                  <a:gd name="T22" fmla="*/ 30 w 66"/>
                  <a:gd name="T23" fmla="*/ 23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1">
                    <a:moveTo>
                      <a:pt x="30" y="23"/>
                    </a:moveTo>
                    <a:lnTo>
                      <a:pt x="9" y="35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5"/>
                    </a:lnTo>
                    <a:lnTo>
                      <a:pt x="66" y="85"/>
                    </a:lnTo>
                    <a:lnTo>
                      <a:pt x="66" y="101"/>
                    </a:lnTo>
                    <a:lnTo>
                      <a:pt x="16" y="101"/>
                    </a:lnTo>
                    <a:lnTo>
                      <a:pt x="16" y="85"/>
                    </a:lnTo>
                    <a:lnTo>
                      <a:pt x="30" y="85"/>
                    </a:lnTo>
                    <a:lnTo>
                      <a:pt x="30" y="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02" name="Freeform 16">
                <a:extLst>
                  <a:ext uri="{FF2B5EF4-FFF2-40B4-BE49-F238E27FC236}">
                    <a16:creationId xmlns:a16="http://schemas.microsoft.com/office/drawing/2014/main" id="{A476E970-6CB1-B579-A756-6D9154E88FB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75545" y="6644364"/>
                <a:ext cx="120859" cy="161650"/>
              </a:xfrm>
              <a:custGeom>
                <a:avLst/>
                <a:gdLst>
                  <a:gd name="T0" fmla="*/ 32 w 34"/>
                  <a:gd name="T1" fmla="*/ 8 h 45"/>
                  <a:gd name="T2" fmla="*/ 34 w 34"/>
                  <a:gd name="T3" fmla="*/ 22 h 45"/>
                  <a:gd name="T4" fmla="*/ 31 w 34"/>
                  <a:gd name="T5" fmla="*/ 39 h 45"/>
                  <a:gd name="T6" fmla="*/ 17 w 34"/>
                  <a:gd name="T7" fmla="*/ 45 h 45"/>
                  <a:gd name="T8" fmla="*/ 3 w 34"/>
                  <a:gd name="T9" fmla="*/ 37 h 45"/>
                  <a:gd name="T10" fmla="*/ 0 w 34"/>
                  <a:gd name="T11" fmla="*/ 22 h 45"/>
                  <a:gd name="T12" fmla="*/ 17 w 34"/>
                  <a:gd name="T13" fmla="*/ 0 h 45"/>
                  <a:gd name="T14" fmla="*/ 32 w 34"/>
                  <a:gd name="T15" fmla="*/ 8 h 45"/>
                  <a:gd name="T16" fmla="*/ 10 w 34"/>
                  <a:gd name="T17" fmla="*/ 22 h 45"/>
                  <a:gd name="T18" fmla="*/ 17 w 34"/>
                  <a:gd name="T19" fmla="*/ 37 h 45"/>
                  <a:gd name="T20" fmla="*/ 25 w 34"/>
                  <a:gd name="T21" fmla="*/ 22 h 45"/>
                  <a:gd name="T22" fmla="*/ 17 w 34"/>
                  <a:gd name="T23" fmla="*/ 7 h 45"/>
                  <a:gd name="T24" fmla="*/ 10 w 34"/>
                  <a:gd name="T25" fmla="*/ 2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45">
                    <a:moveTo>
                      <a:pt x="32" y="8"/>
                    </a:moveTo>
                    <a:cubicBezTo>
                      <a:pt x="34" y="11"/>
                      <a:pt x="34" y="16"/>
                      <a:pt x="34" y="22"/>
                    </a:cubicBezTo>
                    <a:cubicBezTo>
                      <a:pt x="34" y="30"/>
                      <a:pt x="33" y="35"/>
                      <a:pt x="31" y="39"/>
                    </a:cubicBezTo>
                    <a:cubicBezTo>
                      <a:pt x="28" y="43"/>
                      <a:pt x="23" y="45"/>
                      <a:pt x="17" y="45"/>
                    </a:cubicBezTo>
                    <a:cubicBezTo>
                      <a:pt x="11" y="45"/>
                      <a:pt x="6" y="42"/>
                      <a:pt x="3" y="37"/>
                    </a:cubicBezTo>
                    <a:cubicBezTo>
                      <a:pt x="1" y="33"/>
                      <a:pt x="0" y="29"/>
                      <a:pt x="0" y="22"/>
                    </a:cubicBezTo>
                    <a:cubicBezTo>
                      <a:pt x="0" y="7"/>
                      <a:pt x="6" y="0"/>
                      <a:pt x="17" y="0"/>
                    </a:cubicBezTo>
                    <a:cubicBezTo>
                      <a:pt x="24" y="0"/>
                      <a:pt x="29" y="2"/>
                      <a:pt x="32" y="8"/>
                    </a:cubicBezTo>
                    <a:close/>
                    <a:moveTo>
                      <a:pt x="10" y="22"/>
                    </a:moveTo>
                    <a:cubicBezTo>
                      <a:pt x="10" y="33"/>
                      <a:pt x="12" y="37"/>
                      <a:pt x="17" y="37"/>
                    </a:cubicBezTo>
                    <a:cubicBezTo>
                      <a:pt x="22" y="37"/>
                      <a:pt x="25" y="33"/>
                      <a:pt x="25" y="22"/>
                    </a:cubicBezTo>
                    <a:cubicBezTo>
                      <a:pt x="25" y="12"/>
                      <a:pt x="22" y="7"/>
                      <a:pt x="17" y="7"/>
                    </a:cubicBezTo>
                    <a:cubicBezTo>
                      <a:pt x="12" y="7"/>
                      <a:pt x="10" y="12"/>
                      <a:pt x="10" y="2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03" name="Freeform 17">
                <a:extLst>
                  <a:ext uri="{FF2B5EF4-FFF2-40B4-BE49-F238E27FC236}">
                    <a16:creationId xmlns:a16="http://schemas.microsoft.com/office/drawing/2014/main" id="{D8FE48DE-7D67-7F11-F151-B1D95C8E839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75545" y="6916297"/>
                <a:ext cx="120859" cy="160139"/>
              </a:xfrm>
              <a:custGeom>
                <a:avLst/>
                <a:gdLst>
                  <a:gd name="T0" fmla="*/ 32 w 34"/>
                  <a:gd name="T1" fmla="*/ 8 h 45"/>
                  <a:gd name="T2" fmla="*/ 34 w 34"/>
                  <a:gd name="T3" fmla="*/ 22 h 45"/>
                  <a:gd name="T4" fmla="*/ 31 w 34"/>
                  <a:gd name="T5" fmla="*/ 39 h 45"/>
                  <a:gd name="T6" fmla="*/ 17 w 34"/>
                  <a:gd name="T7" fmla="*/ 45 h 45"/>
                  <a:gd name="T8" fmla="*/ 3 w 34"/>
                  <a:gd name="T9" fmla="*/ 37 h 45"/>
                  <a:gd name="T10" fmla="*/ 0 w 34"/>
                  <a:gd name="T11" fmla="*/ 22 h 45"/>
                  <a:gd name="T12" fmla="*/ 17 w 34"/>
                  <a:gd name="T13" fmla="*/ 0 h 45"/>
                  <a:gd name="T14" fmla="*/ 32 w 34"/>
                  <a:gd name="T15" fmla="*/ 8 h 45"/>
                  <a:gd name="T16" fmla="*/ 10 w 34"/>
                  <a:gd name="T17" fmla="*/ 22 h 45"/>
                  <a:gd name="T18" fmla="*/ 17 w 34"/>
                  <a:gd name="T19" fmla="*/ 37 h 45"/>
                  <a:gd name="T20" fmla="*/ 25 w 34"/>
                  <a:gd name="T21" fmla="*/ 22 h 45"/>
                  <a:gd name="T22" fmla="*/ 17 w 34"/>
                  <a:gd name="T23" fmla="*/ 7 h 45"/>
                  <a:gd name="T24" fmla="*/ 10 w 34"/>
                  <a:gd name="T25" fmla="*/ 2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45">
                    <a:moveTo>
                      <a:pt x="32" y="8"/>
                    </a:moveTo>
                    <a:cubicBezTo>
                      <a:pt x="34" y="11"/>
                      <a:pt x="34" y="16"/>
                      <a:pt x="34" y="22"/>
                    </a:cubicBezTo>
                    <a:cubicBezTo>
                      <a:pt x="34" y="30"/>
                      <a:pt x="33" y="35"/>
                      <a:pt x="31" y="39"/>
                    </a:cubicBezTo>
                    <a:cubicBezTo>
                      <a:pt x="28" y="43"/>
                      <a:pt x="23" y="45"/>
                      <a:pt x="17" y="45"/>
                    </a:cubicBezTo>
                    <a:cubicBezTo>
                      <a:pt x="11" y="45"/>
                      <a:pt x="6" y="42"/>
                      <a:pt x="3" y="37"/>
                    </a:cubicBezTo>
                    <a:cubicBezTo>
                      <a:pt x="1" y="33"/>
                      <a:pt x="0" y="29"/>
                      <a:pt x="0" y="22"/>
                    </a:cubicBezTo>
                    <a:cubicBezTo>
                      <a:pt x="0" y="7"/>
                      <a:pt x="6" y="0"/>
                      <a:pt x="17" y="0"/>
                    </a:cubicBezTo>
                    <a:cubicBezTo>
                      <a:pt x="24" y="0"/>
                      <a:pt x="29" y="2"/>
                      <a:pt x="32" y="8"/>
                    </a:cubicBezTo>
                    <a:close/>
                    <a:moveTo>
                      <a:pt x="10" y="22"/>
                    </a:moveTo>
                    <a:cubicBezTo>
                      <a:pt x="10" y="33"/>
                      <a:pt x="12" y="37"/>
                      <a:pt x="17" y="37"/>
                    </a:cubicBezTo>
                    <a:cubicBezTo>
                      <a:pt x="22" y="37"/>
                      <a:pt x="25" y="33"/>
                      <a:pt x="25" y="22"/>
                    </a:cubicBezTo>
                    <a:cubicBezTo>
                      <a:pt x="25" y="12"/>
                      <a:pt x="22" y="7"/>
                      <a:pt x="17" y="7"/>
                    </a:cubicBezTo>
                    <a:cubicBezTo>
                      <a:pt x="12" y="7"/>
                      <a:pt x="10" y="12"/>
                      <a:pt x="10" y="2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04" name="Freeform 23">
                <a:extLst>
                  <a:ext uri="{FF2B5EF4-FFF2-40B4-BE49-F238E27FC236}">
                    <a16:creationId xmlns:a16="http://schemas.microsoft.com/office/drawing/2014/main" id="{1E54418C-97E7-1CF8-2D06-6F6223C70BA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00590" y="4029270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8 h 32"/>
                  <a:gd name="T14" fmla="*/ 16 w 21"/>
                  <a:gd name="T15" fmla="*/ 16 h 32"/>
                  <a:gd name="T16" fmla="*/ 11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1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1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05" name="Freeform 24">
                <a:extLst>
                  <a:ext uri="{FF2B5EF4-FFF2-40B4-BE49-F238E27FC236}">
                    <a16:creationId xmlns:a16="http://schemas.microsoft.com/office/drawing/2014/main" id="{63C9F86F-182C-D0EB-9030-421273B70E2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00590" y="4221133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5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06" name="Freeform 25">
                <a:extLst>
                  <a:ext uri="{FF2B5EF4-FFF2-40B4-BE49-F238E27FC236}">
                    <a16:creationId xmlns:a16="http://schemas.microsoft.com/office/drawing/2014/main" id="{0C951DD0-35DA-3615-9F99-FE7FA87DEC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3612" y="4603352"/>
                <a:ext cx="64962" cy="11028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2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2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07" name="Freeform 26">
                <a:extLst>
                  <a:ext uri="{FF2B5EF4-FFF2-40B4-BE49-F238E27FC236}">
                    <a16:creationId xmlns:a16="http://schemas.microsoft.com/office/drawing/2014/main" id="{FD400E0B-6A98-43F2-0C50-85F12EA7949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00590" y="4792194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6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08" name="Freeform 27">
                <a:extLst>
                  <a:ext uri="{FF2B5EF4-FFF2-40B4-BE49-F238E27FC236}">
                    <a16:creationId xmlns:a16="http://schemas.microsoft.com/office/drawing/2014/main" id="{69D38021-A46D-C509-EF43-4B2B34005AF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00590" y="4982547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7 h 32"/>
                  <a:gd name="T14" fmla="*/ 16 w 21"/>
                  <a:gd name="T15" fmla="*/ 16 h 32"/>
                  <a:gd name="T16" fmla="*/ 11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1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09" name="Freeform 28">
                <a:extLst>
                  <a:ext uri="{FF2B5EF4-FFF2-40B4-BE49-F238E27FC236}">
                    <a16:creationId xmlns:a16="http://schemas.microsoft.com/office/drawing/2014/main" id="{1DC477F2-21F2-04AA-BE37-4C993B90E8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3612" y="5363254"/>
                <a:ext cx="64962" cy="111795"/>
              </a:xfrm>
              <a:custGeom>
                <a:avLst/>
                <a:gdLst>
                  <a:gd name="T0" fmla="*/ 19 w 43"/>
                  <a:gd name="T1" fmla="*/ 14 h 74"/>
                  <a:gd name="T2" fmla="*/ 5 w 43"/>
                  <a:gd name="T3" fmla="*/ 24 h 74"/>
                  <a:gd name="T4" fmla="*/ 0 w 43"/>
                  <a:gd name="T5" fmla="*/ 14 h 74"/>
                  <a:gd name="T6" fmla="*/ 22 w 43"/>
                  <a:gd name="T7" fmla="*/ 0 h 74"/>
                  <a:gd name="T8" fmla="*/ 34 w 43"/>
                  <a:gd name="T9" fmla="*/ 0 h 74"/>
                  <a:gd name="T10" fmla="*/ 34 w 43"/>
                  <a:gd name="T11" fmla="*/ 64 h 74"/>
                  <a:gd name="T12" fmla="*/ 43 w 43"/>
                  <a:gd name="T13" fmla="*/ 64 h 74"/>
                  <a:gd name="T14" fmla="*/ 43 w 43"/>
                  <a:gd name="T15" fmla="*/ 74 h 74"/>
                  <a:gd name="T16" fmla="*/ 10 w 43"/>
                  <a:gd name="T17" fmla="*/ 74 h 74"/>
                  <a:gd name="T18" fmla="*/ 10 w 43"/>
                  <a:gd name="T19" fmla="*/ 64 h 74"/>
                  <a:gd name="T20" fmla="*/ 19 w 43"/>
                  <a:gd name="T21" fmla="*/ 64 h 74"/>
                  <a:gd name="T22" fmla="*/ 19 w 43"/>
                  <a:gd name="T23" fmla="*/ 1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4">
                    <a:moveTo>
                      <a:pt x="19" y="14"/>
                    </a:moveTo>
                    <a:lnTo>
                      <a:pt x="5" y="24"/>
                    </a:lnTo>
                    <a:lnTo>
                      <a:pt x="0" y="14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4"/>
                    </a:lnTo>
                    <a:lnTo>
                      <a:pt x="10" y="74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10" name="Freeform 29">
                <a:extLst>
                  <a:ext uri="{FF2B5EF4-FFF2-40B4-BE49-F238E27FC236}">
                    <a16:creationId xmlns:a16="http://schemas.microsoft.com/office/drawing/2014/main" id="{17D073CC-5389-20FF-A638-293AC84346A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00590" y="5553608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8 h 32"/>
                  <a:gd name="T14" fmla="*/ 16 w 21"/>
                  <a:gd name="T15" fmla="*/ 16 h 32"/>
                  <a:gd name="T16" fmla="*/ 11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1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1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11" name="Freeform 30">
                <a:extLst>
                  <a:ext uri="{FF2B5EF4-FFF2-40B4-BE49-F238E27FC236}">
                    <a16:creationId xmlns:a16="http://schemas.microsoft.com/office/drawing/2014/main" id="{613097A2-28C2-563F-E8B5-7EDDBBFEB9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3612" y="5745473"/>
                <a:ext cx="64962" cy="11028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4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4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12" name="Freeform 31">
                <a:extLst>
                  <a:ext uri="{FF2B5EF4-FFF2-40B4-BE49-F238E27FC236}">
                    <a16:creationId xmlns:a16="http://schemas.microsoft.com/office/drawing/2014/main" id="{DFB66585-D2A3-0402-477B-3BEA5BB265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00590" y="5934315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7 h 32"/>
                  <a:gd name="T14" fmla="*/ 16 w 21"/>
                  <a:gd name="T15" fmla="*/ 16 h 32"/>
                  <a:gd name="T16" fmla="*/ 11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1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13" name="Freeform 32">
                <a:extLst>
                  <a:ext uri="{FF2B5EF4-FFF2-40B4-BE49-F238E27FC236}">
                    <a16:creationId xmlns:a16="http://schemas.microsoft.com/office/drawing/2014/main" id="{FFE626E1-E600-B457-24D6-D3B94A7BB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3612" y="6127690"/>
                <a:ext cx="64962" cy="107263"/>
              </a:xfrm>
              <a:custGeom>
                <a:avLst/>
                <a:gdLst>
                  <a:gd name="T0" fmla="*/ 19 w 43"/>
                  <a:gd name="T1" fmla="*/ 12 h 71"/>
                  <a:gd name="T2" fmla="*/ 5 w 43"/>
                  <a:gd name="T3" fmla="*/ 21 h 71"/>
                  <a:gd name="T4" fmla="*/ 0 w 43"/>
                  <a:gd name="T5" fmla="*/ 12 h 71"/>
                  <a:gd name="T6" fmla="*/ 22 w 43"/>
                  <a:gd name="T7" fmla="*/ 0 h 71"/>
                  <a:gd name="T8" fmla="*/ 34 w 43"/>
                  <a:gd name="T9" fmla="*/ 0 h 71"/>
                  <a:gd name="T10" fmla="*/ 34 w 43"/>
                  <a:gd name="T11" fmla="*/ 64 h 71"/>
                  <a:gd name="T12" fmla="*/ 43 w 43"/>
                  <a:gd name="T13" fmla="*/ 64 h 71"/>
                  <a:gd name="T14" fmla="*/ 43 w 43"/>
                  <a:gd name="T15" fmla="*/ 71 h 71"/>
                  <a:gd name="T16" fmla="*/ 10 w 43"/>
                  <a:gd name="T17" fmla="*/ 71 h 71"/>
                  <a:gd name="T18" fmla="*/ 10 w 43"/>
                  <a:gd name="T19" fmla="*/ 64 h 71"/>
                  <a:gd name="T20" fmla="*/ 19 w 43"/>
                  <a:gd name="T21" fmla="*/ 64 h 71"/>
                  <a:gd name="T22" fmla="*/ 19 w 43"/>
                  <a:gd name="T23" fmla="*/ 1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1">
                    <a:moveTo>
                      <a:pt x="19" y="12"/>
                    </a:moveTo>
                    <a:lnTo>
                      <a:pt x="5" y="21"/>
                    </a:lnTo>
                    <a:lnTo>
                      <a:pt x="0" y="12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1"/>
                    </a:lnTo>
                    <a:lnTo>
                      <a:pt x="10" y="71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14" name="Freeform 33">
                <a:extLst>
                  <a:ext uri="{FF2B5EF4-FFF2-40B4-BE49-F238E27FC236}">
                    <a16:creationId xmlns:a16="http://schemas.microsoft.com/office/drawing/2014/main" id="{14351863-DD66-A270-CF7F-00537C416B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3612" y="6316533"/>
                <a:ext cx="64962" cy="11028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4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4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15" name="Freeform 34">
                <a:extLst>
                  <a:ext uri="{FF2B5EF4-FFF2-40B4-BE49-F238E27FC236}">
                    <a16:creationId xmlns:a16="http://schemas.microsoft.com/office/drawing/2014/main" id="{90D30BEB-4624-054D-B54C-B2153FA11B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3612" y="6505375"/>
                <a:ext cx="64962" cy="11028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4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4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16" name="Freeform 43">
                <a:extLst>
                  <a:ext uri="{FF2B5EF4-FFF2-40B4-BE49-F238E27FC236}">
                    <a16:creationId xmlns:a16="http://schemas.microsoft.com/office/drawing/2014/main" id="{11684478-A552-5D71-E4CC-C564E5CD96A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2468" y="4228688"/>
                <a:ext cx="63451" cy="9366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5" y="0"/>
                      <a:pt x="18" y="5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17" name="Freeform 44">
                <a:extLst>
                  <a:ext uri="{FF2B5EF4-FFF2-40B4-BE49-F238E27FC236}">
                    <a16:creationId xmlns:a16="http://schemas.microsoft.com/office/drawing/2014/main" id="{98F776C5-E088-D3CB-9AE4-FD94A341B02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2468" y="4382783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1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18" name="Freeform 45">
                <a:extLst>
                  <a:ext uri="{FF2B5EF4-FFF2-40B4-BE49-F238E27FC236}">
                    <a16:creationId xmlns:a16="http://schemas.microsoft.com/office/drawing/2014/main" id="{1430F63B-4017-26A2-AED2-9C5A923221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5490" y="4689463"/>
                <a:ext cx="49855" cy="89134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49 h 59"/>
                  <a:gd name="T20" fmla="*/ 17 w 33"/>
                  <a:gd name="T21" fmla="*/ 49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19" name="Freeform 46">
                <a:extLst>
                  <a:ext uri="{FF2B5EF4-FFF2-40B4-BE49-F238E27FC236}">
                    <a16:creationId xmlns:a16="http://schemas.microsoft.com/office/drawing/2014/main" id="{A601FDB2-D97B-CA73-C270-EAA2F7A7B2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2468" y="4839027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20" name="Freeform 47">
                <a:extLst>
                  <a:ext uri="{FF2B5EF4-FFF2-40B4-BE49-F238E27FC236}">
                    <a16:creationId xmlns:a16="http://schemas.microsoft.com/office/drawing/2014/main" id="{4470A2AE-BD3B-1458-D5B8-860E5A5197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2468" y="4993123"/>
                <a:ext cx="63451" cy="89134"/>
              </a:xfrm>
              <a:custGeom>
                <a:avLst/>
                <a:gdLst>
                  <a:gd name="T0" fmla="*/ 18 w 18"/>
                  <a:gd name="T1" fmla="*/ 13 h 25"/>
                  <a:gd name="T2" fmla="*/ 9 w 18"/>
                  <a:gd name="T3" fmla="*/ 25 h 25"/>
                  <a:gd name="T4" fmla="*/ 0 w 18"/>
                  <a:gd name="T5" fmla="*/ 12 h 25"/>
                  <a:gd name="T6" fmla="*/ 9 w 18"/>
                  <a:gd name="T7" fmla="*/ 0 h 25"/>
                  <a:gd name="T8" fmla="*/ 18 w 18"/>
                  <a:gd name="T9" fmla="*/ 13 h 25"/>
                  <a:gd name="T10" fmla="*/ 5 w 18"/>
                  <a:gd name="T11" fmla="*/ 12 h 25"/>
                  <a:gd name="T12" fmla="*/ 9 w 18"/>
                  <a:gd name="T13" fmla="*/ 22 h 25"/>
                  <a:gd name="T14" fmla="*/ 13 w 18"/>
                  <a:gd name="T15" fmla="*/ 13 h 25"/>
                  <a:gd name="T16" fmla="*/ 9 w 18"/>
                  <a:gd name="T17" fmla="*/ 3 h 25"/>
                  <a:gd name="T18" fmla="*/ 5 w 18"/>
                  <a:gd name="T1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5">
                    <a:moveTo>
                      <a:pt x="18" y="13"/>
                    </a:moveTo>
                    <a:cubicBezTo>
                      <a:pt x="18" y="21"/>
                      <a:pt x="15" y="25"/>
                      <a:pt x="9" y="25"/>
                    </a:cubicBezTo>
                    <a:cubicBezTo>
                      <a:pt x="3" y="25"/>
                      <a:pt x="0" y="21"/>
                      <a:pt x="0" y="12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2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6"/>
                      <a:pt x="12" y="3"/>
                      <a:pt x="9" y="3"/>
                    </a:cubicBezTo>
                    <a:cubicBezTo>
                      <a:pt x="6" y="3"/>
                      <a:pt x="5" y="6"/>
                      <a:pt x="5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21" name="Freeform 48">
                <a:extLst>
                  <a:ext uri="{FF2B5EF4-FFF2-40B4-BE49-F238E27FC236}">
                    <a16:creationId xmlns:a16="http://schemas.microsoft.com/office/drawing/2014/main" id="{E1ABDF0C-BB35-3734-6C16-A4D55291B7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5490" y="5299803"/>
                <a:ext cx="49855" cy="84602"/>
              </a:xfrm>
              <a:custGeom>
                <a:avLst/>
                <a:gdLst>
                  <a:gd name="T0" fmla="*/ 17 w 33"/>
                  <a:gd name="T1" fmla="*/ 9 h 56"/>
                  <a:gd name="T2" fmla="*/ 5 w 33"/>
                  <a:gd name="T3" fmla="*/ 16 h 56"/>
                  <a:gd name="T4" fmla="*/ 0 w 33"/>
                  <a:gd name="T5" fmla="*/ 9 h 56"/>
                  <a:gd name="T6" fmla="*/ 19 w 33"/>
                  <a:gd name="T7" fmla="*/ 0 h 56"/>
                  <a:gd name="T8" fmla="*/ 26 w 33"/>
                  <a:gd name="T9" fmla="*/ 0 h 56"/>
                  <a:gd name="T10" fmla="*/ 26 w 33"/>
                  <a:gd name="T11" fmla="*/ 49 h 56"/>
                  <a:gd name="T12" fmla="*/ 33 w 33"/>
                  <a:gd name="T13" fmla="*/ 49 h 56"/>
                  <a:gd name="T14" fmla="*/ 33 w 33"/>
                  <a:gd name="T15" fmla="*/ 56 h 56"/>
                  <a:gd name="T16" fmla="*/ 10 w 33"/>
                  <a:gd name="T17" fmla="*/ 56 h 56"/>
                  <a:gd name="T18" fmla="*/ 10 w 33"/>
                  <a:gd name="T19" fmla="*/ 49 h 56"/>
                  <a:gd name="T20" fmla="*/ 17 w 33"/>
                  <a:gd name="T21" fmla="*/ 49 h 56"/>
                  <a:gd name="T22" fmla="*/ 17 w 33"/>
                  <a:gd name="T23" fmla="*/ 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6">
                    <a:moveTo>
                      <a:pt x="17" y="9"/>
                    </a:moveTo>
                    <a:lnTo>
                      <a:pt x="5" y="16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6"/>
                    </a:lnTo>
                    <a:lnTo>
                      <a:pt x="10" y="56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22" name="Freeform 49">
                <a:extLst>
                  <a:ext uri="{FF2B5EF4-FFF2-40B4-BE49-F238E27FC236}">
                    <a16:creationId xmlns:a16="http://schemas.microsoft.com/office/drawing/2014/main" id="{A3160965-E55D-3B42-9737-94729A5FA37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2468" y="5449367"/>
                <a:ext cx="63451" cy="89134"/>
              </a:xfrm>
              <a:custGeom>
                <a:avLst/>
                <a:gdLst>
                  <a:gd name="T0" fmla="*/ 18 w 18"/>
                  <a:gd name="T1" fmla="*/ 13 h 25"/>
                  <a:gd name="T2" fmla="*/ 9 w 18"/>
                  <a:gd name="T3" fmla="*/ 25 h 25"/>
                  <a:gd name="T4" fmla="*/ 0 w 18"/>
                  <a:gd name="T5" fmla="*/ 13 h 25"/>
                  <a:gd name="T6" fmla="*/ 9 w 18"/>
                  <a:gd name="T7" fmla="*/ 0 h 25"/>
                  <a:gd name="T8" fmla="*/ 18 w 18"/>
                  <a:gd name="T9" fmla="*/ 13 h 25"/>
                  <a:gd name="T10" fmla="*/ 5 w 18"/>
                  <a:gd name="T11" fmla="*/ 13 h 25"/>
                  <a:gd name="T12" fmla="*/ 9 w 18"/>
                  <a:gd name="T13" fmla="*/ 22 h 25"/>
                  <a:gd name="T14" fmla="*/ 13 w 18"/>
                  <a:gd name="T15" fmla="*/ 13 h 25"/>
                  <a:gd name="T16" fmla="*/ 9 w 18"/>
                  <a:gd name="T17" fmla="*/ 3 h 25"/>
                  <a:gd name="T18" fmla="*/ 5 w 18"/>
                  <a:gd name="T19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5">
                    <a:moveTo>
                      <a:pt x="18" y="13"/>
                    </a:moveTo>
                    <a:cubicBezTo>
                      <a:pt x="18" y="21"/>
                      <a:pt x="15" y="25"/>
                      <a:pt x="9" y="25"/>
                    </a:cubicBezTo>
                    <a:cubicBezTo>
                      <a:pt x="3" y="25"/>
                      <a:pt x="0" y="21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6"/>
                      <a:pt x="12" y="3"/>
                      <a:pt x="9" y="3"/>
                    </a:cubicBezTo>
                    <a:cubicBezTo>
                      <a:pt x="6" y="3"/>
                      <a:pt x="5" y="6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23" name="Freeform 50">
                <a:extLst>
                  <a:ext uri="{FF2B5EF4-FFF2-40B4-BE49-F238E27FC236}">
                    <a16:creationId xmlns:a16="http://schemas.microsoft.com/office/drawing/2014/main" id="{CDAEA578-7712-5BAA-AF43-509C4B5E15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5490" y="5603463"/>
                <a:ext cx="49855" cy="89134"/>
              </a:xfrm>
              <a:custGeom>
                <a:avLst/>
                <a:gdLst>
                  <a:gd name="T0" fmla="*/ 17 w 33"/>
                  <a:gd name="T1" fmla="*/ 11 h 59"/>
                  <a:gd name="T2" fmla="*/ 5 w 33"/>
                  <a:gd name="T3" fmla="*/ 18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52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52 h 59"/>
                  <a:gd name="T20" fmla="*/ 17 w 33"/>
                  <a:gd name="T21" fmla="*/ 49 h 59"/>
                  <a:gd name="T22" fmla="*/ 17 w 33"/>
                  <a:gd name="T23" fmla="*/ 11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1"/>
                    </a:moveTo>
                    <a:lnTo>
                      <a:pt x="5" y="18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52"/>
                    </a:lnTo>
                    <a:lnTo>
                      <a:pt x="17" y="49"/>
                    </a:lnTo>
                    <a:lnTo>
                      <a:pt x="17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24" name="Freeform 51">
                <a:extLst>
                  <a:ext uri="{FF2B5EF4-FFF2-40B4-BE49-F238E27FC236}">
                    <a16:creationId xmlns:a16="http://schemas.microsoft.com/office/drawing/2014/main" id="{13DD32C1-3362-C424-0C53-D7B9FF7C59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2468" y="5753026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25" name="Freeform 52">
                <a:extLst>
                  <a:ext uri="{FF2B5EF4-FFF2-40B4-BE49-F238E27FC236}">
                    <a16:creationId xmlns:a16="http://schemas.microsoft.com/office/drawing/2014/main" id="{599EE940-8A89-2A78-B149-3561AAF38F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5490" y="5905611"/>
                <a:ext cx="49855" cy="89134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12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52 h 59"/>
                  <a:gd name="T12" fmla="*/ 33 w 33"/>
                  <a:gd name="T13" fmla="*/ 52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52 h 59"/>
                  <a:gd name="T20" fmla="*/ 17 w 33"/>
                  <a:gd name="T21" fmla="*/ 52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52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52"/>
                    </a:lnTo>
                    <a:lnTo>
                      <a:pt x="17" y="52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26" name="Freeform 53">
                <a:extLst>
                  <a:ext uri="{FF2B5EF4-FFF2-40B4-BE49-F238E27FC236}">
                    <a16:creationId xmlns:a16="http://schemas.microsoft.com/office/drawing/2014/main" id="{44C42BE4-38E8-4F61-44C2-593667DF84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5490" y="6059707"/>
                <a:ext cx="49855" cy="89134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52 h 59"/>
                  <a:gd name="T12" fmla="*/ 33 w 33"/>
                  <a:gd name="T13" fmla="*/ 52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52 h 59"/>
                  <a:gd name="T20" fmla="*/ 17 w 33"/>
                  <a:gd name="T21" fmla="*/ 52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52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52"/>
                    </a:lnTo>
                    <a:lnTo>
                      <a:pt x="17" y="52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27" name="Freeform 54">
                <a:extLst>
                  <a:ext uri="{FF2B5EF4-FFF2-40B4-BE49-F238E27FC236}">
                    <a16:creationId xmlns:a16="http://schemas.microsoft.com/office/drawing/2014/main" id="{FB34B2D0-4C99-6568-102F-C9F7999F16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5490" y="6213803"/>
                <a:ext cx="49855" cy="84602"/>
              </a:xfrm>
              <a:custGeom>
                <a:avLst/>
                <a:gdLst>
                  <a:gd name="T0" fmla="*/ 17 w 33"/>
                  <a:gd name="T1" fmla="*/ 9 h 56"/>
                  <a:gd name="T2" fmla="*/ 5 w 33"/>
                  <a:gd name="T3" fmla="*/ 16 h 56"/>
                  <a:gd name="T4" fmla="*/ 0 w 33"/>
                  <a:gd name="T5" fmla="*/ 9 h 56"/>
                  <a:gd name="T6" fmla="*/ 19 w 33"/>
                  <a:gd name="T7" fmla="*/ 0 h 56"/>
                  <a:gd name="T8" fmla="*/ 26 w 33"/>
                  <a:gd name="T9" fmla="*/ 0 h 56"/>
                  <a:gd name="T10" fmla="*/ 26 w 33"/>
                  <a:gd name="T11" fmla="*/ 49 h 56"/>
                  <a:gd name="T12" fmla="*/ 33 w 33"/>
                  <a:gd name="T13" fmla="*/ 49 h 56"/>
                  <a:gd name="T14" fmla="*/ 33 w 33"/>
                  <a:gd name="T15" fmla="*/ 56 h 56"/>
                  <a:gd name="T16" fmla="*/ 10 w 33"/>
                  <a:gd name="T17" fmla="*/ 56 h 56"/>
                  <a:gd name="T18" fmla="*/ 10 w 33"/>
                  <a:gd name="T19" fmla="*/ 49 h 56"/>
                  <a:gd name="T20" fmla="*/ 17 w 33"/>
                  <a:gd name="T21" fmla="*/ 49 h 56"/>
                  <a:gd name="T22" fmla="*/ 17 w 33"/>
                  <a:gd name="T23" fmla="*/ 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6">
                    <a:moveTo>
                      <a:pt x="17" y="9"/>
                    </a:moveTo>
                    <a:lnTo>
                      <a:pt x="5" y="16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6"/>
                    </a:lnTo>
                    <a:lnTo>
                      <a:pt x="10" y="56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28" name="Freeform 55">
                <a:extLst>
                  <a:ext uri="{FF2B5EF4-FFF2-40B4-BE49-F238E27FC236}">
                    <a16:creationId xmlns:a16="http://schemas.microsoft.com/office/drawing/2014/main" id="{8227BFA0-8BF2-B430-FEBA-FFB1BFCC66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2468" y="6667025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29" name="Freeform 56">
                <a:extLst>
                  <a:ext uri="{FF2B5EF4-FFF2-40B4-BE49-F238E27FC236}">
                    <a16:creationId xmlns:a16="http://schemas.microsoft.com/office/drawing/2014/main" id="{5BFABDF8-A081-29EE-9BB6-3C186F825E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2468" y="6819610"/>
                <a:ext cx="63451" cy="89134"/>
              </a:xfrm>
              <a:custGeom>
                <a:avLst/>
                <a:gdLst>
                  <a:gd name="T0" fmla="*/ 18 w 18"/>
                  <a:gd name="T1" fmla="*/ 13 h 25"/>
                  <a:gd name="T2" fmla="*/ 9 w 18"/>
                  <a:gd name="T3" fmla="*/ 25 h 25"/>
                  <a:gd name="T4" fmla="*/ 0 w 18"/>
                  <a:gd name="T5" fmla="*/ 13 h 25"/>
                  <a:gd name="T6" fmla="*/ 9 w 18"/>
                  <a:gd name="T7" fmla="*/ 0 h 25"/>
                  <a:gd name="T8" fmla="*/ 18 w 18"/>
                  <a:gd name="T9" fmla="*/ 13 h 25"/>
                  <a:gd name="T10" fmla="*/ 5 w 18"/>
                  <a:gd name="T11" fmla="*/ 13 h 25"/>
                  <a:gd name="T12" fmla="*/ 9 w 18"/>
                  <a:gd name="T13" fmla="*/ 22 h 25"/>
                  <a:gd name="T14" fmla="*/ 13 w 18"/>
                  <a:gd name="T15" fmla="*/ 13 h 25"/>
                  <a:gd name="T16" fmla="*/ 9 w 18"/>
                  <a:gd name="T17" fmla="*/ 4 h 25"/>
                  <a:gd name="T18" fmla="*/ 5 w 18"/>
                  <a:gd name="T19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5">
                    <a:moveTo>
                      <a:pt x="18" y="13"/>
                    </a:moveTo>
                    <a:cubicBezTo>
                      <a:pt x="18" y="21"/>
                      <a:pt x="15" y="25"/>
                      <a:pt x="9" y="25"/>
                    </a:cubicBezTo>
                    <a:cubicBezTo>
                      <a:pt x="3" y="25"/>
                      <a:pt x="0" y="21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30" name="Freeform 63">
                <a:extLst>
                  <a:ext uri="{FF2B5EF4-FFF2-40B4-BE49-F238E27FC236}">
                    <a16:creationId xmlns:a16="http://schemas.microsoft.com/office/drawing/2014/main" id="{A4DF9C09-E858-7516-DC1C-C1495350C8E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02906" y="4228688"/>
                <a:ext cx="60430" cy="9366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4" y="0"/>
                      <a:pt x="17" y="5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31" name="Freeform 64">
                <a:extLst>
                  <a:ext uri="{FF2B5EF4-FFF2-40B4-BE49-F238E27FC236}">
                    <a16:creationId xmlns:a16="http://schemas.microsoft.com/office/drawing/2014/main" id="{FB5748CE-990B-704F-6EDB-1717F9E004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02906" y="4382783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1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32" name="Freeform 65">
                <a:extLst>
                  <a:ext uri="{FF2B5EF4-FFF2-40B4-BE49-F238E27FC236}">
                    <a16:creationId xmlns:a16="http://schemas.microsoft.com/office/drawing/2014/main" id="{173F1272-85E4-5B6B-F0F7-B59C13EC29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07438" y="4689463"/>
                <a:ext cx="49855" cy="89134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49 h 59"/>
                  <a:gd name="T20" fmla="*/ 16 w 33"/>
                  <a:gd name="T21" fmla="*/ 49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33" name="Freeform 66">
                <a:extLst>
                  <a:ext uri="{FF2B5EF4-FFF2-40B4-BE49-F238E27FC236}">
                    <a16:creationId xmlns:a16="http://schemas.microsoft.com/office/drawing/2014/main" id="{4682CD1B-3F6F-7B9C-64D9-BA3725DC91A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02906" y="4839027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34" name="Freeform 67">
                <a:extLst>
                  <a:ext uri="{FF2B5EF4-FFF2-40B4-BE49-F238E27FC236}">
                    <a16:creationId xmlns:a16="http://schemas.microsoft.com/office/drawing/2014/main" id="{812B37D3-3B17-16EB-1B3E-4838D57B251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02906" y="4993123"/>
                <a:ext cx="60430" cy="89134"/>
              </a:xfrm>
              <a:custGeom>
                <a:avLst/>
                <a:gdLst>
                  <a:gd name="T0" fmla="*/ 17 w 17"/>
                  <a:gd name="T1" fmla="*/ 13 h 25"/>
                  <a:gd name="T2" fmla="*/ 9 w 17"/>
                  <a:gd name="T3" fmla="*/ 25 h 25"/>
                  <a:gd name="T4" fmla="*/ 0 w 17"/>
                  <a:gd name="T5" fmla="*/ 12 h 25"/>
                  <a:gd name="T6" fmla="*/ 9 w 17"/>
                  <a:gd name="T7" fmla="*/ 0 h 25"/>
                  <a:gd name="T8" fmla="*/ 17 w 17"/>
                  <a:gd name="T9" fmla="*/ 13 h 25"/>
                  <a:gd name="T10" fmla="*/ 4 w 17"/>
                  <a:gd name="T11" fmla="*/ 12 h 25"/>
                  <a:gd name="T12" fmla="*/ 9 w 17"/>
                  <a:gd name="T13" fmla="*/ 22 h 25"/>
                  <a:gd name="T14" fmla="*/ 13 w 17"/>
                  <a:gd name="T15" fmla="*/ 13 h 25"/>
                  <a:gd name="T16" fmla="*/ 9 w 17"/>
                  <a:gd name="T17" fmla="*/ 3 h 25"/>
                  <a:gd name="T18" fmla="*/ 4 w 17"/>
                  <a:gd name="T1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5">
                    <a:moveTo>
                      <a:pt x="17" y="13"/>
                    </a:moveTo>
                    <a:cubicBezTo>
                      <a:pt x="17" y="21"/>
                      <a:pt x="14" y="25"/>
                      <a:pt x="9" y="25"/>
                    </a:cubicBezTo>
                    <a:cubicBezTo>
                      <a:pt x="3" y="25"/>
                      <a:pt x="0" y="21"/>
                      <a:pt x="0" y="12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2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6"/>
                      <a:pt x="11" y="3"/>
                      <a:pt x="9" y="3"/>
                    </a:cubicBezTo>
                    <a:cubicBezTo>
                      <a:pt x="6" y="3"/>
                      <a:pt x="4" y="6"/>
                      <a:pt x="4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35" name="Freeform 68">
                <a:extLst>
                  <a:ext uri="{FF2B5EF4-FFF2-40B4-BE49-F238E27FC236}">
                    <a16:creationId xmlns:a16="http://schemas.microsoft.com/office/drawing/2014/main" id="{2AE03164-AD91-430A-64B4-BC95A8BA5D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07438" y="5299803"/>
                <a:ext cx="49855" cy="84602"/>
              </a:xfrm>
              <a:custGeom>
                <a:avLst/>
                <a:gdLst>
                  <a:gd name="T0" fmla="*/ 16 w 33"/>
                  <a:gd name="T1" fmla="*/ 9 h 56"/>
                  <a:gd name="T2" fmla="*/ 4 w 33"/>
                  <a:gd name="T3" fmla="*/ 16 h 56"/>
                  <a:gd name="T4" fmla="*/ 0 w 33"/>
                  <a:gd name="T5" fmla="*/ 9 h 56"/>
                  <a:gd name="T6" fmla="*/ 16 w 33"/>
                  <a:gd name="T7" fmla="*/ 0 h 56"/>
                  <a:gd name="T8" fmla="*/ 26 w 33"/>
                  <a:gd name="T9" fmla="*/ 0 h 56"/>
                  <a:gd name="T10" fmla="*/ 26 w 33"/>
                  <a:gd name="T11" fmla="*/ 49 h 56"/>
                  <a:gd name="T12" fmla="*/ 33 w 33"/>
                  <a:gd name="T13" fmla="*/ 49 h 56"/>
                  <a:gd name="T14" fmla="*/ 33 w 33"/>
                  <a:gd name="T15" fmla="*/ 56 h 56"/>
                  <a:gd name="T16" fmla="*/ 7 w 33"/>
                  <a:gd name="T17" fmla="*/ 56 h 56"/>
                  <a:gd name="T18" fmla="*/ 7 w 33"/>
                  <a:gd name="T19" fmla="*/ 49 h 56"/>
                  <a:gd name="T20" fmla="*/ 16 w 33"/>
                  <a:gd name="T21" fmla="*/ 49 h 56"/>
                  <a:gd name="T22" fmla="*/ 16 w 33"/>
                  <a:gd name="T23" fmla="*/ 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6">
                    <a:moveTo>
                      <a:pt x="16" y="9"/>
                    </a:moveTo>
                    <a:lnTo>
                      <a:pt x="4" y="16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6"/>
                    </a:lnTo>
                    <a:lnTo>
                      <a:pt x="7" y="56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36" name="Freeform 69">
                <a:extLst>
                  <a:ext uri="{FF2B5EF4-FFF2-40B4-BE49-F238E27FC236}">
                    <a16:creationId xmlns:a16="http://schemas.microsoft.com/office/drawing/2014/main" id="{F0D8CAEB-8938-CBE2-C714-F84258D239E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02906" y="5449367"/>
                <a:ext cx="60430" cy="89134"/>
              </a:xfrm>
              <a:custGeom>
                <a:avLst/>
                <a:gdLst>
                  <a:gd name="T0" fmla="*/ 17 w 17"/>
                  <a:gd name="T1" fmla="*/ 13 h 25"/>
                  <a:gd name="T2" fmla="*/ 9 w 17"/>
                  <a:gd name="T3" fmla="*/ 25 h 25"/>
                  <a:gd name="T4" fmla="*/ 0 w 17"/>
                  <a:gd name="T5" fmla="*/ 13 h 25"/>
                  <a:gd name="T6" fmla="*/ 9 w 17"/>
                  <a:gd name="T7" fmla="*/ 0 h 25"/>
                  <a:gd name="T8" fmla="*/ 17 w 17"/>
                  <a:gd name="T9" fmla="*/ 13 h 25"/>
                  <a:gd name="T10" fmla="*/ 4 w 17"/>
                  <a:gd name="T11" fmla="*/ 13 h 25"/>
                  <a:gd name="T12" fmla="*/ 9 w 17"/>
                  <a:gd name="T13" fmla="*/ 22 h 25"/>
                  <a:gd name="T14" fmla="*/ 13 w 17"/>
                  <a:gd name="T15" fmla="*/ 13 h 25"/>
                  <a:gd name="T16" fmla="*/ 9 w 17"/>
                  <a:gd name="T17" fmla="*/ 3 h 25"/>
                  <a:gd name="T18" fmla="*/ 4 w 17"/>
                  <a:gd name="T19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5">
                    <a:moveTo>
                      <a:pt x="17" y="13"/>
                    </a:moveTo>
                    <a:cubicBezTo>
                      <a:pt x="17" y="21"/>
                      <a:pt x="14" y="25"/>
                      <a:pt x="9" y="25"/>
                    </a:cubicBezTo>
                    <a:cubicBezTo>
                      <a:pt x="3" y="25"/>
                      <a:pt x="0" y="21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6"/>
                      <a:pt x="11" y="3"/>
                      <a:pt x="9" y="3"/>
                    </a:cubicBezTo>
                    <a:cubicBezTo>
                      <a:pt x="6" y="3"/>
                      <a:pt x="4" y="6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37" name="Freeform 70">
                <a:extLst>
                  <a:ext uri="{FF2B5EF4-FFF2-40B4-BE49-F238E27FC236}">
                    <a16:creationId xmlns:a16="http://schemas.microsoft.com/office/drawing/2014/main" id="{A8ED9C29-DC81-2688-72F2-45F4F99F6C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07438" y="5603463"/>
                <a:ext cx="49855" cy="89134"/>
              </a:xfrm>
              <a:custGeom>
                <a:avLst/>
                <a:gdLst>
                  <a:gd name="T0" fmla="*/ 16 w 33"/>
                  <a:gd name="T1" fmla="*/ 11 h 59"/>
                  <a:gd name="T2" fmla="*/ 4 w 33"/>
                  <a:gd name="T3" fmla="*/ 18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52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52 h 59"/>
                  <a:gd name="T20" fmla="*/ 16 w 33"/>
                  <a:gd name="T21" fmla="*/ 49 h 59"/>
                  <a:gd name="T22" fmla="*/ 16 w 33"/>
                  <a:gd name="T23" fmla="*/ 11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1"/>
                    </a:moveTo>
                    <a:lnTo>
                      <a:pt x="4" y="18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52"/>
                    </a:lnTo>
                    <a:lnTo>
                      <a:pt x="16" y="49"/>
                    </a:lnTo>
                    <a:lnTo>
                      <a:pt x="16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38" name="Freeform 71">
                <a:extLst>
                  <a:ext uri="{FF2B5EF4-FFF2-40B4-BE49-F238E27FC236}">
                    <a16:creationId xmlns:a16="http://schemas.microsoft.com/office/drawing/2014/main" id="{8C3023E5-38AD-73A2-07BA-ABD46230FA7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02906" y="5753026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39" name="Freeform 72">
                <a:extLst>
                  <a:ext uri="{FF2B5EF4-FFF2-40B4-BE49-F238E27FC236}">
                    <a16:creationId xmlns:a16="http://schemas.microsoft.com/office/drawing/2014/main" id="{2D7446F9-0CA6-6AB2-64FE-06715068F2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07438" y="5905611"/>
                <a:ext cx="49855" cy="89134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12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52 h 59"/>
                  <a:gd name="T12" fmla="*/ 33 w 33"/>
                  <a:gd name="T13" fmla="*/ 52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52 h 59"/>
                  <a:gd name="T20" fmla="*/ 16 w 33"/>
                  <a:gd name="T21" fmla="*/ 52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12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52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52"/>
                    </a:lnTo>
                    <a:lnTo>
                      <a:pt x="16" y="52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40" name="Freeform 73">
                <a:extLst>
                  <a:ext uri="{FF2B5EF4-FFF2-40B4-BE49-F238E27FC236}">
                    <a16:creationId xmlns:a16="http://schemas.microsoft.com/office/drawing/2014/main" id="{F4105967-F039-4413-525C-96EB17324B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07438" y="6059707"/>
                <a:ext cx="49855" cy="89134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52 h 59"/>
                  <a:gd name="T12" fmla="*/ 33 w 33"/>
                  <a:gd name="T13" fmla="*/ 52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52 h 59"/>
                  <a:gd name="T20" fmla="*/ 16 w 33"/>
                  <a:gd name="T21" fmla="*/ 52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52"/>
                    </a:lnTo>
                    <a:lnTo>
                      <a:pt x="33" y="52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52"/>
                    </a:lnTo>
                    <a:lnTo>
                      <a:pt x="16" y="52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41" name="Freeform 74">
                <a:extLst>
                  <a:ext uri="{FF2B5EF4-FFF2-40B4-BE49-F238E27FC236}">
                    <a16:creationId xmlns:a16="http://schemas.microsoft.com/office/drawing/2014/main" id="{35CC5B16-8177-CF42-EEE5-B675F3C543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07438" y="6213803"/>
                <a:ext cx="49855" cy="84602"/>
              </a:xfrm>
              <a:custGeom>
                <a:avLst/>
                <a:gdLst>
                  <a:gd name="T0" fmla="*/ 16 w 33"/>
                  <a:gd name="T1" fmla="*/ 9 h 56"/>
                  <a:gd name="T2" fmla="*/ 4 w 33"/>
                  <a:gd name="T3" fmla="*/ 16 h 56"/>
                  <a:gd name="T4" fmla="*/ 0 w 33"/>
                  <a:gd name="T5" fmla="*/ 9 h 56"/>
                  <a:gd name="T6" fmla="*/ 16 w 33"/>
                  <a:gd name="T7" fmla="*/ 0 h 56"/>
                  <a:gd name="T8" fmla="*/ 26 w 33"/>
                  <a:gd name="T9" fmla="*/ 0 h 56"/>
                  <a:gd name="T10" fmla="*/ 26 w 33"/>
                  <a:gd name="T11" fmla="*/ 49 h 56"/>
                  <a:gd name="T12" fmla="*/ 33 w 33"/>
                  <a:gd name="T13" fmla="*/ 49 h 56"/>
                  <a:gd name="T14" fmla="*/ 33 w 33"/>
                  <a:gd name="T15" fmla="*/ 56 h 56"/>
                  <a:gd name="T16" fmla="*/ 7 w 33"/>
                  <a:gd name="T17" fmla="*/ 56 h 56"/>
                  <a:gd name="T18" fmla="*/ 7 w 33"/>
                  <a:gd name="T19" fmla="*/ 49 h 56"/>
                  <a:gd name="T20" fmla="*/ 16 w 33"/>
                  <a:gd name="T21" fmla="*/ 49 h 56"/>
                  <a:gd name="T22" fmla="*/ 16 w 33"/>
                  <a:gd name="T23" fmla="*/ 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6">
                    <a:moveTo>
                      <a:pt x="16" y="9"/>
                    </a:moveTo>
                    <a:lnTo>
                      <a:pt x="4" y="16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6"/>
                    </a:lnTo>
                    <a:lnTo>
                      <a:pt x="7" y="56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42" name="Freeform 75">
                <a:extLst>
                  <a:ext uri="{FF2B5EF4-FFF2-40B4-BE49-F238E27FC236}">
                    <a16:creationId xmlns:a16="http://schemas.microsoft.com/office/drawing/2014/main" id="{CD8B2F3D-141C-860C-1385-7BB3A38752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02906" y="6667025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43" name="Freeform 76">
                <a:extLst>
                  <a:ext uri="{FF2B5EF4-FFF2-40B4-BE49-F238E27FC236}">
                    <a16:creationId xmlns:a16="http://schemas.microsoft.com/office/drawing/2014/main" id="{58F8B899-9D00-8C16-32C6-3BA4A0C881D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02906" y="6819610"/>
                <a:ext cx="60430" cy="89134"/>
              </a:xfrm>
              <a:custGeom>
                <a:avLst/>
                <a:gdLst>
                  <a:gd name="T0" fmla="*/ 17 w 17"/>
                  <a:gd name="T1" fmla="*/ 13 h 25"/>
                  <a:gd name="T2" fmla="*/ 9 w 17"/>
                  <a:gd name="T3" fmla="*/ 25 h 25"/>
                  <a:gd name="T4" fmla="*/ 0 w 17"/>
                  <a:gd name="T5" fmla="*/ 13 h 25"/>
                  <a:gd name="T6" fmla="*/ 9 w 17"/>
                  <a:gd name="T7" fmla="*/ 0 h 25"/>
                  <a:gd name="T8" fmla="*/ 17 w 17"/>
                  <a:gd name="T9" fmla="*/ 13 h 25"/>
                  <a:gd name="T10" fmla="*/ 4 w 17"/>
                  <a:gd name="T11" fmla="*/ 13 h 25"/>
                  <a:gd name="T12" fmla="*/ 9 w 17"/>
                  <a:gd name="T13" fmla="*/ 22 h 25"/>
                  <a:gd name="T14" fmla="*/ 13 w 17"/>
                  <a:gd name="T15" fmla="*/ 13 h 25"/>
                  <a:gd name="T16" fmla="*/ 9 w 17"/>
                  <a:gd name="T17" fmla="*/ 4 h 25"/>
                  <a:gd name="T18" fmla="*/ 4 w 17"/>
                  <a:gd name="T19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5">
                    <a:moveTo>
                      <a:pt x="17" y="13"/>
                    </a:moveTo>
                    <a:cubicBezTo>
                      <a:pt x="17" y="21"/>
                      <a:pt x="14" y="25"/>
                      <a:pt x="9" y="25"/>
                    </a:cubicBezTo>
                    <a:cubicBezTo>
                      <a:pt x="3" y="25"/>
                      <a:pt x="0" y="21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44" name="Freeform 83">
                <a:extLst>
                  <a:ext uri="{FF2B5EF4-FFF2-40B4-BE49-F238E27FC236}">
                    <a16:creationId xmlns:a16="http://schemas.microsoft.com/office/drawing/2014/main" id="{8512FE56-ED2B-FE89-CDBE-AAAB7C44D6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46606" y="4236241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3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45" name="Freeform 84">
                <a:extLst>
                  <a:ext uri="{FF2B5EF4-FFF2-40B4-BE49-F238E27FC236}">
                    <a16:creationId xmlns:a16="http://schemas.microsoft.com/office/drawing/2014/main" id="{FF2281E6-4CF0-F655-4C22-F4F052DBA09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43584" y="4503643"/>
                <a:ext cx="110285" cy="164671"/>
              </a:xfrm>
              <a:custGeom>
                <a:avLst/>
                <a:gdLst>
                  <a:gd name="T0" fmla="*/ 31 w 31"/>
                  <a:gd name="T1" fmla="*/ 23 h 46"/>
                  <a:gd name="T2" fmla="*/ 15 w 31"/>
                  <a:gd name="T3" fmla="*/ 46 h 46"/>
                  <a:gd name="T4" fmla="*/ 0 w 31"/>
                  <a:gd name="T5" fmla="*/ 23 h 46"/>
                  <a:gd name="T6" fmla="*/ 15 w 31"/>
                  <a:gd name="T7" fmla="*/ 0 h 46"/>
                  <a:gd name="T8" fmla="*/ 31 w 31"/>
                  <a:gd name="T9" fmla="*/ 23 h 46"/>
                  <a:gd name="T10" fmla="*/ 8 w 31"/>
                  <a:gd name="T11" fmla="*/ 23 h 46"/>
                  <a:gd name="T12" fmla="*/ 15 w 31"/>
                  <a:gd name="T13" fmla="*/ 39 h 46"/>
                  <a:gd name="T14" fmla="*/ 23 w 31"/>
                  <a:gd name="T15" fmla="*/ 23 h 46"/>
                  <a:gd name="T16" fmla="*/ 15 w 31"/>
                  <a:gd name="T17" fmla="*/ 7 h 46"/>
                  <a:gd name="T18" fmla="*/ 8 w 31"/>
                  <a:gd name="T19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6">
                    <a:moveTo>
                      <a:pt x="31" y="23"/>
                    </a:moveTo>
                    <a:cubicBezTo>
                      <a:pt x="31" y="38"/>
                      <a:pt x="26" y="46"/>
                      <a:pt x="15" y="46"/>
                    </a:cubicBezTo>
                    <a:cubicBezTo>
                      <a:pt x="5" y="46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7"/>
                      <a:pt x="15" y="7"/>
                    </a:cubicBezTo>
                    <a:cubicBezTo>
                      <a:pt x="10" y="7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46" name="Freeform 85">
                <a:extLst>
                  <a:ext uri="{FF2B5EF4-FFF2-40B4-BE49-F238E27FC236}">
                    <a16:creationId xmlns:a16="http://schemas.microsoft.com/office/drawing/2014/main" id="{864A716E-4814-E632-EA3D-DD1E1DED3AD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43584" y="4775576"/>
                <a:ext cx="110285" cy="160139"/>
              </a:xfrm>
              <a:custGeom>
                <a:avLst/>
                <a:gdLst>
                  <a:gd name="T0" fmla="*/ 31 w 31"/>
                  <a:gd name="T1" fmla="*/ 23 h 45"/>
                  <a:gd name="T2" fmla="*/ 15 w 31"/>
                  <a:gd name="T3" fmla="*/ 45 h 45"/>
                  <a:gd name="T4" fmla="*/ 0 w 31"/>
                  <a:gd name="T5" fmla="*/ 23 h 45"/>
                  <a:gd name="T6" fmla="*/ 15 w 31"/>
                  <a:gd name="T7" fmla="*/ 0 h 45"/>
                  <a:gd name="T8" fmla="*/ 31 w 31"/>
                  <a:gd name="T9" fmla="*/ 23 h 45"/>
                  <a:gd name="T10" fmla="*/ 8 w 31"/>
                  <a:gd name="T11" fmla="*/ 23 h 45"/>
                  <a:gd name="T12" fmla="*/ 15 w 31"/>
                  <a:gd name="T13" fmla="*/ 39 h 45"/>
                  <a:gd name="T14" fmla="*/ 23 w 31"/>
                  <a:gd name="T15" fmla="*/ 23 h 45"/>
                  <a:gd name="T16" fmla="*/ 15 w 31"/>
                  <a:gd name="T17" fmla="*/ 6 h 45"/>
                  <a:gd name="T18" fmla="*/ 8 w 31"/>
                  <a:gd name="T19" fmla="*/ 2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31" y="23"/>
                    </a:moveTo>
                    <a:cubicBezTo>
                      <a:pt x="31" y="38"/>
                      <a:pt x="26" y="45"/>
                      <a:pt x="15" y="45"/>
                    </a:cubicBezTo>
                    <a:cubicBezTo>
                      <a:pt x="5" y="45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6"/>
                      <a:pt x="15" y="6"/>
                    </a:cubicBezTo>
                    <a:cubicBezTo>
                      <a:pt x="10" y="6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47" name="Freeform 86">
                <a:extLst>
                  <a:ext uri="{FF2B5EF4-FFF2-40B4-BE49-F238E27FC236}">
                    <a16:creationId xmlns:a16="http://schemas.microsoft.com/office/drawing/2014/main" id="{BF029133-F5A5-8B6D-C012-548EF935B3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46606" y="5049020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4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4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48" name="Freeform 87">
                <a:extLst>
                  <a:ext uri="{FF2B5EF4-FFF2-40B4-BE49-F238E27FC236}">
                    <a16:creationId xmlns:a16="http://schemas.microsoft.com/office/drawing/2014/main" id="{CD9EDD40-E57C-8711-2CD3-D70DB6329A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46606" y="5320954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1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1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49" name="Freeform 88">
                <a:extLst>
                  <a:ext uri="{FF2B5EF4-FFF2-40B4-BE49-F238E27FC236}">
                    <a16:creationId xmlns:a16="http://schemas.microsoft.com/office/drawing/2014/main" id="{857E3F4E-722B-708B-D9EF-1CEA367117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46606" y="5592887"/>
                <a:ext cx="92156" cy="155607"/>
              </a:xfrm>
              <a:custGeom>
                <a:avLst/>
                <a:gdLst>
                  <a:gd name="T0" fmla="*/ 31 w 61"/>
                  <a:gd name="T1" fmla="*/ 18 h 103"/>
                  <a:gd name="T2" fmla="*/ 10 w 61"/>
                  <a:gd name="T3" fmla="*/ 30 h 103"/>
                  <a:gd name="T4" fmla="*/ 0 w 61"/>
                  <a:gd name="T5" fmla="*/ 18 h 103"/>
                  <a:gd name="T6" fmla="*/ 31 w 61"/>
                  <a:gd name="T7" fmla="*/ 0 h 103"/>
                  <a:gd name="T8" fmla="*/ 47 w 61"/>
                  <a:gd name="T9" fmla="*/ 0 h 103"/>
                  <a:gd name="T10" fmla="*/ 47 w 61"/>
                  <a:gd name="T11" fmla="*/ 89 h 103"/>
                  <a:gd name="T12" fmla="*/ 61 w 61"/>
                  <a:gd name="T13" fmla="*/ 89 h 103"/>
                  <a:gd name="T14" fmla="*/ 61 w 61"/>
                  <a:gd name="T15" fmla="*/ 103 h 103"/>
                  <a:gd name="T16" fmla="*/ 17 w 61"/>
                  <a:gd name="T17" fmla="*/ 103 h 103"/>
                  <a:gd name="T18" fmla="*/ 17 w 61"/>
                  <a:gd name="T19" fmla="*/ 89 h 103"/>
                  <a:gd name="T20" fmla="*/ 31 w 61"/>
                  <a:gd name="T21" fmla="*/ 89 h 103"/>
                  <a:gd name="T22" fmla="*/ 31 w 61"/>
                  <a:gd name="T23" fmla="*/ 18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3">
                    <a:moveTo>
                      <a:pt x="31" y="18"/>
                    </a:moveTo>
                    <a:lnTo>
                      <a:pt x="10" y="30"/>
                    </a:lnTo>
                    <a:lnTo>
                      <a:pt x="0" y="18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89"/>
                    </a:lnTo>
                    <a:lnTo>
                      <a:pt x="61" y="89"/>
                    </a:lnTo>
                    <a:lnTo>
                      <a:pt x="61" y="103"/>
                    </a:lnTo>
                    <a:lnTo>
                      <a:pt x="17" y="103"/>
                    </a:lnTo>
                    <a:lnTo>
                      <a:pt x="17" y="89"/>
                    </a:lnTo>
                    <a:lnTo>
                      <a:pt x="31" y="89"/>
                    </a:lnTo>
                    <a:lnTo>
                      <a:pt x="31" y="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50" name="Freeform 89">
                <a:extLst>
                  <a:ext uri="{FF2B5EF4-FFF2-40B4-BE49-F238E27FC236}">
                    <a16:creationId xmlns:a16="http://schemas.microsoft.com/office/drawing/2014/main" id="{3D6A7C0D-1ED1-E155-06DF-2F9313F466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43584" y="5860289"/>
                <a:ext cx="110285" cy="160139"/>
              </a:xfrm>
              <a:custGeom>
                <a:avLst/>
                <a:gdLst>
                  <a:gd name="T0" fmla="*/ 31 w 31"/>
                  <a:gd name="T1" fmla="*/ 23 h 45"/>
                  <a:gd name="T2" fmla="*/ 15 w 31"/>
                  <a:gd name="T3" fmla="*/ 45 h 45"/>
                  <a:gd name="T4" fmla="*/ 0 w 31"/>
                  <a:gd name="T5" fmla="*/ 22 h 45"/>
                  <a:gd name="T6" fmla="*/ 15 w 31"/>
                  <a:gd name="T7" fmla="*/ 0 h 45"/>
                  <a:gd name="T8" fmla="*/ 31 w 31"/>
                  <a:gd name="T9" fmla="*/ 23 h 45"/>
                  <a:gd name="T10" fmla="*/ 8 w 31"/>
                  <a:gd name="T11" fmla="*/ 22 h 45"/>
                  <a:gd name="T12" fmla="*/ 15 w 31"/>
                  <a:gd name="T13" fmla="*/ 39 h 45"/>
                  <a:gd name="T14" fmla="*/ 23 w 31"/>
                  <a:gd name="T15" fmla="*/ 23 h 45"/>
                  <a:gd name="T16" fmla="*/ 15 w 31"/>
                  <a:gd name="T17" fmla="*/ 6 h 45"/>
                  <a:gd name="T18" fmla="*/ 8 w 31"/>
                  <a:gd name="T19" fmla="*/ 2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31" y="23"/>
                    </a:moveTo>
                    <a:cubicBezTo>
                      <a:pt x="31" y="38"/>
                      <a:pt x="26" y="45"/>
                      <a:pt x="15" y="45"/>
                    </a:cubicBezTo>
                    <a:cubicBezTo>
                      <a:pt x="5" y="45"/>
                      <a:pt x="0" y="38"/>
                      <a:pt x="0" y="22"/>
                    </a:cubicBezTo>
                    <a:cubicBezTo>
                      <a:pt x="0" y="7"/>
                      <a:pt x="5" y="0"/>
                      <a:pt x="15" y="0"/>
                    </a:cubicBezTo>
                    <a:cubicBezTo>
                      <a:pt x="26" y="0"/>
                      <a:pt x="31" y="7"/>
                      <a:pt x="31" y="23"/>
                    </a:cubicBezTo>
                    <a:close/>
                    <a:moveTo>
                      <a:pt x="8" y="22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1"/>
                      <a:pt x="20" y="6"/>
                      <a:pt x="15" y="6"/>
                    </a:cubicBezTo>
                    <a:cubicBezTo>
                      <a:pt x="10" y="6"/>
                      <a:pt x="8" y="11"/>
                      <a:pt x="8" y="2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51" name="Freeform 90">
                <a:extLst>
                  <a:ext uri="{FF2B5EF4-FFF2-40B4-BE49-F238E27FC236}">
                    <a16:creationId xmlns:a16="http://schemas.microsoft.com/office/drawing/2014/main" id="{C9727A72-9C4D-7B05-FB84-76591D2CB5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43584" y="6673068"/>
                <a:ext cx="110285" cy="161650"/>
              </a:xfrm>
              <a:custGeom>
                <a:avLst/>
                <a:gdLst>
                  <a:gd name="T0" fmla="*/ 31 w 31"/>
                  <a:gd name="T1" fmla="*/ 22 h 45"/>
                  <a:gd name="T2" fmla="*/ 15 w 31"/>
                  <a:gd name="T3" fmla="*/ 45 h 45"/>
                  <a:gd name="T4" fmla="*/ 0 w 31"/>
                  <a:gd name="T5" fmla="*/ 22 h 45"/>
                  <a:gd name="T6" fmla="*/ 15 w 31"/>
                  <a:gd name="T7" fmla="*/ 0 h 45"/>
                  <a:gd name="T8" fmla="*/ 31 w 31"/>
                  <a:gd name="T9" fmla="*/ 22 h 45"/>
                  <a:gd name="T10" fmla="*/ 8 w 31"/>
                  <a:gd name="T11" fmla="*/ 22 h 45"/>
                  <a:gd name="T12" fmla="*/ 15 w 31"/>
                  <a:gd name="T13" fmla="*/ 39 h 45"/>
                  <a:gd name="T14" fmla="*/ 23 w 31"/>
                  <a:gd name="T15" fmla="*/ 22 h 45"/>
                  <a:gd name="T16" fmla="*/ 15 w 31"/>
                  <a:gd name="T17" fmla="*/ 6 h 45"/>
                  <a:gd name="T18" fmla="*/ 8 w 31"/>
                  <a:gd name="T19" fmla="*/ 2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31" y="22"/>
                    </a:moveTo>
                    <a:cubicBezTo>
                      <a:pt x="31" y="38"/>
                      <a:pt x="26" y="45"/>
                      <a:pt x="15" y="45"/>
                    </a:cubicBezTo>
                    <a:cubicBezTo>
                      <a:pt x="5" y="45"/>
                      <a:pt x="0" y="38"/>
                      <a:pt x="0" y="22"/>
                    </a:cubicBezTo>
                    <a:cubicBezTo>
                      <a:pt x="0" y="7"/>
                      <a:pt x="5" y="0"/>
                      <a:pt x="15" y="0"/>
                    </a:cubicBezTo>
                    <a:cubicBezTo>
                      <a:pt x="26" y="0"/>
                      <a:pt x="31" y="7"/>
                      <a:pt x="31" y="22"/>
                    </a:cubicBezTo>
                    <a:close/>
                    <a:moveTo>
                      <a:pt x="8" y="22"/>
                    </a:moveTo>
                    <a:cubicBezTo>
                      <a:pt x="8" y="33"/>
                      <a:pt x="10" y="39"/>
                      <a:pt x="15" y="39"/>
                    </a:cubicBezTo>
                    <a:cubicBezTo>
                      <a:pt x="20" y="39"/>
                      <a:pt x="23" y="33"/>
                      <a:pt x="23" y="22"/>
                    </a:cubicBezTo>
                    <a:cubicBezTo>
                      <a:pt x="23" y="11"/>
                      <a:pt x="20" y="6"/>
                      <a:pt x="15" y="6"/>
                    </a:cubicBezTo>
                    <a:cubicBezTo>
                      <a:pt x="10" y="6"/>
                      <a:pt x="8" y="11"/>
                      <a:pt x="8" y="2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52" name="Freeform 95">
                <a:extLst>
                  <a:ext uri="{FF2B5EF4-FFF2-40B4-BE49-F238E27FC236}">
                    <a16:creationId xmlns:a16="http://schemas.microsoft.com/office/drawing/2014/main" id="{A9E5837D-E153-7C89-2FBA-9EE251D8BD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3350946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53" name="Freeform 96">
                <a:extLst>
                  <a:ext uri="{FF2B5EF4-FFF2-40B4-BE49-F238E27FC236}">
                    <a16:creationId xmlns:a16="http://schemas.microsoft.com/office/drawing/2014/main" id="{6217CD68-FDB2-AF22-A549-605AA2EE94A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3497488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54" name="Freeform 97">
                <a:extLst>
                  <a:ext uri="{FF2B5EF4-FFF2-40B4-BE49-F238E27FC236}">
                    <a16:creationId xmlns:a16="http://schemas.microsoft.com/office/drawing/2014/main" id="{2C39A578-2C12-ED9F-14CE-14F14675CC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3644030"/>
                <a:ext cx="52876" cy="84602"/>
              </a:xfrm>
              <a:custGeom>
                <a:avLst/>
                <a:gdLst>
                  <a:gd name="T0" fmla="*/ 16 w 35"/>
                  <a:gd name="T1" fmla="*/ 14 h 56"/>
                  <a:gd name="T2" fmla="*/ 7 w 35"/>
                  <a:gd name="T3" fmla="*/ 21 h 56"/>
                  <a:gd name="T4" fmla="*/ 0 w 35"/>
                  <a:gd name="T5" fmla="*/ 11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4"/>
                    </a:moveTo>
                    <a:lnTo>
                      <a:pt x="7" y="21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55" name="Freeform 98">
                <a:extLst>
                  <a:ext uri="{FF2B5EF4-FFF2-40B4-BE49-F238E27FC236}">
                    <a16:creationId xmlns:a16="http://schemas.microsoft.com/office/drawing/2014/main" id="{DF8F6634-D5FE-7317-ABE8-6672B687FF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3790572"/>
                <a:ext cx="67984" cy="84602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56" name="Freeform 99">
                <a:extLst>
                  <a:ext uri="{FF2B5EF4-FFF2-40B4-BE49-F238E27FC236}">
                    <a16:creationId xmlns:a16="http://schemas.microsoft.com/office/drawing/2014/main" id="{766B23B0-0C7F-9732-046B-C08C9D2E13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3935604"/>
                <a:ext cx="52876" cy="86113"/>
              </a:xfrm>
              <a:custGeom>
                <a:avLst/>
                <a:gdLst>
                  <a:gd name="T0" fmla="*/ 16 w 35"/>
                  <a:gd name="T1" fmla="*/ 15 h 57"/>
                  <a:gd name="T2" fmla="*/ 7 w 35"/>
                  <a:gd name="T3" fmla="*/ 22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8 h 57"/>
                  <a:gd name="T12" fmla="*/ 35 w 35"/>
                  <a:gd name="T13" fmla="*/ 48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8 h 57"/>
                  <a:gd name="T20" fmla="*/ 16 w 35"/>
                  <a:gd name="T21" fmla="*/ 48 h 57"/>
                  <a:gd name="T22" fmla="*/ 16 w 35"/>
                  <a:gd name="T23" fmla="*/ 1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5"/>
                    </a:moveTo>
                    <a:lnTo>
                      <a:pt x="7" y="22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57" name="Freeform 100">
                <a:extLst>
                  <a:ext uri="{FF2B5EF4-FFF2-40B4-BE49-F238E27FC236}">
                    <a16:creationId xmlns:a16="http://schemas.microsoft.com/office/drawing/2014/main" id="{8159F9F8-1CEA-F4DE-317E-021D793415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4082145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58" name="Freeform 101">
                <a:extLst>
                  <a:ext uri="{FF2B5EF4-FFF2-40B4-BE49-F238E27FC236}">
                    <a16:creationId xmlns:a16="http://schemas.microsoft.com/office/drawing/2014/main" id="{4A62512D-FB5F-733D-687C-F32930B89A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4228688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59" name="Freeform 102">
                <a:extLst>
                  <a:ext uri="{FF2B5EF4-FFF2-40B4-BE49-F238E27FC236}">
                    <a16:creationId xmlns:a16="http://schemas.microsoft.com/office/drawing/2014/main" id="{BF9A4D8C-8F42-A8E1-0C04-6E4CBDF3D1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4375229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60" name="Freeform 103">
                <a:extLst>
                  <a:ext uri="{FF2B5EF4-FFF2-40B4-BE49-F238E27FC236}">
                    <a16:creationId xmlns:a16="http://schemas.microsoft.com/office/drawing/2014/main" id="{5C76A7E9-F361-C594-7847-AAF769611C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4524793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5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5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61" name="Freeform 104">
                <a:extLst>
                  <a:ext uri="{FF2B5EF4-FFF2-40B4-BE49-F238E27FC236}">
                    <a16:creationId xmlns:a16="http://schemas.microsoft.com/office/drawing/2014/main" id="{68FC0420-57FC-28E5-B014-3185721367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4668313"/>
                <a:ext cx="67984" cy="89134"/>
              </a:xfrm>
              <a:custGeom>
                <a:avLst/>
                <a:gdLst>
                  <a:gd name="T0" fmla="*/ 17 w 19"/>
                  <a:gd name="T1" fmla="*/ 4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4 h 25"/>
                  <a:gd name="T16" fmla="*/ 6 w 19"/>
                  <a:gd name="T17" fmla="*/ 12 h 25"/>
                  <a:gd name="T18" fmla="*/ 10 w 19"/>
                  <a:gd name="T19" fmla="*/ 20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3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62" name="Freeform 105">
                <a:extLst>
                  <a:ext uri="{FF2B5EF4-FFF2-40B4-BE49-F238E27FC236}">
                    <a16:creationId xmlns:a16="http://schemas.microsoft.com/office/drawing/2014/main" id="{3E4F4CBD-D004-3F71-28F8-B5863C379E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4817877"/>
                <a:ext cx="52876" cy="81580"/>
              </a:xfrm>
              <a:custGeom>
                <a:avLst/>
                <a:gdLst>
                  <a:gd name="T0" fmla="*/ 16 w 35"/>
                  <a:gd name="T1" fmla="*/ 12 h 54"/>
                  <a:gd name="T2" fmla="*/ 7 w 35"/>
                  <a:gd name="T3" fmla="*/ 19 h 54"/>
                  <a:gd name="T4" fmla="*/ 0 w 35"/>
                  <a:gd name="T5" fmla="*/ 9 h 54"/>
                  <a:gd name="T6" fmla="*/ 19 w 35"/>
                  <a:gd name="T7" fmla="*/ 0 h 54"/>
                  <a:gd name="T8" fmla="*/ 28 w 35"/>
                  <a:gd name="T9" fmla="*/ 0 h 54"/>
                  <a:gd name="T10" fmla="*/ 28 w 35"/>
                  <a:gd name="T11" fmla="*/ 45 h 54"/>
                  <a:gd name="T12" fmla="*/ 35 w 35"/>
                  <a:gd name="T13" fmla="*/ 45 h 54"/>
                  <a:gd name="T14" fmla="*/ 35 w 35"/>
                  <a:gd name="T15" fmla="*/ 54 h 54"/>
                  <a:gd name="T16" fmla="*/ 9 w 35"/>
                  <a:gd name="T17" fmla="*/ 54 h 54"/>
                  <a:gd name="T18" fmla="*/ 9 w 35"/>
                  <a:gd name="T19" fmla="*/ 45 h 54"/>
                  <a:gd name="T20" fmla="*/ 16 w 35"/>
                  <a:gd name="T21" fmla="*/ 45 h 54"/>
                  <a:gd name="T22" fmla="*/ 16 w 35"/>
                  <a:gd name="T23" fmla="*/ 1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4">
                    <a:moveTo>
                      <a:pt x="16" y="12"/>
                    </a:moveTo>
                    <a:lnTo>
                      <a:pt x="7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4"/>
                    </a:lnTo>
                    <a:lnTo>
                      <a:pt x="9" y="54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63" name="Freeform 106">
                <a:extLst>
                  <a:ext uri="{FF2B5EF4-FFF2-40B4-BE49-F238E27FC236}">
                    <a16:creationId xmlns:a16="http://schemas.microsoft.com/office/drawing/2014/main" id="{262F280E-AACA-6530-7B25-BC7220945CB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4959887"/>
                <a:ext cx="67984" cy="89134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2 h 25"/>
                  <a:gd name="T18" fmla="*/ 10 w 19"/>
                  <a:gd name="T19" fmla="*/ 21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64" name="Freeform 107">
                <a:extLst>
                  <a:ext uri="{FF2B5EF4-FFF2-40B4-BE49-F238E27FC236}">
                    <a16:creationId xmlns:a16="http://schemas.microsoft.com/office/drawing/2014/main" id="{73BF9704-599E-58FC-24D1-0E5413C646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5106428"/>
                <a:ext cx="67984" cy="89134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2 h 25"/>
                  <a:gd name="T18" fmla="*/ 10 w 19"/>
                  <a:gd name="T19" fmla="*/ 21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65" name="Freeform 108">
                <a:extLst>
                  <a:ext uri="{FF2B5EF4-FFF2-40B4-BE49-F238E27FC236}">
                    <a16:creationId xmlns:a16="http://schemas.microsoft.com/office/drawing/2014/main" id="{597FF732-724D-B17B-8022-358B4AD88C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5255992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8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8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8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8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66" name="Freeform 109">
                <a:extLst>
                  <a:ext uri="{FF2B5EF4-FFF2-40B4-BE49-F238E27FC236}">
                    <a16:creationId xmlns:a16="http://schemas.microsoft.com/office/drawing/2014/main" id="{1CEE24D7-BE28-3EE0-4115-821D70527F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5402534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8 h 55"/>
                  <a:gd name="T12" fmla="*/ 35 w 35"/>
                  <a:gd name="T13" fmla="*/ 48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8 h 55"/>
                  <a:gd name="T20" fmla="*/ 16 w 35"/>
                  <a:gd name="T21" fmla="*/ 48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67" name="Freeform 110">
                <a:extLst>
                  <a:ext uri="{FF2B5EF4-FFF2-40B4-BE49-F238E27FC236}">
                    <a16:creationId xmlns:a16="http://schemas.microsoft.com/office/drawing/2014/main" id="{D249FFE5-F09B-CFEB-5301-2F311686874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5546055"/>
                <a:ext cx="67984" cy="89134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3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1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3 h 25"/>
                  <a:gd name="T18" fmla="*/ 10 w 19"/>
                  <a:gd name="T19" fmla="*/ 21 h 25"/>
                  <a:gd name="T20" fmla="*/ 14 w 19"/>
                  <a:gd name="T21" fmla="*/ 13 h 25"/>
                  <a:gd name="T22" fmla="*/ 10 w 19"/>
                  <a:gd name="T23" fmla="*/ 5 h 25"/>
                  <a:gd name="T24" fmla="*/ 6 w 19"/>
                  <a:gd name="T25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7"/>
                      <a:pt x="19" y="9"/>
                      <a:pt x="19" y="13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1"/>
                    </a:cubicBezTo>
                    <a:cubicBezTo>
                      <a:pt x="1" y="19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3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3"/>
                    </a:cubicBezTo>
                    <a:cubicBezTo>
                      <a:pt x="14" y="7"/>
                      <a:pt x="12" y="5"/>
                      <a:pt x="10" y="5"/>
                    </a:cubicBezTo>
                    <a:cubicBezTo>
                      <a:pt x="7" y="5"/>
                      <a:pt x="6" y="7"/>
                      <a:pt x="6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68" name="Freeform 111">
                <a:extLst>
                  <a:ext uri="{FF2B5EF4-FFF2-40B4-BE49-F238E27FC236}">
                    <a16:creationId xmlns:a16="http://schemas.microsoft.com/office/drawing/2014/main" id="{532039DD-A0FC-73A5-0AFC-C48D86D72D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5695618"/>
                <a:ext cx="52876" cy="81580"/>
              </a:xfrm>
              <a:custGeom>
                <a:avLst/>
                <a:gdLst>
                  <a:gd name="T0" fmla="*/ 16 w 35"/>
                  <a:gd name="T1" fmla="*/ 12 h 54"/>
                  <a:gd name="T2" fmla="*/ 7 w 35"/>
                  <a:gd name="T3" fmla="*/ 19 h 54"/>
                  <a:gd name="T4" fmla="*/ 0 w 35"/>
                  <a:gd name="T5" fmla="*/ 9 h 54"/>
                  <a:gd name="T6" fmla="*/ 19 w 35"/>
                  <a:gd name="T7" fmla="*/ 0 h 54"/>
                  <a:gd name="T8" fmla="*/ 28 w 35"/>
                  <a:gd name="T9" fmla="*/ 0 h 54"/>
                  <a:gd name="T10" fmla="*/ 28 w 35"/>
                  <a:gd name="T11" fmla="*/ 47 h 54"/>
                  <a:gd name="T12" fmla="*/ 35 w 35"/>
                  <a:gd name="T13" fmla="*/ 47 h 54"/>
                  <a:gd name="T14" fmla="*/ 35 w 35"/>
                  <a:gd name="T15" fmla="*/ 54 h 54"/>
                  <a:gd name="T16" fmla="*/ 9 w 35"/>
                  <a:gd name="T17" fmla="*/ 54 h 54"/>
                  <a:gd name="T18" fmla="*/ 9 w 35"/>
                  <a:gd name="T19" fmla="*/ 47 h 54"/>
                  <a:gd name="T20" fmla="*/ 16 w 35"/>
                  <a:gd name="T21" fmla="*/ 47 h 54"/>
                  <a:gd name="T22" fmla="*/ 16 w 35"/>
                  <a:gd name="T23" fmla="*/ 1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4">
                    <a:moveTo>
                      <a:pt x="16" y="12"/>
                    </a:moveTo>
                    <a:lnTo>
                      <a:pt x="7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4"/>
                    </a:lnTo>
                    <a:lnTo>
                      <a:pt x="9" y="54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69" name="Freeform 112">
                <a:extLst>
                  <a:ext uri="{FF2B5EF4-FFF2-40B4-BE49-F238E27FC236}">
                    <a16:creationId xmlns:a16="http://schemas.microsoft.com/office/drawing/2014/main" id="{A2411F49-6722-4413-2601-F40781848A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5839139"/>
                <a:ext cx="67984" cy="89134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3 h 25"/>
                  <a:gd name="T4" fmla="*/ 17 w 19"/>
                  <a:gd name="T5" fmla="*/ 22 h 25"/>
                  <a:gd name="T6" fmla="*/ 10 w 19"/>
                  <a:gd name="T7" fmla="*/ 25 h 25"/>
                  <a:gd name="T8" fmla="*/ 2 w 19"/>
                  <a:gd name="T9" fmla="*/ 21 h 25"/>
                  <a:gd name="T10" fmla="*/ 0 w 19"/>
                  <a:gd name="T11" fmla="*/ 13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3 h 25"/>
                  <a:gd name="T18" fmla="*/ 10 w 19"/>
                  <a:gd name="T19" fmla="*/ 21 h 25"/>
                  <a:gd name="T20" fmla="*/ 14 w 19"/>
                  <a:gd name="T21" fmla="*/ 13 h 25"/>
                  <a:gd name="T22" fmla="*/ 10 w 19"/>
                  <a:gd name="T23" fmla="*/ 5 h 25"/>
                  <a:gd name="T24" fmla="*/ 6 w 19"/>
                  <a:gd name="T25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7"/>
                      <a:pt x="19" y="9"/>
                      <a:pt x="19" y="13"/>
                    </a:cubicBezTo>
                    <a:cubicBezTo>
                      <a:pt x="19" y="17"/>
                      <a:pt x="18" y="20"/>
                      <a:pt x="17" y="22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1"/>
                    </a:cubicBezTo>
                    <a:cubicBezTo>
                      <a:pt x="1" y="19"/>
                      <a:pt x="0" y="16"/>
                      <a:pt x="0" y="13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3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3"/>
                    </a:cubicBezTo>
                    <a:cubicBezTo>
                      <a:pt x="14" y="7"/>
                      <a:pt x="12" y="5"/>
                      <a:pt x="10" y="5"/>
                    </a:cubicBezTo>
                    <a:cubicBezTo>
                      <a:pt x="7" y="5"/>
                      <a:pt x="6" y="7"/>
                      <a:pt x="6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70" name="Freeform 113">
                <a:extLst>
                  <a:ext uri="{FF2B5EF4-FFF2-40B4-BE49-F238E27FC236}">
                    <a16:creationId xmlns:a16="http://schemas.microsoft.com/office/drawing/2014/main" id="{0A0838EC-ABE1-12CB-89AA-40D527F46F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5988702"/>
                <a:ext cx="52876" cy="84602"/>
              </a:xfrm>
              <a:custGeom>
                <a:avLst/>
                <a:gdLst>
                  <a:gd name="T0" fmla="*/ 16 w 35"/>
                  <a:gd name="T1" fmla="*/ 12 h 56"/>
                  <a:gd name="T2" fmla="*/ 7 w 35"/>
                  <a:gd name="T3" fmla="*/ 19 h 56"/>
                  <a:gd name="T4" fmla="*/ 0 w 35"/>
                  <a:gd name="T5" fmla="*/ 9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2"/>
                    </a:moveTo>
                    <a:lnTo>
                      <a:pt x="7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71" name="Freeform 114">
                <a:extLst>
                  <a:ext uri="{FF2B5EF4-FFF2-40B4-BE49-F238E27FC236}">
                    <a16:creationId xmlns:a16="http://schemas.microsoft.com/office/drawing/2014/main" id="{98C547AB-BF28-174F-E06D-5C579E0BCA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6135244"/>
                <a:ext cx="52876" cy="84602"/>
              </a:xfrm>
              <a:custGeom>
                <a:avLst/>
                <a:gdLst>
                  <a:gd name="T0" fmla="*/ 16 w 35"/>
                  <a:gd name="T1" fmla="*/ 11 h 56"/>
                  <a:gd name="T2" fmla="*/ 7 w 35"/>
                  <a:gd name="T3" fmla="*/ 18 h 56"/>
                  <a:gd name="T4" fmla="*/ 0 w 35"/>
                  <a:gd name="T5" fmla="*/ 9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1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1"/>
                    </a:moveTo>
                    <a:lnTo>
                      <a:pt x="7" y="18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72" name="Freeform 115">
                <a:extLst>
                  <a:ext uri="{FF2B5EF4-FFF2-40B4-BE49-F238E27FC236}">
                    <a16:creationId xmlns:a16="http://schemas.microsoft.com/office/drawing/2014/main" id="{279AADE2-77D5-5A5C-7834-E1E254A6DCA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6280275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8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5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7"/>
                      <a:pt x="7" y="20"/>
                      <a:pt x="10" y="20"/>
                    </a:cubicBezTo>
                    <a:cubicBezTo>
                      <a:pt x="12" y="20"/>
                      <a:pt x="14" y="17"/>
                      <a:pt x="14" y="12"/>
                    </a:cubicBezTo>
                    <a:cubicBezTo>
                      <a:pt x="14" y="6"/>
                      <a:pt x="12" y="4"/>
                      <a:pt x="10" y="4"/>
                    </a:cubicBezTo>
                    <a:cubicBezTo>
                      <a:pt x="7" y="4"/>
                      <a:pt x="6" y="6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73" name="Freeform 116">
                <a:extLst>
                  <a:ext uri="{FF2B5EF4-FFF2-40B4-BE49-F238E27FC236}">
                    <a16:creationId xmlns:a16="http://schemas.microsoft.com/office/drawing/2014/main" id="{68D09042-09FF-852C-D5E4-F502FB9E1B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6426817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8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5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7"/>
                      <a:pt x="7" y="20"/>
                      <a:pt x="10" y="20"/>
                    </a:cubicBezTo>
                    <a:cubicBezTo>
                      <a:pt x="12" y="20"/>
                      <a:pt x="14" y="17"/>
                      <a:pt x="14" y="12"/>
                    </a:cubicBezTo>
                    <a:cubicBezTo>
                      <a:pt x="14" y="6"/>
                      <a:pt x="12" y="4"/>
                      <a:pt x="10" y="4"/>
                    </a:cubicBezTo>
                    <a:cubicBezTo>
                      <a:pt x="7" y="4"/>
                      <a:pt x="6" y="6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74" name="Freeform 117">
                <a:extLst>
                  <a:ext uri="{FF2B5EF4-FFF2-40B4-BE49-F238E27FC236}">
                    <a16:creationId xmlns:a16="http://schemas.microsoft.com/office/drawing/2014/main" id="{860268AD-A813-F20E-57C0-EA4802E6C89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6573359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8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5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7"/>
                      <a:pt x="7" y="20"/>
                      <a:pt x="10" y="20"/>
                    </a:cubicBezTo>
                    <a:cubicBezTo>
                      <a:pt x="12" y="20"/>
                      <a:pt x="14" y="17"/>
                      <a:pt x="14" y="12"/>
                    </a:cubicBezTo>
                    <a:cubicBezTo>
                      <a:pt x="14" y="6"/>
                      <a:pt x="12" y="4"/>
                      <a:pt x="10" y="4"/>
                    </a:cubicBezTo>
                    <a:cubicBezTo>
                      <a:pt x="7" y="4"/>
                      <a:pt x="6" y="6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75" name="Freeform 118">
                <a:extLst>
                  <a:ext uri="{FF2B5EF4-FFF2-40B4-BE49-F238E27FC236}">
                    <a16:creationId xmlns:a16="http://schemas.microsoft.com/office/drawing/2014/main" id="{B07344B1-C8DD-DEC1-6E6F-CBD6B868FA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8539" y="6719901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76" name="Freeform 119">
                <a:extLst>
                  <a:ext uri="{FF2B5EF4-FFF2-40B4-BE49-F238E27FC236}">
                    <a16:creationId xmlns:a16="http://schemas.microsoft.com/office/drawing/2014/main" id="{38EBB45F-021E-E8FB-BA23-6F7493493F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14007" y="6866443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8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5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6"/>
                      <a:pt x="12" y="4"/>
                      <a:pt x="10" y="4"/>
                    </a:cubicBezTo>
                    <a:cubicBezTo>
                      <a:pt x="7" y="4"/>
                      <a:pt x="6" y="6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77" name="Freeform 135">
                <a:extLst>
                  <a:ext uri="{FF2B5EF4-FFF2-40B4-BE49-F238E27FC236}">
                    <a16:creationId xmlns:a16="http://schemas.microsoft.com/office/drawing/2014/main" id="{DA6B9C90-5B50-4E6B-DF3F-A59C1F8940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68629" y="3718057"/>
                <a:ext cx="60430" cy="111795"/>
              </a:xfrm>
              <a:custGeom>
                <a:avLst/>
                <a:gdLst>
                  <a:gd name="T0" fmla="*/ 19 w 40"/>
                  <a:gd name="T1" fmla="*/ 14 h 74"/>
                  <a:gd name="T2" fmla="*/ 4 w 40"/>
                  <a:gd name="T3" fmla="*/ 24 h 74"/>
                  <a:gd name="T4" fmla="*/ 0 w 40"/>
                  <a:gd name="T5" fmla="*/ 14 h 74"/>
                  <a:gd name="T6" fmla="*/ 21 w 40"/>
                  <a:gd name="T7" fmla="*/ 0 h 74"/>
                  <a:gd name="T8" fmla="*/ 30 w 40"/>
                  <a:gd name="T9" fmla="*/ 0 h 74"/>
                  <a:gd name="T10" fmla="*/ 30 w 40"/>
                  <a:gd name="T11" fmla="*/ 64 h 74"/>
                  <a:gd name="T12" fmla="*/ 40 w 40"/>
                  <a:gd name="T13" fmla="*/ 64 h 74"/>
                  <a:gd name="T14" fmla="*/ 40 w 40"/>
                  <a:gd name="T15" fmla="*/ 74 h 74"/>
                  <a:gd name="T16" fmla="*/ 9 w 40"/>
                  <a:gd name="T17" fmla="*/ 74 h 74"/>
                  <a:gd name="T18" fmla="*/ 9 w 40"/>
                  <a:gd name="T19" fmla="*/ 64 h 74"/>
                  <a:gd name="T20" fmla="*/ 19 w 40"/>
                  <a:gd name="T21" fmla="*/ 64 h 74"/>
                  <a:gd name="T22" fmla="*/ 19 w 40"/>
                  <a:gd name="T23" fmla="*/ 1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4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4"/>
                    </a:lnTo>
                    <a:lnTo>
                      <a:pt x="9" y="74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78" name="Freeform 136">
                <a:extLst>
                  <a:ext uri="{FF2B5EF4-FFF2-40B4-BE49-F238E27FC236}">
                    <a16:creationId xmlns:a16="http://schemas.microsoft.com/office/drawing/2014/main" id="{B6FE0CDD-C5FF-B0BC-2B08-96A5C69499E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64097" y="3906899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8 h 32"/>
                  <a:gd name="T14" fmla="*/ 16 w 21"/>
                  <a:gd name="T15" fmla="*/ 16 h 32"/>
                  <a:gd name="T16" fmla="*/ 10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0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0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79" name="Freeform 137">
                <a:extLst>
                  <a:ext uri="{FF2B5EF4-FFF2-40B4-BE49-F238E27FC236}">
                    <a16:creationId xmlns:a16="http://schemas.microsoft.com/office/drawing/2014/main" id="{9749A4D2-8ED0-BBA5-83C8-93B6A2E6FE2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64097" y="4289117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6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80" name="Freeform 138">
                <a:extLst>
                  <a:ext uri="{FF2B5EF4-FFF2-40B4-BE49-F238E27FC236}">
                    <a16:creationId xmlns:a16="http://schemas.microsoft.com/office/drawing/2014/main" id="{2F82CA1C-80AB-070E-4A32-ECA2D532D9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68629" y="4482492"/>
                <a:ext cx="60430" cy="107263"/>
              </a:xfrm>
              <a:custGeom>
                <a:avLst/>
                <a:gdLst>
                  <a:gd name="T0" fmla="*/ 19 w 40"/>
                  <a:gd name="T1" fmla="*/ 12 h 71"/>
                  <a:gd name="T2" fmla="*/ 4 w 40"/>
                  <a:gd name="T3" fmla="*/ 21 h 71"/>
                  <a:gd name="T4" fmla="*/ 0 w 40"/>
                  <a:gd name="T5" fmla="*/ 12 h 71"/>
                  <a:gd name="T6" fmla="*/ 21 w 40"/>
                  <a:gd name="T7" fmla="*/ 0 h 71"/>
                  <a:gd name="T8" fmla="*/ 30 w 40"/>
                  <a:gd name="T9" fmla="*/ 0 h 71"/>
                  <a:gd name="T10" fmla="*/ 30 w 40"/>
                  <a:gd name="T11" fmla="*/ 64 h 71"/>
                  <a:gd name="T12" fmla="*/ 40 w 40"/>
                  <a:gd name="T13" fmla="*/ 64 h 71"/>
                  <a:gd name="T14" fmla="*/ 40 w 40"/>
                  <a:gd name="T15" fmla="*/ 71 h 71"/>
                  <a:gd name="T16" fmla="*/ 9 w 40"/>
                  <a:gd name="T17" fmla="*/ 71 h 71"/>
                  <a:gd name="T18" fmla="*/ 9 w 40"/>
                  <a:gd name="T19" fmla="*/ 64 h 71"/>
                  <a:gd name="T20" fmla="*/ 19 w 40"/>
                  <a:gd name="T21" fmla="*/ 64 h 71"/>
                  <a:gd name="T22" fmla="*/ 19 w 40"/>
                  <a:gd name="T23" fmla="*/ 1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1">
                    <a:moveTo>
                      <a:pt x="19" y="12"/>
                    </a:moveTo>
                    <a:lnTo>
                      <a:pt x="4" y="21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1"/>
                    </a:lnTo>
                    <a:lnTo>
                      <a:pt x="9" y="71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81" name="Freeform 139">
                <a:extLst>
                  <a:ext uri="{FF2B5EF4-FFF2-40B4-BE49-F238E27FC236}">
                    <a16:creationId xmlns:a16="http://schemas.microsoft.com/office/drawing/2014/main" id="{99B6C595-D291-40AB-2F63-60C1A7F024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68629" y="4671335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82" name="Freeform 140">
                <a:extLst>
                  <a:ext uri="{FF2B5EF4-FFF2-40B4-BE49-F238E27FC236}">
                    <a16:creationId xmlns:a16="http://schemas.microsoft.com/office/drawing/2014/main" id="{2EF6C123-BEF4-B990-FC4F-6C22466CDA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68629" y="4860178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83" name="Freeform 141">
                <a:extLst>
                  <a:ext uri="{FF2B5EF4-FFF2-40B4-BE49-F238E27FC236}">
                    <a16:creationId xmlns:a16="http://schemas.microsoft.com/office/drawing/2014/main" id="{641DB8C2-7825-4442-AB4E-66F471118E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68629" y="5053553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1 h 73"/>
                  <a:gd name="T4" fmla="*/ 0 w 40"/>
                  <a:gd name="T5" fmla="*/ 12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1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84" name="Freeform 142">
                <a:extLst>
                  <a:ext uri="{FF2B5EF4-FFF2-40B4-BE49-F238E27FC236}">
                    <a16:creationId xmlns:a16="http://schemas.microsoft.com/office/drawing/2014/main" id="{17B1B810-0F14-A57A-82B4-38A5D938049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64097" y="5242395"/>
                <a:ext cx="75537" cy="110285"/>
              </a:xfrm>
              <a:custGeom>
                <a:avLst/>
                <a:gdLst>
                  <a:gd name="T0" fmla="*/ 21 w 21"/>
                  <a:gd name="T1" fmla="*/ 15 h 31"/>
                  <a:gd name="T2" fmla="*/ 10 w 21"/>
                  <a:gd name="T3" fmla="*/ 31 h 31"/>
                  <a:gd name="T4" fmla="*/ 0 w 21"/>
                  <a:gd name="T5" fmla="*/ 15 h 31"/>
                  <a:gd name="T6" fmla="*/ 10 w 21"/>
                  <a:gd name="T7" fmla="*/ 0 h 31"/>
                  <a:gd name="T8" fmla="*/ 21 w 21"/>
                  <a:gd name="T9" fmla="*/ 15 h 31"/>
                  <a:gd name="T10" fmla="*/ 5 w 21"/>
                  <a:gd name="T11" fmla="*/ 15 h 31"/>
                  <a:gd name="T12" fmla="*/ 10 w 21"/>
                  <a:gd name="T13" fmla="*/ 27 h 31"/>
                  <a:gd name="T14" fmla="*/ 16 w 21"/>
                  <a:gd name="T15" fmla="*/ 15 h 31"/>
                  <a:gd name="T16" fmla="*/ 10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5"/>
                    </a:moveTo>
                    <a:cubicBezTo>
                      <a:pt x="21" y="26"/>
                      <a:pt x="18" y="31"/>
                      <a:pt x="10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5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0" y="27"/>
                    </a:cubicBezTo>
                    <a:cubicBezTo>
                      <a:pt x="14" y="27"/>
                      <a:pt x="16" y="23"/>
                      <a:pt x="16" y="15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85" name="Freeform 143">
                <a:extLst>
                  <a:ext uri="{FF2B5EF4-FFF2-40B4-BE49-F238E27FC236}">
                    <a16:creationId xmlns:a16="http://schemas.microsoft.com/office/drawing/2014/main" id="{53D2FD20-C26B-FD39-F189-2B9B9955AD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64097" y="5431238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86" name="Freeform 144">
                <a:extLst>
                  <a:ext uri="{FF2B5EF4-FFF2-40B4-BE49-F238E27FC236}">
                    <a16:creationId xmlns:a16="http://schemas.microsoft.com/office/drawing/2014/main" id="{25257950-D237-D2CC-3315-5744E7E1E2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64097" y="6191141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8 h 32"/>
                  <a:gd name="T14" fmla="*/ 16 w 21"/>
                  <a:gd name="T15" fmla="*/ 16 h 32"/>
                  <a:gd name="T16" fmla="*/ 10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0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0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87" name="Freeform 145">
                <a:extLst>
                  <a:ext uri="{FF2B5EF4-FFF2-40B4-BE49-F238E27FC236}">
                    <a16:creationId xmlns:a16="http://schemas.microsoft.com/office/drawing/2014/main" id="{539D07F2-B0E0-B348-43F7-B8E559D6D6D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64097" y="6384516"/>
                <a:ext cx="75537" cy="110285"/>
              </a:xfrm>
              <a:custGeom>
                <a:avLst/>
                <a:gdLst>
                  <a:gd name="T0" fmla="*/ 21 w 21"/>
                  <a:gd name="T1" fmla="*/ 16 h 31"/>
                  <a:gd name="T2" fmla="*/ 10 w 21"/>
                  <a:gd name="T3" fmla="*/ 31 h 31"/>
                  <a:gd name="T4" fmla="*/ 0 w 21"/>
                  <a:gd name="T5" fmla="*/ 15 h 31"/>
                  <a:gd name="T6" fmla="*/ 10 w 21"/>
                  <a:gd name="T7" fmla="*/ 0 h 31"/>
                  <a:gd name="T8" fmla="*/ 21 w 21"/>
                  <a:gd name="T9" fmla="*/ 16 h 31"/>
                  <a:gd name="T10" fmla="*/ 5 w 21"/>
                  <a:gd name="T11" fmla="*/ 15 h 31"/>
                  <a:gd name="T12" fmla="*/ 10 w 21"/>
                  <a:gd name="T13" fmla="*/ 27 h 31"/>
                  <a:gd name="T14" fmla="*/ 16 w 21"/>
                  <a:gd name="T15" fmla="*/ 16 h 31"/>
                  <a:gd name="T16" fmla="*/ 10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0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0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88" name="Freeform 146">
                <a:extLst>
                  <a:ext uri="{FF2B5EF4-FFF2-40B4-BE49-F238E27FC236}">
                    <a16:creationId xmlns:a16="http://schemas.microsoft.com/office/drawing/2014/main" id="{D81D607F-3CAA-5029-537F-CC1D30D2DB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64097" y="6573359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89" name="Freeform 147">
                <a:extLst>
                  <a:ext uri="{FF2B5EF4-FFF2-40B4-BE49-F238E27FC236}">
                    <a16:creationId xmlns:a16="http://schemas.microsoft.com/office/drawing/2014/main" id="{F39E6708-908C-6DC8-001C-45AC1A9458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68629" y="6766734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3 h 73"/>
                  <a:gd name="T4" fmla="*/ 0 w 40"/>
                  <a:gd name="T5" fmla="*/ 12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3 h 73"/>
                  <a:gd name="T12" fmla="*/ 40 w 40"/>
                  <a:gd name="T13" fmla="*/ 63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3 h 73"/>
                  <a:gd name="T20" fmla="*/ 19 w 40"/>
                  <a:gd name="T21" fmla="*/ 63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3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3"/>
                    </a:lnTo>
                    <a:lnTo>
                      <a:pt x="40" y="63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3"/>
                    </a:lnTo>
                    <a:lnTo>
                      <a:pt x="19" y="63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90" name="Freeform 149">
                <a:extLst>
                  <a:ext uri="{FF2B5EF4-FFF2-40B4-BE49-F238E27FC236}">
                    <a16:creationId xmlns:a16="http://schemas.microsoft.com/office/drawing/2014/main" id="{B3372044-AB02-D7AD-C186-95AA66630F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24929" y="3361522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91" name="Freeform 150">
                <a:extLst>
                  <a:ext uri="{FF2B5EF4-FFF2-40B4-BE49-F238E27FC236}">
                    <a16:creationId xmlns:a16="http://schemas.microsoft.com/office/drawing/2014/main" id="{AC421B79-3058-5602-BF1B-5AA3485C54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17375" y="3644030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92" name="Freeform 151">
                <a:extLst>
                  <a:ext uri="{FF2B5EF4-FFF2-40B4-BE49-F238E27FC236}">
                    <a16:creationId xmlns:a16="http://schemas.microsoft.com/office/drawing/2014/main" id="{9D4D006A-0572-7DE0-872F-5FD4CEE199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24929" y="3932582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93" name="Freeform 152">
                <a:extLst>
                  <a:ext uri="{FF2B5EF4-FFF2-40B4-BE49-F238E27FC236}">
                    <a16:creationId xmlns:a16="http://schemas.microsoft.com/office/drawing/2014/main" id="{E1F371DE-4558-8EB1-8AB5-A1946342935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17375" y="4215090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94" name="Freeform 153">
                <a:extLst>
                  <a:ext uri="{FF2B5EF4-FFF2-40B4-BE49-F238E27FC236}">
                    <a16:creationId xmlns:a16="http://schemas.microsoft.com/office/drawing/2014/main" id="{BC3AA487-EAA9-E0FB-1251-F576F24CB1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24929" y="4503643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95" name="Freeform 154">
                <a:extLst>
                  <a:ext uri="{FF2B5EF4-FFF2-40B4-BE49-F238E27FC236}">
                    <a16:creationId xmlns:a16="http://schemas.microsoft.com/office/drawing/2014/main" id="{02D766E8-0B68-1727-65FF-ED5EDFD69D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24929" y="4789172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96" name="Freeform 155">
                <a:extLst>
                  <a:ext uri="{FF2B5EF4-FFF2-40B4-BE49-F238E27FC236}">
                    <a16:creationId xmlns:a16="http://schemas.microsoft.com/office/drawing/2014/main" id="{2F6014A3-71B9-B5B5-EB10-57C366B5DC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24929" y="5074703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7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7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7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7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97" name="Freeform 156">
                <a:extLst>
                  <a:ext uri="{FF2B5EF4-FFF2-40B4-BE49-F238E27FC236}">
                    <a16:creationId xmlns:a16="http://schemas.microsoft.com/office/drawing/2014/main" id="{FECC7C7D-364B-4D0C-A435-8852E1DF82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24929" y="5360233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5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7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7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5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7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7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98" name="Freeform 157">
                <a:extLst>
                  <a:ext uri="{FF2B5EF4-FFF2-40B4-BE49-F238E27FC236}">
                    <a16:creationId xmlns:a16="http://schemas.microsoft.com/office/drawing/2014/main" id="{EC639942-2477-E2E3-ECC1-E143431E8ED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17375" y="5642742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99" name="Freeform 158">
                <a:extLst>
                  <a:ext uri="{FF2B5EF4-FFF2-40B4-BE49-F238E27FC236}">
                    <a16:creationId xmlns:a16="http://schemas.microsoft.com/office/drawing/2014/main" id="{F50EE1E5-22F3-744E-9CC3-283E5F0AE84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17375" y="5928272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2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2"/>
                      <a:pt x="16" y="42"/>
                    </a:cubicBezTo>
                    <a:cubicBezTo>
                      <a:pt x="22" y="42"/>
                      <a:pt x="24" y="36"/>
                      <a:pt x="24" y="24"/>
                    </a:cubicBezTo>
                    <a:cubicBezTo>
                      <a:pt x="24" y="13"/>
                      <a:pt x="22" y="7"/>
                      <a:pt x="16" y="7"/>
                    </a:cubicBezTo>
                    <a:cubicBezTo>
                      <a:pt x="11" y="7"/>
                      <a:pt x="8" y="13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00" name="Freeform 159">
                <a:extLst>
                  <a:ext uri="{FF2B5EF4-FFF2-40B4-BE49-F238E27FC236}">
                    <a16:creationId xmlns:a16="http://schemas.microsoft.com/office/drawing/2014/main" id="{0201438D-6CAB-D45B-AFD0-2D03005561C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17375" y="6213803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2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2"/>
                      <a:pt x="16" y="42"/>
                    </a:cubicBezTo>
                    <a:cubicBezTo>
                      <a:pt x="22" y="42"/>
                      <a:pt x="24" y="36"/>
                      <a:pt x="24" y="24"/>
                    </a:cubicBezTo>
                    <a:cubicBezTo>
                      <a:pt x="24" y="13"/>
                      <a:pt x="22" y="7"/>
                      <a:pt x="16" y="7"/>
                    </a:cubicBezTo>
                    <a:cubicBezTo>
                      <a:pt x="11" y="7"/>
                      <a:pt x="8" y="13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01" name="Freeform 160">
                <a:extLst>
                  <a:ext uri="{FF2B5EF4-FFF2-40B4-BE49-F238E27FC236}">
                    <a16:creationId xmlns:a16="http://schemas.microsoft.com/office/drawing/2014/main" id="{8DB01CD8-3481-9F6B-6519-8E05A145E34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17375" y="6499332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2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1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2"/>
                      <a:pt x="16" y="42"/>
                    </a:cubicBezTo>
                    <a:cubicBezTo>
                      <a:pt x="22" y="42"/>
                      <a:pt x="24" y="36"/>
                      <a:pt x="24" y="24"/>
                    </a:cubicBezTo>
                    <a:cubicBezTo>
                      <a:pt x="24" y="13"/>
                      <a:pt x="22" y="7"/>
                      <a:pt x="16" y="7"/>
                    </a:cubicBezTo>
                    <a:cubicBezTo>
                      <a:pt x="11" y="7"/>
                      <a:pt x="8" y="13"/>
                      <a:pt x="8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02" name="Freeform 161">
                <a:extLst>
                  <a:ext uri="{FF2B5EF4-FFF2-40B4-BE49-F238E27FC236}">
                    <a16:creationId xmlns:a16="http://schemas.microsoft.com/office/drawing/2014/main" id="{C295D5A6-C4E8-218D-2C9B-44FEF6F42E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17375" y="6787885"/>
                <a:ext cx="114816" cy="167693"/>
              </a:xfrm>
              <a:custGeom>
                <a:avLst/>
                <a:gdLst>
                  <a:gd name="T0" fmla="*/ 32 w 32"/>
                  <a:gd name="T1" fmla="*/ 23 h 47"/>
                  <a:gd name="T2" fmla="*/ 16 w 32"/>
                  <a:gd name="T3" fmla="*/ 47 h 47"/>
                  <a:gd name="T4" fmla="*/ 0 w 32"/>
                  <a:gd name="T5" fmla="*/ 23 h 47"/>
                  <a:gd name="T6" fmla="*/ 16 w 32"/>
                  <a:gd name="T7" fmla="*/ 0 h 47"/>
                  <a:gd name="T8" fmla="*/ 32 w 32"/>
                  <a:gd name="T9" fmla="*/ 23 h 47"/>
                  <a:gd name="T10" fmla="*/ 8 w 32"/>
                  <a:gd name="T11" fmla="*/ 23 h 47"/>
                  <a:gd name="T12" fmla="*/ 16 w 32"/>
                  <a:gd name="T13" fmla="*/ 41 h 47"/>
                  <a:gd name="T14" fmla="*/ 24 w 32"/>
                  <a:gd name="T15" fmla="*/ 23 h 47"/>
                  <a:gd name="T16" fmla="*/ 16 w 32"/>
                  <a:gd name="T17" fmla="*/ 6 h 47"/>
                  <a:gd name="T18" fmla="*/ 8 w 32"/>
                  <a:gd name="T19" fmla="*/ 2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7">
                    <a:moveTo>
                      <a:pt x="32" y="23"/>
                    </a:moveTo>
                    <a:cubicBezTo>
                      <a:pt x="32" y="39"/>
                      <a:pt x="27" y="47"/>
                      <a:pt x="16" y="47"/>
                    </a:cubicBezTo>
                    <a:cubicBezTo>
                      <a:pt x="5" y="47"/>
                      <a:pt x="0" y="40"/>
                      <a:pt x="0" y="23"/>
                    </a:cubicBezTo>
                    <a:cubicBezTo>
                      <a:pt x="0" y="7"/>
                      <a:pt x="5" y="0"/>
                      <a:pt x="16" y="0"/>
                    </a:cubicBezTo>
                    <a:cubicBezTo>
                      <a:pt x="27" y="0"/>
                      <a:pt x="32" y="7"/>
                      <a:pt x="32" y="23"/>
                    </a:cubicBezTo>
                    <a:close/>
                    <a:moveTo>
                      <a:pt x="8" y="23"/>
                    </a:moveTo>
                    <a:cubicBezTo>
                      <a:pt x="8" y="35"/>
                      <a:pt x="11" y="41"/>
                      <a:pt x="16" y="41"/>
                    </a:cubicBezTo>
                    <a:cubicBezTo>
                      <a:pt x="22" y="41"/>
                      <a:pt x="24" y="35"/>
                      <a:pt x="24" y="23"/>
                    </a:cubicBezTo>
                    <a:cubicBezTo>
                      <a:pt x="24" y="12"/>
                      <a:pt x="22" y="6"/>
                      <a:pt x="16" y="6"/>
                    </a:cubicBezTo>
                    <a:cubicBezTo>
                      <a:pt x="11" y="6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03" name="Line 8">
                <a:extLst>
                  <a:ext uri="{FF2B5EF4-FFF2-40B4-BE49-F238E27FC236}">
                    <a16:creationId xmlns:a16="http://schemas.microsoft.com/office/drawing/2014/main" id="{E1F92115-E2B6-9ACC-4434-F19F37199E5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282436" y="5576274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04" name="Line 9">
                <a:extLst>
                  <a:ext uri="{FF2B5EF4-FFF2-40B4-BE49-F238E27FC236}">
                    <a16:creationId xmlns:a16="http://schemas.microsoft.com/office/drawing/2014/main" id="{F10CB203-9AD7-1FA4-7836-475FD924647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282436" y="5576274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05" name="Freeform 10">
                <a:extLst>
                  <a:ext uri="{FF2B5EF4-FFF2-40B4-BE49-F238E27FC236}">
                    <a16:creationId xmlns:a16="http://schemas.microsoft.com/office/drawing/2014/main" id="{C614ED8B-5BFB-3B9F-4188-C5B7E4127C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49546" y="6647390"/>
                <a:ext cx="99709" cy="157117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8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7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7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8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7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7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06" name="Freeform 11">
                <a:extLst>
                  <a:ext uri="{FF2B5EF4-FFF2-40B4-BE49-F238E27FC236}">
                    <a16:creationId xmlns:a16="http://schemas.microsoft.com/office/drawing/2014/main" id="{D1891869-18EE-96EC-E7F4-4E619D5816E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635950" y="6914792"/>
                <a:ext cx="120859" cy="164671"/>
              </a:xfrm>
              <a:custGeom>
                <a:avLst/>
                <a:gdLst>
                  <a:gd name="T0" fmla="*/ 32 w 34"/>
                  <a:gd name="T1" fmla="*/ 8 h 46"/>
                  <a:gd name="T2" fmla="*/ 34 w 34"/>
                  <a:gd name="T3" fmla="*/ 23 h 46"/>
                  <a:gd name="T4" fmla="*/ 31 w 34"/>
                  <a:gd name="T5" fmla="*/ 39 h 46"/>
                  <a:gd name="T6" fmla="*/ 17 w 34"/>
                  <a:gd name="T7" fmla="*/ 46 h 46"/>
                  <a:gd name="T8" fmla="*/ 3 w 34"/>
                  <a:gd name="T9" fmla="*/ 37 h 46"/>
                  <a:gd name="T10" fmla="*/ 0 w 34"/>
                  <a:gd name="T11" fmla="*/ 23 h 46"/>
                  <a:gd name="T12" fmla="*/ 17 w 34"/>
                  <a:gd name="T13" fmla="*/ 0 h 46"/>
                  <a:gd name="T14" fmla="*/ 32 w 34"/>
                  <a:gd name="T15" fmla="*/ 8 h 46"/>
                  <a:gd name="T16" fmla="*/ 10 w 34"/>
                  <a:gd name="T17" fmla="*/ 23 h 46"/>
                  <a:gd name="T18" fmla="*/ 17 w 34"/>
                  <a:gd name="T19" fmla="*/ 38 h 46"/>
                  <a:gd name="T20" fmla="*/ 25 w 34"/>
                  <a:gd name="T21" fmla="*/ 23 h 46"/>
                  <a:gd name="T22" fmla="*/ 17 w 34"/>
                  <a:gd name="T23" fmla="*/ 8 h 46"/>
                  <a:gd name="T24" fmla="*/ 10 w 34"/>
                  <a:gd name="T25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46">
                    <a:moveTo>
                      <a:pt x="32" y="8"/>
                    </a:moveTo>
                    <a:cubicBezTo>
                      <a:pt x="34" y="12"/>
                      <a:pt x="34" y="16"/>
                      <a:pt x="34" y="23"/>
                    </a:cubicBezTo>
                    <a:cubicBezTo>
                      <a:pt x="34" y="31"/>
                      <a:pt x="33" y="36"/>
                      <a:pt x="31" y="39"/>
                    </a:cubicBezTo>
                    <a:cubicBezTo>
                      <a:pt x="28" y="43"/>
                      <a:pt x="23" y="46"/>
                      <a:pt x="17" y="46"/>
                    </a:cubicBezTo>
                    <a:cubicBezTo>
                      <a:pt x="11" y="46"/>
                      <a:pt x="6" y="43"/>
                      <a:pt x="3" y="37"/>
                    </a:cubicBezTo>
                    <a:cubicBezTo>
                      <a:pt x="1" y="34"/>
                      <a:pt x="0" y="29"/>
                      <a:pt x="0" y="23"/>
                    </a:cubicBezTo>
                    <a:cubicBezTo>
                      <a:pt x="0" y="8"/>
                      <a:pt x="6" y="0"/>
                      <a:pt x="17" y="0"/>
                    </a:cubicBezTo>
                    <a:cubicBezTo>
                      <a:pt x="24" y="0"/>
                      <a:pt x="29" y="3"/>
                      <a:pt x="32" y="8"/>
                    </a:cubicBezTo>
                    <a:close/>
                    <a:moveTo>
                      <a:pt x="10" y="23"/>
                    </a:moveTo>
                    <a:cubicBezTo>
                      <a:pt x="10" y="33"/>
                      <a:pt x="12" y="38"/>
                      <a:pt x="17" y="38"/>
                    </a:cubicBezTo>
                    <a:cubicBezTo>
                      <a:pt x="22" y="38"/>
                      <a:pt x="25" y="33"/>
                      <a:pt x="25" y="23"/>
                    </a:cubicBezTo>
                    <a:cubicBezTo>
                      <a:pt x="25" y="13"/>
                      <a:pt x="22" y="8"/>
                      <a:pt x="17" y="8"/>
                    </a:cubicBezTo>
                    <a:cubicBezTo>
                      <a:pt x="12" y="8"/>
                      <a:pt x="10" y="13"/>
                      <a:pt x="10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07" name="Freeform 23">
                <a:extLst>
                  <a:ext uri="{FF2B5EF4-FFF2-40B4-BE49-F238E27FC236}">
                    <a16:creationId xmlns:a16="http://schemas.microsoft.com/office/drawing/2014/main" id="{9C399FE6-0555-8F03-27E5-7EB7129820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956227" y="5926766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8 h 32"/>
                  <a:gd name="T14" fmla="*/ 16 w 21"/>
                  <a:gd name="T15" fmla="*/ 16 h 32"/>
                  <a:gd name="T16" fmla="*/ 11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1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1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08" name="Freeform 24">
                <a:extLst>
                  <a:ext uri="{FF2B5EF4-FFF2-40B4-BE49-F238E27FC236}">
                    <a16:creationId xmlns:a16="http://schemas.microsoft.com/office/drawing/2014/main" id="{CDB64643-1157-1B82-4F8A-C3AF6EEB3B3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956227" y="6118630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5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09" name="Freeform 25">
                <a:extLst>
                  <a:ext uri="{FF2B5EF4-FFF2-40B4-BE49-F238E27FC236}">
                    <a16:creationId xmlns:a16="http://schemas.microsoft.com/office/drawing/2014/main" id="{C19E8BD4-1133-4A0D-8820-29C06F7F55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63781" y="6500848"/>
                <a:ext cx="64962" cy="11028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2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2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10" name="Freeform 26">
                <a:extLst>
                  <a:ext uri="{FF2B5EF4-FFF2-40B4-BE49-F238E27FC236}">
                    <a16:creationId xmlns:a16="http://schemas.microsoft.com/office/drawing/2014/main" id="{12B04EEF-9010-F3A5-67D9-AD1B1D54A2E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956227" y="6689691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6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11" name="Freeform 27">
                <a:extLst>
                  <a:ext uri="{FF2B5EF4-FFF2-40B4-BE49-F238E27FC236}">
                    <a16:creationId xmlns:a16="http://schemas.microsoft.com/office/drawing/2014/main" id="{566FA293-F836-0271-8362-2D3E9C1824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956227" y="6880044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7 h 32"/>
                  <a:gd name="T14" fmla="*/ 16 w 21"/>
                  <a:gd name="T15" fmla="*/ 16 h 32"/>
                  <a:gd name="T16" fmla="*/ 11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1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12" name="Freeform 43">
                <a:extLst>
                  <a:ext uri="{FF2B5EF4-FFF2-40B4-BE49-F238E27FC236}">
                    <a16:creationId xmlns:a16="http://schemas.microsoft.com/office/drawing/2014/main" id="{A86FA66A-9D16-0D4D-8BF9-665252E766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196435" y="6126184"/>
                <a:ext cx="63451" cy="9366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5" y="0"/>
                      <a:pt x="18" y="5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13" name="Freeform 44">
                <a:extLst>
                  <a:ext uri="{FF2B5EF4-FFF2-40B4-BE49-F238E27FC236}">
                    <a16:creationId xmlns:a16="http://schemas.microsoft.com/office/drawing/2014/main" id="{D58A70A3-03AF-C615-0196-71DFD6A1DC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196435" y="6280280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1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14" name="Freeform 45">
                <a:extLst>
                  <a:ext uri="{FF2B5EF4-FFF2-40B4-BE49-F238E27FC236}">
                    <a16:creationId xmlns:a16="http://schemas.microsoft.com/office/drawing/2014/main" id="{06343509-0E78-D14E-D6D5-DB19EACE50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07010" y="6586960"/>
                <a:ext cx="49855" cy="89134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49 h 59"/>
                  <a:gd name="T20" fmla="*/ 17 w 33"/>
                  <a:gd name="T21" fmla="*/ 49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15" name="Freeform 46">
                <a:extLst>
                  <a:ext uri="{FF2B5EF4-FFF2-40B4-BE49-F238E27FC236}">
                    <a16:creationId xmlns:a16="http://schemas.microsoft.com/office/drawing/2014/main" id="{2A186FE1-C622-A760-00F4-E806A30F0F4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196435" y="6736524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16" name="Freeform 47">
                <a:extLst>
                  <a:ext uri="{FF2B5EF4-FFF2-40B4-BE49-F238E27FC236}">
                    <a16:creationId xmlns:a16="http://schemas.microsoft.com/office/drawing/2014/main" id="{6C2B6A3A-4DB0-D6EB-4A3F-595E61192B0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196435" y="6890620"/>
                <a:ext cx="63451" cy="89134"/>
              </a:xfrm>
              <a:custGeom>
                <a:avLst/>
                <a:gdLst>
                  <a:gd name="T0" fmla="*/ 18 w 18"/>
                  <a:gd name="T1" fmla="*/ 13 h 25"/>
                  <a:gd name="T2" fmla="*/ 9 w 18"/>
                  <a:gd name="T3" fmla="*/ 25 h 25"/>
                  <a:gd name="T4" fmla="*/ 0 w 18"/>
                  <a:gd name="T5" fmla="*/ 12 h 25"/>
                  <a:gd name="T6" fmla="*/ 9 w 18"/>
                  <a:gd name="T7" fmla="*/ 0 h 25"/>
                  <a:gd name="T8" fmla="*/ 18 w 18"/>
                  <a:gd name="T9" fmla="*/ 13 h 25"/>
                  <a:gd name="T10" fmla="*/ 5 w 18"/>
                  <a:gd name="T11" fmla="*/ 12 h 25"/>
                  <a:gd name="T12" fmla="*/ 9 w 18"/>
                  <a:gd name="T13" fmla="*/ 22 h 25"/>
                  <a:gd name="T14" fmla="*/ 13 w 18"/>
                  <a:gd name="T15" fmla="*/ 13 h 25"/>
                  <a:gd name="T16" fmla="*/ 9 w 18"/>
                  <a:gd name="T17" fmla="*/ 3 h 25"/>
                  <a:gd name="T18" fmla="*/ 5 w 18"/>
                  <a:gd name="T1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5">
                    <a:moveTo>
                      <a:pt x="18" y="13"/>
                    </a:moveTo>
                    <a:cubicBezTo>
                      <a:pt x="18" y="21"/>
                      <a:pt x="15" y="25"/>
                      <a:pt x="9" y="25"/>
                    </a:cubicBezTo>
                    <a:cubicBezTo>
                      <a:pt x="3" y="25"/>
                      <a:pt x="0" y="21"/>
                      <a:pt x="0" y="12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2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6"/>
                      <a:pt x="12" y="3"/>
                      <a:pt x="9" y="3"/>
                    </a:cubicBezTo>
                    <a:cubicBezTo>
                      <a:pt x="6" y="3"/>
                      <a:pt x="5" y="6"/>
                      <a:pt x="5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17" name="Freeform 63">
                <a:extLst>
                  <a:ext uri="{FF2B5EF4-FFF2-40B4-BE49-F238E27FC236}">
                    <a16:creationId xmlns:a16="http://schemas.microsoft.com/office/drawing/2014/main" id="{977E3EEB-F5F1-31CE-E578-7618E1B297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69019" y="6126184"/>
                <a:ext cx="60430" cy="9366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4" y="0"/>
                      <a:pt x="17" y="5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18" name="Freeform 64">
                <a:extLst>
                  <a:ext uri="{FF2B5EF4-FFF2-40B4-BE49-F238E27FC236}">
                    <a16:creationId xmlns:a16="http://schemas.microsoft.com/office/drawing/2014/main" id="{5525BA21-1EE1-C58E-B740-674FA79F8D0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69019" y="6280280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1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19" name="Freeform 65">
                <a:extLst>
                  <a:ext uri="{FF2B5EF4-FFF2-40B4-BE49-F238E27FC236}">
                    <a16:creationId xmlns:a16="http://schemas.microsoft.com/office/drawing/2014/main" id="{092EC14D-C067-7067-70F7-9E6F871331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75062" y="6586960"/>
                <a:ext cx="49855" cy="89134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49 h 59"/>
                  <a:gd name="T20" fmla="*/ 16 w 33"/>
                  <a:gd name="T21" fmla="*/ 49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20" name="Freeform 66">
                <a:extLst>
                  <a:ext uri="{FF2B5EF4-FFF2-40B4-BE49-F238E27FC236}">
                    <a16:creationId xmlns:a16="http://schemas.microsoft.com/office/drawing/2014/main" id="{B339561A-BD4E-16FA-AF8F-93464C6E2C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69019" y="6736524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21" name="Freeform 67">
                <a:extLst>
                  <a:ext uri="{FF2B5EF4-FFF2-40B4-BE49-F238E27FC236}">
                    <a16:creationId xmlns:a16="http://schemas.microsoft.com/office/drawing/2014/main" id="{93C71846-8A79-D0D5-6AAF-F6FBFA9C71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69019" y="6890620"/>
                <a:ext cx="60430" cy="89134"/>
              </a:xfrm>
              <a:custGeom>
                <a:avLst/>
                <a:gdLst>
                  <a:gd name="T0" fmla="*/ 17 w 17"/>
                  <a:gd name="T1" fmla="*/ 13 h 25"/>
                  <a:gd name="T2" fmla="*/ 9 w 17"/>
                  <a:gd name="T3" fmla="*/ 25 h 25"/>
                  <a:gd name="T4" fmla="*/ 0 w 17"/>
                  <a:gd name="T5" fmla="*/ 12 h 25"/>
                  <a:gd name="T6" fmla="*/ 9 w 17"/>
                  <a:gd name="T7" fmla="*/ 0 h 25"/>
                  <a:gd name="T8" fmla="*/ 17 w 17"/>
                  <a:gd name="T9" fmla="*/ 13 h 25"/>
                  <a:gd name="T10" fmla="*/ 4 w 17"/>
                  <a:gd name="T11" fmla="*/ 12 h 25"/>
                  <a:gd name="T12" fmla="*/ 9 w 17"/>
                  <a:gd name="T13" fmla="*/ 22 h 25"/>
                  <a:gd name="T14" fmla="*/ 13 w 17"/>
                  <a:gd name="T15" fmla="*/ 13 h 25"/>
                  <a:gd name="T16" fmla="*/ 9 w 17"/>
                  <a:gd name="T17" fmla="*/ 3 h 25"/>
                  <a:gd name="T18" fmla="*/ 4 w 17"/>
                  <a:gd name="T1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5">
                    <a:moveTo>
                      <a:pt x="17" y="13"/>
                    </a:moveTo>
                    <a:cubicBezTo>
                      <a:pt x="17" y="21"/>
                      <a:pt x="14" y="25"/>
                      <a:pt x="9" y="25"/>
                    </a:cubicBezTo>
                    <a:cubicBezTo>
                      <a:pt x="3" y="25"/>
                      <a:pt x="0" y="21"/>
                      <a:pt x="0" y="12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2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6"/>
                      <a:pt x="11" y="3"/>
                      <a:pt x="9" y="3"/>
                    </a:cubicBezTo>
                    <a:cubicBezTo>
                      <a:pt x="6" y="3"/>
                      <a:pt x="4" y="6"/>
                      <a:pt x="4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22" name="Freeform 83">
                <a:extLst>
                  <a:ext uri="{FF2B5EF4-FFF2-40B4-BE49-F238E27FC236}">
                    <a16:creationId xmlns:a16="http://schemas.microsoft.com/office/drawing/2014/main" id="{FFFE8F73-8ACD-1E80-C9E6-D571FD2D23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93593" y="6133738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3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23" name="Freeform 84">
                <a:extLst>
                  <a:ext uri="{FF2B5EF4-FFF2-40B4-BE49-F238E27FC236}">
                    <a16:creationId xmlns:a16="http://schemas.microsoft.com/office/drawing/2014/main" id="{A6D8B6A7-8C71-7393-3DB1-D4DDD9C47F1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78486" y="6401139"/>
                <a:ext cx="110285" cy="164671"/>
              </a:xfrm>
              <a:custGeom>
                <a:avLst/>
                <a:gdLst>
                  <a:gd name="T0" fmla="*/ 31 w 31"/>
                  <a:gd name="T1" fmla="*/ 23 h 46"/>
                  <a:gd name="T2" fmla="*/ 15 w 31"/>
                  <a:gd name="T3" fmla="*/ 46 h 46"/>
                  <a:gd name="T4" fmla="*/ 0 w 31"/>
                  <a:gd name="T5" fmla="*/ 23 h 46"/>
                  <a:gd name="T6" fmla="*/ 15 w 31"/>
                  <a:gd name="T7" fmla="*/ 0 h 46"/>
                  <a:gd name="T8" fmla="*/ 31 w 31"/>
                  <a:gd name="T9" fmla="*/ 23 h 46"/>
                  <a:gd name="T10" fmla="*/ 8 w 31"/>
                  <a:gd name="T11" fmla="*/ 23 h 46"/>
                  <a:gd name="T12" fmla="*/ 15 w 31"/>
                  <a:gd name="T13" fmla="*/ 39 h 46"/>
                  <a:gd name="T14" fmla="*/ 23 w 31"/>
                  <a:gd name="T15" fmla="*/ 23 h 46"/>
                  <a:gd name="T16" fmla="*/ 15 w 31"/>
                  <a:gd name="T17" fmla="*/ 7 h 46"/>
                  <a:gd name="T18" fmla="*/ 8 w 31"/>
                  <a:gd name="T19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6">
                    <a:moveTo>
                      <a:pt x="31" y="23"/>
                    </a:moveTo>
                    <a:cubicBezTo>
                      <a:pt x="31" y="38"/>
                      <a:pt x="26" y="46"/>
                      <a:pt x="15" y="46"/>
                    </a:cubicBezTo>
                    <a:cubicBezTo>
                      <a:pt x="5" y="46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7"/>
                      <a:pt x="15" y="7"/>
                    </a:cubicBezTo>
                    <a:cubicBezTo>
                      <a:pt x="10" y="7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24" name="Freeform 85">
                <a:extLst>
                  <a:ext uri="{FF2B5EF4-FFF2-40B4-BE49-F238E27FC236}">
                    <a16:creationId xmlns:a16="http://schemas.microsoft.com/office/drawing/2014/main" id="{CAD5C87D-4288-5945-458F-E7AD496087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78486" y="6673073"/>
                <a:ext cx="110285" cy="160139"/>
              </a:xfrm>
              <a:custGeom>
                <a:avLst/>
                <a:gdLst>
                  <a:gd name="T0" fmla="*/ 31 w 31"/>
                  <a:gd name="T1" fmla="*/ 23 h 45"/>
                  <a:gd name="T2" fmla="*/ 15 w 31"/>
                  <a:gd name="T3" fmla="*/ 45 h 45"/>
                  <a:gd name="T4" fmla="*/ 0 w 31"/>
                  <a:gd name="T5" fmla="*/ 23 h 45"/>
                  <a:gd name="T6" fmla="*/ 15 w 31"/>
                  <a:gd name="T7" fmla="*/ 0 h 45"/>
                  <a:gd name="T8" fmla="*/ 31 w 31"/>
                  <a:gd name="T9" fmla="*/ 23 h 45"/>
                  <a:gd name="T10" fmla="*/ 8 w 31"/>
                  <a:gd name="T11" fmla="*/ 23 h 45"/>
                  <a:gd name="T12" fmla="*/ 15 w 31"/>
                  <a:gd name="T13" fmla="*/ 39 h 45"/>
                  <a:gd name="T14" fmla="*/ 23 w 31"/>
                  <a:gd name="T15" fmla="*/ 23 h 45"/>
                  <a:gd name="T16" fmla="*/ 15 w 31"/>
                  <a:gd name="T17" fmla="*/ 6 h 45"/>
                  <a:gd name="T18" fmla="*/ 8 w 31"/>
                  <a:gd name="T19" fmla="*/ 2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31" y="23"/>
                    </a:moveTo>
                    <a:cubicBezTo>
                      <a:pt x="31" y="38"/>
                      <a:pt x="26" y="45"/>
                      <a:pt x="15" y="45"/>
                    </a:cubicBezTo>
                    <a:cubicBezTo>
                      <a:pt x="5" y="45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6"/>
                      <a:pt x="15" y="6"/>
                    </a:cubicBezTo>
                    <a:cubicBezTo>
                      <a:pt x="10" y="6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25" name="Freeform 95">
                <a:extLst>
                  <a:ext uri="{FF2B5EF4-FFF2-40B4-BE49-F238E27FC236}">
                    <a16:creationId xmlns:a16="http://schemas.microsoft.com/office/drawing/2014/main" id="{2C107EEC-04CD-98A2-0D39-4E983DFCD2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0939" y="5248443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26" name="Freeform 96">
                <a:extLst>
                  <a:ext uri="{FF2B5EF4-FFF2-40B4-BE49-F238E27FC236}">
                    <a16:creationId xmlns:a16="http://schemas.microsoft.com/office/drawing/2014/main" id="{A64D70DE-F4AF-94DD-6B18-2640D6ACDFE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850363" y="5394985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27" name="Freeform 97">
                <a:extLst>
                  <a:ext uri="{FF2B5EF4-FFF2-40B4-BE49-F238E27FC236}">
                    <a16:creationId xmlns:a16="http://schemas.microsoft.com/office/drawing/2014/main" id="{F3158E80-BB05-BCC4-03B7-477A78C260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0939" y="5541527"/>
                <a:ext cx="52876" cy="84602"/>
              </a:xfrm>
              <a:custGeom>
                <a:avLst/>
                <a:gdLst>
                  <a:gd name="T0" fmla="*/ 16 w 35"/>
                  <a:gd name="T1" fmla="*/ 14 h 56"/>
                  <a:gd name="T2" fmla="*/ 7 w 35"/>
                  <a:gd name="T3" fmla="*/ 21 h 56"/>
                  <a:gd name="T4" fmla="*/ 0 w 35"/>
                  <a:gd name="T5" fmla="*/ 11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4"/>
                    </a:moveTo>
                    <a:lnTo>
                      <a:pt x="7" y="21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28" name="Freeform 98">
                <a:extLst>
                  <a:ext uri="{FF2B5EF4-FFF2-40B4-BE49-F238E27FC236}">
                    <a16:creationId xmlns:a16="http://schemas.microsoft.com/office/drawing/2014/main" id="{841010D8-F704-75FD-82FE-E2C71F01C49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850363" y="5688069"/>
                <a:ext cx="67984" cy="84602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29" name="Freeform 99">
                <a:extLst>
                  <a:ext uri="{FF2B5EF4-FFF2-40B4-BE49-F238E27FC236}">
                    <a16:creationId xmlns:a16="http://schemas.microsoft.com/office/drawing/2014/main" id="{49BCAAB1-B9BE-BB96-2164-22862682CC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0939" y="5833100"/>
                <a:ext cx="52876" cy="86113"/>
              </a:xfrm>
              <a:custGeom>
                <a:avLst/>
                <a:gdLst>
                  <a:gd name="T0" fmla="*/ 16 w 35"/>
                  <a:gd name="T1" fmla="*/ 15 h 57"/>
                  <a:gd name="T2" fmla="*/ 7 w 35"/>
                  <a:gd name="T3" fmla="*/ 22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8 h 57"/>
                  <a:gd name="T12" fmla="*/ 35 w 35"/>
                  <a:gd name="T13" fmla="*/ 48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8 h 57"/>
                  <a:gd name="T20" fmla="*/ 16 w 35"/>
                  <a:gd name="T21" fmla="*/ 48 h 57"/>
                  <a:gd name="T22" fmla="*/ 16 w 35"/>
                  <a:gd name="T23" fmla="*/ 1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5"/>
                    </a:moveTo>
                    <a:lnTo>
                      <a:pt x="7" y="22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5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30" name="Freeform 100">
                <a:extLst>
                  <a:ext uri="{FF2B5EF4-FFF2-40B4-BE49-F238E27FC236}">
                    <a16:creationId xmlns:a16="http://schemas.microsoft.com/office/drawing/2014/main" id="{AE69400E-CBAD-A41C-EE7B-445CA7113FD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850363" y="5979642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31" name="Freeform 101">
                <a:extLst>
                  <a:ext uri="{FF2B5EF4-FFF2-40B4-BE49-F238E27FC236}">
                    <a16:creationId xmlns:a16="http://schemas.microsoft.com/office/drawing/2014/main" id="{165485EA-5758-C644-2982-014800A420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0939" y="6126184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32" name="Freeform 102">
                <a:extLst>
                  <a:ext uri="{FF2B5EF4-FFF2-40B4-BE49-F238E27FC236}">
                    <a16:creationId xmlns:a16="http://schemas.microsoft.com/office/drawing/2014/main" id="{431C2DF7-370D-746D-EE90-9D358BFEC4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0939" y="6272726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33" name="Freeform 103">
                <a:extLst>
                  <a:ext uri="{FF2B5EF4-FFF2-40B4-BE49-F238E27FC236}">
                    <a16:creationId xmlns:a16="http://schemas.microsoft.com/office/drawing/2014/main" id="{C765AC34-44D7-66F1-F98B-A1575272FE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0939" y="6422290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5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5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34" name="Freeform 104">
                <a:extLst>
                  <a:ext uri="{FF2B5EF4-FFF2-40B4-BE49-F238E27FC236}">
                    <a16:creationId xmlns:a16="http://schemas.microsoft.com/office/drawing/2014/main" id="{55DB74BD-0723-F904-3CB4-CF4E06E5EF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850363" y="6565810"/>
                <a:ext cx="67984" cy="89134"/>
              </a:xfrm>
              <a:custGeom>
                <a:avLst/>
                <a:gdLst>
                  <a:gd name="T0" fmla="*/ 17 w 19"/>
                  <a:gd name="T1" fmla="*/ 4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4 h 25"/>
                  <a:gd name="T16" fmla="*/ 6 w 19"/>
                  <a:gd name="T17" fmla="*/ 12 h 25"/>
                  <a:gd name="T18" fmla="*/ 10 w 19"/>
                  <a:gd name="T19" fmla="*/ 20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3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35" name="Freeform 105">
                <a:extLst>
                  <a:ext uri="{FF2B5EF4-FFF2-40B4-BE49-F238E27FC236}">
                    <a16:creationId xmlns:a16="http://schemas.microsoft.com/office/drawing/2014/main" id="{B6562859-6F80-9C92-0017-B11262856E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0939" y="6715374"/>
                <a:ext cx="52876" cy="81580"/>
              </a:xfrm>
              <a:custGeom>
                <a:avLst/>
                <a:gdLst>
                  <a:gd name="T0" fmla="*/ 16 w 35"/>
                  <a:gd name="T1" fmla="*/ 12 h 54"/>
                  <a:gd name="T2" fmla="*/ 7 w 35"/>
                  <a:gd name="T3" fmla="*/ 19 h 54"/>
                  <a:gd name="T4" fmla="*/ 0 w 35"/>
                  <a:gd name="T5" fmla="*/ 9 h 54"/>
                  <a:gd name="T6" fmla="*/ 19 w 35"/>
                  <a:gd name="T7" fmla="*/ 0 h 54"/>
                  <a:gd name="T8" fmla="*/ 28 w 35"/>
                  <a:gd name="T9" fmla="*/ 0 h 54"/>
                  <a:gd name="T10" fmla="*/ 28 w 35"/>
                  <a:gd name="T11" fmla="*/ 45 h 54"/>
                  <a:gd name="T12" fmla="*/ 35 w 35"/>
                  <a:gd name="T13" fmla="*/ 45 h 54"/>
                  <a:gd name="T14" fmla="*/ 35 w 35"/>
                  <a:gd name="T15" fmla="*/ 54 h 54"/>
                  <a:gd name="T16" fmla="*/ 9 w 35"/>
                  <a:gd name="T17" fmla="*/ 54 h 54"/>
                  <a:gd name="T18" fmla="*/ 9 w 35"/>
                  <a:gd name="T19" fmla="*/ 45 h 54"/>
                  <a:gd name="T20" fmla="*/ 16 w 35"/>
                  <a:gd name="T21" fmla="*/ 45 h 54"/>
                  <a:gd name="T22" fmla="*/ 16 w 35"/>
                  <a:gd name="T23" fmla="*/ 1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4">
                    <a:moveTo>
                      <a:pt x="16" y="12"/>
                    </a:moveTo>
                    <a:lnTo>
                      <a:pt x="7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4"/>
                    </a:lnTo>
                    <a:lnTo>
                      <a:pt x="9" y="54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36" name="Freeform 106">
                <a:extLst>
                  <a:ext uri="{FF2B5EF4-FFF2-40B4-BE49-F238E27FC236}">
                    <a16:creationId xmlns:a16="http://schemas.microsoft.com/office/drawing/2014/main" id="{E24C7937-A35D-DC8B-10AA-26695C7CCF1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850363" y="6857383"/>
                <a:ext cx="67984" cy="89134"/>
              </a:xfrm>
              <a:custGeom>
                <a:avLst/>
                <a:gdLst>
                  <a:gd name="T0" fmla="*/ 17 w 19"/>
                  <a:gd name="T1" fmla="*/ 5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5 h 25"/>
                  <a:gd name="T16" fmla="*/ 6 w 19"/>
                  <a:gd name="T17" fmla="*/ 12 h 25"/>
                  <a:gd name="T18" fmla="*/ 10 w 19"/>
                  <a:gd name="T19" fmla="*/ 21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5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4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5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1"/>
                      <a:pt x="10" y="21"/>
                    </a:cubicBezTo>
                    <a:cubicBezTo>
                      <a:pt x="12" y="21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37" name="Freeform 135">
                <a:extLst>
                  <a:ext uri="{FF2B5EF4-FFF2-40B4-BE49-F238E27FC236}">
                    <a16:creationId xmlns:a16="http://schemas.microsoft.com/office/drawing/2014/main" id="{AFC37F9E-2A96-D883-4314-F50C14A0E0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03296" y="5615554"/>
                <a:ext cx="60430" cy="111795"/>
              </a:xfrm>
              <a:custGeom>
                <a:avLst/>
                <a:gdLst>
                  <a:gd name="T0" fmla="*/ 19 w 40"/>
                  <a:gd name="T1" fmla="*/ 14 h 74"/>
                  <a:gd name="T2" fmla="*/ 4 w 40"/>
                  <a:gd name="T3" fmla="*/ 24 h 74"/>
                  <a:gd name="T4" fmla="*/ 0 w 40"/>
                  <a:gd name="T5" fmla="*/ 14 h 74"/>
                  <a:gd name="T6" fmla="*/ 21 w 40"/>
                  <a:gd name="T7" fmla="*/ 0 h 74"/>
                  <a:gd name="T8" fmla="*/ 30 w 40"/>
                  <a:gd name="T9" fmla="*/ 0 h 74"/>
                  <a:gd name="T10" fmla="*/ 30 w 40"/>
                  <a:gd name="T11" fmla="*/ 64 h 74"/>
                  <a:gd name="T12" fmla="*/ 40 w 40"/>
                  <a:gd name="T13" fmla="*/ 64 h 74"/>
                  <a:gd name="T14" fmla="*/ 40 w 40"/>
                  <a:gd name="T15" fmla="*/ 74 h 74"/>
                  <a:gd name="T16" fmla="*/ 9 w 40"/>
                  <a:gd name="T17" fmla="*/ 74 h 74"/>
                  <a:gd name="T18" fmla="*/ 9 w 40"/>
                  <a:gd name="T19" fmla="*/ 64 h 74"/>
                  <a:gd name="T20" fmla="*/ 19 w 40"/>
                  <a:gd name="T21" fmla="*/ 64 h 74"/>
                  <a:gd name="T22" fmla="*/ 19 w 40"/>
                  <a:gd name="T23" fmla="*/ 1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4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4"/>
                    </a:lnTo>
                    <a:lnTo>
                      <a:pt x="9" y="74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38" name="Freeform 136">
                <a:extLst>
                  <a:ext uri="{FF2B5EF4-FFF2-40B4-BE49-F238E27FC236}">
                    <a16:creationId xmlns:a16="http://schemas.microsoft.com/office/drawing/2014/main" id="{4A5C0618-2277-EB6E-8A05-557FF410C8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392720" y="5804396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8 h 32"/>
                  <a:gd name="T14" fmla="*/ 16 w 21"/>
                  <a:gd name="T15" fmla="*/ 16 h 32"/>
                  <a:gd name="T16" fmla="*/ 10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0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0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39" name="Freeform 137">
                <a:extLst>
                  <a:ext uri="{FF2B5EF4-FFF2-40B4-BE49-F238E27FC236}">
                    <a16:creationId xmlns:a16="http://schemas.microsoft.com/office/drawing/2014/main" id="{A4D9D7CD-9B57-7137-44C0-9CDE94D5F5A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392720" y="6186614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6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40" name="Freeform 138">
                <a:extLst>
                  <a:ext uri="{FF2B5EF4-FFF2-40B4-BE49-F238E27FC236}">
                    <a16:creationId xmlns:a16="http://schemas.microsoft.com/office/drawing/2014/main" id="{A820336E-1B9B-D146-E843-45B5689A4A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03296" y="6379989"/>
                <a:ext cx="60430" cy="107263"/>
              </a:xfrm>
              <a:custGeom>
                <a:avLst/>
                <a:gdLst>
                  <a:gd name="T0" fmla="*/ 19 w 40"/>
                  <a:gd name="T1" fmla="*/ 12 h 71"/>
                  <a:gd name="T2" fmla="*/ 4 w 40"/>
                  <a:gd name="T3" fmla="*/ 21 h 71"/>
                  <a:gd name="T4" fmla="*/ 0 w 40"/>
                  <a:gd name="T5" fmla="*/ 12 h 71"/>
                  <a:gd name="T6" fmla="*/ 21 w 40"/>
                  <a:gd name="T7" fmla="*/ 0 h 71"/>
                  <a:gd name="T8" fmla="*/ 30 w 40"/>
                  <a:gd name="T9" fmla="*/ 0 h 71"/>
                  <a:gd name="T10" fmla="*/ 30 w 40"/>
                  <a:gd name="T11" fmla="*/ 64 h 71"/>
                  <a:gd name="T12" fmla="*/ 40 w 40"/>
                  <a:gd name="T13" fmla="*/ 64 h 71"/>
                  <a:gd name="T14" fmla="*/ 40 w 40"/>
                  <a:gd name="T15" fmla="*/ 71 h 71"/>
                  <a:gd name="T16" fmla="*/ 9 w 40"/>
                  <a:gd name="T17" fmla="*/ 71 h 71"/>
                  <a:gd name="T18" fmla="*/ 9 w 40"/>
                  <a:gd name="T19" fmla="*/ 64 h 71"/>
                  <a:gd name="T20" fmla="*/ 19 w 40"/>
                  <a:gd name="T21" fmla="*/ 64 h 71"/>
                  <a:gd name="T22" fmla="*/ 19 w 40"/>
                  <a:gd name="T23" fmla="*/ 1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1">
                    <a:moveTo>
                      <a:pt x="19" y="12"/>
                    </a:moveTo>
                    <a:lnTo>
                      <a:pt x="4" y="21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1"/>
                    </a:lnTo>
                    <a:lnTo>
                      <a:pt x="9" y="71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41" name="Freeform 139">
                <a:extLst>
                  <a:ext uri="{FF2B5EF4-FFF2-40B4-BE49-F238E27FC236}">
                    <a16:creationId xmlns:a16="http://schemas.microsoft.com/office/drawing/2014/main" id="{B8D56DF3-2282-88FC-5887-A291A1494C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03296" y="6568831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42" name="Freeform 140">
                <a:extLst>
                  <a:ext uri="{FF2B5EF4-FFF2-40B4-BE49-F238E27FC236}">
                    <a16:creationId xmlns:a16="http://schemas.microsoft.com/office/drawing/2014/main" id="{DABD0055-1414-18D7-1844-1CE55E0A76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03296" y="6757674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43" name="Freeform 149">
                <a:extLst>
                  <a:ext uri="{FF2B5EF4-FFF2-40B4-BE49-F238E27FC236}">
                    <a16:creationId xmlns:a16="http://schemas.microsoft.com/office/drawing/2014/main" id="{90D4A485-DED2-D002-B37F-AA22B1CA06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15269" y="5259018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44" name="Freeform 150">
                <a:extLst>
                  <a:ext uri="{FF2B5EF4-FFF2-40B4-BE49-F238E27FC236}">
                    <a16:creationId xmlns:a16="http://schemas.microsoft.com/office/drawing/2014/main" id="{E0DF2FBA-117E-7C54-AD87-1B2B4B32F7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400163" y="5541527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45" name="Freeform 151">
                <a:extLst>
                  <a:ext uri="{FF2B5EF4-FFF2-40B4-BE49-F238E27FC236}">
                    <a16:creationId xmlns:a16="http://schemas.microsoft.com/office/drawing/2014/main" id="{225A21DC-D31C-3BD6-77D2-52E5AD015E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15269" y="5830079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46" name="Freeform 152">
                <a:extLst>
                  <a:ext uri="{FF2B5EF4-FFF2-40B4-BE49-F238E27FC236}">
                    <a16:creationId xmlns:a16="http://schemas.microsoft.com/office/drawing/2014/main" id="{7BA48B97-501B-9608-16FE-CD9C8657193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400163" y="6112587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47" name="Freeform 153">
                <a:extLst>
                  <a:ext uri="{FF2B5EF4-FFF2-40B4-BE49-F238E27FC236}">
                    <a16:creationId xmlns:a16="http://schemas.microsoft.com/office/drawing/2014/main" id="{C0182812-5758-F048-B5C6-3E1FF2EAEE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15269" y="6401139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48" name="Freeform 154">
                <a:extLst>
                  <a:ext uri="{FF2B5EF4-FFF2-40B4-BE49-F238E27FC236}">
                    <a16:creationId xmlns:a16="http://schemas.microsoft.com/office/drawing/2014/main" id="{ABF2F825-ECB1-1FF7-D786-639F84DA42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15269" y="6686669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49" name="Line 8">
                <a:extLst>
                  <a:ext uri="{FF2B5EF4-FFF2-40B4-BE49-F238E27FC236}">
                    <a16:creationId xmlns:a16="http://schemas.microsoft.com/office/drawing/2014/main" id="{87977E31-B6DB-84AD-4A6D-87ECEE786BD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03374" y="5783246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50" name="Line 9">
                <a:extLst>
                  <a:ext uri="{FF2B5EF4-FFF2-40B4-BE49-F238E27FC236}">
                    <a16:creationId xmlns:a16="http://schemas.microsoft.com/office/drawing/2014/main" id="{7723205C-313F-60E9-80A6-D5BF1C1498A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03374" y="5783246"/>
                <a:ext cx="0" cy="0"/>
              </a:xfrm>
              <a:prstGeom prst="line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51" name="Freeform 10">
                <a:extLst>
                  <a:ext uri="{FF2B5EF4-FFF2-40B4-BE49-F238E27FC236}">
                    <a16:creationId xmlns:a16="http://schemas.microsoft.com/office/drawing/2014/main" id="{A74BA3AB-C0AD-BDD6-A69C-CCA2A42C81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6556" y="6854362"/>
                <a:ext cx="99709" cy="157117"/>
              </a:xfrm>
              <a:custGeom>
                <a:avLst/>
                <a:gdLst>
                  <a:gd name="T0" fmla="*/ 30 w 66"/>
                  <a:gd name="T1" fmla="*/ 24 h 104"/>
                  <a:gd name="T2" fmla="*/ 9 w 66"/>
                  <a:gd name="T3" fmla="*/ 38 h 104"/>
                  <a:gd name="T4" fmla="*/ 0 w 66"/>
                  <a:gd name="T5" fmla="*/ 19 h 104"/>
                  <a:gd name="T6" fmla="*/ 33 w 66"/>
                  <a:gd name="T7" fmla="*/ 0 h 104"/>
                  <a:gd name="T8" fmla="*/ 52 w 66"/>
                  <a:gd name="T9" fmla="*/ 0 h 104"/>
                  <a:gd name="T10" fmla="*/ 52 w 66"/>
                  <a:gd name="T11" fmla="*/ 87 h 104"/>
                  <a:gd name="T12" fmla="*/ 66 w 66"/>
                  <a:gd name="T13" fmla="*/ 87 h 104"/>
                  <a:gd name="T14" fmla="*/ 66 w 66"/>
                  <a:gd name="T15" fmla="*/ 104 h 104"/>
                  <a:gd name="T16" fmla="*/ 16 w 66"/>
                  <a:gd name="T17" fmla="*/ 104 h 104"/>
                  <a:gd name="T18" fmla="*/ 16 w 66"/>
                  <a:gd name="T19" fmla="*/ 87 h 104"/>
                  <a:gd name="T20" fmla="*/ 30 w 66"/>
                  <a:gd name="T21" fmla="*/ 87 h 104"/>
                  <a:gd name="T22" fmla="*/ 30 w 66"/>
                  <a:gd name="T23" fmla="*/ 2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04">
                    <a:moveTo>
                      <a:pt x="30" y="24"/>
                    </a:moveTo>
                    <a:lnTo>
                      <a:pt x="9" y="38"/>
                    </a:lnTo>
                    <a:lnTo>
                      <a:pt x="0" y="19"/>
                    </a:lnTo>
                    <a:lnTo>
                      <a:pt x="33" y="0"/>
                    </a:lnTo>
                    <a:lnTo>
                      <a:pt x="52" y="0"/>
                    </a:lnTo>
                    <a:lnTo>
                      <a:pt x="52" y="87"/>
                    </a:lnTo>
                    <a:lnTo>
                      <a:pt x="66" y="87"/>
                    </a:lnTo>
                    <a:lnTo>
                      <a:pt x="66" y="104"/>
                    </a:lnTo>
                    <a:lnTo>
                      <a:pt x="16" y="104"/>
                    </a:lnTo>
                    <a:lnTo>
                      <a:pt x="16" y="87"/>
                    </a:lnTo>
                    <a:lnTo>
                      <a:pt x="30" y="87"/>
                    </a:lnTo>
                    <a:lnTo>
                      <a:pt x="30" y="2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52" name="Freeform 23">
                <a:extLst>
                  <a:ext uri="{FF2B5EF4-FFF2-40B4-BE49-F238E27FC236}">
                    <a16:creationId xmlns:a16="http://schemas.microsoft.com/office/drawing/2014/main" id="{0CDD7B18-CEC5-4626-2EA2-CE4A560C2AE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54046" y="6133738"/>
                <a:ext cx="75537" cy="113306"/>
              </a:xfrm>
              <a:custGeom>
                <a:avLst/>
                <a:gdLst>
                  <a:gd name="T0" fmla="*/ 21 w 21"/>
                  <a:gd name="T1" fmla="*/ 16 h 32"/>
                  <a:gd name="T2" fmla="*/ 11 w 21"/>
                  <a:gd name="T3" fmla="*/ 32 h 32"/>
                  <a:gd name="T4" fmla="*/ 0 w 21"/>
                  <a:gd name="T5" fmla="*/ 16 h 32"/>
                  <a:gd name="T6" fmla="*/ 11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1 w 21"/>
                  <a:gd name="T13" fmla="*/ 28 h 32"/>
                  <a:gd name="T14" fmla="*/ 16 w 21"/>
                  <a:gd name="T15" fmla="*/ 16 h 32"/>
                  <a:gd name="T16" fmla="*/ 11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1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1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1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53" name="Freeform 24">
                <a:extLst>
                  <a:ext uri="{FF2B5EF4-FFF2-40B4-BE49-F238E27FC236}">
                    <a16:creationId xmlns:a16="http://schemas.microsoft.com/office/drawing/2014/main" id="{04B11314-D8C3-9E9D-11A0-4CE8A85A5EB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54046" y="6325602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5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5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5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54" name="Freeform 25">
                <a:extLst>
                  <a:ext uri="{FF2B5EF4-FFF2-40B4-BE49-F238E27FC236}">
                    <a16:creationId xmlns:a16="http://schemas.microsoft.com/office/drawing/2014/main" id="{5A55B802-1401-6CB4-4FE9-5BFD3B4908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57068" y="6707820"/>
                <a:ext cx="64962" cy="110285"/>
              </a:xfrm>
              <a:custGeom>
                <a:avLst/>
                <a:gdLst>
                  <a:gd name="T0" fmla="*/ 19 w 43"/>
                  <a:gd name="T1" fmla="*/ 14 h 73"/>
                  <a:gd name="T2" fmla="*/ 5 w 43"/>
                  <a:gd name="T3" fmla="*/ 24 h 73"/>
                  <a:gd name="T4" fmla="*/ 0 w 43"/>
                  <a:gd name="T5" fmla="*/ 12 h 73"/>
                  <a:gd name="T6" fmla="*/ 22 w 43"/>
                  <a:gd name="T7" fmla="*/ 0 h 73"/>
                  <a:gd name="T8" fmla="*/ 34 w 43"/>
                  <a:gd name="T9" fmla="*/ 0 h 73"/>
                  <a:gd name="T10" fmla="*/ 34 w 43"/>
                  <a:gd name="T11" fmla="*/ 64 h 73"/>
                  <a:gd name="T12" fmla="*/ 43 w 43"/>
                  <a:gd name="T13" fmla="*/ 64 h 73"/>
                  <a:gd name="T14" fmla="*/ 43 w 43"/>
                  <a:gd name="T15" fmla="*/ 73 h 73"/>
                  <a:gd name="T16" fmla="*/ 10 w 43"/>
                  <a:gd name="T17" fmla="*/ 73 h 73"/>
                  <a:gd name="T18" fmla="*/ 10 w 43"/>
                  <a:gd name="T19" fmla="*/ 64 h 73"/>
                  <a:gd name="T20" fmla="*/ 19 w 43"/>
                  <a:gd name="T21" fmla="*/ 64 h 73"/>
                  <a:gd name="T22" fmla="*/ 19 w 43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73">
                    <a:moveTo>
                      <a:pt x="19" y="14"/>
                    </a:moveTo>
                    <a:lnTo>
                      <a:pt x="5" y="24"/>
                    </a:lnTo>
                    <a:lnTo>
                      <a:pt x="0" y="12"/>
                    </a:lnTo>
                    <a:lnTo>
                      <a:pt x="22" y="0"/>
                    </a:lnTo>
                    <a:lnTo>
                      <a:pt x="34" y="0"/>
                    </a:lnTo>
                    <a:lnTo>
                      <a:pt x="34" y="64"/>
                    </a:lnTo>
                    <a:lnTo>
                      <a:pt x="43" y="64"/>
                    </a:lnTo>
                    <a:lnTo>
                      <a:pt x="43" y="73"/>
                    </a:lnTo>
                    <a:lnTo>
                      <a:pt x="10" y="73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55" name="Freeform 26">
                <a:extLst>
                  <a:ext uri="{FF2B5EF4-FFF2-40B4-BE49-F238E27FC236}">
                    <a16:creationId xmlns:a16="http://schemas.microsoft.com/office/drawing/2014/main" id="{B3516B55-A99A-F165-BF52-5F777C34FBF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54046" y="6896663"/>
                <a:ext cx="75537" cy="111795"/>
              </a:xfrm>
              <a:custGeom>
                <a:avLst/>
                <a:gdLst>
                  <a:gd name="T0" fmla="*/ 21 w 21"/>
                  <a:gd name="T1" fmla="*/ 16 h 31"/>
                  <a:gd name="T2" fmla="*/ 11 w 21"/>
                  <a:gd name="T3" fmla="*/ 31 h 31"/>
                  <a:gd name="T4" fmla="*/ 0 w 21"/>
                  <a:gd name="T5" fmla="*/ 15 h 31"/>
                  <a:gd name="T6" fmla="*/ 11 w 21"/>
                  <a:gd name="T7" fmla="*/ 0 h 31"/>
                  <a:gd name="T8" fmla="*/ 21 w 21"/>
                  <a:gd name="T9" fmla="*/ 16 h 31"/>
                  <a:gd name="T10" fmla="*/ 5 w 21"/>
                  <a:gd name="T11" fmla="*/ 16 h 31"/>
                  <a:gd name="T12" fmla="*/ 11 w 21"/>
                  <a:gd name="T13" fmla="*/ 27 h 31"/>
                  <a:gd name="T14" fmla="*/ 16 w 21"/>
                  <a:gd name="T15" fmla="*/ 16 h 31"/>
                  <a:gd name="T16" fmla="*/ 11 w 21"/>
                  <a:gd name="T17" fmla="*/ 4 h 31"/>
                  <a:gd name="T18" fmla="*/ 5 w 21"/>
                  <a:gd name="T19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">
                    <a:moveTo>
                      <a:pt x="21" y="16"/>
                    </a:moveTo>
                    <a:cubicBezTo>
                      <a:pt x="21" y="26"/>
                      <a:pt x="18" y="31"/>
                      <a:pt x="11" y="31"/>
                    </a:cubicBezTo>
                    <a:cubicBezTo>
                      <a:pt x="3" y="31"/>
                      <a:pt x="0" y="26"/>
                      <a:pt x="0" y="15"/>
                    </a:cubicBezTo>
                    <a:cubicBezTo>
                      <a:pt x="0" y="5"/>
                      <a:pt x="3" y="0"/>
                      <a:pt x="11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3"/>
                      <a:pt x="7" y="27"/>
                      <a:pt x="11" y="27"/>
                    </a:cubicBezTo>
                    <a:cubicBezTo>
                      <a:pt x="14" y="27"/>
                      <a:pt x="16" y="23"/>
                      <a:pt x="16" y="16"/>
                    </a:cubicBezTo>
                    <a:cubicBezTo>
                      <a:pt x="16" y="8"/>
                      <a:pt x="14" y="4"/>
                      <a:pt x="11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56" name="Freeform 43">
                <a:extLst>
                  <a:ext uri="{FF2B5EF4-FFF2-40B4-BE49-F238E27FC236}">
                    <a16:creationId xmlns:a16="http://schemas.microsoft.com/office/drawing/2014/main" id="{417209C3-9454-F034-DB4D-FE7DE8453C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25925" y="6333156"/>
                <a:ext cx="63451" cy="9366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2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5" y="0"/>
                      <a:pt x="18" y="5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57" name="Freeform 44">
                <a:extLst>
                  <a:ext uri="{FF2B5EF4-FFF2-40B4-BE49-F238E27FC236}">
                    <a16:creationId xmlns:a16="http://schemas.microsoft.com/office/drawing/2014/main" id="{D5E25E8E-B724-D5B7-CF35-5C27AB31AC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25925" y="6487252"/>
                <a:ext cx="63451" cy="92156"/>
              </a:xfrm>
              <a:custGeom>
                <a:avLst/>
                <a:gdLst>
                  <a:gd name="T0" fmla="*/ 18 w 18"/>
                  <a:gd name="T1" fmla="*/ 13 h 26"/>
                  <a:gd name="T2" fmla="*/ 9 w 18"/>
                  <a:gd name="T3" fmla="*/ 26 h 26"/>
                  <a:gd name="T4" fmla="*/ 0 w 18"/>
                  <a:gd name="T5" fmla="*/ 13 h 26"/>
                  <a:gd name="T6" fmla="*/ 9 w 18"/>
                  <a:gd name="T7" fmla="*/ 0 h 26"/>
                  <a:gd name="T8" fmla="*/ 18 w 18"/>
                  <a:gd name="T9" fmla="*/ 13 h 26"/>
                  <a:gd name="T10" fmla="*/ 5 w 18"/>
                  <a:gd name="T11" fmla="*/ 13 h 26"/>
                  <a:gd name="T12" fmla="*/ 9 w 18"/>
                  <a:gd name="T13" fmla="*/ 22 h 26"/>
                  <a:gd name="T14" fmla="*/ 13 w 18"/>
                  <a:gd name="T15" fmla="*/ 13 h 26"/>
                  <a:gd name="T16" fmla="*/ 9 w 18"/>
                  <a:gd name="T17" fmla="*/ 4 h 26"/>
                  <a:gd name="T18" fmla="*/ 5 w 18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6">
                    <a:moveTo>
                      <a:pt x="18" y="13"/>
                    </a:moveTo>
                    <a:cubicBezTo>
                      <a:pt x="18" y="21"/>
                      <a:pt x="15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5" y="0"/>
                      <a:pt x="18" y="4"/>
                      <a:pt x="18" y="13"/>
                    </a:cubicBezTo>
                    <a:close/>
                    <a:moveTo>
                      <a:pt x="5" y="13"/>
                    </a:moveTo>
                    <a:cubicBezTo>
                      <a:pt x="5" y="19"/>
                      <a:pt x="6" y="22"/>
                      <a:pt x="9" y="22"/>
                    </a:cubicBezTo>
                    <a:cubicBezTo>
                      <a:pt x="12" y="22"/>
                      <a:pt x="13" y="19"/>
                      <a:pt x="13" y="13"/>
                    </a:cubicBezTo>
                    <a:cubicBezTo>
                      <a:pt x="13" y="7"/>
                      <a:pt x="12" y="4"/>
                      <a:pt x="9" y="4"/>
                    </a:cubicBezTo>
                    <a:cubicBezTo>
                      <a:pt x="6" y="4"/>
                      <a:pt x="5" y="7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58" name="Freeform 45">
                <a:extLst>
                  <a:ext uri="{FF2B5EF4-FFF2-40B4-BE49-F238E27FC236}">
                    <a16:creationId xmlns:a16="http://schemas.microsoft.com/office/drawing/2014/main" id="{9886C29D-A4AF-18BB-82BF-58B0C7D47B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28946" y="6793932"/>
                <a:ext cx="49855" cy="89134"/>
              </a:xfrm>
              <a:custGeom>
                <a:avLst/>
                <a:gdLst>
                  <a:gd name="T0" fmla="*/ 17 w 33"/>
                  <a:gd name="T1" fmla="*/ 12 h 59"/>
                  <a:gd name="T2" fmla="*/ 5 w 33"/>
                  <a:gd name="T3" fmla="*/ 19 h 59"/>
                  <a:gd name="T4" fmla="*/ 0 w 33"/>
                  <a:gd name="T5" fmla="*/ 9 h 59"/>
                  <a:gd name="T6" fmla="*/ 19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10 w 33"/>
                  <a:gd name="T17" fmla="*/ 59 h 59"/>
                  <a:gd name="T18" fmla="*/ 10 w 33"/>
                  <a:gd name="T19" fmla="*/ 49 h 59"/>
                  <a:gd name="T20" fmla="*/ 17 w 33"/>
                  <a:gd name="T21" fmla="*/ 49 h 59"/>
                  <a:gd name="T22" fmla="*/ 17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7" y="12"/>
                    </a:moveTo>
                    <a:lnTo>
                      <a:pt x="5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10" y="59"/>
                    </a:lnTo>
                    <a:lnTo>
                      <a:pt x="10" y="49"/>
                    </a:lnTo>
                    <a:lnTo>
                      <a:pt x="17" y="49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59" name="Freeform 63">
                <a:extLst>
                  <a:ext uri="{FF2B5EF4-FFF2-40B4-BE49-F238E27FC236}">
                    <a16:creationId xmlns:a16="http://schemas.microsoft.com/office/drawing/2014/main" id="{2B8CA038-F1D3-1038-9FC7-7CC6A76BF0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756362" y="6333156"/>
                <a:ext cx="60430" cy="9366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2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5"/>
                      <a:pt x="3" y="0"/>
                      <a:pt x="9" y="0"/>
                    </a:cubicBezTo>
                    <a:cubicBezTo>
                      <a:pt x="14" y="0"/>
                      <a:pt x="17" y="5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60" name="Freeform 64">
                <a:extLst>
                  <a:ext uri="{FF2B5EF4-FFF2-40B4-BE49-F238E27FC236}">
                    <a16:creationId xmlns:a16="http://schemas.microsoft.com/office/drawing/2014/main" id="{B5A94128-4A79-F985-B4AF-07106CC7603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756362" y="6487252"/>
                <a:ext cx="60430" cy="92156"/>
              </a:xfrm>
              <a:custGeom>
                <a:avLst/>
                <a:gdLst>
                  <a:gd name="T0" fmla="*/ 17 w 17"/>
                  <a:gd name="T1" fmla="*/ 13 h 26"/>
                  <a:gd name="T2" fmla="*/ 9 w 17"/>
                  <a:gd name="T3" fmla="*/ 26 h 26"/>
                  <a:gd name="T4" fmla="*/ 0 w 17"/>
                  <a:gd name="T5" fmla="*/ 13 h 26"/>
                  <a:gd name="T6" fmla="*/ 9 w 17"/>
                  <a:gd name="T7" fmla="*/ 0 h 26"/>
                  <a:gd name="T8" fmla="*/ 17 w 17"/>
                  <a:gd name="T9" fmla="*/ 13 h 26"/>
                  <a:gd name="T10" fmla="*/ 4 w 17"/>
                  <a:gd name="T11" fmla="*/ 13 h 26"/>
                  <a:gd name="T12" fmla="*/ 9 w 17"/>
                  <a:gd name="T13" fmla="*/ 22 h 26"/>
                  <a:gd name="T14" fmla="*/ 13 w 17"/>
                  <a:gd name="T15" fmla="*/ 13 h 26"/>
                  <a:gd name="T16" fmla="*/ 9 w 17"/>
                  <a:gd name="T17" fmla="*/ 4 h 26"/>
                  <a:gd name="T18" fmla="*/ 4 w 17"/>
                  <a:gd name="T1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26">
                    <a:moveTo>
                      <a:pt x="17" y="13"/>
                    </a:moveTo>
                    <a:cubicBezTo>
                      <a:pt x="17" y="21"/>
                      <a:pt x="14" y="26"/>
                      <a:pt x="9" y="26"/>
                    </a:cubicBezTo>
                    <a:cubicBezTo>
                      <a:pt x="3" y="26"/>
                      <a:pt x="0" y="22"/>
                      <a:pt x="0" y="13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4" y="0"/>
                      <a:pt x="17" y="4"/>
                      <a:pt x="17" y="13"/>
                    </a:cubicBezTo>
                    <a:close/>
                    <a:moveTo>
                      <a:pt x="4" y="13"/>
                    </a:moveTo>
                    <a:cubicBezTo>
                      <a:pt x="4" y="19"/>
                      <a:pt x="6" y="22"/>
                      <a:pt x="9" y="22"/>
                    </a:cubicBezTo>
                    <a:cubicBezTo>
                      <a:pt x="11" y="22"/>
                      <a:pt x="13" y="19"/>
                      <a:pt x="13" y="13"/>
                    </a:cubicBezTo>
                    <a:cubicBezTo>
                      <a:pt x="13" y="7"/>
                      <a:pt x="11" y="4"/>
                      <a:pt x="9" y="4"/>
                    </a:cubicBezTo>
                    <a:cubicBezTo>
                      <a:pt x="6" y="4"/>
                      <a:pt x="4" y="7"/>
                      <a:pt x="4" y="1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61" name="Freeform 65">
                <a:extLst>
                  <a:ext uri="{FF2B5EF4-FFF2-40B4-BE49-F238E27FC236}">
                    <a16:creationId xmlns:a16="http://schemas.microsoft.com/office/drawing/2014/main" id="{5F41A01B-8F71-B28C-A5AC-073D68CEDF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60894" y="6793932"/>
                <a:ext cx="49855" cy="89134"/>
              </a:xfrm>
              <a:custGeom>
                <a:avLst/>
                <a:gdLst>
                  <a:gd name="T0" fmla="*/ 16 w 33"/>
                  <a:gd name="T1" fmla="*/ 12 h 59"/>
                  <a:gd name="T2" fmla="*/ 4 w 33"/>
                  <a:gd name="T3" fmla="*/ 19 h 59"/>
                  <a:gd name="T4" fmla="*/ 0 w 33"/>
                  <a:gd name="T5" fmla="*/ 9 h 59"/>
                  <a:gd name="T6" fmla="*/ 16 w 33"/>
                  <a:gd name="T7" fmla="*/ 0 h 59"/>
                  <a:gd name="T8" fmla="*/ 26 w 33"/>
                  <a:gd name="T9" fmla="*/ 0 h 59"/>
                  <a:gd name="T10" fmla="*/ 26 w 33"/>
                  <a:gd name="T11" fmla="*/ 49 h 59"/>
                  <a:gd name="T12" fmla="*/ 33 w 33"/>
                  <a:gd name="T13" fmla="*/ 49 h 59"/>
                  <a:gd name="T14" fmla="*/ 33 w 33"/>
                  <a:gd name="T15" fmla="*/ 59 h 59"/>
                  <a:gd name="T16" fmla="*/ 7 w 33"/>
                  <a:gd name="T17" fmla="*/ 59 h 59"/>
                  <a:gd name="T18" fmla="*/ 7 w 33"/>
                  <a:gd name="T19" fmla="*/ 49 h 59"/>
                  <a:gd name="T20" fmla="*/ 16 w 33"/>
                  <a:gd name="T21" fmla="*/ 49 h 59"/>
                  <a:gd name="T22" fmla="*/ 16 w 33"/>
                  <a:gd name="T23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59">
                    <a:moveTo>
                      <a:pt x="16" y="12"/>
                    </a:moveTo>
                    <a:lnTo>
                      <a:pt x="4" y="19"/>
                    </a:lnTo>
                    <a:lnTo>
                      <a:pt x="0" y="9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26" y="49"/>
                    </a:lnTo>
                    <a:lnTo>
                      <a:pt x="33" y="49"/>
                    </a:lnTo>
                    <a:lnTo>
                      <a:pt x="33" y="59"/>
                    </a:lnTo>
                    <a:lnTo>
                      <a:pt x="7" y="59"/>
                    </a:lnTo>
                    <a:lnTo>
                      <a:pt x="7" y="49"/>
                    </a:lnTo>
                    <a:lnTo>
                      <a:pt x="16" y="49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62" name="Freeform 83">
                <a:extLst>
                  <a:ext uri="{FF2B5EF4-FFF2-40B4-BE49-F238E27FC236}">
                    <a16:creationId xmlns:a16="http://schemas.microsoft.com/office/drawing/2014/main" id="{BE98A96E-B552-D7A5-6DDF-895BBD0576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00062" y="6340710"/>
                <a:ext cx="92156" cy="157117"/>
              </a:xfrm>
              <a:custGeom>
                <a:avLst/>
                <a:gdLst>
                  <a:gd name="T0" fmla="*/ 31 w 61"/>
                  <a:gd name="T1" fmla="*/ 19 h 104"/>
                  <a:gd name="T2" fmla="*/ 10 w 61"/>
                  <a:gd name="T3" fmla="*/ 33 h 104"/>
                  <a:gd name="T4" fmla="*/ 0 w 61"/>
                  <a:gd name="T5" fmla="*/ 19 h 104"/>
                  <a:gd name="T6" fmla="*/ 31 w 61"/>
                  <a:gd name="T7" fmla="*/ 0 h 104"/>
                  <a:gd name="T8" fmla="*/ 47 w 61"/>
                  <a:gd name="T9" fmla="*/ 0 h 104"/>
                  <a:gd name="T10" fmla="*/ 47 w 61"/>
                  <a:gd name="T11" fmla="*/ 90 h 104"/>
                  <a:gd name="T12" fmla="*/ 61 w 61"/>
                  <a:gd name="T13" fmla="*/ 90 h 104"/>
                  <a:gd name="T14" fmla="*/ 61 w 61"/>
                  <a:gd name="T15" fmla="*/ 104 h 104"/>
                  <a:gd name="T16" fmla="*/ 17 w 61"/>
                  <a:gd name="T17" fmla="*/ 104 h 104"/>
                  <a:gd name="T18" fmla="*/ 17 w 61"/>
                  <a:gd name="T19" fmla="*/ 90 h 104"/>
                  <a:gd name="T20" fmla="*/ 31 w 61"/>
                  <a:gd name="T21" fmla="*/ 90 h 104"/>
                  <a:gd name="T22" fmla="*/ 31 w 61"/>
                  <a:gd name="T23" fmla="*/ 1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4">
                    <a:moveTo>
                      <a:pt x="31" y="19"/>
                    </a:moveTo>
                    <a:lnTo>
                      <a:pt x="10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0"/>
                    </a:lnTo>
                    <a:lnTo>
                      <a:pt x="61" y="90"/>
                    </a:lnTo>
                    <a:lnTo>
                      <a:pt x="61" y="104"/>
                    </a:lnTo>
                    <a:lnTo>
                      <a:pt x="17" y="104"/>
                    </a:lnTo>
                    <a:lnTo>
                      <a:pt x="17" y="90"/>
                    </a:lnTo>
                    <a:lnTo>
                      <a:pt x="31" y="90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63" name="Freeform 84">
                <a:extLst>
                  <a:ext uri="{FF2B5EF4-FFF2-40B4-BE49-F238E27FC236}">
                    <a16:creationId xmlns:a16="http://schemas.microsoft.com/office/drawing/2014/main" id="{BE41DCE3-3CB9-AB32-82A7-AD00F9CF2E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97040" y="6608111"/>
                <a:ext cx="110285" cy="164671"/>
              </a:xfrm>
              <a:custGeom>
                <a:avLst/>
                <a:gdLst>
                  <a:gd name="T0" fmla="*/ 31 w 31"/>
                  <a:gd name="T1" fmla="*/ 23 h 46"/>
                  <a:gd name="T2" fmla="*/ 15 w 31"/>
                  <a:gd name="T3" fmla="*/ 46 h 46"/>
                  <a:gd name="T4" fmla="*/ 0 w 31"/>
                  <a:gd name="T5" fmla="*/ 23 h 46"/>
                  <a:gd name="T6" fmla="*/ 15 w 31"/>
                  <a:gd name="T7" fmla="*/ 0 h 46"/>
                  <a:gd name="T8" fmla="*/ 31 w 31"/>
                  <a:gd name="T9" fmla="*/ 23 h 46"/>
                  <a:gd name="T10" fmla="*/ 8 w 31"/>
                  <a:gd name="T11" fmla="*/ 23 h 46"/>
                  <a:gd name="T12" fmla="*/ 15 w 31"/>
                  <a:gd name="T13" fmla="*/ 39 h 46"/>
                  <a:gd name="T14" fmla="*/ 23 w 31"/>
                  <a:gd name="T15" fmla="*/ 23 h 46"/>
                  <a:gd name="T16" fmla="*/ 15 w 31"/>
                  <a:gd name="T17" fmla="*/ 7 h 46"/>
                  <a:gd name="T18" fmla="*/ 8 w 31"/>
                  <a:gd name="T19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6">
                    <a:moveTo>
                      <a:pt x="31" y="23"/>
                    </a:moveTo>
                    <a:cubicBezTo>
                      <a:pt x="31" y="38"/>
                      <a:pt x="26" y="46"/>
                      <a:pt x="15" y="46"/>
                    </a:cubicBezTo>
                    <a:cubicBezTo>
                      <a:pt x="5" y="46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7"/>
                      <a:pt x="15" y="7"/>
                    </a:cubicBezTo>
                    <a:cubicBezTo>
                      <a:pt x="10" y="7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64" name="Freeform 85">
                <a:extLst>
                  <a:ext uri="{FF2B5EF4-FFF2-40B4-BE49-F238E27FC236}">
                    <a16:creationId xmlns:a16="http://schemas.microsoft.com/office/drawing/2014/main" id="{2BE1A29C-743A-CBFC-129C-A5A7F92655E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97040" y="6880045"/>
                <a:ext cx="110285" cy="160139"/>
              </a:xfrm>
              <a:custGeom>
                <a:avLst/>
                <a:gdLst>
                  <a:gd name="T0" fmla="*/ 31 w 31"/>
                  <a:gd name="T1" fmla="*/ 23 h 45"/>
                  <a:gd name="T2" fmla="*/ 15 w 31"/>
                  <a:gd name="T3" fmla="*/ 45 h 45"/>
                  <a:gd name="T4" fmla="*/ 0 w 31"/>
                  <a:gd name="T5" fmla="*/ 23 h 45"/>
                  <a:gd name="T6" fmla="*/ 15 w 31"/>
                  <a:gd name="T7" fmla="*/ 0 h 45"/>
                  <a:gd name="T8" fmla="*/ 31 w 31"/>
                  <a:gd name="T9" fmla="*/ 23 h 45"/>
                  <a:gd name="T10" fmla="*/ 8 w 31"/>
                  <a:gd name="T11" fmla="*/ 23 h 45"/>
                  <a:gd name="T12" fmla="*/ 15 w 31"/>
                  <a:gd name="T13" fmla="*/ 39 h 45"/>
                  <a:gd name="T14" fmla="*/ 23 w 31"/>
                  <a:gd name="T15" fmla="*/ 23 h 45"/>
                  <a:gd name="T16" fmla="*/ 15 w 31"/>
                  <a:gd name="T17" fmla="*/ 6 h 45"/>
                  <a:gd name="T18" fmla="*/ 8 w 31"/>
                  <a:gd name="T19" fmla="*/ 2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31" y="23"/>
                    </a:moveTo>
                    <a:cubicBezTo>
                      <a:pt x="31" y="38"/>
                      <a:pt x="26" y="45"/>
                      <a:pt x="15" y="45"/>
                    </a:cubicBezTo>
                    <a:cubicBezTo>
                      <a:pt x="5" y="45"/>
                      <a:pt x="0" y="38"/>
                      <a:pt x="0" y="23"/>
                    </a:cubicBezTo>
                    <a:cubicBezTo>
                      <a:pt x="0" y="8"/>
                      <a:pt x="5" y="0"/>
                      <a:pt x="15" y="0"/>
                    </a:cubicBezTo>
                    <a:cubicBezTo>
                      <a:pt x="26" y="0"/>
                      <a:pt x="31" y="8"/>
                      <a:pt x="31" y="23"/>
                    </a:cubicBezTo>
                    <a:close/>
                    <a:moveTo>
                      <a:pt x="8" y="23"/>
                    </a:moveTo>
                    <a:cubicBezTo>
                      <a:pt x="8" y="34"/>
                      <a:pt x="10" y="39"/>
                      <a:pt x="15" y="39"/>
                    </a:cubicBezTo>
                    <a:cubicBezTo>
                      <a:pt x="20" y="39"/>
                      <a:pt x="23" y="34"/>
                      <a:pt x="23" y="23"/>
                    </a:cubicBezTo>
                    <a:cubicBezTo>
                      <a:pt x="23" y="12"/>
                      <a:pt x="20" y="6"/>
                      <a:pt x="15" y="6"/>
                    </a:cubicBezTo>
                    <a:cubicBezTo>
                      <a:pt x="10" y="6"/>
                      <a:pt x="8" y="12"/>
                      <a:pt x="8" y="23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65" name="Freeform 95">
                <a:extLst>
                  <a:ext uri="{FF2B5EF4-FFF2-40B4-BE49-F238E27FC236}">
                    <a16:creationId xmlns:a16="http://schemas.microsoft.com/office/drawing/2014/main" id="{A3DEFE23-6B59-59DC-564D-9D7AA137C7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1996" y="5455415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66" name="Freeform 96">
                <a:extLst>
                  <a:ext uri="{FF2B5EF4-FFF2-40B4-BE49-F238E27FC236}">
                    <a16:creationId xmlns:a16="http://schemas.microsoft.com/office/drawing/2014/main" id="{2B70D136-9408-4BB5-30CE-406BD2E28FF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67464" y="5601957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67" name="Freeform 97">
                <a:extLst>
                  <a:ext uri="{FF2B5EF4-FFF2-40B4-BE49-F238E27FC236}">
                    <a16:creationId xmlns:a16="http://schemas.microsoft.com/office/drawing/2014/main" id="{C272FA33-9688-7F7E-4040-35A3C7786F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1996" y="5748499"/>
                <a:ext cx="52876" cy="84602"/>
              </a:xfrm>
              <a:custGeom>
                <a:avLst/>
                <a:gdLst>
                  <a:gd name="T0" fmla="*/ 16 w 35"/>
                  <a:gd name="T1" fmla="*/ 14 h 56"/>
                  <a:gd name="T2" fmla="*/ 7 w 35"/>
                  <a:gd name="T3" fmla="*/ 21 h 56"/>
                  <a:gd name="T4" fmla="*/ 0 w 35"/>
                  <a:gd name="T5" fmla="*/ 11 h 56"/>
                  <a:gd name="T6" fmla="*/ 19 w 35"/>
                  <a:gd name="T7" fmla="*/ 0 h 56"/>
                  <a:gd name="T8" fmla="*/ 28 w 35"/>
                  <a:gd name="T9" fmla="*/ 0 h 56"/>
                  <a:gd name="T10" fmla="*/ 28 w 35"/>
                  <a:gd name="T11" fmla="*/ 47 h 56"/>
                  <a:gd name="T12" fmla="*/ 35 w 35"/>
                  <a:gd name="T13" fmla="*/ 47 h 56"/>
                  <a:gd name="T14" fmla="*/ 35 w 35"/>
                  <a:gd name="T15" fmla="*/ 56 h 56"/>
                  <a:gd name="T16" fmla="*/ 9 w 35"/>
                  <a:gd name="T17" fmla="*/ 56 h 56"/>
                  <a:gd name="T18" fmla="*/ 9 w 35"/>
                  <a:gd name="T19" fmla="*/ 47 h 56"/>
                  <a:gd name="T20" fmla="*/ 16 w 35"/>
                  <a:gd name="T21" fmla="*/ 47 h 56"/>
                  <a:gd name="T22" fmla="*/ 16 w 35"/>
                  <a:gd name="T23" fmla="*/ 1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6">
                    <a:moveTo>
                      <a:pt x="16" y="14"/>
                    </a:moveTo>
                    <a:lnTo>
                      <a:pt x="7" y="21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6"/>
                    </a:lnTo>
                    <a:lnTo>
                      <a:pt x="9" y="56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68" name="Freeform 98">
                <a:extLst>
                  <a:ext uri="{FF2B5EF4-FFF2-40B4-BE49-F238E27FC236}">
                    <a16:creationId xmlns:a16="http://schemas.microsoft.com/office/drawing/2014/main" id="{BB638495-E53A-8971-C2F8-96ED41C3970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67464" y="5895041"/>
                <a:ext cx="67984" cy="84602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69" name="Freeform 99">
                <a:extLst>
                  <a:ext uri="{FF2B5EF4-FFF2-40B4-BE49-F238E27FC236}">
                    <a16:creationId xmlns:a16="http://schemas.microsoft.com/office/drawing/2014/main" id="{5C3A6E74-43B0-C28E-1F25-38A7DED156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1996" y="6040072"/>
                <a:ext cx="52876" cy="86113"/>
              </a:xfrm>
              <a:custGeom>
                <a:avLst/>
                <a:gdLst>
                  <a:gd name="T0" fmla="*/ 16 w 35"/>
                  <a:gd name="T1" fmla="*/ 15 h 57"/>
                  <a:gd name="T2" fmla="*/ 7 w 35"/>
                  <a:gd name="T3" fmla="*/ 22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8 h 57"/>
                  <a:gd name="T12" fmla="*/ 35 w 35"/>
                  <a:gd name="T13" fmla="*/ 48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8 h 57"/>
                  <a:gd name="T20" fmla="*/ 16 w 35"/>
                  <a:gd name="T21" fmla="*/ 48 h 57"/>
                  <a:gd name="T22" fmla="*/ 16 w 35"/>
                  <a:gd name="T23" fmla="*/ 1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5"/>
                    </a:moveTo>
                    <a:lnTo>
                      <a:pt x="7" y="22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8"/>
                    </a:lnTo>
                    <a:lnTo>
                      <a:pt x="35" y="48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8"/>
                    </a:lnTo>
                    <a:lnTo>
                      <a:pt x="16" y="48"/>
                    </a:lnTo>
                    <a:lnTo>
                      <a:pt x="16" y="15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70" name="Freeform 100">
                <a:extLst>
                  <a:ext uri="{FF2B5EF4-FFF2-40B4-BE49-F238E27FC236}">
                    <a16:creationId xmlns:a16="http://schemas.microsoft.com/office/drawing/2014/main" id="{2B4B1E3E-BAA8-44BE-4DD3-B6EDE08D9DF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67464" y="6186614"/>
                <a:ext cx="67984" cy="86113"/>
              </a:xfrm>
              <a:custGeom>
                <a:avLst/>
                <a:gdLst>
                  <a:gd name="T0" fmla="*/ 17 w 19"/>
                  <a:gd name="T1" fmla="*/ 4 h 24"/>
                  <a:gd name="T2" fmla="*/ 19 w 19"/>
                  <a:gd name="T3" fmla="*/ 12 h 24"/>
                  <a:gd name="T4" fmla="*/ 17 w 19"/>
                  <a:gd name="T5" fmla="*/ 21 h 24"/>
                  <a:gd name="T6" fmla="*/ 10 w 19"/>
                  <a:gd name="T7" fmla="*/ 24 h 24"/>
                  <a:gd name="T8" fmla="*/ 2 w 19"/>
                  <a:gd name="T9" fmla="*/ 20 h 24"/>
                  <a:gd name="T10" fmla="*/ 0 w 19"/>
                  <a:gd name="T11" fmla="*/ 12 h 24"/>
                  <a:gd name="T12" fmla="*/ 10 w 19"/>
                  <a:gd name="T13" fmla="*/ 0 h 24"/>
                  <a:gd name="T14" fmla="*/ 17 w 19"/>
                  <a:gd name="T15" fmla="*/ 4 h 24"/>
                  <a:gd name="T16" fmla="*/ 6 w 19"/>
                  <a:gd name="T17" fmla="*/ 12 h 24"/>
                  <a:gd name="T18" fmla="*/ 10 w 19"/>
                  <a:gd name="T19" fmla="*/ 20 h 24"/>
                  <a:gd name="T20" fmla="*/ 14 w 19"/>
                  <a:gd name="T21" fmla="*/ 12 h 24"/>
                  <a:gd name="T22" fmla="*/ 10 w 19"/>
                  <a:gd name="T23" fmla="*/ 4 h 24"/>
                  <a:gd name="T24" fmla="*/ 6 w 19"/>
                  <a:gd name="T25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6"/>
                      <a:pt x="18" y="19"/>
                      <a:pt x="17" y="21"/>
                    </a:cubicBezTo>
                    <a:cubicBezTo>
                      <a:pt x="15" y="23"/>
                      <a:pt x="13" y="24"/>
                      <a:pt x="10" y="24"/>
                    </a:cubicBezTo>
                    <a:cubicBezTo>
                      <a:pt x="6" y="24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1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71" name="Freeform 101">
                <a:extLst>
                  <a:ext uri="{FF2B5EF4-FFF2-40B4-BE49-F238E27FC236}">
                    <a16:creationId xmlns:a16="http://schemas.microsoft.com/office/drawing/2014/main" id="{42934CDF-8602-2192-4427-70696FBD9B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1996" y="6333156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72" name="Freeform 102">
                <a:extLst>
                  <a:ext uri="{FF2B5EF4-FFF2-40B4-BE49-F238E27FC236}">
                    <a16:creationId xmlns:a16="http://schemas.microsoft.com/office/drawing/2014/main" id="{417E632B-D8F0-AAB9-F7E6-193DDCF1C3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1996" y="6479698"/>
                <a:ext cx="52876" cy="86113"/>
              </a:xfrm>
              <a:custGeom>
                <a:avLst/>
                <a:gdLst>
                  <a:gd name="T0" fmla="*/ 16 w 35"/>
                  <a:gd name="T1" fmla="*/ 14 h 57"/>
                  <a:gd name="T2" fmla="*/ 7 w 35"/>
                  <a:gd name="T3" fmla="*/ 21 h 57"/>
                  <a:gd name="T4" fmla="*/ 0 w 35"/>
                  <a:gd name="T5" fmla="*/ 12 h 57"/>
                  <a:gd name="T6" fmla="*/ 19 w 35"/>
                  <a:gd name="T7" fmla="*/ 0 h 57"/>
                  <a:gd name="T8" fmla="*/ 28 w 35"/>
                  <a:gd name="T9" fmla="*/ 0 h 57"/>
                  <a:gd name="T10" fmla="*/ 28 w 35"/>
                  <a:gd name="T11" fmla="*/ 47 h 57"/>
                  <a:gd name="T12" fmla="*/ 35 w 35"/>
                  <a:gd name="T13" fmla="*/ 47 h 57"/>
                  <a:gd name="T14" fmla="*/ 35 w 35"/>
                  <a:gd name="T15" fmla="*/ 57 h 57"/>
                  <a:gd name="T16" fmla="*/ 9 w 35"/>
                  <a:gd name="T17" fmla="*/ 57 h 57"/>
                  <a:gd name="T18" fmla="*/ 9 w 35"/>
                  <a:gd name="T19" fmla="*/ 47 h 57"/>
                  <a:gd name="T20" fmla="*/ 16 w 35"/>
                  <a:gd name="T21" fmla="*/ 47 h 57"/>
                  <a:gd name="T22" fmla="*/ 16 w 35"/>
                  <a:gd name="T23" fmla="*/ 1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7">
                    <a:moveTo>
                      <a:pt x="16" y="14"/>
                    </a:moveTo>
                    <a:lnTo>
                      <a:pt x="7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7"/>
                    </a:lnTo>
                    <a:lnTo>
                      <a:pt x="35" y="47"/>
                    </a:lnTo>
                    <a:lnTo>
                      <a:pt x="35" y="57"/>
                    </a:lnTo>
                    <a:lnTo>
                      <a:pt x="9" y="57"/>
                    </a:lnTo>
                    <a:lnTo>
                      <a:pt x="9" y="47"/>
                    </a:lnTo>
                    <a:lnTo>
                      <a:pt x="16" y="47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73" name="Freeform 103">
                <a:extLst>
                  <a:ext uri="{FF2B5EF4-FFF2-40B4-BE49-F238E27FC236}">
                    <a16:creationId xmlns:a16="http://schemas.microsoft.com/office/drawing/2014/main" id="{0EF76F91-0565-839B-46DD-641210B274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1996" y="6629262"/>
                <a:ext cx="52876" cy="83091"/>
              </a:xfrm>
              <a:custGeom>
                <a:avLst/>
                <a:gdLst>
                  <a:gd name="T0" fmla="*/ 16 w 35"/>
                  <a:gd name="T1" fmla="*/ 12 h 55"/>
                  <a:gd name="T2" fmla="*/ 7 w 35"/>
                  <a:gd name="T3" fmla="*/ 19 h 55"/>
                  <a:gd name="T4" fmla="*/ 0 w 35"/>
                  <a:gd name="T5" fmla="*/ 10 h 55"/>
                  <a:gd name="T6" fmla="*/ 19 w 35"/>
                  <a:gd name="T7" fmla="*/ 0 h 55"/>
                  <a:gd name="T8" fmla="*/ 28 w 35"/>
                  <a:gd name="T9" fmla="*/ 0 h 55"/>
                  <a:gd name="T10" fmla="*/ 28 w 35"/>
                  <a:gd name="T11" fmla="*/ 45 h 55"/>
                  <a:gd name="T12" fmla="*/ 35 w 35"/>
                  <a:gd name="T13" fmla="*/ 45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5 h 55"/>
                  <a:gd name="T20" fmla="*/ 16 w 35"/>
                  <a:gd name="T21" fmla="*/ 45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7" y="19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74" name="Freeform 104">
                <a:extLst>
                  <a:ext uri="{FF2B5EF4-FFF2-40B4-BE49-F238E27FC236}">
                    <a16:creationId xmlns:a16="http://schemas.microsoft.com/office/drawing/2014/main" id="{26B26823-6718-D9EA-5665-62023D10D8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67464" y="6772782"/>
                <a:ext cx="67984" cy="89134"/>
              </a:xfrm>
              <a:custGeom>
                <a:avLst/>
                <a:gdLst>
                  <a:gd name="T0" fmla="*/ 17 w 19"/>
                  <a:gd name="T1" fmla="*/ 4 h 25"/>
                  <a:gd name="T2" fmla="*/ 19 w 19"/>
                  <a:gd name="T3" fmla="*/ 12 h 25"/>
                  <a:gd name="T4" fmla="*/ 17 w 19"/>
                  <a:gd name="T5" fmla="*/ 21 h 25"/>
                  <a:gd name="T6" fmla="*/ 10 w 19"/>
                  <a:gd name="T7" fmla="*/ 25 h 25"/>
                  <a:gd name="T8" fmla="*/ 2 w 19"/>
                  <a:gd name="T9" fmla="*/ 20 h 25"/>
                  <a:gd name="T10" fmla="*/ 0 w 19"/>
                  <a:gd name="T11" fmla="*/ 12 h 25"/>
                  <a:gd name="T12" fmla="*/ 10 w 19"/>
                  <a:gd name="T13" fmla="*/ 0 h 25"/>
                  <a:gd name="T14" fmla="*/ 17 w 19"/>
                  <a:gd name="T15" fmla="*/ 4 h 25"/>
                  <a:gd name="T16" fmla="*/ 6 w 19"/>
                  <a:gd name="T17" fmla="*/ 12 h 25"/>
                  <a:gd name="T18" fmla="*/ 10 w 19"/>
                  <a:gd name="T19" fmla="*/ 20 h 25"/>
                  <a:gd name="T20" fmla="*/ 14 w 19"/>
                  <a:gd name="T21" fmla="*/ 12 h 25"/>
                  <a:gd name="T22" fmla="*/ 10 w 19"/>
                  <a:gd name="T23" fmla="*/ 4 h 25"/>
                  <a:gd name="T24" fmla="*/ 6 w 19"/>
                  <a:gd name="T2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5">
                    <a:moveTo>
                      <a:pt x="17" y="4"/>
                    </a:moveTo>
                    <a:cubicBezTo>
                      <a:pt x="18" y="6"/>
                      <a:pt x="19" y="9"/>
                      <a:pt x="19" y="12"/>
                    </a:cubicBezTo>
                    <a:cubicBezTo>
                      <a:pt x="19" y="17"/>
                      <a:pt x="18" y="19"/>
                      <a:pt x="17" y="21"/>
                    </a:cubicBezTo>
                    <a:cubicBezTo>
                      <a:pt x="15" y="23"/>
                      <a:pt x="13" y="25"/>
                      <a:pt x="10" y="25"/>
                    </a:cubicBezTo>
                    <a:cubicBezTo>
                      <a:pt x="6" y="25"/>
                      <a:pt x="3" y="23"/>
                      <a:pt x="2" y="20"/>
                    </a:cubicBezTo>
                    <a:cubicBezTo>
                      <a:pt x="1" y="18"/>
                      <a:pt x="0" y="16"/>
                      <a:pt x="0" y="12"/>
                    </a:cubicBezTo>
                    <a:cubicBezTo>
                      <a:pt x="0" y="4"/>
                      <a:pt x="3" y="0"/>
                      <a:pt x="10" y="0"/>
                    </a:cubicBezTo>
                    <a:cubicBezTo>
                      <a:pt x="13" y="0"/>
                      <a:pt x="16" y="2"/>
                      <a:pt x="17" y="4"/>
                    </a:cubicBezTo>
                    <a:close/>
                    <a:moveTo>
                      <a:pt x="6" y="12"/>
                    </a:moveTo>
                    <a:cubicBezTo>
                      <a:pt x="6" y="18"/>
                      <a:pt x="7" y="20"/>
                      <a:pt x="10" y="20"/>
                    </a:cubicBezTo>
                    <a:cubicBezTo>
                      <a:pt x="12" y="20"/>
                      <a:pt x="14" y="18"/>
                      <a:pt x="14" y="12"/>
                    </a:cubicBezTo>
                    <a:cubicBezTo>
                      <a:pt x="14" y="7"/>
                      <a:pt x="12" y="4"/>
                      <a:pt x="10" y="4"/>
                    </a:cubicBezTo>
                    <a:cubicBezTo>
                      <a:pt x="7" y="4"/>
                      <a:pt x="6" y="7"/>
                      <a:pt x="6" y="12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75" name="Freeform 105">
                <a:extLst>
                  <a:ext uri="{FF2B5EF4-FFF2-40B4-BE49-F238E27FC236}">
                    <a16:creationId xmlns:a16="http://schemas.microsoft.com/office/drawing/2014/main" id="{A04252E3-DDAC-72F3-8A45-CCC8A12808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1996" y="6922346"/>
                <a:ext cx="52876" cy="81580"/>
              </a:xfrm>
              <a:custGeom>
                <a:avLst/>
                <a:gdLst>
                  <a:gd name="T0" fmla="*/ 16 w 35"/>
                  <a:gd name="T1" fmla="*/ 12 h 54"/>
                  <a:gd name="T2" fmla="*/ 7 w 35"/>
                  <a:gd name="T3" fmla="*/ 19 h 54"/>
                  <a:gd name="T4" fmla="*/ 0 w 35"/>
                  <a:gd name="T5" fmla="*/ 9 h 54"/>
                  <a:gd name="T6" fmla="*/ 19 w 35"/>
                  <a:gd name="T7" fmla="*/ 0 h 54"/>
                  <a:gd name="T8" fmla="*/ 28 w 35"/>
                  <a:gd name="T9" fmla="*/ 0 h 54"/>
                  <a:gd name="T10" fmla="*/ 28 w 35"/>
                  <a:gd name="T11" fmla="*/ 45 h 54"/>
                  <a:gd name="T12" fmla="*/ 35 w 35"/>
                  <a:gd name="T13" fmla="*/ 45 h 54"/>
                  <a:gd name="T14" fmla="*/ 35 w 35"/>
                  <a:gd name="T15" fmla="*/ 54 h 54"/>
                  <a:gd name="T16" fmla="*/ 9 w 35"/>
                  <a:gd name="T17" fmla="*/ 54 h 54"/>
                  <a:gd name="T18" fmla="*/ 9 w 35"/>
                  <a:gd name="T19" fmla="*/ 45 h 54"/>
                  <a:gd name="T20" fmla="*/ 16 w 35"/>
                  <a:gd name="T21" fmla="*/ 45 h 54"/>
                  <a:gd name="T22" fmla="*/ 16 w 35"/>
                  <a:gd name="T23" fmla="*/ 1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4">
                    <a:moveTo>
                      <a:pt x="16" y="12"/>
                    </a:moveTo>
                    <a:lnTo>
                      <a:pt x="7" y="19"/>
                    </a:lnTo>
                    <a:lnTo>
                      <a:pt x="0" y="9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45"/>
                    </a:lnTo>
                    <a:lnTo>
                      <a:pt x="35" y="45"/>
                    </a:lnTo>
                    <a:lnTo>
                      <a:pt x="35" y="54"/>
                    </a:lnTo>
                    <a:lnTo>
                      <a:pt x="9" y="54"/>
                    </a:lnTo>
                    <a:lnTo>
                      <a:pt x="9" y="45"/>
                    </a:lnTo>
                    <a:lnTo>
                      <a:pt x="16" y="45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76" name="Freeform 135">
                <a:extLst>
                  <a:ext uri="{FF2B5EF4-FFF2-40B4-BE49-F238E27FC236}">
                    <a16:creationId xmlns:a16="http://schemas.microsoft.com/office/drawing/2014/main" id="{A48C4B03-EB05-FCDE-3C1B-6766257248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22085" y="5822526"/>
                <a:ext cx="60430" cy="111795"/>
              </a:xfrm>
              <a:custGeom>
                <a:avLst/>
                <a:gdLst>
                  <a:gd name="T0" fmla="*/ 19 w 40"/>
                  <a:gd name="T1" fmla="*/ 14 h 74"/>
                  <a:gd name="T2" fmla="*/ 4 w 40"/>
                  <a:gd name="T3" fmla="*/ 24 h 74"/>
                  <a:gd name="T4" fmla="*/ 0 w 40"/>
                  <a:gd name="T5" fmla="*/ 14 h 74"/>
                  <a:gd name="T6" fmla="*/ 21 w 40"/>
                  <a:gd name="T7" fmla="*/ 0 h 74"/>
                  <a:gd name="T8" fmla="*/ 30 w 40"/>
                  <a:gd name="T9" fmla="*/ 0 h 74"/>
                  <a:gd name="T10" fmla="*/ 30 w 40"/>
                  <a:gd name="T11" fmla="*/ 64 h 74"/>
                  <a:gd name="T12" fmla="*/ 40 w 40"/>
                  <a:gd name="T13" fmla="*/ 64 h 74"/>
                  <a:gd name="T14" fmla="*/ 40 w 40"/>
                  <a:gd name="T15" fmla="*/ 74 h 74"/>
                  <a:gd name="T16" fmla="*/ 9 w 40"/>
                  <a:gd name="T17" fmla="*/ 74 h 74"/>
                  <a:gd name="T18" fmla="*/ 9 w 40"/>
                  <a:gd name="T19" fmla="*/ 64 h 74"/>
                  <a:gd name="T20" fmla="*/ 19 w 40"/>
                  <a:gd name="T21" fmla="*/ 64 h 74"/>
                  <a:gd name="T22" fmla="*/ 19 w 40"/>
                  <a:gd name="T23" fmla="*/ 1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4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4"/>
                    </a:lnTo>
                    <a:lnTo>
                      <a:pt x="9" y="74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77" name="Freeform 136">
                <a:extLst>
                  <a:ext uri="{FF2B5EF4-FFF2-40B4-BE49-F238E27FC236}">
                    <a16:creationId xmlns:a16="http://schemas.microsoft.com/office/drawing/2014/main" id="{56E71FCD-6486-0B45-F366-A69A14D8B6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17554" y="6011368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8 h 32"/>
                  <a:gd name="T14" fmla="*/ 16 w 21"/>
                  <a:gd name="T15" fmla="*/ 16 h 32"/>
                  <a:gd name="T16" fmla="*/ 10 w 21"/>
                  <a:gd name="T17" fmla="*/ 5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7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8"/>
                      <a:pt x="10" y="28"/>
                    </a:cubicBezTo>
                    <a:cubicBezTo>
                      <a:pt x="14" y="28"/>
                      <a:pt x="16" y="24"/>
                      <a:pt x="16" y="16"/>
                    </a:cubicBezTo>
                    <a:cubicBezTo>
                      <a:pt x="16" y="8"/>
                      <a:pt x="14" y="5"/>
                      <a:pt x="10" y="5"/>
                    </a:cubicBezTo>
                    <a:cubicBezTo>
                      <a:pt x="7" y="5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78" name="Freeform 137">
                <a:extLst>
                  <a:ext uri="{FF2B5EF4-FFF2-40B4-BE49-F238E27FC236}">
                    <a16:creationId xmlns:a16="http://schemas.microsoft.com/office/drawing/2014/main" id="{685072CD-62B3-59A1-13CD-DA96CDD5EA8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17554" y="6393586"/>
                <a:ext cx="75537" cy="114816"/>
              </a:xfrm>
              <a:custGeom>
                <a:avLst/>
                <a:gdLst>
                  <a:gd name="T0" fmla="*/ 21 w 21"/>
                  <a:gd name="T1" fmla="*/ 16 h 32"/>
                  <a:gd name="T2" fmla="*/ 10 w 21"/>
                  <a:gd name="T3" fmla="*/ 32 h 32"/>
                  <a:gd name="T4" fmla="*/ 0 w 21"/>
                  <a:gd name="T5" fmla="*/ 16 h 32"/>
                  <a:gd name="T6" fmla="*/ 10 w 21"/>
                  <a:gd name="T7" fmla="*/ 0 h 32"/>
                  <a:gd name="T8" fmla="*/ 21 w 21"/>
                  <a:gd name="T9" fmla="*/ 16 h 32"/>
                  <a:gd name="T10" fmla="*/ 5 w 21"/>
                  <a:gd name="T11" fmla="*/ 16 h 32"/>
                  <a:gd name="T12" fmla="*/ 10 w 21"/>
                  <a:gd name="T13" fmla="*/ 27 h 32"/>
                  <a:gd name="T14" fmla="*/ 16 w 21"/>
                  <a:gd name="T15" fmla="*/ 16 h 32"/>
                  <a:gd name="T16" fmla="*/ 10 w 21"/>
                  <a:gd name="T17" fmla="*/ 4 h 32"/>
                  <a:gd name="T18" fmla="*/ 5 w 21"/>
                  <a:gd name="T1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21" y="16"/>
                    </a:moveTo>
                    <a:cubicBezTo>
                      <a:pt x="21" y="26"/>
                      <a:pt x="18" y="32"/>
                      <a:pt x="10" y="32"/>
                    </a:cubicBezTo>
                    <a:cubicBezTo>
                      <a:pt x="3" y="32"/>
                      <a:pt x="0" y="27"/>
                      <a:pt x="0" y="16"/>
                    </a:cubicBezTo>
                    <a:cubicBezTo>
                      <a:pt x="0" y="5"/>
                      <a:pt x="3" y="0"/>
                      <a:pt x="10" y="0"/>
                    </a:cubicBezTo>
                    <a:cubicBezTo>
                      <a:pt x="18" y="0"/>
                      <a:pt x="21" y="5"/>
                      <a:pt x="21" y="16"/>
                    </a:cubicBezTo>
                    <a:close/>
                    <a:moveTo>
                      <a:pt x="5" y="16"/>
                    </a:moveTo>
                    <a:cubicBezTo>
                      <a:pt x="5" y="24"/>
                      <a:pt x="7" y="27"/>
                      <a:pt x="10" y="27"/>
                    </a:cubicBezTo>
                    <a:cubicBezTo>
                      <a:pt x="14" y="27"/>
                      <a:pt x="16" y="24"/>
                      <a:pt x="16" y="16"/>
                    </a:cubicBezTo>
                    <a:cubicBezTo>
                      <a:pt x="16" y="8"/>
                      <a:pt x="14" y="4"/>
                      <a:pt x="10" y="4"/>
                    </a:cubicBezTo>
                    <a:cubicBezTo>
                      <a:pt x="7" y="4"/>
                      <a:pt x="5" y="8"/>
                      <a:pt x="5" y="16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79" name="Freeform 138">
                <a:extLst>
                  <a:ext uri="{FF2B5EF4-FFF2-40B4-BE49-F238E27FC236}">
                    <a16:creationId xmlns:a16="http://schemas.microsoft.com/office/drawing/2014/main" id="{CF9CF1A0-909A-2302-5900-044DB67034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22085" y="6586961"/>
                <a:ext cx="60430" cy="107263"/>
              </a:xfrm>
              <a:custGeom>
                <a:avLst/>
                <a:gdLst>
                  <a:gd name="T0" fmla="*/ 19 w 40"/>
                  <a:gd name="T1" fmla="*/ 12 h 71"/>
                  <a:gd name="T2" fmla="*/ 4 w 40"/>
                  <a:gd name="T3" fmla="*/ 21 h 71"/>
                  <a:gd name="T4" fmla="*/ 0 w 40"/>
                  <a:gd name="T5" fmla="*/ 12 h 71"/>
                  <a:gd name="T6" fmla="*/ 21 w 40"/>
                  <a:gd name="T7" fmla="*/ 0 h 71"/>
                  <a:gd name="T8" fmla="*/ 30 w 40"/>
                  <a:gd name="T9" fmla="*/ 0 h 71"/>
                  <a:gd name="T10" fmla="*/ 30 w 40"/>
                  <a:gd name="T11" fmla="*/ 64 h 71"/>
                  <a:gd name="T12" fmla="*/ 40 w 40"/>
                  <a:gd name="T13" fmla="*/ 64 h 71"/>
                  <a:gd name="T14" fmla="*/ 40 w 40"/>
                  <a:gd name="T15" fmla="*/ 71 h 71"/>
                  <a:gd name="T16" fmla="*/ 9 w 40"/>
                  <a:gd name="T17" fmla="*/ 71 h 71"/>
                  <a:gd name="T18" fmla="*/ 9 w 40"/>
                  <a:gd name="T19" fmla="*/ 64 h 71"/>
                  <a:gd name="T20" fmla="*/ 19 w 40"/>
                  <a:gd name="T21" fmla="*/ 64 h 71"/>
                  <a:gd name="T22" fmla="*/ 19 w 40"/>
                  <a:gd name="T23" fmla="*/ 1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1">
                    <a:moveTo>
                      <a:pt x="19" y="12"/>
                    </a:moveTo>
                    <a:lnTo>
                      <a:pt x="4" y="21"/>
                    </a:lnTo>
                    <a:lnTo>
                      <a:pt x="0" y="12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1"/>
                    </a:lnTo>
                    <a:lnTo>
                      <a:pt x="9" y="71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2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80" name="Freeform 139">
                <a:extLst>
                  <a:ext uri="{FF2B5EF4-FFF2-40B4-BE49-F238E27FC236}">
                    <a16:creationId xmlns:a16="http://schemas.microsoft.com/office/drawing/2014/main" id="{B914D8C5-DE5A-20DC-C405-968AF64D5A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22085" y="6775803"/>
                <a:ext cx="60430" cy="110285"/>
              </a:xfrm>
              <a:custGeom>
                <a:avLst/>
                <a:gdLst>
                  <a:gd name="T0" fmla="*/ 19 w 40"/>
                  <a:gd name="T1" fmla="*/ 14 h 73"/>
                  <a:gd name="T2" fmla="*/ 4 w 40"/>
                  <a:gd name="T3" fmla="*/ 24 h 73"/>
                  <a:gd name="T4" fmla="*/ 0 w 40"/>
                  <a:gd name="T5" fmla="*/ 14 h 73"/>
                  <a:gd name="T6" fmla="*/ 21 w 40"/>
                  <a:gd name="T7" fmla="*/ 0 h 73"/>
                  <a:gd name="T8" fmla="*/ 30 w 40"/>
                  <a:gd name="T9" fmla="*/ 0 h 73"/>
                  <a:gd name="T10" fmla="*/ 30 w 40"/>
                  <a:gd name="T11" fmla="*/ 64 h 73"/>
                  <a:gd name="T12" fmla="*/ 40 w 40"/>
                  <a:gd name="T13" fmla="*/ 64 h 73"/>
                  <a:gd name="T14" fmla="*/ 40 w 40"/>
                  <a:gd name="T15" fmla="*/ 73 h 73"/>
                  <a:gd name="T16" fmla="*/ 9 w 40"/>
                  <a:gd name="T17" fmla="*/ 73 h 73"/>
                  <a:gd name="T18" fmla="*/ 9 w 40"/>
                  <a:gd name="T19" fmla="*/ 64 h 73"/>
                  <a:gd name="T20" fmla="*/ 19 w 40"/>
                  <a:gd name="T21" fmla="*/ 64 h 73"/>
                  <a:gd name="T22" fmla="*/ 19 w 40"/>
                  <a:gd name="T23" fmla="*/ 1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73">
                    <a:moveTo>
                      <a:pt x="19" y="14"/>
                    </a:moveTo>
                    <a:lnTo>
                      <a:pt x="4" y="24"/>
                    </a:lnTo>
                    <a:lnTo>
                      <a:pt x="0" y="14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30" y="64"/>
                    </a:lnTo>
                    <a:lnTo>
                      <a:pt x="40" y="64"/>
                    </a:lnTo>
                    <a:lnTo>
                      <a:pt x="40" y="73"/>
                    </a:lnTo>
                    <a:lnTo>
                      <a:pt x="9" y="73"/>
                    </a:lnTo>
                    <a:lnTo>
                      <a:pt x="9" y="64"/>
                    </a:lnTo>
                    <a:lnTo>
                      <a:pt x="19" y="64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81" name="Freeform 149">
                <a:extLst>
                  <a:ext uri="{FF2B5EF4-FFF2-40B4-BE49-F238E27FC236}">
                    <a16:creationId xmlns:a16="http://schemas.microsoft.com/office/drawing/2014/main" id="{8999CFFA-0A83-3460-38F9-4955D4501C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78386" y="5465991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82" name="Freeform 150">
                <a:extLst>
                  <a:ext uri="{FF2B5EF4-FFF2-40B4-BE49-F238E27FC236}">
                    <a16:creationId xmlns:a16="http://schemas.microsoft.com/office/drawing/2014/main" id="{6237D83B-480C-04EF-8D13-9EC80786C89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470831" y="5748499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83" name="Freeform 151">
                <a:extLst>
                  <a:ext uri="{FF2B5EF4-FFF2-40B4-BE49-F238E27FC236}">
                    <a16:creationId xmlns:a16="http://schemas.microsoft.com/office/drawing/2014/main" id="{61D73812-8E15-9D3E-9211-B1B1E5366B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78386" y="6037051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5 h 109"/>
                  <a:gd name="T12" fmla="*/ 61 w 61"/>
                  <a:gd name="T13" fmla="*/ 95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5 h 109"/>
                  <a:gd name="T20" fmla="*/ 28 w 61"/>
                  <a:gd name="T21" fmla="*/ 95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5"/>
                    </a:lnTo>
                    <a:lnTo>
                      <a:pt x="61" y="95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5"/>
                    </a:lnTo>
                    <a:lnTo>
                      <a:pt x="28" y="95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84" name="Freeform 152">
                <a:extLst>
                  <a:ext uri="{FF2B5EF4-FFF2-40B4-BE49-F238E27FC236}">
                    <a16:creationId xmlns:a16="http://schemas.microsoft.com/office/drawing/2014/main" id="{31B600AB-29B9-9EBA-67DC-99B78C80B2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470831" y="6319559"/>
                <a:ext cx="114816" cy="170714"/>
              </a:xfrm>
              <a:custGeom>
                <a:avLst/>
                <a:gdLst>
                  <a:gd name="T0" fmla="*/ 32 w 32"/>
                  <a:gd name="T1" fmla="*/ 24 h 48"/>
                  <a:gd name="T2" fmla="*/ 16 w 32"/>
                  <a:gd name="T3" fmla="*/ 48 h 48"/>
                  <a:gd name="T4" fmla="*/ 0 w 32"/>
                  <a:gd name="T5" fmla="*/ 24 h 48"/>
                  <a:gd name="T6" fmla="*/ 16 w 32"/>
                  <a:gd name="T7" fmla="*/ 0 h 48"/>
                  <a:gd name="T8" fmla="*/ 32 w 32"/>
                  <a:gd name="T9" fmla="*/ 24 h 48"/>
                  <a:gd name="T10" fmla="*/ 8 w 32"/>
                  <a:gd name="T11" fmla="*/ 24 h 48"/>
                  <a:gd name="T12" fmla="*/ 16 w 32"/>
                  <a:gd name="T13" fmla="*/ 41 h 48"/>
                  <a:gd name="T14" fmla="*/ 24 w 32"/>
                  <a:gd name="T15" fmla="*/ 24 h 48"/>
                  <a:gd name="T16" fmla="*/ 16 w 32"/>
                  <a:gd name="T17" fmla="*/ 7 h 48"/>
                  <a:gd name="T18" fmla="*/ 8 w 32"/>
                  <a:gd name="T1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48">
                    <a:moveTo>
                      <a:pt x="32" y="24"/>
                    </a:moveTo>
                    <a:cubicBezTo>
                      <a:pt x="32" y="40"/>
                      <a:pt x="27" y="48"/>
                      <a:pt x="16" y="48"/>
                    </a:cubicBezTo>
                    <a:cubicBezTo>
                      <a:pt x="5" y="48"/>
                      <a:pt x="0" y="40"/>
                      <a:pt x="0" y="24"/>
                    </a:cubicBezTo>
                    <a:cubicBezTo>
                      <a:pt x="0" y="8"/>
                      <a:pt x="5" y="0"/>
                      <a:pt x="16" y="0"/>
                    </a:cubicBezTo>
                    <a:cubicBezTo>
                      <a:pt x="27" y="0"/>
                      <a:pt x="32" y="8"/>
                      <a:pt x="32" y="24"/>
                    </a:cubicBezTo>
                    <a:close/>
                    <a:moveTo>
                      <a:pt x="8" y="24"/>
                    </a:moveTo>
                    <a:cubicBezTo>
                      <a:pt x="8" y="36"/>
                      <a:pt x="11" y="41"/>
                      <a:pt x="16" y="41"/>
                    </a:cubicBezTo>
                    <a:cubicBezTo>
                      <a:pt x="22" y="41"/>
                      <a:pt x="24" y="36"/>
                      <a:pt x="24" y="24"/>
                    </a:cubicBezTo>
                    <a:cubicBezTo>
                      <a:pt x="24" y="12"/>
                      <a:pt x="22" y="7"/>
                      <a:pt x="16" y="7"/>
                    </a:cubicBezTo>
                    <a:cubicBezTo>
                      <a:pt x="11" y="7"/>
                      <a:pt x="8" y="12"/>
                      <a:pt x="8" y="24"/>
                    </a:cubicBez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85" name="Freeform 153">
                <a:extLst>
                  <a:ext uri="{FF2B5EF4-FFF2-40B4-BE49-F238E27FC236}">
                    <a16:creationId xmlns:a16="http://schemas.microsoft.com/office/drawing/2014/main" id="{A1150B77-B107-E7DA-62CB-8AF972D3F5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78386" y="6608111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786" name="Freeform 154">
                <a:extLst>
                  <a:ext uri="{FF2B5EF4-FFF2-40B4-BE49-F238E27FC236}">
                    <a16:creationId xmlns:a16="http://schemas.microsoft.com/office/drawing/2014/main" id="{2BEDD8E2-E8B8-0FF0-CB1B-E670B45603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78386" y="6893641"/>
                <a:ext cx="92156" cy="164671"/>
              </a:xfrm>
              <a:custGeom>
                <a:avLst/>
                <a:gdLst>
                  <a:gd name="T0" fmla="*/ 28 w 61"/>
                  <a:gd name="T1" fmla="*/ 21 h 109"/>
                  <a:gd name="T2" fmla="*/ 7 w 61"/>
                  <a:gd name="T3" fmla="*/ 33 h 109"/>
                  <a:gd name="T4" fmla="*/ 0 w 61"/>
                  <a:gd name="T5" fmla="*/ 19 h 109"/>
                  <a:gd name="T6" fmla="*/ 31 w 61"/>
                  <a:gd name="T7" fmla="*/ 0 h 109"/>
                  <a:gd name="T8" fmla="*/ 47 w 61"/>
                  <a:gd name="T9" fmla="*/ 0 h 109"/>
                  <a:gd name="T10" fmla="*/ 47 w 61"/>
                  <a:gd name="T11" fmla="*/ 94 h 109"/>
                  <a:gd name="T12" fmla="*/ 61 w 61"/>
                  <a:gd name="T13" fmla="*/ 94 h 109"/>
                  <a:gd name="T14" fmla="*/ 61 w 61"/>
                  <a:gd name="T15" fmla="*/ 109 h 109"/>
                  <a:gd name="T16" fmla="*/ 14 w 61"/>
                  <a:gd name="T17" fmla="*/ 109 h 109"/>
                  <a:gd name="T18" fmla="*/ 14 w 61"/>
                  <a:gd name="T19" fmla="*/ 94 h 109"/>
                  <a:gd name="T20" fmla="*/ 28 w 61"/>
                  <a:gd name="T21" fmla="*/ 94 h 109"/>
                  <a:gd name="T22" fmla="*/ 28 w 61"/>
                  <a:gd name="T23" fmla="*/ 2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109">
                    <a:moveTo>
                      <a:pt x="28" y="21"/>
                    </a:moveTo>
                    <a:lnTo>
                      <a:pt x="7" y="33"/>
                    </a:lnTo>
                    <a:lnTo>
                      <a:pt x="0" y="19"/>
                    </a:lnTo>
                    <a:lnTo>
                      <a:pt x="31" y="0"/>
                    </a:lnTo>
                    <a:lnTo>
                      <a:pt x="47" y="0"/>
                    </a:lnTo>
                    <a:lnTo>
                      <a:pt x="47" y="94"/>
                    </a:lnTo>
                    <a:lnTo>
                      <a:pt x="61" y="94"/>
                    </a:lnTo>
                    <a:lnTo>
                      <a:pt x="61" y="109"/>
                    </a:lnTo>
                    <a:lnTo>
                      <a:pt x="14" y="109"/>
                    </a:lnTo>
                    <a:lnTo>
                      <a:pt x="14" y="94"/>
                    </a:lnTo>
                    <a:lnTo>
                      <a:pt x="28" y="9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>
                  <a:alpha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en-US" sz="1000" kern="0">
                  <a:solidFill>
                    <a:srgbClr val="FFFFF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</p:grpSp>
        <p:sp>
          <p:nvSpPr>
            <p:cNvPr id="814" name="TextBox 813">
              <a:extLst>
                <a:ext uri="{FF2B5EF4-FFF2-40B4-BE49-F238E27FC236}">
                  <a16:creationId xmlns:a16="http://schemas.microsoft.com/office/drawing/2014/main" id="{73924273-0325-B9C3-FB09-B4AFA4249AE4}"/>
                </a:ext>
              </a:extLst>
            </p:cNvPr>
            <p:cNvSpPr txBox="1"/>
            <p:nvPr/>
          </p:nvSpPr>
          <p:spPr>
            <a:xfrm>
              <a:off x="713854" y="5637046"/>
              <a:ext cx="1229356" cy="26093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defTabSz="913486">
                <a:lnSpc>
                  <a:spcPct val="110000"/>
                </a:lnSpc>
                <a:defRPr/>
              </a:pPr>
              <a:r>
                <a:rPr lang="en-US" sz="800" b="1" dirty="0">
                  <a:solidFill>
                    <a:srgbClr val="00646E"/>
                  </a:solidFill>
                  <a:ea typeface="宋体" pitchFamily="2" charset="-122"/>
                  <a:cs typeface="Arial" charset="0"/>
                </a:rPr>
                <a:t>Data sources</a:t>
              </a:r>
            </a:p>
          </p:txBody>
        </p:sp>
        <p:sp>
          <p:nvSpPr>
            <p:cNvPr id="826" name="Rounded Rectangle 114">
              <a:extLst>
                <a:ext uri="{FF2B5EF4-FFF2-40B4-BE49-F238E27FC236}">
                  <a16:creationId xmlns:a16="http://schemas.microsoft.com/office/drawing/2014/main" id="{E6853CAE-9549-7BC2-F866-C26118605ED9}"/>
                </a:ext>
              </a:extLst>
            </p:cNvPr>
            <p:cNvSpPr/>
            <p:nvPr/>
          </p:nvSpPr>
          <p:spPr bwMode="auto">
            <a:xfrm>
              <a:off x="2451055" y="6334911"/>
              <a:ext cx="1379054" cy="454516"/>
            </a:xfrm>
            <a:prstGeom prst="roundRect">
              <a:avLst/>
            </a:prstGeom>
            <a:solidFill>
              <a:srgbClr val="FFFFFF"/>
            </a:solidFill>
            <a:ln w="25400" cap="flat" cmpd="sng" algn="ctr">
              <a:solidFill>
                <a:srgbClr val="32A0A0"/>
              </a:solidFill>
              <a:prstDash val="solid"/>
            </a:ln>
            <a:effectLst/>
          </p:spPr>
          <p:txBody>
            <a:bodyPr wrap="square" lIns="93357" tIns="46680" rIns="93357" bIns="46680" numCol="1" spcCol="143928" rtlCol="0" anchor="ctr">
              <a:noAutofit/>
            </a:bodyPr>
            <a:lstStyle/>
            <a:p>
              <a:pPr algn="ctr" defTabSz="790551">
                <a:lnSpc>
                  <a:spcPct val="110000"/>
                </a:lnSpc>
                <a:spcBef>
                  <a:spcPct val="0"/>
                </a:spcBef>
                <a:defRPr/>
              </a:pPr>
              <a:r>
                <a:rPr lang="en-US" sz="300" b="1" kern="0" dirty="0">
                  <a:solidFill>
                    <a:srgbClr val="000000"/>
                  </a:solidFill>
                </a:rPr>
                <a:t>Analytics and Optimization Systems</a:t>
              </a:r>
            </a:p>
          </p:txBody>
        </p:sp>
        <p:sp>
          <p:nvSpPr>
            <p:cNvPr id="827" name="Rounded Rectangle 115">
              <a:extLst>
                <a:ext uri="{FF2B5EF4-FFF2-40B4-BE49-F238E27FC236}">
                  <a16:creationId xmlns:a16="http://schemas.microsoft.com/office/drawing/2014/main" id="{B61FBA44-CEB2-3F25-EB34-316AC4049C05}"/>
                </a:ext>
              </a:extLst>
            </p:cNvPr>
            <p:cNvSpPr/>
            <p:nvPr/>
          </p:nvSpPr>
          <p:spPr bwMode="auto">
            <a:xfrm>
              <a:off x="4412381" y="6329529"/>
              <a:ext cx="1401414" cy="468290"/>
            </a:xfrm>
            <a:prstGeom prst="roundRect">
              <a:avLst/>
            </a:prstGeom>
            <a:solidFill>
              <a:srgbClr val="FFFFFF"/>
            </a:solidFill>
            <a:ln w="25400" cap="flat" cmpd="sng" algn="ctr">
              <a:solidFill>
                <a:srgbClr val="32A0A0"/>
              </a:solidFill>
              <a:prstDash val="solid"/>
            </a:ln>
            <a:effectLst/>
          </p:spPr>
          <p:txBody>
            <a:bodyPr wrap="square" lIns="93357" tIns="46680" rIns="93357" bIns="46680" numCol="1" spcCol="143928" rtlCol="0" anchor="ctr">
              <a:noAutofit/>
            </a:bodyPr>
            <a:lstStyle/>
            <a:p>
              <a:pPr algn="ctr" defTabSz="790551">
                <a:lnSpc>
                  <a:spcPct val="110000"/>
                </a:lnSpc>
                <a:spcBef>
                  <a:spcPct val="0"/>
                </a:spcBef>
                <a:defRPr/>
              </a:pPr>
              <a:r>
                <a:rPr lang="en-US" sz="300" b="1" kern="0" dirty="0">
                  <a:solidFill>
                    <a:srgbClr val="000000"/>
                  </a:solidFill>
                </a:rPr>
                <a:t>Business and Cross-Functional Systems</a:t>
              </a:r>
            </a:p>
          </p:txBody>
        </p:sp>
        <p:sp>
          <p:nvSpPr>
            <p:cNvPr id="828" name="Freihandform: Form 134">
              <a:extLst>
                <a:ext uri="{FF2B5EF4-FFF2-40B4-BE49-F238E27FC236}">
                  <a16:creationId xmlns:a16="http://schemas.microsoft.com/office/drawing/2014/main" id="{6BCB7E66-162D-A7A4-21F8-582B93E693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0580" y="5683748"/>
              <a:ext cx="214447" cy="290228"/>
            </a:xfrm>
            <a:custGeom>
              <a:avLst/>
              <a:gdLst>
                <a:gd name="connsiteX0" fmla="*/ 0 w 3200400"/>
                <a:gd name="connsiteY0" fmla="*/ 2746376 h 3870326"/>
                <a:gd name="connsiteX1" fmla="*/ 1609140 w 3200400"/>
                <a:gd name="connsiteY1" fmla="*/ 3121026 h 3870326"/>
                <a:gd name="connsiteX2" fmla="*/ 3200400 w 3200400"/>
                <a:gd name="connsiteY2" fmla="*/ 2746376 h 3870326"/>
                <a:gd name="connsiteX3" fmla="*/ 3200400 w 3200400"/>
                <a:gd name="connsiteY3" fmla="*/ 3495676 h 3870326"/>
                <a:gd name="connsiteX4" fmla="*/ 1609140 w 3200400"/>
                <a:gd name="connsiteY4" fmla="*/ 3870326 h 3870326"/>
                <a:gd name="connsiteX5" fmla="*/ 0 w 3200400"/>
                <a:gd name="connsiteY5" fmla="*/ 3495676 h 3870326"/>
                <a:gd name="connsiteX6" fmla="*/ 0 w 3200400"/>
                <a:gd name="connsiteY6" fmla="*/ 2746376 h 3870326"/>
                <a:gd name="connsiteX7" fmla="*/ 0 w 3200400"/>
                <a:gd name="connsiteY7" fmla="*/ 1717675 h 3870326"/>
                <a:gd name="connsiteX8" fmla="*/ 1609140 w 3200400"/>
                <a:gd name="connsiteY8" fmla="*/ 2092325 h 3870326"/>
                <a:gd name="connsiteX9" fmla="*/ 3200400 w 3200400"/>
                <a:gd name="connsiteY9" fmla="*/ 1717675 h 3870326"/>
                <a:gd name="connsiteX10" fmla="*/ 3200400 w 3200400"/>
                <a:gd name="connsiteY10" fmla="*/ 2466975 h 3870326"/>
                <a:gd name="connsiteX11" fmla="*/ 1609140 w 3200400"/>
                <a:gd name="connsiteY11" fmla="*/ 2841625 h 3870326"/>
                <a:gd name="connsiteX12" fmla="*/ 0 w 3200400"/>
                <a:gd name="connsiteY12" fmla="*/ 2466975 h 3870326"/>
                <a:gd name="connsiteX13" fmla="*/ 0 w 3200400"/>
                <a:gd name="connsiteY13" fmla="*/ 1717675 h 3870326"/>
                <a:gd name="connsiteX14" fmla="*/ 0 w 3200400"/>
                <a:gd name="connsiteY14" fmla="*/ 688975 h 3870326"/>
                <a:gd name="connsiteX15" fmla="*/ 1609140 w 3200400"/>
                <a:gd name="connsiteY15" fmla="*/ 1063625 h 3870326"/>
                <a:gd name="connsiteX16" fmla="*/ 3200400 w 3200400"/>
                <a:gd name="connsiteY16" fmla="*/ 688975 h 3870326"/>
                <a:gd name="connsiteX17" fmla="*/ 3200400 w 3200400"/>
                <a:gd name="connsiteY17" fmla="*/ 1438275 h 3870326"/>
                <a:gd name="connsiteX18" fmla="*/ 1609140 w 3200400"/>
                <a:gd name="connsiteY18" fmla="*/ 1812925 h 3870326"/>
                <a:gd name="connsiteX19" fmla="*/ 0 w 3200400"/>
                <a:gd name="connsiteY19" fmla="*/ 1438275 h 3870326"/>
                <a:gd name="connsiteX20" fmla="*/ 0 w 3200400"/>
                <a:gd name="connsiteY20" fmla="*/ 688975 h 3870326"/>
                <a:gd name="connsiteX21" fmla="*/ 1600200 w 3200400"/>
                <a:gd name="connsiteY21" fmla="*/ 0 h 3870326"/>
                <a:gd name="connsiteX22" fmla="*/ 3200400 w 3200400"/>
                <a:gd name="connsiteY22" fmla="*/ 392113 h 3870326"/>
                <a:gd name="connsiteX23" fmla="*/ 1600200 w 3200400"/>
                <a:gd name="connsiteY23" fmla="*/ 784226 h 3870326"/>
                <a:gd name="connsiteX24" fmla="*/ 0 w 3200400"/>
                <a:gd name="connsiteY24" fmla="*/ 392113 h 3870326"/>
                <a:gd name="connsiteX25" fmla="*/ 1600200 w 3200400"/>
                <a:gd name="connsiteY25" fmla="*/ 0 h 3870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200400" h="3870326">
                  <a:moveTo>
                    <a:pt x="0" y="2746376"/>
                  </a:moveTo>
                  <a:cubicBezTo>
                    <a:pt x="0" y="2960462"/>
                    <a:pt x="715173" y="3121026"/>
                    <a:pt x="1609140" y="3121026"/>
                  </a:cubicBezTo>
                  <a:cubicBezTo>
                    <a:pt x="2485227" y="3121026"/>
                    <a:pt x="3200400" y="2960462"/>
                    <a:pt x="3200400" y="2746376"/>
                  </a:cubicBezTo>
                  <a:cubicBezTo>
                    <a:pt x="3200400" y="2746376"/>
                    <a:pt x="3200400" y="2746376"/>
                    <a:pt x="3200400" y="3495676"/>
                  </a:cubicBezTo>
                  <a:cubicBezTo>
                    <a:pt x="3200400" y="3691921"/>
                    <a:pt x="2485227" y="3870326"/>
                    <a:pt x="1609140" y="3870326"/>
                  </a:cubicBezTo>
                  <a:cubicBezTo>
                    <a:pt x="715173" y="3870326"/>
                    <a:pt x="0" y="3691921"/>
                    <a:pt x="0" y="3495676"/>
                  </a:cubicBezTo>
                  <a:cubicBezTo>
                    <a:pt x="0" y="3495676"/>
                    <a:pt x="0" y="3495676"/>
                    <a:pt x="0" y="2746376"/>
                  </a:cubicBezTo>
                  <a:close/>
                  <a:moveTo>
                    <a:pt x="0" y="1717675"/>
                  </a:moveTo>
                  <a:cubicBezTo>
                    <a:pt x="0" y="1931761"/>
                    <a:pt x="715173" y="2092325"/>
                    <a:pt x="1609140" y="2092325"/>
                  </a:cubicBezTo>
                  <a:cubicBezTo>
                    <a:pt x="2485227" y="2092325"/>
                    <a:pt x="3200400" y="1931761"/>
                    <a:pt x="3200400" y="1717675"/>
                  </a:cubicBezTo>
                  <a:cubicBezTo>
                    <a:pt x="3200400" y="1717675"/>
                    <a:pt x="3200400" y="1717675"/>
                    <a:pt x="3200400" y="2466975"/>
                  </a:cubicBezTo>
                  <a:cubicBezTo>
                    <a:pt x="3200400" y="2663220"/>
                    <a:pt x="2485227" y="2841625"/>
                    <a:pt x="1609140" y="2841625"/>
                  </a:cubicBezTo>
                  <a:cubicBezTo>
                    <a:pt x="715173" y="2841625"/>
                    <a:pt x="0" y="2663220"/>
                    <a:pt x="0" y="2466975"/>
                  </a:cubicBezTo>
                  <a:cubicBezTo>
                    <a:pt x="0" y="2466975"/>
                    <a:pt x="0" y="2466975"/>
                    <a:pt x="0" y="1717675"/>
                  </a:cubicBezTo>
                  <a:close/>
                  <a:moveTo>
                    <a:pt x="0" y="688975"/>
                  </a:moveTo>
                  <a:cubicBezTo>
                    <a:pt x="0" y="903061"/>
                    <a:pt x="715173" y="1063625"/>
                    <a:pt x="1609140" y="1063625"/>
                  </a:cubicBezTo>
                  <a:cubicBezTo>
                    <a:pt x="2485227" y="1063625"/>
                    <a:pt x="3200400" y="903061"/>
                    <a:pt x="3200400" y="688975"/>
                  </a:cubicBezTo>
                  <a:cubicBezTo>
                    <a:pt x="3200400" y="688975"/>
                    <a:pt x="3200400" y="688975"/>
                    <a:pt x="3200400" y="1438275"/>
                  </a:cubicBezTo>
                  <a:cubicBezTo>
                    <a:pt x="3200400" y="1652361"/>
                    <a:pt x="2485227" y="1812925"/>
                    <a:pt x="1609140" y="1812925"/>
                  </a:cubicBezTo>
                  <a:cubicBezTo>
                    <a:pt x="715173" y="1812925"/>
                    <a:pt x="0" y="1652361"/>
                    <a:pt x="0" y="1438275"/>
                  </a:cubicBezTo>
                  <a:cubicBezTo>
                    <a:pt x="0" y="1438275"/>
                    <a:pt x="0" y="1438275"/>
                    <a:pt x="0" y="688975"/>
                  </a:cubicBezTo>
                  <a:close/>
                  <a:moveTo>
                    <a:pt x="1600200" y="0"/>
                  </a:moveTo>
                  <a:cubicBezTo>
                    <a:pt x="2483966" y="0"/>
                    <a:pt x="3200400" y="175555"/>
                    <a:pt x="3200400" y="392113"/>
                  </a:cubicBezTo>
                  <a:cubicBezTo>
                    <a:pt x="3200400" y="608671"/>
                    <a:pt x="2483966" y="784226"/>
                    <a:pt x="1600200" y="784226"/>
                  </a:cubicBezTo>
                  <a:cubicBezTo>
                    <a:pt x="716434" y="784226"/>
                    <a:pt x="0" y="608671"/>
                    <a:pt x="0" y="392113"/>
                  </a:cubicBezTo>
                  <a:cubicBezTo>
                    <a:pt x="0" y="175555"/>
                    <a:pt x="716434" y="0"/>
                    <a:pt x="1600200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  <p:txBody>
            <a:bodyPr vert="horz" wrap="square" lIns="91344" tIns="45672" rIns="91344" bIns="45672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400">
                <a:solidFill>
                  <a:srgbClr val="000000"/>
                </a:solidFill>
              </a:endParaRPr>
            </a:p>
          </p:txBody>
        </p:sp>
        <p:sp>
          <p:nvSpPr>
            <p:cNvPr id="829" name="Freihandform: Form 164">
              <a:extLst>
                <a:ext uri="{FF2B5EF4-FFF2-40B4-BE49-F238E27FC236}">
                  <a16:creationId xmlns:a16="http://schemas.microsoft.com/office/drawing/2014/main" id="{B3289B67-4D63-2FD4-09BC-1B4649B213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36480" y="5683748"/>
              <a:ext cx="214447" cy="290228"/>
            </a:xfrm>
            <a:custGeom>
              <a:avLst/>
              <a:gdLst>
                <a:gd name="connsiteX0" fmla="*/ 0 w 3200400"/>
                <a:gd name="connsiteY0" fmla="*/ 2746376 h 3870326"/>
                <a:gd name="connsiteX1" fmla="*/ 1609140 w 3200400"/>
                <a:gd name="connsiteY1" fmla="*/ 3121026 h 3870326"/>
                <a:gd name="connsiteX2" fmla="*/ 3200400 w 3200400"/>
                <a:gd name="connsiteY2" fmla="*/ 2746376 h 3870326"/>
                <a:gd name="connsiteX3" fmla="*/ 3200400 w 3200400"/>
                <a:gd name="connsiteY3" fmla="*/ 3495676 h 3870326"/>
                <a:gd name="connsiteX4" fmla="*/ 1609140 w 3200400"/>
                <a:gd name="connsiteY4" fmla="*/ 3870326 h 3870326"/>
                <a:gd name="connsiteX5" fmla="*/ 0 w 3200400"/>
                <a:gd name="connsiteY5" fmla="*/ 3495676 h 3870326"/>
                <a:gd name="connsiteX6" fmla="*/ 0 w 3200400"/>
                <a:gd name="connsiteY6" fmla="*/ 2746376 h 3870326"/>
                <a:gd name="connsiteX7" fmla="*/ 0 w 3200400"/>
                <a:gd name="connsiteY7" fmla="*/ 1717675 h 3870326"/>
                <a:gd name="connsiteX8" fmla="*/ 1609140 w 3200400"/>
                <a:gd name="connsiteY8" fmla="*/ 2092325 h 3870326"/>
                <a:gd name="connsiteX9" fmla="*/ 3200400 w 3200400"/>
                <a:gd name="connsiteY9" fmla="*/ 1717675 h 3870326"/>
                <a:gd name="connsiteX10" fmla="*/ 3200400 w 3200400"/>
                <a:gd name="connsiteY10" fmla="*/ 2466975 h 3870326"/>
                <a:gd name="connsiteX11" fmla="*/ 1609140 w 3200400"/>
                <a:gd name="connsiteY11" fmla="*/ 2841625 h 3870326"/>
                <a:gd name="connsiteX12" fmla="*/ 0 w 3200400"/>
                <a:gd name="connsiteY12" fmla="*/ 2466975 h 3870326"/>
                <a:gd name="connsiteX13" fmla="*/ 0 w 3200400"/>
                <a:gd name="connsiteY13" fmla="*/ 1717675 h 3870326"/>
                <a:gd name="connsiteX14" fmla="*/ 0 w 3200400"/>
                <a:gd name="connsiteY14" fmla="*/ 688975 h 3870326"/>
                <a:gd name="connsiteX15" fmla="*/ 1609140 w 3200400"/>
                <a:gd name="connsiteY15" fmla="*/ 1063625 h 3870326"/>
                <a:gd name="connsiteX16" fmla="*/ 3200400 w 3200400"/>
                <a:gd name="connsiteY16" fmla="*/ 688975 h 3870326"/>
                <a:gd name="connsiteX17" fmla="*/ 3200400 w 3200400"/>
                <a:gd name="connsiteY17" fmla="*/ 1438275 h 3870326"/>
                <a:gd name="connsiteX18" fmla="*/ 1609140 w 3200400"/>
                <a:gd name="connsiteY18" fmla="*/ 1812925 h 3870326"/>
                <a:gd name="connsiteX19" fmla="*/ 0 w 3200400"/>
                <a:gd name="connsiteY19" fmla="*/ 1438275 h 3870326"/>
                <a:gd name="connsiteX20" fmla="*/ 0 w 3200400"/>
                <a:gd name="connsiteY20" fmla="*/ 688975 h 3870326"/>
                <a:gd name="connsiteX21" fmla="*/ 1600200 w 3200400"/>
                <a:gd name="connsiteY21" fmla="*/ 0 h 3870326"/>
                <a:gd name="connsiteX22" fmla="*/ 3200400 w 3200400"/>
                <a:gd name="connsiteY22" fmla="*/ 392113 h 3870326"/>
                <a:gd name="connsiteX23" fmla="*/ 1600200 w 3200400"/>
                <a:gd name="connsiteY23" fmla="*/ 784226 h 3870326"/>
                <a:gd name="connsiteX24" fmla="*/ 0 w 3200400"/>
                <a:gd name="connsiteY24" fmla="*/ 392113 h 3870326"/>
                <a:gd name="connsiteX25" fmla="*/ 1600200 w 3200400"/>
                <a:gd name="connsiteY25" fmla="*/ 0 h 3870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200400" h="3870326">
                  <a:moveTo>
                    <a:pt x="0" y="2746376"/>
                  </a:moveTo>
                  <a:cubicBezTo>
                    <a:pt x="0" y="2960462"/>
                    <a:pt x="715173" y="3121026"/>
                    <a:pt x="1609140" y="3121026"/>
                  </a:cubicBezTo>
                  <a:cubicBezTo>
                    <a:pt x="2485227" y="3121026"/>
                    <a:pt x="3200400" y="2960462"/>
                    <a:pt x="3200400" y="2746376"/>
                  </a:cubicBezTo>
                  <a:cubicBezTo>
                    <a:pt x="3200400" y="2746376"/>
                    <a:pt x="3200400" y="2746376"/>
                    <a:pt x="3200400" y="3495676"/>
                  </a:cubicBezTo>
                  <a:cubicBezTo>
                    <a:pt x="3200400" y="3691921"/>
                    <a:pt x="2485227" y="3870326"/>
                    <a:pt x="1609140" y="3870326"/>
                  </a:cubicBezTo>
                  <a:cubicBezTo>
                    <a:pt x="715173" y="3870326"/>
                    <a:pt x="0" y="3691921"/>
                    <a:pt x="0" y="3495676"/>
                  </a:cubicBezTo>
                  <a:cubicBezTo>
                    <a:pt x="0" y="3495676"/>
                    <a:pt x="0" y="3495676"/>
                    <a:pt x="0" y="2746376"/>
                  </a:cubicBezTo>
                  <a:close/>
                  <a:moveTo>
                    <a:pt x="0" y="1717675"/>
                  </a:moveTo>
                  <a:cubicBezTo>
                    <a:pt x="0" y="1931761"/>
                    <a:pt x="715173" y="2092325"/>
                    <a:pt x="1609140" y="2092325"/>
                  </a:cubicBezTo>
                  <a:cubicBezTo>
                    <a:pt x="2485227" y="2092325"/>
                    <a:pt x="3200400" y="1931761"/>
                    <a:pt x="3200400" y="1717675"/>
                  </a:cubicBezTo>
                  <a:cubicBezTo>
                    <a:pt x="3200400" y="1717675"/>
                    <a:pt x="3200400" y="1717675"/>
                    <a:pt x="3200400" y="2466975"/>
                  </a:cubicBezTo>
                  <a:cubicBezTo>
                    <a:pt x="3200400" y="2663220"/>
                    <a:pt x="2485227" y="2841625"/>
                    <a:pt x="1609140" y="2841625"/>
                  </a:cubicBezTo>
                  <a:cubicBezTo>
                    <a:pt x="715173" y="2841625"/>
                    <a:pt x="0" y="2663220"/>
                    <a:pt x="0" y="2466975"/>
                  </a:cubicBezTo>
                  <a:cubicBezTo>
                    <a:pt x="0" y="2466975"/>
                    <a:pt x="0" y="2466975"/>
                    <a:pt x="0" y="1717675"/>
                  </a:cubicBezTo>
                  <a:close/>
                  <a:moveTo>
                    <a:pt x="0" y="688975"/>
                  </a:moveTo>
                  <a:cubicBezTo>
                    <a:pt x="0" y="903061"/>
                    <a:pt x="715173" y="1063625"/>
                    <a:pt x="1609140" y="1063625"/>
                  </a:cubicBezTo>
                  <a:cubicBezTo>
                    <a:pt x="2485227" y="1063625"/>
                    <a:pt x="3200400" y="903061"/>
                    <a:pt x="3200400" y="688975"/>
                  </a:cubicBezTo>
                  <a:cubicBezTo>
                    <a:pt x="3200400" y="688975"/>
                    <a:pt x="3200400" y="688975"/>
                    <a:pt x="3200400" y="1438275"/>
                  </a:cubicBezTo>
                  <a:cubicBezTo>
                    <a:pt x="3200400" y="1652361"/>
                    <a:pt x="2485227" y="1812925"/>
                    <a:pt x="1609140" y="1812925"/>
                  </a:cubicBezTo>
                  <a:cubicBezTo>
                    <a:pt x="715173" y="1812925"/>
                    <a:pt x="0" y="1652361"/>
                    <a:pt x="0" y="1438275"/>
                  </a:cubicBezTo>
                  <a:cubicBezTo>
                    <a:pt x="0" y="1438275"/>
                    <a:pt x="0" y="1438275"/>
                    <a:pt x="0" y="688975"/>
                  </a:cubicBezTo>
                  <a:close/>
                  <a:moveTo>
                    <a:pt x="1600200" y="0"/>
                  </a:moveTo>
                  <a:cubicBezTo>
                    <a:pt x="2483966" y="0"/>
                    <a:pt x="3200400" y="175555"/>
                    <a:pt x="3200400" y="392113"/>
                  </a:cubicBezTo>
                  <a:cubicBezTo>
                    <a:pt x="3200400" y="608671"/>
                    <a:pt x="2483966" y="784226"/>
                    <a:pt x="1600200" y="784226"/>
                  </a:cubicBezTo>
                  <a:cubicBezTo>
                    <a:pt x="716434" y="784226"/>
                    <a:pt x="0" y="608671"/>
                    <a:pt x="0" y="392113"/>
                  </a:cubicBezTo>
                  <a:cubicBezTo>
                    <a:pt x="0" y="175555"/>
                    <a:pt x="716434" y="0"/>
                    <a:pt x="1600200" y="0"/>
                  </a:cubicBezTo>
                  <a:close/>
                </a:path>
              </a:pathLst>
            </a:custGeom>
            <a:solidFill>
              <a:srgbClr val="AAB414"/>
            </a:solidFill>
            <a:ln>
              <a:noFill/>
            </a:ln>
          </p:spPr>
          <p:txBody>
            <a:bodyPr vert="horz" wrap="square" lIns="91344" tIns="45672" rIns="91344" bIns="45672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400">
                <a:solidFill>
                  <a:srgbClr val="000000"/>
                </a:solidFill>
              </a:endParaRPr>
            </a:p>
          </p:txBody>
        </p:sp>
        <p:sp>
          <p:nvSpPr>
            <p:cNvPr id="830" name="Freihandform: Form 161">
              <a:extLst>
                <a:ext uri="{FF2B5EF4-FFF2-40B4-BE49-F238E27FC236}">
                  <a16:creationId xmlns:a16="http://schemas.microsoft.com/office/drawing/2014/main" id="{E7669BA1-8D40-4A8B-5B4D-A6BAFFEABB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01556" y="5687406"/>
              <a:ext cx="214447" cy="290228"/>
            </a:xfrm>
            <a:custGeom>
              <a:avLst/>
              <a:gdLst>
                <a:gd name="connsiteX0" fmla="*/ 0 w 3200400"/>
                <a:gd name="connsiteY0" fmla="*/ 2746376 h 3870326"/>
                <a:gd name="connsiteX1" fmla="*/ 1609140 w 3200400"/>
                <a:gd name="connsiteY1" fmla="*/ 3121026 h 3870326"/>
                <a:gd name="connsiteX2" fmla="*/ 3200400 w 3200400"/>
                <a:gd name="connsiteY2" fmla="*/ 2746376 h 3870326"/>
                <a:gd name="connsiteX3" fmla="*/ 3200400 w 3200400"/>
                <a:gd name="connsiteY3" fmla="*/ 3495676 h 3870326"/>
                <a:gd name="connsiteX4" fmla="*/ 1609140 w 3200400"/>
                <a:gd name="connsiteY4" fmla="*/ 3870326 h 3870326"/>
                <a:gd name="connsiteX5" fmla="*/ 0 w 3200400"/>
                <a:gd name="connsiteY5" fmla="*/ 3495676 h 3870326"/>
                <a:gd name="connsiteX6" fmla="*/ 0 w 3200400"/>
                <a:gd name="connsiteY6" fmla="*/ 2746376 h 3870326"/>
                <a:gd name="connsiteX7" fmla="*/ 0 w 3200400"/>
                <a:gd name="connsiteY7" fmla="*/ 1717675 h 3870326"/>
                <a:gd name="connsiteX8" fmla="*/ 1609140 w 3200400"/>
                <a:gd name="connsiteY8" fmla="*/ 2092325 h 3870326"/>
                <a:gd name="connsiteX9" fmla="*/ 3200400 w 3200400"/>
                <a:gd name="connsiteY9" fmla="*/ 1717675 h 3870326"/>
                <a:gd name="connsiteX10" fmla="*/ 3200400 w 3200400"/>
                <a:gd name="connsiteY10" fmla="*/ 2466975 h 3870326"/>
                <a:gd name="connsiteX11" fmla="*/ 1609140 w 3200400"/>
                <a:gd name="connsiteY11" fmla="*/ 2841625 h 3870326"/>
                <a:gd name="connsiteX12" fmla="*/ 0 w 3200400"/>
                <a:gd name="connsiteY12" fmla="*/ 2466975 h 3870326"/>
                <a:gd name="connsiteX13" fmla="*/ 0 w 3200400"/>
                <a:gd name="connsiteY13" fmla="*/ 1717675 h 3870326"/>
                <a:gd name="connsiteX14" fmla="*/ 0 w 3200400"/>
                <a:gd name="connsiteY14" fmla="*/ 688975 h 3870326"/>
                <a:gd name="connsiteX15" fmla="*/ 1609140 w 3200400"/>
                <a:gd name="connsiteY15" fmla="*/ 1063625 h 3870326"/>
                <a:gd name="connsiteX16" fmla="*/ 3200400 w 3200400"/>
                <a:gd name="connsiteY16" fmla="*/ 688975 h 3870326"/>
                <a:gd name="connsiteX17" fmla="*/ 3200400 w 3200400"/>
                <a:gd name="connsiteY17" fmla="*/ 1438275 h 3870326"/>
                <a:gd name="connsiteX18" fmla="*/ 1609140 w 3200400"/>
                <a:gd name="connsiteY18" fmla="*/ 1812925 h 3870326"/>
                <a:gd name="connsiteX19" fmla="*/ 0 w 3200400"/>
                <a:gd name="connsiteY19" fmla="*/ 1438275 h 3870326"/>
                <a:gd name="connsiteX20" fmla="*/ 0 w 3200400"/>
                <a:gd name="connsiteY20" fmla="*/ 688975 h 3870326"/>
                <a:gd name="connsiteX21" fmla="*/ 1600200 w 3200400"/>
                <a:gd name="connsiteY21" fmla="*/ 0 h 3870326"/>
                <a:gd name="connsiteX22" fmla="*/ 3200400 w 3200400"/>
                <a:gd name="connsiteY22" fmla="*/ 392113 h 3870326"/>
                <a:gd name="connsiteX23" fmla="*/ 1600200 w 3200400"/>
                <a:gd name="connsiteY23" fmla="*/ 784226 h 3870326"/>
                <a:gd name="connsiteX24" fmla="*/ 0 w 3200400"/>
                <a:gd name="connsiteY24" fmla="*/ 392113 h 3870326"/>
                <a:gd name="connsiteX25" fmla="*/ 1600200 w 3200400"/>
                <a:gd name="connsiteY25" fmla="*/ 0 h 3870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200400" h="3870326">
                  <a:moveTo>
                    <a:pt x="0" y="2746376"/>
                  </a:moveTo>
                  <a:cubicBezTo>
                    <a:pt x="0" y="2960462"/>
                    <a:pt x="715173" y="3121026"/>
                    <a:pt x="1609140" y="3121026"/>
                  </a:cubicBezTo>
                  <a:cubicBezTo>
                    <a:pt x="2485227" y="3121026"/>
                    <a:pt x="3200400" y="2960462"/>
                    <a:pt x="3200400" y="2746376"/>
                  </a:cubicBezTo>
                  <a:cubicBezTo>
                    <a:pt x="3200400" y="2746376"/>
                    <a:pt x="3200400" y="2746376"/>
                    <a:pt x="3200400" y="3495676"/>
                  </a:cubicBezTo>
                  <a:cubicBezTo>
                    <a:pt x="3200400" y="3691921"/>
                    <a:pt x="2485227" y="3870326"/>
                    <a:pt x="1609140" y="3870326"/>
                  </a:cubicBezTo>
                  <a:cubicBezTo>
                    <a:pt x="715173" y="3870326"/>
                    <a:pt x="0" y="3691921"/>
                    <a:pt x="0" y="3495676"/>
                  </a:cubicBezTo>
                  <a:cubicBezTo>
                    <a:pt x="0" y="3495676"/>
                    <a:pt x="0" y="3495676"/>
                    <a:pt x="0" y="2746376"/>
                  </a:cubicBezTo>
                  <a:close/>
                  <a:moveTo>
                    <a:pt x="0" y="1717675"/>
                  </a:moveTo>
                  <a:cubicBezTo>
                    <a:pt x="0" y="1931761"/>
                    <a:pt x="715173" y="2092325"/>
                    <a:pt x="1609140" y="2092325"/>
                  </a:cubicBezTo>
                  <a:cubicBezTo>
                    <a:pt x="2485227" y="2092325"/>
                    <a:pt x="3200400" y="1931761"/>
                    <a:pt x="3200400" y="1717675"/>
                  </a:cubicBezTo>
                  <a:cubicBezTo>
                    <a:pt x="3200400" y="1717675"/>
                    <a:pt x="3200400" y="1717675"/>
                    <a:pt x="3200400" y="2466975"/>
                  </a:cubicBezTo>
                  <a:cubicBezTo>
                    <a:pt x="3200400" y="2663220"/>
                    <a:pt x="2485227" y="2841625"/>
                    <a:pt x="1609140" y="2841625"/>
                  </a:cubicBezTo>
                  <a:cubicBezTo>
                    <a:pt x="715173" y="2841625"/>
                    <a:pt x="0" y="2663220"/>
                    <a:pt x="0" y="2466975"/>
                  </a:cubicBezTo>
                  <a:cubicBezTo>
                    <a:pt x="0" y="2466975"/>
                    <a:pt x="0" y="2466975"/>
                    <a:pt x="0" y="1717675"/>
                  </a:cubicBezTo>
                  <a:close/>
                  <a:moveTo>
                    <a:pt x="0" y="688975"/>
                  </a:moveTo>
                  <a:cubicBezTo>
                    <a:pt x="0" y="903061"/>
                    <a:pt x="715173" y="1063625"/>
                    <a:pt x="1609140" y="1063625"/>
                  </a:cubicBezTo>
                  <a:cubicBezTo>
                    <a:pt x="2485227" y="1063625"/>
                    <a:pt x="3200400" y="903061"/>
                    <a:pt x="3200400" y="688975"/>
                  </a:cubicBezTo>
                  <a:cubicBezTo>
                    <a:pt x="3200400" y="688975"/>
                    <a:pt x="3200400" y="688975"/>
                    <a:pt x="3200400" y="1438275"/>
                  </a:cubicBezTo>
                  <a:cubicBezTo>
                    <a:pt x="3200400" y="1652361"/>
                    <a:pt x="2485227" y="1812925"/>
                    <a:pt x="1609140" y="1812925"/>
                  </a:cubicBezTo>
                  <a:cubicBezTo>
                    <a:pt x="715173" y="1812925"/>
                    <a:pt x="0" y="1652361"/>
                    <a:pt x="0" y="1438275"/>
                  </a:cubicBezTo>
                  <a:cubicBezTo>
                    <a:pt x="0" y="1438275"/>
                    <a:pt x="0" y="1438275"/>
                    <a:pt x="0" y="688975"/>
                  </a:cubicBezTo>
                  <a:close/>
                  <a:moveTo>
                    <a:pt x="1600200" y="0"/>
                  </a:moveTo>
                  <a:cubicBezTo>
                    <a:pt x="2483966" y="0"/>
                    <a:pt x="3200400" y="175555"/>
                    <a:pt x="3200400" y="392113"/>
                  </a:cubicBezTo>
                  <a:cubicBezTo>
                    <a:pt x="3200400" y="608671"/>
                    <a:pt x="2483966" y="784226"/>
                    <a:pt x="1600200" y="784226"/>
                  </a:cubicBezTo>
                  <a:cubicBezTo>
                    <a:pt x="716434" y="784226"/>
                    <a:pt x="0" y="608671"/>
                    <a:pt x="0" y="392113"/>
                  </a:cubicBezTo>
                  <a:cubicBezTo>
                    <a:pt x="0" y="175555"/>
                    <a:pt x="716434" y="0"/>
                    <a:pt x="1600200" y="0"/>
                  </a:cubicBez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</p:spPr>
          <p:txBody>
            <a:bodyPr vert="horz" wrap="square" lIns="91344" tIns="45672" rIns="91344" bIns="45672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400">
                <a:solidFill>
                  <a:srgbClr val="000000"/>
                </a:solidFill>
              </a:endParaRPr>
            </a:p>
          </p:txBody>
        </p:sp>
        <p:sp>
          <p:nvSpPr>
            <p:cNvPr id="837" name="Rounded Rectangle 115">
              <a:extLst>
                <a:ext uri="{FF2B5EF4-FFF2-40B4-BE49-F238E27FC236}">
                  <a16:creationId xmlns:a16="http://schemas.microsoft.com/office/drawing/2014/main" id="{5226CF22-95D7-E4F1-88A3-5C5D081683E1}"/>
                </a:ext>
              </a:extLst>
            </p:cNvPr>
            <p:cNvSpPr/>
            <p:nvPr/>
          </p:nvSpPr>
          <p:spPr bwMode="auto">
            <a:xfrm>
              <a:off x="6409055" y="6337343"/>
              <a:ext cx="1401414" cy="468290"/>
            </a:xfrm>
            <a:prstGeom prst="roundRect">
              <a:avLst/>
            </a:prstGeom>
            <a:solidFill>
              <a:srgbClr val="FFFFFF"/>
            </a:solidFill>
            <a:ln w="25400" cap="flat" cmpd="sng" algn="ctr">
              <a:solidFill>
                <a:srgbClr val="32A0A0"/>
              </a:solidFill>
              <a:prstDash val="solid"/>
            </a:ln>
            <a:effectLst/>
          </p:spPr>
          <p:txBody>
            <a:bodyPr wrap="square" lIns="93357" tIns="46680" rIns="93357" bIns="46680" numCol="1" spcCol="143928" rtlCol="0" anchor="ctr">
              <a:noAutofit/>
            </a:bodyPr>
            <a:lstStyle/>
            <a:p>
              <a:pPr algn="ctr" defTabSz="790551">
                <a:lnSpc>
                  <a:spcPct val="110000"/>
                </a:lnSpc>
                <a:spcBef>
                  <a:spcPct val="0"/>
                </a:spcBef>
                <a:defRPr/>
              </a:pPr>
              <a:r>
                <a:rPr lang="en-US" sz="300" b="1" kern="0" dirty="0">
                  <a:solidFill>
                    <a:srgbClr val="000000"/>
                  </a:solidFill>
                </a:rPr>
                <a:t>Plant Systems</a:t>
              </a:r>
            </a:p>
          </p:txBody>
        </p:sp>
        <p:sp>
          <p:nvSpPr>
            <p:cNvPr id="838" name="Rounded Rectangle 115">
              <a:extLst>
                <a:ext uri="{FF2B5EF4-FFF2-40B4-BE49-F238E27FC236}">
                  <a16:creationId xmlns:a16="http://schemas.microsoft.com/office/drawing/2014/main" id="{FC68AFFF-CE30-FC76-E234-250BB4132D81}"/>
                </a:ext>
              </a:extLst>
            </p:cNvPr>
            <p:cNvSpPr/>
            <p:nvPr/>
          </p:nvSpPr>
          <p:spPr bwMode="auto">
            <a:xfrm>
              <a:off x="8346551" y="6334814"/>
              <a:ext cx="1401414" cy="468290"/>
            </a:xfrm>
            <a:prstGeom prst="roundRect">
              <a:avLst/>
            </a:prstGeom>
            <a:solidFill>
              <a:srgbClr val="FFFFFF"/>
            </a:solidFill>
            <a:ln w="25400" cap="flat" cmpd="sng" algn="ctr">
              <a:solidFill>
                <a:srgbClr val="32A0A0"/>
              </a:solidFill>
              <a:prstDash val="solid"/>
            </a:ln>
            <a:effectLst/>
          </p:spPr>
          <p:txBody>
            <a:bodyPr wrap="square" lIns="93357" tIns="46680" rIns="93357" bIns="46680" numCol="1" spcCol="143928" rtlCol="0" anchor="ctr">
              <a:noAutofit/>
            </a:bodyPr>
            <a:lstStyle/>
            <a:p>
              <a:pPr algn="ctr" defTabSz="790551">
                <a:lnSpc>
                  <a:spcPct val="110000"/>
                </a:lnSpc>
                <a:spcBef>
                  <a:spcPct val="0"/>
                </a:spcBef>
                <a:defRPr/>
              </a:pPr>
              <a:r>
                <a:rPr lang="en-US" sz="300" b="1" kern="0" dirty="0">
                  <a:solidFill>
                    <a:srgbClr val="000000"/>
                  </a:solidFill>
                </a:rPr>
                <a:t>Engineering Systems</a:t>
              </a:r>
            </a:p>
          </p:txBody>
        </p:sp>
        <p:sp>
          <p:nvSpPr>
            <p:cNvPr id="842" name="Freeform 85">
              <a:extLst>
                <a:ext uri="{FF2B5EF4-FFF2-40B4-BE49-F238E27FC236}">
                  <a16:creationId xmlns:a16="http://schemas.microsoft.com/office/drawing/2014/main" id="{4E0F8F1E-7A90-A324-65EC-7E6390C50B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09961" y="5695820"/>
              <a:ext cx="394515" cy="254682"/>
            </a:xfrm>
            <a:custGeom>
              <a:avLst/>
              <a:gdLst>
                <a:gd name="T0" fmla="*/ 805 w 996"/>
                <a:gd name="T1" fmla="*/ 240 h 643"/>
                <a:gd name="T2" fmla="*/ 555 w 996"/>
                <a:gd name="T3" fmla="*/ 8 h 643"/>
                <a:gd name="T4" fmla="*/ 307 w 996"/>
                <a:gd name="T5" fmla="*/ 178 h 643"/>
                <a:gd name="T6" fmla="*/ 117 w 996"/>
                <a:gd name="T7" fmla="*/ 361 h 643"/>
                <a:gd name="T8" fmla="*/ 0 w 996"/>
                <a:gd name="T9" fmla="*/ 490 h 643"/>
                <a:gd name="T10" fmla="*/ 134 w 996"/>
                <a:gd name="T11" fmla="*/ 643 h 643"/>
                <a:gd name="T12" fmla="*/ 793 w 996"/>
                <a:gd name="T13" fmla="*/ 643 h 643"/>
                <a:gd name="T14" fmla="*/ 989 w 996"/>
                <a:gd name="T15" fmla="*/ 455 h 643"/>
                <a:gd name="T16" fmla="*/ 805 w 996"/>
                <a:gd name="T17" fmla="*/ 240 h 643"/>
                <a:gd name="T18" fmla="*/ 330 w 996"/>
                <a:gd name="T19" fmla="*/ 598 h 643"/>
                <a:gd name="T20" fmla="*/ 286 w 996"/>
                <a:gd name="T21" fmla="*/ 598 h 643"/>
                <a:gd name="T22" fmla="*/ 286 w 996"/>
                <a:gd name="T23" fmla="*/ 510 h 643"/>
                <a:gd name="T24" fmla="*/ 243 w 996"/>
                <a:gd name="T25" fmla="*/ 468 h 643"/>
                <a:gd name="T26" fmla="*/ 223 w 996"/>
                <a:gd name="T27" fmla="*/ 473 h 643"/>
                <a:gd name="T28" fmla="*/ 172 w 996"/>
                <a:gd name="T29" fmla="*/ 422 h 643"/>
                <a:gd name="T30" fmla="*/ 223 w 996"/>
                <a:gd name="T31" fmla="*/ 371 h 643"/>
                <a:gd name="T32" fmla="*/ 274 w 996"/>
                <a:gd name="T33" fmla="*/ 422 h 643"/>
                <a:gd name="T34" fmla="*/ 271 w 996"/>
                <a:gd name="T35" fmla="*/ 437 h 643"/>
                <a:gd name="T36" fmla="*/ 273 w 996"/>
                <a:gd name="T37" fmla="*/ 436 h 643"/>
                <a:gd name="T38" fmla="*/ 330 w 996"/>
                <a:gd name="T39" fmla="*/ 491 h 643"/>
                <a:gd name="T40" fmla="*/ 330 w 996"/>
                <a:gd name="T41" fmla="*/ 598 h 643"/>
                <a:gd name="T42" fmla="*/ 421 w 996"/>
                <a:gd name="T43" fmla="*/ 434 h 643"/>
                <a:gd name="T44" fmla="*/ 421 w 996"/>
                <a:gd name="T45" fmla="*/ 598 h 643"/>
                <a:gd name="T46" fmla="*/ 377 w 996"/>
                <a:gd name="T47" fmla="*/ 598 h 643"/>
                <a:gd name="T48" fmla="*/ 377 w 996"/>
                <a:gd name="T49" fmla="*/ 434 h 643"/>
                <a:gd name="T50" fmla="*/ 348 w 996"/>
                <a:gd name="T51" fmla="*/ 388 h 643"/>
                <a:gd name="T52" fmla="*/ 399 w 996"/>
                <a:gd name="T53" fmla="*/ 338 h 643"/>
                <a:gd name="T54" fmla="*/ 450 w 996"/>
                <a:gd name="T55" fmla="*/ 388 h 643"/>
                <a:gd name="T56" fmla="*/ 421 w 996"/>
                <a:gd name="T57" fmla="*/ 434 h 643"/>
                <a:gd name="T58" fmla="*/ 534 w 996"/>
                <a:gd name="T59" fmla="*/ 598 h 643"/>
                <a:gd name="T60" fmla="*/ 490 w 996"/>
                <a:gd name="T61" fmla="*/ 598 h 643"/>
                <a:gd name="T62" fmla="*/ 490 w 996"/>
                <a:gd name="T63" fmla="*/ 326 h 643"/>
                <a:gd name="T64" fmla="*/ 566 w 996"/>
                <a:gd name="T65" fmla="*/ 255 h 643"/>
                <a:gd name="T66" fmla="*/ 563 w 996"/>
                <a:gd name="T67" fmla="*/ 240 h 643"/>
                <a:gd name="T68" fmla="*/ 614 w 996"/>
                <a:gd name="T69" fmla="*/ 189 h 643"/>
                <a:gd name="T70" fmla="*/ 665 w 996"/>
                <a:gd name="T71" fmla="*/ 240 h 643"/>
                <a:gd name="T72" fmla="*/ 614 w 996"/>
                <a:gd name="T73" fmla="*/ 291 h 643"/>
                <a:gd name="T74" fmla="*/ 596 w 996"/>
                <a:gd name="T75" fmla="*/ 287 h 643"/>
                <a:gd name="T76" fmla="*/ 534 w 996"/>
                <a:gd name="T77" fmla="*/ 345 h 643"/>
                <a:gd name="T78" fmla="*/ 534 w 996"/>
                <a:gd name="T79" fmla="*/ 598 h 643"/>
                <a:gd name="T80" fmla="*/ 635 w 996"/>
                <a:gd name="T81" fmla="*/ 480 h 643"/>
                <a:gd name="T82" fmla="*/ 635 w 996"/>
                <a:gd name="T83" fmla="*/ 598 h 643"/>
                <a:gd name="T84" fmla="*/ 591 w 996"/>
                <a:gd name="T85" fmla="*/ 598 h 643"/>
                <a:gd name="T86" fmla="*/ 591 w 996"/>
                <a:gd name="T87" fmla="*/ 472 h 643"/>
                <a:gd name="T88" fmla="*/ 615 w 996"/>
                <a:gd name="T89" fmla="*/ 409 h 643"/>
                <a:gd name="T90" fmla="*/ 603 w 996"/>
                <a:gd name="T91" fmla="*/ 376 h 643"/>
                <a:gd name="T92" fmla="*/ 654 w 996"/>
                <a:gd name="T93" fmla="*/ 326 h 643"/>
                <a:gd name="T94" fmla="*/ 705 w 996"/>
                <a:gd name="T95" fmla="*/ 376 h 643"/>
                <a:gd name="T96" fmla="*/ 655 w 996"/>
                <a:gd name="T97" fmla="*/ 427 h 643"/>
                <a:gd name="T98" fmla="*/ 635 w 996"/>
                <a:gd name="T99" fmla="*/ 480 h 643"/>
                <a:gd name="T100" fmla="*/ 761 w 996"/>
                <a:gd name="T101" fmla="*/ 536 h 643"/>
                <a:gd name="T102" fmla="*/ 761 w 996"/>
                <a:gd name="T103" fmla="*/ 598 h 643"/>
                <a:gd name="T104" fmla="*/ 717 w 996"/>
                <a:gd name="T105" fmla="*/ 598 h 643"/>
                <a:gd name="T106" fmla="*/ 717 w 996"/>
                <a:gd name="T107" fmla="*/ 536 h 643"/>
                <a:gd name="T108" fmla="*/ 688 w 996"/>
                <a:gd name="T109" fmla="*/ 490 h 643"/>
                <a:gd name="T110" fmla="*/ 739 w 996"/>
                <a:gd name="T111" fmla="*/ 440 h 643"/>
                <a:gd name="T112" fmla="*/ 790 w 996"/>
                <a:gd name="T113" fmla="*/ 490 h 643"/>
                <a:gd name="T114" fmla="*/ 761 w 996"/>
                <a:gd name="T115" fmla="*/ 536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96" h="643">
                  <a:moveTo>
                    <a:pt x="805" y="240"/>
                  </a:moveTo>
                  <a:cubicBezTo>
                    <a:pt x="761" y="0"/>
                    <a:pt x="555" y="8"/>
                    <a:pt x="555" y="8"/>
                  </a:cubicBezTo>
                  <a:cubicBezTo>
                    <a:pt x="363" y="8"/>
                    <a:pt x="307" y="178"/>
                    <a:pt x="307" y="178"/>
                  </a:cubicBezTo>
                  <a:cubicBezTo>
                    <a:pt x="108" y="178"/>
                    <a:pt x="117" y="361"/>
                    <a:pt x="117" y="361"/>
                  </a:cubicBezTo>
                  <a:cubicBezTo>
                    <a:pt x="0" y="380"/>
                    <a:pt x="0" y="490"/>
                    <a:pt x="0" y="490"/>
                  </a:cubicBezTo>
                  <a:cubicBezTo>
                    <a:pt x="0" y="636"/>
                    <a:pt x="134" y="643"/>
                    <a:pt x="134" y="643"/>
                  </a:cubicBezTo>
                  <a:cubicBezTo>
                    <a:pt x="793" y="643"/>
                    <a:pt x="793" y="643"/>
                    <a:pt x="793" y="643"/>
                  </a:cubicBezTo>
                  <a:cubicBezTo>
                    <a:pt x="989" y="637"/>
                    <a:pt x="989" y="455"/>
                    <a:pt x="989" y="455"/>
                  </a:cubicBezTo>
                  <a:cubicBezTo>
                    <a:pt x="996" y="248"/>
                    <a:pt x="805" y="240"/>
                    <a:pt x="805" y="240"/>
                  </a:cubicBezTo>
                  <a:close/>
                  <a:moveTo>
                    <a:pt x="330" y="598"/>
                  </a:moveTo>
                  <a:cubicBezTo>
                    <a:pt x="286" y="598"/>
                    <a:pt x="286" y="598"/>
                    <a:pt x="286" y="598"/>
                  </a:cubicBezTo>
                  <a:cubicBezTo>
                    <a:pt x="286" y="510"/>
                    <a:pt x="286" y="510"/>
                    <a:pt x="286" y="510"/>
                  </a:cubicBezTo>
                  <a:cubicBezTo>
                    <a:pt x="243" y="468"/>
                    <a:pt x="243" y="468"/>
                    <a:pt x="243" y="468"/>
                  </a:cubicBezTo>
                  <a:cubicBezTo>
                    <a:pt x="237" y="471"/>
                    <a:pt x="230" y="473"/>
                    <a:pt x="223" y="473"/>
                  </a:cubicBezTo>
                  <a:cubicBezTo>
                    <a:pt x="195" y="473"/>
                    <a:pt x="172" y="450"/>
                    <a:pt x="172" y="422"/>
                  </a:cubicBezTo>
                  <a:cubicBezTo>
                    <a:pt x="172" y="394"/>
                    <a:pt x="195" y="371"/>
                    <a:pt x="223" y="371"/>
                  </a:cubicBezTo>
                  <a:cubicBezTo>
                    <a:pt x="251" y="371"/>
                    <a:pt x="274" y="394"/>
                    <a:pt x="274" y="422"/>
                  </a:cubicBezTo>
                  <a:cubicBezTo>
                    <a:pt x="274" y="427"/>
                    <a:pt x="273" y="432"/>
                    <a:pt x="271" y="437"/>
                  </a:cubicBezTo>
                  <a:cubicBezTo>
                    <a:pt x="273" y="436"/>
                    <a:pt x="273" y="436"/>
                    <a:pt x="273" y="436"/>
                  </a:cubicBezTo>
                  <a:cubicBezTo>
                    <a:pt x="330" y="491"/>
                    <a:pt x="330" y="491"/>
                    <a:pt x="330" y="491"/>
                  </a:cubicBezTo>
                  <a:lnTo>
                    <a:pt x="330" y="598"/>
                  </a:lnTo>
                  <a:close/>
                  <a:moveTo>
                    <a:pt x="421" y="434"/>
                  </a:moveTo>
                  <a:cubicBezTo>
                    <a:pt x="421" y="598"/>
                    <a:pt x="421" y="598"/>
                    <a:pt x="421" y="598"/>
                  </a:cubicBezTo>
                  <a:cubicBezTo>
                    <a:pt x="377" y="598"/>
                    <a:pt x="377" y="598"/>
                    <a:pt x="377" y="598"/>
                  </a:cubicBezTo>
                  <a:cubicBezTo>
                    <a:pt x="377" y="434"/>
                    <a:pt x="377" y="434"/>
                    <a:pt x="377" y="434"/>
                  </a:cubicBezTo>
                  <a:cubicBezTo>
                    <a:pt x="360" y="426"/>
                    <a:pt x="348" y="408"/>
                    <a:pt x="348" y="388"/>
                  </a:cubicBezTo>
                  <a:cubicBezTo>
                    <a:pt x="348" y="360"/>
                    <a:pt x="371" y="338"/>
                    <a:pt x="399" y="338"/>
                  </a:cubicBezTo>
                  <a:cubicBezTo>
                    <a:pt x="427" y="338"/>
                    <a:pt x="450" y="360"/>
                    <a:pt x="450" y="388"/>
                  </a:cubicBezTo>
                  <a:cubicBezTo>
                    <a:pt x="450" y="408"/>
                    <a:pt x="438" y="426"/>
                    <a:pt x="421" y="434"/>
                  </a:cubicBezTo>
                  <a:close/>
                  <a:moveTo>
                    <a:pt x="534" y="598"/>
                  </a:moveTo>
                  <a:cubicBezTo>
                    <a:pt x="490" y="598"/>
                    <a:pt x="490" y="598"/>
                    <a:pt x="490" y="598"/>
                  </a:cubicBezTo>
                  <a:cubicBezTo>
                    <a:pt x="490" y="326"/>
                    <a:pt x="490" y="326"/>
                    <a:pt x="490" y="326"/>
                  </a:cubicBezTo>
                  <a:cubicBezTo>
                    <a:pt x="566" y="255"/>
                    <a:pt x="566" y="255"/>
                    <a:pt x="566" y="255"/>
                  </a:cubicBezTo>
                  <a:cubicBezTo>
                    <a:pt x="564" y="250"/>
                    <a:pt x="563" y="245"/>
                    <a:pt x="563" y="240"/>
                  </a:cubicBezTo>
                  <a:cubicBezTo>
                    <a:pt x="563" y="212"/>
                    <a:pt x="586" y="189"/>
                    <a:pt x="614" y="189"/>
                  </a:cubicBezTo>
                  <a:cubicBezTo>
                    <a:pt x="642" y="189"/>
                    <a:pt x="665" y="212"/>
                    <a:pt x="665" y="240"/>
                  </a:cubicBezTo>
                  <a:cubicBezTo>
                    <a:pt x="665" y="268"/>
                    <a:pt x="642" y="291"/>
                    <a:pt x="614" y="291"/>
                  </a:cubicBezTo>
                  <a:cubicBezTo>
                    <a:pt x="608" y="291"/>
                    <a:pt x="601" y="289"/>
                    <a:pt x="596" y="287"/>
                  </a:cubicBezTo>
                  <a:cubicBezTo>
                    <a:pt x="534" y="345"/>
                    <a:pt x="534" y="345"/>
                    <a:pt x="534" y="345"/>
                  </a:cubicBezTo>
                  <a:lnTo>
                    <a:pt x="534" y="598"/>
                  </a:lnTo>
                  <a:close/>
                  <a:moveTo>
                    <a:pt x="635" y="480"/>
                  </a:moveTo>
                  <a:cubicBezTo>
                    <a:pt x="635" y="598"/>
                    <a:pt x="635" y="598"/>
                    <a:pt x="635" y="598"/>
                  </a:cubicBezTo>
                  <a:cubicBezTo>
                    <a:pt x="591" y="598"/>
                    <a:pt x="591" y="598"/>
                    <a:pt x="591" y="598"/>
                  </a:cubicBezTo>
                  <a:cubicBezTo>
                    <a:pt x="591" y="472"/>
                    <a:pt x="591" y="472"/>
                    <a:pt x="591" y="472"/>
                  </a:cubicBezTo>
                  <a:cubicBezTo>
                    <a:pt x="615" y="409"/>
                    <a:pt x="615" y="409"/>
                    <a:pt x="615" y="409"/>
                  </a:cubicBezTo>
                  <a:cubicBezTo>
                    <a:pt x="607" y="400"/>
                    <a:pt x="603" y="389"/>
                    <a:pt x="603" y="376"/>
                  </a:cubicBezTo>
                  <a:cubicBezTo>
                    <a:pt x="603" y="348"/>
                    <a:pt x="626" y="326"/>
                    <a:pt x="654" y="326"/>
                  </a:cubicBezTo>
                  <a:cubicBezTo>
                    <a:pt x="682" y="326"/>
                    <a:pt x="705" y="348"/>
                    <a:pt x="705" y="376"/>
                  </a:cubicBezTo>
                  <a:cubicBezTo>
                    <a:pt x="705" y="404"/>
                    <a:pt x="682" y="427"/>
                    <a:pt x="655" y="427"/>
                  </a:cubicBezTo>
                  <a:lnTo>
                    <a:pt x="635" y="480"/>
                  </a:lnTo>
                  <a:close/>
                  <a:moveTo>
                    <a:pt x="761" y="536"/>
                  </a:moveTo>
                  <a:cubicBezTo>
                    <a:pt x="761" y="598"/>
                    <a:pt x="761" y="598"/>
                    <a:pt x="761" y="598"/>
                  </a:cubicBezTo>
                  <a:cubicBezTo>
                    <a:pt x="717" y="598"/>
                    <a:pt x="717" y="598"/>
                    <a:pt x="717" y="598"/>
                  </a:cubicBezTo>
                  <a:cubicBezTo>
                    <a:pt x="717" y="536"/>
                    <a:pt x="717" y="536"/>
                    <a:pt x="717" y="536"/>
                  </a:cubicBezTo>
                  <a:cubicBezTo>
                    <a:pt x="700" y="528"/>
                    <a:pt x="688" y="511"/>
                    <a:pt x="688" y="490"/>
                  </a:cubicBezTo>
                  <a:cubicBezTo>
                    <a:pt x="688" y="462"/>
                    <a:pt x="711" y="440"/>
                    <a:pt x="739" y="440"/>
                  </a:cubicBezTo>
                  <a:cubicBezTo>
                    <a:pt x="767" y="440"/>
                    <a:pt x="790" y="462"/>
                    <a:pt x="790" y="490"/>
                  </a:cubicBezTo>
                  <a:cubicBezTo>
                    <a:pt x="790" y="511"/>
                    <a:pt x="778" y="528"/>
                    <a:pt x="761" y="536"/>
                  </a:cubicBezTo>
                  <a:close/>
                </a:path>
              </a:pathLst>
            </a:custGeom>
            <a:solidFill>
              <a:srgbClr val="0F8287"/>
            </a:solidFill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43" name="Freeform 51">
              <a:extLst>
                <a:ext uri="{FF2B5EF4-FFF2-40B4-BE49-F238E27FC236}">
                  <a16:creationId xmlns:a16="http://schemas.microsoft.com/office/drawing/2014/main" id="{A549AA80-C83E-586D-055D-E0EF3781A5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61482" y="5684015"/>
              <a:ext cx="214447" cy="279208"/>
            </a:xfrm>
            <a:custGeom>
              <a:avLst/>
              <a:gdLst>
                <a:gd name="T0" fmla="*/ 1285 w 1606"/>
                <a:gd name="T1" fmla="*/ 2091 h 2091"/>
                <a:gd name="T2" fmla="*/ 0 w 1606"/>
                <a:gd name="T3" fmla="*/ 2091 h 2091"/>
                <a:gd name="T4" fmla="*/ 0 w 1606"/>
                <a:gd name="T5" fmla="*/ 215 h 2091"/>
                <a:gd name="T6" fmla="*/ 106 w 1606"/>
                <a:gd name="T7" fmla="*/ 215 h 2091"/>
                <a:gd name="T8" fmla="*/ 106 w 1606"/>
                <a:gd name="T9" fmla="*/ 1983 h 2091"/>
                <a:gd name="T10" fmla="*/ 1285 w 1606"/>
                <a:gd name="T11" fmla="*/ 1983 h 2091"/>
                <a:gd name="T12" fmla="*/ 1285 w 1606"/>
                <a:gd name="T13" fmla="*/ 2091 h 2091"/>
                <a:gd name="T14" fmla="*/ 1231 w 1606"/>
                <a:gd name="T15" fmla="*/ 0 h 2091"/>
                <a:gd name="T16" fmla="*/ 1231 w 1606"/>
                <a:gd name="T17" fmla="*/ 376 h 2091"/>
                <a:gd name="T18" fmla="*/ 1606 w 1606"/>
                <a:gd name="T19" fmla="*/ 376 h 2091"/>
                <a:gd name="T20" fmla="*/ 1231 w 1606"/>
                <a:gd name="T21" fmla="*/ 0 h 2091"/>
                <a:gd name="T22" fmla="*/ 1606 w 1606"/>
                <a:gd name="T23" fmla="*/ 482 h 2091"/>
                <a:gd name="T24" fmla="*/ 1606 w 1606"/>
                <a:gd name="T25" fmla="*/ 1874 h 2091"/>
                <a:gd name="T26" fmla="*/ 215 w 1606"/>
                <a:gd name="T27" fmla="*/ 1874 h 2091"/>
                <a:gd name="T28" fmla="*/ 215 w 1606"/>
                <a:gd name="T29" fmla="*/ 0 h 2091"/>
                <a:gd name="T30" fmla="*/ 1124 w 1606"/>
                <a:gd name="T31" fmla="*/ 0 h 2091"/>
                <a:gd name="T32" fmla="*/ 1124 w 1606"/>
                <a:gd name="T33" fmla="*/ 482 h 2091"/>
                <a:gd name="T34" fmla="*/ 1606 w 1606"/>
                <a:gd name="T35" fmla="*/ 482 h 2091"/>
                <a:gd name="T36" fmla="*/ 321 w 1606"/>
                <a:gd name="T37" fmla="*/ 643 h 2091"/>
                <a:gd name="T38" fmla="*/ 321 w 1606"/>
                <a:gd name="T39" fmla="*/ 752 h 2091"/>
                <a:gd name="T40" fmla="*/ 1339 w 1606"/>
                <a:gd name="T41" fmla="*/ 752 h 2091"/>
                <a:gd name="T42" fmla="*/ 1339 w 1606"/>
                <a:gd name="T43" fmla="*/ 643 h 2091"/>
                <a:gd name="T44" fmla="*/ 321 w 1606"/>
                <a:gd name="T45" fmla="*/ 643 h 2091"/>
                <a:gd name="T46" fmla="*/ 321 w 1606"/>
                <a:gd name="T47" fmla="*/ 376 h 2091"/>
                <a:gd name="T48" fmla="*/ 1018 w 1606"/>
                <a:gd name="T49" fmla="*/ 376 h 2091"/>
                <a:gd name="T50" fmla="*/ 1018 w 1606"/>
                <a:gd name="T51" fmla="*/ 161 h 2091"/>
                <a:gd name="T52" fmla="*/ 321 w 1606"/>
                <a:gd name="T53" fmla="*/ 161 h 2091"/>
                <a:gd name="T54" fmla="*/ 321 w 1606"/>
                <a:gd name="T55" fmla="*/ 376 h 2091"/>
                <a:gd name="T56" fmla="*/ 803 w 1606"/>
                <a:gd name="T57" fmla="*/ 1340 h 2091"/>
                <a:gd name="T58" fmla="*/ 321 w 1606"/>
                <a:gd name="T59" fmla="*/ 1340 h 2091"/>
                <a:gd name="T60" fmla="*/ 321 w 1606"/>
                <a:gd name="T61" fmla="*/ 1446 h 2091"/>
                <a:gd name="T62" fmla="*/ 803 w 1606"/>
                <a:gd name="T63" fmla="*/ 1446 h 2091"/>
                <a:gd name="T64" fmla="*/ 803 w 1606"/>
                <a:gd name="T65" fmla="*/ 1340 h 2091"/>
                <a:gd name="T66" fmla="*/ 964 w 1606"/>
                <a:gd name="T67" fmla="*/ 1125 h 2091"/>
                <a:gd name="T68" fmla="*/ 321 w 1606"/>
                <a:gd name="T69" fmla="*/ 1125 h 2091"/>
                <a:gd name="T70" fmla="*/ 321 w 1606"/>
                <a:gd name="T71" fmla="*/ 1234 h 2091"/>
                <a:gd name="T72" fmla="*/ 964 w 1606"/>
                <a:gd name="T73" fmla="*/ 1234 h 2091"/>
                <a:gd name="T74" fmla="*/ 964 w 1606"/>
                <a:gd name="T75" fmla="*/ 1125 h 2091"/>
                <a:gd name="T76" fmla="*/ 1500 w 1606"/>
                <a:gd name="T77" fmla="*/ 1125 h 2091"/>
                <a:gd name="T78" fmla="*/ 1124 w 1606"/>
                <a:gd name="T79" fmla="*/ 1125 h 2091"/>
                <a:gd name="T80" fmla="*/ 1124 w 1606"/>
                <a:gd name="T81" fmla="*/ 1501 h 2091"/>
                <a:gd name="T82" fmla="*/ 1500 w 1606"/>
                <a:gd name="T83" fmla="*/ 1501 h 2091"/>
                <a:gd name="T84" fmla="*/ 1500 w 1606"/>
                <a:gd name="T85" fmla="*/ 1125 h 2091"/>
                <a:gd name="T86" fmla="*/ 1500 w 1606"/>
                <a:gd name="T87" fmla="*/ 858 h 2091"/>
                <a:gd name="T88" fmla="*/ 321 w 1606"/>
                <a:gd name="T89" fmla="*/ 858 h 2091"/>
                <a:gd name="T90" fmla="*/ 321 w 1606"/>
                <a:gd name="T91" fmla="*/ 964 h 2091"/>
                <a:gd name="T92" fmla="*/ 1500 w 1606"/>
                <a:gd name="T93" fmla="*/ 964 h 2091"/>
                <a:gd name="T94" fmla="*/ 1500 w 1606"/>
                <a:gd name="T95" fmla="*/ 858 h 2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606" h="2091">
                  <a:moveTo>
                    <a:pt x="1285" y="2091"/>
                  </a:moveTo>
                  <a:lnTo>
                    <a:pt x="0" y="2091"/>
                  </a:lnTo>
                  <a:lnTo>
                    <a:pt x="0" y="215"/>
                  </a:lnTo>
                  <a:lnTo>
                    <a:pt x="106" y="215"/>
                  </a:lnTo>
                  <a:lnTo>
                    <a:pt x="106" y="1983"/>
                  </a:lnTo>
                  <a:lnTo>
                    <a:pt x="1285" y="1983"/>
                  </a:lnTo>
                  <a:lnTo>
                    <a:pt x="1285" y="2091"/>
                  </a:lnTo>
                  <a:close/>
                  <a:moveTo>
                    <a:pt x="1231" y="0"/>
                  </a:moveTo>
                  <a:lnTo>
                    <a:pt x="1231" y="376"/>
                  </a:lnTo>
                  <a:lnTo>
                    <a:pt x="1606" y="376"/>
                  </a:lnTo>
                  <a:lnTo>
                    <a:pt x="1231" y="0"/>
                  </a:lnTo>
                  <a:close/>
                  <a:moveTo>
                    <a:pt x="1606" y="482"/>
                  </a:moveTo>
                  <a:lnTo>
                    <a:pt x="1606" y="1874"/>
                  </a:lnTo>
                  <a:lnTo>
                    <a:pt x="215" y="1874"/>
                  </a:lnTo>
                  <a:lnTo>
                    <a:pt x="215" y="0"/>
                  </a:lnTo>
                  <a:lnTo>
                    <a:pt x="1124" y="0"/>
                  </a:lnTo>
                  <a:lnTo>
                    <a:pt x="1124" y="482"/>
                  </a:lnTo>
                  <a:lnTo>
                    <a:pt x="1606" y="482"/>
                  </a:lnTo>
                  <a:close/>
                  <a:moveTo>
                    <a:pt x="321" y="643"/>
                  </a:moveTo>
                  <a:lnTo>
                    <a:pt x="321" y="752"/>
                  </a:lnTo>
                  <a:lnTo>
                    <a:pt x="1339" y="752"/>
                  </a:lnTo>
                  <a:lnTo>
                    <a:pt x="1339" y="643"/>
                  </a:lnTo>
                  <a:lnTo>
                    <a:pt x="321" y="643"/>
                  </a:lnTo>
                  <a:close/>
                  <a:moveTo>
                    <a:pt x="321" y="376"/>
                  </a:moveTo>
                  <a:lnTo>
                    <a:pt x="1018" y="376"/>
                  </a:lnTo>
                  <a:lnTo>
                    <a:pt x="1018" y="161"/>
                  </a:lnTo>
                  <a:lnTo>
                    <a:pt x="321" y="161"/>
                  </a:lnTo>
                  <a:lnTo>
                    <a:pt x="321" y="376"/>
                  </a:lnTo>
                  <a:close/>
                  <a:moveTo>
                    <a:pt x="803" y="1340"/>
                  </a:moveTo>
                  <a:lnTo>
                    <a:pt x="321" y="1340"/>
                  </a:lnTo>
                  <a:lnTo>
                    <a:pt x="321" y="1446"/>
                  </a:lnTo>
                  <a:lnTo>
                    <a:pt x="803" y="1446"/>
                  </a:lnTo>
                  <a:lnTo>
                    <a:pt x="803" y="1340"/>
                  </a:lnTo>
                  <a:close/>
                  <a:moveTo>
                    <a:pt x="964" y="1125"/>
                  </a:moveTo>
                  <a:lnTo>
                    <a:pt x="321" y="1125"/>
                  </a:lnTo>
                  <a:lnTo>
                    <a:pt x="321" y="1234"/>
                  </a:lnTo>
                  <a:lnTo>
                    <a:pt x="964" y="1234"/>
                  </a:lnTo>
                  <a:lnTo>
                    <a:pt x="964" y="1125"/>
                  </a:lnTo>
                  <a:close/>
                  <a:moveTo>
                    <a:pt x="1500" y="1125"/>
                  </a:moveTo>
                  <a:lnTo>
                    <a:pt x="1124" y="1125"/>
                  </a:lnTo>
                  <a:lnTo>
                    <a:pt x="1124" y="1501"/>
                  </a:lnTo>
                  <a:lnTo>
                    <a:pt x="1500" y="1501"/>
                  </a:lnTo>
                  <a:lnTo>
                    <a:pt x="1500" y="1125"/>
                  </a:lnTo>
                  <a:close/>
                  <a:moveTo>
                    <a:pt x="1500" y="858"/>
                  </a:moveTo>
                  <a:lnTo>
                    <a:pt x="321" y="858"/>
                  </a:lnTo>
                  <a:lnTo>
                    <a:pt x="321" y="964"/>
                  </a:lnTo>
                  <a:lnTo>
                    <a:pt x="1500" y="964"/>
                  </a:lnTo>
                  <a:lnTo>
                    <a:pt x="1500" y="858"/>
                  </a:lnTo>
                  <a:close/>
                </a:path>
              </a:pathLst>
            </a:custGeom>
            <a:solidFill>
              <a:srgbClr val="0F8287"/>
            </a:solidFill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54" name="Rectangle 3">
              <a:extLst>
                <a:ext uri="{FF2B5EF4-FFF2-40B4-BE49-F238E27FC236}">
                  <a16:creationId xmlns:a16="http://schemas.microsoft.com/office/drawing/2014/main" id="{5503FF42-0306-CFFF-F4FD-513A9DD20B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5443" y="5602907"/>
              <a:ext cx="10820892" cy="1233599"/>
            </a:xfrm>
            <a:prstGeom prst="rect">
              <a:avLst/>
            </a:prstGeom>
            <a:noFill/>
            <a:ln w="19050">
              <a:solidFill>
                <a:srgbClr val="AAB414"/>
              </a:solidFill>
            </a:ln>
            <a:effectLst/>
          </p:spPr>
          <p:txBody>
            <a:bodyPr lIns="0" tIns="71926" rIns="182690" bIns="71926" rtlCol="0" anchor="t" anchorCtr="0"/>
            <a:lstStyle/>
            <a:p>
              <a:pPr>
                <a:buClr>
                  <a:srgbClr val="FFFFFF"/>
                </a:buClr>
              </a:pPr>
              <a:endParaRPr lang="en-US" sz="300" dirty="0">
                <a:solidFill>
                  <a:srgbClr val="FFFFFF"/>
                </a:solidFill>
              </a:endParaRPr>
            </a:p>
          </p:txBody>
        </p:sp>
        <p:sp>
          <p:nvSpPr>
            <p:cNvPr id="869" name="Freihandform: Form 161">
              <a:extLst>
                <a:ext uri="{FF2B5EF4-FFF2-40B4-BE49-F238E27FC236}">
                  <a16:creationId xmlns:a16="http://schemas.microsoft.com/office/drawing/2014/main" id="{77453578-677F-C70D-6BD1-3BD0383209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44221" y="5672996"/>
              <a:ext cx="214447" cy="290228"/>
            </a:xfrm>
            <a:custGeom>
              <a:avLst/>
              <a:gdLst>
                <a:gd name="connsiteX0" fmla="*/ 0 w 3200400"/>
                <a:gd name="connsiteY0" fmla="*/ 2746376 h 3870326"/>
                <a:gd name="connsiteX1" fmla="*/ 1609140 w 3200400"/>
                <a:gd name="connsiteY1" fmla="*/ 3121026 h 3870326"/>
                <a:gd name="connsiteX2" fmla="*/ 3200400 w 3200400"/>
                <a:gd name="connsiteY2" fmla="*/ 2746376 h 3870326"/>
                <a:gd name="connsiteX3" fmla="*/ 3200400 w 3200400"/>
                <a:gd name="connsiteY3" fmla="*/ 3495676 h 3870326"/>
                <a:gd name="connsiteX4" fmla="*/ 1609140 w 3200400"/>
                <a:gd name="connsiteY4" fmla="*/ 3870326 h 3870326"/>
                <a:gd name="connsiteX5" fmla="*/ 0 w 3200400"/>
                <a:gd name="connsiteY5" fmla="*/ 3495676 h 3870326"/>
                <a:gd name="connsiteX6" fmla="*/ 0 w 3200400"/>
                <a:gd name="connsiteY6" fmla="*/ 2746376 h 3870326"/>
                <a:gd name="connsiteX7" fmla="*/ 0 w 3200400"/>
                <a:gd name="connsiteY7" fmla="*/ 1717675 h 3870326"/>
                <a:gd name="connsiteX8" fmla="*/ 1609140 w 3200400"/>
                <a:gd name="connsiteY8" fmla="*/ 2092325 h 3870326"/>
                <a:gd name="connsiteX9" fmla="*/ 3200400 w 3200400"/>
                <a:gd name="connsiteY9" fmla="*/ 1717675 h 3870326"/>
                <a:gd name="connsiteX10" fmla="*/ 3200400 w 3200400"/>
                <a:gd name="connsiteY10" fmla="*/ 2466975 h 3870326"/>
                <a:gd name="connsiteX11" fmla="*/ 1609140 w 3200400"/>
                <a:gd name="connsiteY11" fmla="*/ 2841625 h 3870326"/>
                <a:gd name="connsiteX12" fmla="*/ 0 w 3200400"/>
                <a:gd name="connsiteY12" fmla="*/ 2466975 h 3870326"/>
                <a:gd name="connsiteX13" fmla="*/ 0 w 3200400"/>
                <a:gd name="connsiteY13" fmla="*/ 1717675 h 3870326"/>
                <a:gd name="connsiteX14" fmla="*/ 0 w 3200400"/>
                <a:gd name="connsiteY14" fmla="*/ 688975 h 3870326"/>
                <a:gd name="connsiteX15" fmla="*/ 1609140 w 3200400"/>
                <a:gd name="connsiteY15" fmla="*/ 1063625 h 3870326"/>
                <a:gd name="connsiteX16" fmla="*/ 3200400 w 3200400"/>
                <a:gd name="connsiteY16" fmla="*/ 688975 h 3870326"/>
                <a:gd name="connsiteX17" fmla="*/ 3200400 w 3200400"/>
                <a:gd name="connsiteY17" fmla="*/ 1438275 h 3870326"/>
                <a:gd name="connsiteX18" fmla="*/ 1609140 w 3200400"/>
                <a:gd name="connsiteY18" fmla="*/ 1812925 h 3870326"/>
                <a:gd name="connsiteX19" fmla="*/ 0 w 3200400"/>
                <a:gd name="connsiteY19" fmla="*/ 1438275 h 3870326"/>
                <a:gd name="connsiteX20" fmla="*/ 0 w 3200400"/>
                <a:gd name="connsiteY20" fmla="*/ 688975 h 3870326"/>
                <a:gd name="connsiteX21" fmla="*/ 1600200 w 3200400"/>
                <a:gd name="connsiteY21" fmla="*/ 0 h 3870326"/>
                <a:gd name="connsiteX22" fmla="*/ 3200400 w 3200400"/>
                <a:gd name="connsiteY22" fmla="*/ 392113 h 3870326"/>
                <a:gd name="connsiteX23" fmla="*/ 1600200 w 3200400"/>
                <a:gd name="connsiteY23" fmla="*/ 784226 h 3870326"/>
                <a:gd name="connsiteX24" fmla="*/ 0 w 3200400"/>
                <a:gd name="connsiteY24" fmla="*/ 392113 h 3870326"/>
                <a:gd name="connsiteX25" fmla="*/ 1600200 w 3200400"/>
                <a:gd name="connsiteY25" fmla="*/ 0 h 3870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200400" h="3870326">
                  <a:moveTo>
                    <a:pt x="0" y="2746376"/>
                  </a:moveTo>
                  <a:cubicBezTo>
                    <a:pt x="0" y="2960462"/>
                    <a:pt x="715173" y="3121026"/>
                    <a:pt x="1609140" y="3121026"/>
                  </a:cubicBezTo>
                  <a:cubicBezTo>
                    <a:pt x="2485227" y="3121026"/>
                    <a:pt x="3200400" y="2960462"/>
                    <a:pt x="3200400" y="2746376"/>
                  </a:cubicBezTo>
                  <a:cubicBezTo>
                    <a:pt x="3200400" y="2746376"/>
                    <a:pt x="3200400" y="2746376"/>
                    <a:pt x="3200400" y="3495676"/>
                  </a:cubicBezTo>
                  <a:cubicBezTo>
                    <a:pt x="3200400" y="3691921"/>
                    <a:pt x="2485227" y="3870326"/>
                    <a:pt x="1609140" y="3870326"/>
                  </a:cubicBezTo>
                  <a:cubicBezTo>
                    <a:pt x="715173" y="3870326"/>
                    <a:pt x="0" y="3691921"/>
                    <a:pt x="0" y="3495676"/>
                  </a:cubicBezTo>
                  <a:cubicBezTo>
                    <a:pt x="0" y="3495676"/>
                    <a:pt x="0" y="3495676"/>
                    <a:pt x="0" y="2746376"/>
                  </a:cubicBezTo>
                  <a:close/>
                  <a:moveTo>
                    <a:pt x="0" y="1717675"/>
                  </a:moveTo>
                  <a:cubicBezTo>
                    <a:pt x="0" y="1931761"/>
                    <a:pt x="715173" y="2092325"/>
                    <a:pt x="1609140" y="2092325"/>
                  </a:cubicBezTo>
                  <a:cubicBezTo>
                    <a:pt x="2485227" y="2092325"/>
                    <a:pt x="3200400" y="1931761"/>
                    <a:pt x="3200400" y="1717675"/>
                  </a:cubicBezTo>
                  <a:cubicBezTo>
                    <a:pt x="3200400" y="1717675"/>
                    <a:pt x="3200400" y="1717675"/>
                    <a:pt x="3200400" y="2466975"/>
                  </a:cubicBezTo>
                  <a:cubicBezTo>
                    <a:pt x="3200400" y="2663220"/>
                    <a:pt x="2485227" y="2841625"/>
                    <a:pt x="1609140" y="2841625"/>
                  </a:cubicBezTo>
                  <a:cubicBezTo>
                    <a:pt x="715173" y="2841625"/>
                    <a:pt x="0" y="2663220"/>
                    <a:pt x="0" y="2466975"/>
                  </a:cubicBezTo>
                  <a:cubicBezTo>
                    <a:pt x="0" y="2466975"/>
                    <a:pt x="0" y="2466975"/>
                    <a:pt x="0" y="1717675"/>
                  </a:cubicBezTo>
                  <a:close/>
                  <a:moveTo>
                    <a:pt x="0" y="688975"/>
                  </a:moveTo>
                  <a:cubicBezTo>
                    <a:pt x="0" y="903061"/>
                    <a:pt x="715173" y="1063625"/>
                    <a:pt x="1609140" y="1063625"/>
                  </a:cubicBezTo>
                  <a:cubicBezTo>
                    <a:pt x="2485227" y="1063625"/>
                    <a:pt x="3200400" y="903061"/>
                    <a:pt x="3200400" y="688975"/>
                  </a:cubicBezTo>
                  <a:cubicBezTo>
                    <a:pt x="3200400" y="688975"/>
                    <a:pt x="3200400" y="688975"/>
                    <a:pt x="3200400" y="1438275"/>
                  </a:cubicBezTo>
                  <a:cubicBezTo>
                    <a:pt x="3200400" y="1652361"/>
                    <a:pt x="2485227" y="1812925"/>
                    <a:pt x="1609140" y="1812925"/>
                  </a:cubicBezTo>
                  <a:cubicBezTo>
                    <a:pt x="715173" y="1812925"/>
                    <a:pt x="0" y="1652361"/>
                    <a:pt x="0" y="1438275"/>
                  </a:cubicBezTo>
                  <a:cubicBezTo>
                    <a:pt x="0" y="1438275"/>
                    <a:pt x="0" y="1438275"/>
                    <a:pt x="0" y="688975"/>
                  </a:cubicBezTo>
                  <a:close/>
                  <a:moveTo>
                    <a:pt x="1600200" y="0"/>
                  </a:moveTo>
                  <a:cubicBezTo>
                    <a:pt x="2483966" y="0"/>
                    <a:pt x="3200400" y="175555"/>
                    <a:pt x="3200400" y="392113"/>
                  </a:cubicBezTo>
                  <a:cubicBezTo>
                    <a:pt x="3200400" y="608671"/>
                    <a:pt x="2483966" y="784226"/>
                    <a:pt x="1600200" y="784226"/>
                  </a:cubicBezTo>
                  <a:cubicBezTo>
                    <a:pt x="716434" y="784226"/>
                    <a:pt x="0" y="608671"/>
                    <a:pt x="0" y="392113"/>
                  </a:cubicBezTo>
                  <a:cubicBezTo>
                    <a:pt x="0" y="175555"/>
                    <a:pt x="716434" y="0"/>
                    <a:pt x="1600200" y="0"/>
                  </a:cubicBezTo>
                  <a:close/>
                </a:path>
              </a:pathLst>
            </a:custGeom>
            <a:solidFill>
              <a:srgbClr val="EB780A"/>
            </a:solidFill>
            <a:ln>
              <a:noFill/>
            </a:ln>
          </p:spPr>
          <p:txBody>
            <a:bodyPr vert="horz" wrap="square" lIns="91344" tIns="45672" rIns="91344" bIns="45672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400">
                <a:solidFill>
                  <a:srgbClr val="000000"/>
                </a:solidFill>
              </a:endParaRPr>
            </a:p>
          </p:txBody>
        </p:sp>
        <p:sp>
          <p:nvSpPr>
            <p:cNvPr id="870" name="Rectangle: Rounded Corners 869">
              <a:extLst>
                <a:ext uri="{FF2B5EF4-FFF2-40B4-BE49-F238E27FC236}">
                  <a16:creationId xmlns:a16="http://schemas.microsoft.com/office/drawing/2014/main" id="{5705A912-E528-FEDA-AEC6-4EE431A56C3D}"/>
                </a:ext>
              </a:extLst>
            </p:cNvPr>
            <p:cNvSpPr/>
            <p:nvPr/>
          </p:nvSpPr>
          <p:spPr bwMode="auto">
            <a:xfrm>
              <a:off x="7145119" y="6029971"/>
              <a:ext cx="991094" cy="220521"/>
            </a:xfrm>
            <a:prstGeom prst="roundRect">
              <a:avLst/>
            </a:prstGeom>
            <a:solidFill>
              <a:srgbClr val="DFE6ED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0" tIns="45696" rIns="0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pt-BR" sz="200" b="1" dirty="0">
                  <a:solidFill>
                    <a:srgbClr val="000000"/>
                  </a:solidFill>
                </a:rPr>
                <a:t>Web Services / API</a:t>
              </a:r>
              <a:endParaRPr lang="en-US" sz="200" b="1" dirty="0" err="1">
                <a:solidFill>
                  <a:srgbClr val="000000"/>
                </a:solidFill>
              </a:endParaRPr>
            </a:p>
          </p:txBody>
        </p:sp>
        <p:sp>
          <p:nvSpPr>
            <p:cNvPr id="876" name="Rectangle: Rounded Corners 875">
              <a:extLst>
                <a:ext uri="{FF2B5EF4-FFF2-40B4-BE49-F238E27FC236}">
                  <a16:creationId xmlns:a16="http://schemas.microsoft.com/office/drawing/2014/main" id="{D3DE495B-B937-874F-4B18-38F284DD49BF}"/>
                </a:ext>
              </a:extLst>
            </p:cNvPr>
            <p:cNvSpPr/>
            <p:nvPr/>
          </p:nvSpPr>
          <p:spPr bwMode="auto">
            <a:xfrm>
              <a:off x="5065295" y="6026664"/>
              <a:ext cx="991094" cy="220521"/>
            </a:xfrm>
            <a:prstGeom prst="roundRect">
              <a:avLst/>
            </a:prstGeom>
            <a:solidFill>
              <a:srgbClr val="DFE6ED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0" tIns="45696" rIns="0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pt-BR" sz="200" b="1" dirty="0">
                  <a:solidFill>
                    <a:srgbClr val="000000"/>
                  </a:solidFill>
                </a:rPr>
                <a:t>BATCH</a:t>
              </a:r>
              <a:endParaRPr lang="en-US" sz="200" b="1" dirty="0" err="1">
                <a:solidFill>
                  <a:srgbClr val="000000"/>
                </a:solidFill>
              </a:endParaRPr>
            </a:p>
          </p:txBody>
        </p:sp>
        <p:sp>
          <p:nvSpPr>
            <p:cNvPr id="877" name="Rectangle: Rounded Corners 876">
              <a:extLst>
                <a:ext uri="{FF2B5EF4-FFF2-40B4-BE49-F238E27FC236}">
                  <a16:creationId xmlns:a16="http://schemas.microsoft.com/office/drawing/2014/main" id="{C9883E1E-7FA3-856D-33DA-EB6405C791CC}"/>
                </a:ext>
              </a:extLst>
            </p:cNvPr>
            <p:cNvSpPr/>
            <p:nvPr/>
          </p:nvSpPr>
          <p:spPr bwMode="auto">
            <a:xfrm>
              <a:off x="6109790" y="6026460"/>
              <a:ext cx="991094" cy="220521"/>
            </a:xfrm>
            <a:prstGeom prst="roundRect">
              <a:avLst/>
            </a:prstGeom>
            <a:solidFill>
              <a:srgbClr val="DFE6ED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0" tIns="45696" rIns="0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pt-BR" sz="200" b="1" dirty="0">
                  <a:solidFill>
                    <a:srgbClr val="000000"/>
                  </a:solidFill>
                </a:rPr>
                <a:t>MindSphere IoT</a:t>
              </a:r>
              <a:endParaRPr lang="en-US" sz="200" b="1" dirty="0" err="1">
                <a:solidFill>
                  <a:srgbClr val="000000"/>
                </a:solidFill>
              </a:endParaRPr>
            </a:p>
          </p:txBody>
        </p:sp>
        <p:sp>
          <p:nvSpPr>
            <p:cNvPr id="878" name="Rectangle: Rounded Corners 877">
              <a:extLst>
                <a:ext uri="{FF2B5EF4-FFF2-40B4-BE49-F238E27FC236}">
                  <a16:creationId xmlns:a16="http://schemas.microsoft.com/office/drawing/2014/main" id="{9F4949C9-4F18-4032-4001-146ABB1E36B6}"/>
                </a:ext>
              </a:extLst>
            </p:cNvPr>
            <p:cNvSpPr/>
            <p:nvPr/>
          </p:nvSpPr>
          <p:spPr bwMode="auto">
            <a:xfrm>
              <a:off x="4025382" y="6026664"/>
              <a:ext cx="991094" cy="220521"/>
            </a:xfrm>
            <a:prstGeom prst="roundRect">
              <a:avLst/>
            </a:prstGeom>
            <a:solidFill>
              <a:srgbClr val="DFE6ED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0" tIns="45696" rIns="0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pt-BR" sz="200" b="1" dirty="0">
                  <a:solidFill>
                    <a:srgbClr val="000000"/>
                  </a:solidFill>
                </a:rPr>
                <a:t>SAP</a:t>
              </a:r>
              <a:endParaRPr lang="en-US" sz="200" b="1" dirty="0" err="1">
                <a:solidFill>
                  <a:srgbClr val="000000"/>
                </a:solidFill>
              </a:endParaRPr>
            </a:p>
          </p:txBody>
        </p:sp>
        <p:sp>
          <p:nvSpPr>
            <p:cNvPr id="879" name="Rectangle: Rounded Corners 878">
              <a:extLst>
                <a:ext uri="{FF2B5EF4-FFF2-40B4-BE49-F238E27FC236}">
                  <a16:creationId xmlns:a16="http://schemas.microsoft.com/office/drawing/2014/main" id="{8E29BD90-F4DE-B084-01E3-B6413BEDF215}"/>
                </a:ext>
              </a:extLst>
            </p:cNvPr>
            <p:cNvSpPr/>
            <p:nvPr/>
          </p:nvSpPr>
          <p:spPr bwMode="auto">
            <a:xfrm>
              <a:off x="2985470" y="6024055"/>
              <a:ext cx="991094" cy="220521"/>
            </a:xfrm>
            <a:prstGeom prst="roundRect">
              <a:avLst/>
            </a:prstGeom>
            <a:solidFill>
              <a:srgbClr val="DFE6ED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0" tIns="45696" rIns="0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pt-BR" sz="200" b="1" dirty="0">
                  <a:solidFill>
                    <a:srgbClr val="000000"/>
                  </a:solidFill>
                </a:rPr>
                <a:t>Relational</a:t>
              </a:r>
              <a:endParaRPr lang="en-US" sz="200" b="1" dirty="0" err="1">
                <a:solidFill>
                  <a:srgbClr val="000000"/>
                </a:solidFill>
              </a:endParaRPr>
            </a:p>
          </p:txBody>
        </p:sp>
        <p:sp>
          <p:nvSpPr>
            <p:cNvPr id="880" name="Rectangle: Rounded Corners 879">
              <a:extLst>
                <a:ext uri="{FF2B5EF4-FFF2-40B4-BE49-F238E27FC236}">
                  <a16:creationId xmlns:a16="http://schemas.microsoft.com/office/drawing/2014/main" id="{1C4F0C97-E18B-1CF0-7E74-3D481FDA6D9F}"/>
                </a:ext>
              </a:extLst>
            </p:cNvPr>
            <p:cNvSpPr/>
            <p:nvPr/>
          </p:nvSpPr>
          <p:spPr bwMode="auto">
            <a:xfrm>
              <a:off x="1943210" y="6024055"/>
              <a:ext cx="991094" cy="220521"/>
            </a:xfrm>
            <a:prstGeom prst="roundRect">
              <a:avLst/>
            </a:prstGeom>
            <a:solidFill>
              <a:srgbClr val="DFE6ED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0" tIns="45696" rIns="0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pt-BR" sz="200" b="1" dirty="0">
                  <a:solidFill>
                    <a:srgbClr val="000000"/>
                  </a:solidFill>
                </a:rPr>
                <a:t>Historian</a:t>
              </a:r>
              <a:endParaRPr lang="en-US" sz="200" b="1" dirty="0" err="1">
                <a:solidFill>
                  <a:srgbClr val="000000"/>
                </a:solidFill>
              </a:endParaRPr>
            </a:p>
          </p:txBody>
        </p:sp>
        <p:sp>
          <p:nvSpPr>
            <p:cNvPr id="881" name="Rectangle: Rounded Corners 880">
              <a:extLst>
                <a:ext uri="{FF2B5EF4-FFF2-40B4-BE49-F238E27FC236}">
                  <a16:creationId xmlns:a16="http://schemas.microsoft.com/office/drawing/2014/main" id="{63CC05EE-00C4-F3C5-7561-126A27CDCD6A}"/>
                </a:ext>
              </a:extLst>
            </p:cNvPr>
            <p:cNvSpPr/>
            <p:nvPr/>
          </p:nvSpPr>
          <p:spPr bwMode="auto">
            <a:xfrm>
              <a:off x="8185032" y="6031696"/>
              <a:ext cx="991094" cy="220521"/>
            </a:xfrm>
            <a:prstGeom prst="roundRect">
              <a:avLst/>
            </a:prstGeom>
            <a:solidFill>
              <a:srgbClr val="DFE6ED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0" tIns="45696" rIns="0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pt-BR" sz="200" b="1" dirty="0">
                  <a:solidFill>
                    <a:srgbClr val="000000"/>
                  </a:solidFill>
                </a:rPr>
                <a:t>Documents</a:t>
              </a:r>
              <a:endParaRPr lang="en-US" sz="200" b="1" dirty="0" err="1">
                <a:solidFill>
                  <a:srgbClr val="000000"/>
                </a:solidFill>
              </a:endParaRPr>
            </a:p>
          </p:txBody>
        </p:sp>
        <p:sp>
          <p:nvSpPr>
            <p:cNvPr id="882" name="Rectangle: Rounded Corners 881">
              <a:extLst>
                <a:ext uri="{FF2B5EF4-FFF2-40B4-BE49-F238E27FC236}">
                  <a16:creationId xmlns:a16="http://schemas.microsoft.com/office/drawing/2014/main" id="{7A422FC4-B588-8FC6-04D1-628EE6208227}"/>
                </a:ext>
              </a:extLst>
            </p:cNvPr>
            <p:cNvSpPr/>
            <p:nvPr/>
          </p:nvSpPr>
          <p:spPr bwMode="auto">
            <a:xfrm>
              <a:off x="9224944" y="6029971"/>
              <a:ext cx="991094" cy="220521"/>
            </a:xfrm>
            <a:prstGeom prst="roundRect">
              <a:avLst/>
            </a:prstGeom>
            <a:solidFill>
              <a:srgbClr val="DFE6ED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0" tIns="45696" rIns="0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pt-BR" sz="200" b="1" dirty="0">
                  <a:solidFill>
                    <a:srgbClr val="000000"/>
                  </a:solidFill>
                </a:rPr>
                <a:t>Restful</a:t>
              </a:r>
              <a:endParaRPr lang="en-US" sz="200" b="1" dirty="0" err="1">
                <a:solidFill>
                  <a:srgbClr val="000000"/>
                </a:solidFill>
              </a:endParaRPr>
            </a:p>
          </p:txBody>
        </p:sp>
        <p:sp>
          <p:nvSpPr>
            <p:cNvPr id="883" name="Freeform 169">
              <a:extLst>
                <a:ext uri="{FF2B5EF4-FFF2-40B4-BE49-F238E27FC236}">
                  <a16:creationId xmlns:a16="http://schemas.microsoft.com/office/drawing/2014/main" id="{CBEC5BF9-CCB6-E323-E034-9F12A87066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70815" y="5687406"/>
              <a:ext cx="274447" cy="280501"/>
            </a:xfrm>
            <a:custGeom>
              <a:avLst/>
              <a:gdLst>
                <a:gd name="T0" fmla="*/ 748 w 998"/>
                <a:gd name="T1" fmla="*/ 839 h 1020"/>
                <a:gd name="T2" fmla="*/ 794 w 998"/>
                <a:gd name="T3" fmla="*/ 453 h 1020"/>
                <a:gd name="T4" fmla="*/ 975 w 998"/>
                <a:gd name="T5" fmla="*/ 294 h 1020"/>
                <a:gd name="T6" fmla="*/ 794 w 998"/>
                <a:gd name="T7" fmla="*/ 223 h 1020"/>
                <a:gd name="T8" fmla="*/ 748 w 998"/>
                <a:gd name="T9" fmla="*/ 223 h 1020"/>
                <a:gd name="T10" fmla="*/ 612 w 998"/>
                <a:gd name="T11" fmla="*/ 476 h 1020"/>
                <a:gd name="T12" fmla="*/ 635 w 998"/>
                <a:gd name="T13" fmla="*/ 771 h 1020"/>
                <a:gd name="T14" fmla="*/ 453 w 998"/>
                <a:gd name="T15" fmla="*/ 431 h 1020"/>
                <a:gd name="T16" fmla="*/ 567 w 998"/>
                <a:gd name="T17" fmla="*/ 0 h 1020"/>
                <a:gd name="T18" fmla="*/ 453 w 998"/>
                <a:gd name="T19" fmla="*/ 385 h 1020"/>
                <a:gd name="T20" fmla="*/ 351 w 998"/>
                <a:gd name="T21" fmla="*/ 238 h 1020"/>
                <a:gd name="T22" fmla="*/ 272 w 998"/>
                <a:gd name="T23" fmla="*/ 158 h 1020"/>
                <a:gd name="T24" fmla="*/ 363 w 998"/>
                <a:gd name="T25" fmla="*/ 90 h 1020"/>
                <a:gd name="T26" fmla="*/ 227 w 998"/>
                <a:gd name="T27" fmla="*/ 22 h 1020"/>
                <a:gd name="T28" fmla="*/ 34 w 998"/>
                <a:gd name="T29" fmla="*/ 181 h 1020"/>
                <a:gd name="T30" fmla="*/ 227 w 998"/>
                <a:gd name="T31" fmla="*/ 249 h 1020"/>
                <a:gd name="T32" fmla="*/ 50 w 998"/>
                <a:gd name="T33" fmla="*/ 308 h 1020"/>
                <a:gd name="T34" fmla="*/ 227 w 998"/>
                <a:gd name="T35" fmla="*/ 385 h 1020"/>
                <a:gd name="T36" fmla="*/ 0 w 998"/>
                <a:gd name="T37" fmla="*/ 544 h 1020"/>
                <a:gd name="T38" fmla="*/ 227 w 998"/>
                <a:gd name="T39" fmla="*/ 604 h 1020"/>
                <a:gd name="T40" fmla="*/ 204 w 998"/>
                <a:gd name="T41" fmla="*/ 839 h 1020"/>
                <a:gd name="T42" fmla="*/ 272 w 998"/>
                <a:gd name="T43" fmla="*/ 756 h 1020"/>
                <a:gd name="T44" fmla="*/ 521 w 998"/>
                <a:gd name="T45" fmla="*/ 567 h 1020"/>
                <a:gd name="T46" fmla="*/ 306 w 998"/>
                <a:gd name="T47" fmla="*/ 941 h 1020"/>
                <a:gd name="T48" fmla="*/ 408 w 998"/>
                <a:gd name="T49" fmla="*/ 816 h 1020"/>
                <a:gd name="T50" fmla="*/ 544 w 998"/>
                <a:gd name="T51" fmla="*/ 939 h 1020"/>
                <a:gd name="T52" fmla="*/ 635 w 998"/>
                <a:gd name="T53" fmla="*/ 816 h 1020"/>
                <a:gd name="T54" fmla="*/ 975 w 998"/>
                <a:gd name="T55" fmla="*/ 929 h 1020"/>
                <a:gd name="T56" fmla="*/ 680 w 998"/>
                <a:gd name="T57" fmla="*/ 657 h 1020"/>
                <a:gd name="T58" fmla="*/ 828 w 998"/>
                <a:gd name="T59" fmla="*/ 555 h 1020"/>
                <a:gd name="T60" fmla="*/ 703 w 998"/>
                <a:gd name="T61" fmla="*/ 476 h 1020"/>
                <a:gd name="T62" fmla="*/ 748 w 998"/>
                <a:gd name="T63" fmla="*/ 499 h 1020"/>
                <a:gd name="T64" fmla="*/ 737 w 998"/>
                <a:gd name="T65" fmla="*/ 147 h 1020"/>
                <a:gd name="T66" fmla="*/ 771 w 998"/>
                <a:gd name="T67" fmla="*/ 181 h 1020"/>
                <a:gd name="T68" fmla="*/ 465 w 998"/>
                <a:gd name="T69" fmla="*/ 238 h 1020"/>
                <a:gd name="T70" fmla="*/ 113 w 998"/>
                <a:gd name="T71" fmla="*/ 215 h 1020"/>
                <a:gd name="T72" fmla="*/ 113 w 998"/>
                <a:gd name="T73" fmla="*/ 215 h 1020"/>
                <a:gd name="T74" fmla="*/ 45 w 998"/>
                <a:gd name="T75" fmla="*/ 544 h 1020"/>
                <a:gd name="T76" fmla="*/ 272 w 998"/>
                <a:gd name="T77" fmla="*/ 431 h 1020"/>
                <a:gd name="T78" fmla="*/ 272 w 998"/>
                <a:gd name="T79" fmla="*/ 431 h 1020"/>
                <a:gd name="T80" fmla="*/ 272 w 998"/>
                <a:gd name="T81" fmla="*/ 705 h 1020"/>
                <a:gd name="T82" fmla="*/ 227 w 998"/>
                <a:gd name="T83" fmla="*/ 655 h 1020"/>
                <a:gd name="T84" fmla="*/ 275 w 998"/>
                <a:gd name="T85" fmla="*/ 657 h 1020"/>
                <a:gd name="T86" fmla="*/ 272 w 998"/>
                <a:gd name="T87" fmla="*/ 604 h 1020"/>
                <a:gd name="T88" fmla="*/ 419 w 998"/>
                <a:gd name="T89" fmla="*/ 941 h 1020"/>
                <a:gd name="T90" fmla="*/ 351 w 998"/>
                <a:gd name="T91" fmla="*/ 941 h 1020"/>
                <a:gd name="T92" fmla="*/ 419 w 998"/>
                <a:gd name="T93" fmla="*/ 941 h 1020"/>
                <a:gd name="T94" fmla="*/ 930 w 998"/>
                <a:gd name="T95" fmla="*/ 929 h 1020"/>
                <a:gd name="T96" fmla="*/ 794 w 998"/>
                <a:gd name="T97" fmla="*/ 635 h 1020"/>
                <a:gd name="T98" fmla="*/ 862 w 998"/>
                <a:gd name="T99" fmla="*/ 635 h 1020"/>
                <a:gd name="T100" fmla="*/ 794 w 998"/>
                <a:gd name="T101" fmla="*/ 635 h 10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98" h="1020">
                  <a:moveTo>
                    <a:pt x="787" y="771"/>
                  </a:moveTo>
                  <a:cubicBezTo>
                    <a:pt x="780" y="757"/>
                    <a:pt x="765" y="748"/>
                    <a:pt x="748" y="748"/>
                  </a:cubicBezTo>
                  <a:cubicBezTo>
                    <a:pt x="723" y="748"/>
                    <a:pt x="703" y="768"/>
                    <a:pt x="703" y="793"/>
                  </a:cubicBezTo>
                  <a:cubicBezTo>
                    <a:pt x="703" y="818"/>
                    <a:pt x="723" y="839"/>
                    <a:pt x="748" y="839"/>
                  </a:cubicBezTo>
                  <a:cubicBezTo>
                    <a:pt x="765" y="839"/>
                    <a:pt x="780" y="830"/>
                    <a:pt x="787" y="816"/>
                  </a:cubicBezTo>
                  <a:cubicBezTo>
                    <a:pt x="998" y="816"/>
                    <a:pt x="998" y="816"/>
                    <a:pt x="998" y="816"/>
                  </a:cubicBezTo>
                  <a:cubicBezTo>
                    <a:pt x="998" y="453"/>
                    <a:pt x="998" y="453"/>
                    <a:pt x="998" y="453"/>
                  </a:cubicBezTo>
                  <a:cubicBezTo>
                    <a:pt x="794" y="453"/>
                    <a:pt x="794" y="453"/>
                    <a:pt x="794" y="453"/>
                  </a:cubicBezTo>
                  <a:cubicBezTo>
                    <a:pt x="794" y="317"/>
                    <a:pt x="794" y="317"/>
                    <a:pt x="794" y="317"/>
                  </a:cubicBezTo>
                  <a:cubicBezTo>
                    <a:pt x="890" y="317"/>
                    <a:pt x="890" y="317"/>
                    <a:pt x="890" y="317"/>
                  </a:cubicBezTo>
                  <a:cubicBezTo>
                    <a:pt x="898" y="331"/>
                    <a:pt x="913" y="340"/>
                    <a:pt x="930" y="340"/>
                  </a:cubicBezTo>
                  <a:cubicBezTo>
                    <a:pt x="955" y="340"/>
                    <a:pt x="975" y="320"/>
                    <a:pt x="975" y="294"/>
                  </a:cubicBezTo>
                  <a:cubicBezTo>
                    <a:pt x="975" y="269"/>
                    <a:pt x="955" y="249"/>
                    <a:pt x="930" y="249"/>
                  </a:cubicBezTo>
                  <a:cubicBezTo>
                    <a:pt x="913" y="249"/>
                    <a:pt x="898" y="258"/>
                    <a:pt x="890" y="272"/>
                  </a:cubicBezTo>
                  <a:cubicBezTo>
                    <a:pt x="794" y="272"/>
                    <a:pt x="794" y="272"/>
                    <a:pt x="794" y="272"/>
                  </a:cubicBezTo>
                  <a:cubicBezTo>
                    <a:pt x="794" y="223"/>
                    <a:pt x="794" y="223"/>
                    <a:pt x="794" y="223"/>
                  </a:cubicBezTo>
                  <a:cubicBezTo>
                    <a:pt x="826" y="213"/>
                    <a:pt x="850" y="183"/>
                    <a:pt x="850" y="147"/>
                  </a:cubicBezTo>
                  <a:cubicBezTo>
                    <a:pt x="850" y="103"/>
                    <a:pt x="815" y="68"/>
                    <a:pt x="771" y="68"/>
                  </a:cubicBezTo>
                  <a:cubicBezTo>
                    <a:pt x="727" y="68"/>
                    <a:pt x="691" y="103"/>
                    <a:pt x="691" y="147"/>
                  </a:cubicBezTo>
                  <a:cubicBezTo>
                    <a:pt x="691" y="183"/>
                    <a:pt x="715" y="213"/>
                    <a:pt x="748" y="223"/>
                  </a:cubicBezTo>
                  <a:cubicBezTo>
                    <a:pt x="748" y="272"/>
                    <a:pt x="748" y="272"/>
                    <a:pt x="748" y="272"/>
                  </a:cubicBezTo>
                  <a:cubicBezTo>
                    <a:pt x="635" y="272"/>
                    <a:pt x="635" y="272"/>
                    <a:pt x="635" y="272"/>
                  </a:cubicBezTo>
                  <a:cubicBezTo>
                    <a:pt x="635" y="437"/>
                    <a:pt x="635" y="437"/>
                    <a:pt x="635" y="437"/>
                  </a:cubicBezTo>
                  <a:cubicBezTo>
                    <a:pt x="621" y="445"/>
                    <a:pt x="612" y="459"/>
                    <a:pt x="612" y="476"/>
                  </a:cubicBezTo>
                  <a:cubicBezTo>
                    <a:pt x="612" y="493"/>
                    <a:pt x="621" y="507"/>
                    <a:pt x="635" y="515"/>
                  </a:cubicBezTo>
                  <a:cubicBezTo>
                    <a:pt x="635" y="635"/>
                    <a:pt x="635" y="635"/>
                    <a:pt x="635" y="635"/>
                  </a:cubicBezTo>
                  <a:cubicBezTo>
                    <a:pt x="635" y="657"/>
                    <a:pt x="635" y="657"/>
                    <a:pt x="635" y="657"/>
                  </a:cubicBezTo>
                  <a:cubicBezTo>
                    <a:pt x="635" y="771"/>
                    <a:pt x="635" y="771"/>
                    <a:pt x="635" y="771"/>
                  </a:cubicBezTo>
                  <a:cubicBezTo>
                    <a:pt x="567" y="771"/>
                    <a:pt x="567" y="771"/>
                    <a:pt x="567" y="771"/>
                  </a:cubicBezTo>
                  <a:cubicBezTo>
                    <a:pt x="567" y="521"/>
                    <a:pt x="567" y="521"/>
                    <a:pt x="567" y="521"/>
                  </a:cubicBezTo>
                  <a:cubicBezTo>
                    <a:pt x="453" y="521"/>
                    <a:pt x="453" y="521"/>
                    <a:pt x="453" y="521"/>
                  </a:cubicBezTo>
                  <a:cubicBezTo>
                    <a:pt x="453" y="431"/>
                    <a:pt x="453" y="431"/>
                    <a:pt x="453" y="431"/>
                  </a:cubicBezTo>
                  <a:cubicBezTo>
                    <a:pt x="589" y="431"/>
                    <a:pt x="589" y="431"/>
                    <a:pt x="589" y="431"/>
                  </a:cubicBezTo>
                  <a:cubicBezTo>
                    <a:pt x="589" y="84"/>
                    <a:pt x="589" y="84"/>
                    <a:pt x="589" y="84"/>
                  </a:cubicBezTo>
                  <a:cubicBezTo>
                    <a:pt x="603" y="76"/>
                    <a:pt x="612" y="62"/>
                    <a:pt x="612" y="45"/>
                  </a:cubicBezTo>
                  <a:cubicBezTo>
                    <a:pt x="612" y="20"/>
                    <a:pt x="592" y="0"/>
                    <a:pt x="567" y="0"/>
                  </a:cubicBezTo>
                  <a:cubicBezTo>
                    <a:pt x="542" y="0"/>
                    <a:pt x="521" y="20"/>
                    <a:pt x="521" y="45"/>
                  </a:cubicBezTo>
                  <a:cubicBezTo>
                    <a:pt x="521" y="62"/>
                    <a:pt x="531" y="76"/>
                    <a:pt x="544" y="84"/>
                  </a:cubicBezTo>
                  <a:cubicBezTo>
                    <a:pt x="544" y="385"/>
                    <a:pt x="544" y="385"/>
                    <a:pt x="544" y="385"/>
                  </a:cubicBezTo>
                  <a:cubicBezTo>
                    <a:pt x="453" y="385"/>
                    <a:pt x="453" y="385"/>
                    <a:pt x="453" y="385"/>
                  </a:cubicBezTo>
                  <a:cubicBezTo>
                    <a:pt x="453" y="314"/>
                    <a:pt x="453" y="314"/>
                    <a:pt x="453" y="314"/>
                  </a:cubicBezTo>
                  <a:cubicBezTo>
                    <a:pt x="486" y="304"/>
                    <a:pt x="510" y="274"/>
                    <a:pt x="510" y="238"/>
                  </a:cubicBezTo>
                  <a:cubicBezTo>
                    <a:pt x="510" y="194"/>
                    <a:pt x="474" y="158"/>
                    <a:pt x="431" y="158"/>
                  </a:cubicBezTo>
                  <a:cubicBezTo>
                    <a:pt x="387" y="158"/>
                    <a:pt x="351" y="194"/>
                    <a:pt x="351" y="238"/>
                  </a:cubicBezTo>
                  <a:cubicBezTo>
                    <a:pt x="351" y="274"/>
                    <a:pt x="375" y="304"/>
                    <a:pt x="408" y="314"/>
                  </a:cubicBezTo>
                  <a:cubicBezTo>
                    <a:pt x="408" y="385"/>
                    <a:pt x="408" y="385"/>
                    <a:pt x="408" y="385"/>
                  </a:cubicBezTo>
                  <a:cubicBezTo>
                    <a:pt x="272" y="385"/>
                    <a:pt x="272" y="385"/>
                    <a:pt x="272" y="385"/>
                  </a:cubicBezTo>
                  <a:cubicBezTo>
                    <a:pt x="272" y="158"/>
                    <a:pt x="272" y="158"/>
                    <a:pt x="272" y="158"/>
                  </a:cubicBezTo>
                  <a:cubicBezTo>
                    <a:pt x="272" y="158"/>
                    <a:pt x="272" y="158"/>
                    <a:pt x="272" y="158"/>
                  </a:cubicBezTo>
                  <a:cubicBezTo>
                    <a:pt x="272" y="68"/>
                    <a:pt x="272" y="68"/>
                    <a:pt x="272" y="68"/>
                  </a:cubicBezTo>
                  <a:cubicBezTo>
                    <a:pt x="323" y="68"/>
                    <a:pt x="323" y="68"/>
                    <a:pt x="323" y="68"/>
                  </a:cubicBezTo>
                  <a:cubicBezTo>
                    <a:pt x="331" y="81"/>
                    <a:pt x="346" y="90"/>
                    <a:pt x="363" y="90"/>
                  </a:cubicBezTo>
                  <a:cubicBezTo>
                    <a:pt x="388" y="90"/>
                    <a:pt x="408" y="70"/>
                    <a:pt x="408" y="45"/>
                  </a:cubicBezTo>
                  <a:cubicBezTo>
                    <a:pt x="408" y="20"/>
                    <a:pt x="388" y="0"/>
                    <a:pt x="363" y="0"/>
                  </a:cubicBezTo>
                  <a:cubicBezTo>
                    <a:pt x="346" y="0"/>
                    <a:pt x="331" y="9"/>
                    <a:pt x="323" y="22"/>
                  </a:cubicBezTo>
                  <a:cubicBezTo>
                    <a:pt x="227" y="22"/>
                    <a:pt x="227" y="22"/>
                    <a:pt x="227" y="22"/>
                  </a:cubicBezTo>
                  <a:cubicBezTo>
                    <a:pt x="227" y="158"/>
                    <a:pt x="227" y="158"/>
                    <a:pt x="227" y="158"/>
                  </a:cubicBezTo>
                  <a:cubicBezTo>
                    <a:pt x="189" y="158"/>
                    <a:pt x="189" y="158"/>
                    <a:pt x="189" y="158"/>
                  </a:cubicBezTo>
                  <a:cubicBezTo>
                    <a:pt x="180" y="126"/>
                    <a:pt x="149" y="102"/>
                    <a:pt x="113" y="102"/>
                  </a:cubicBezTo>
                  <a:cubicBezTo>
                    <a:pt x="69" y="102"/>
                    <a:pt x="34" y="137"/>
                    <a:pt x="34" y="181"/>
                  </a:cubicBezTo>
                  <a:cubicBezTo>
                    <a:pt x="34" y="225"/>
                    <a:pt x="69" y="260"/>
                    <a:pt x="113" y="260"/>
                  </a:cubicBezTo>
                  <a:cubicBezTo>
                    <a:pt x="149" y="260"/>
                    <a:pt x="179" y="237"/>
                    <a:pt x="189" y="204"/>
                  </a:cubicBezTo>
                  <a:cubicBezTo>
                    <a:pt x="227" y="204"/>
                    <a:pt x="227" y="204"/>
                    <a:pt x="227" y="204"/>
                  </a:cubicBezTo>
                  <a:cubicBezTo>
                    <a:pt x="227" y="249"/>
                    <a:pt x="227" y="249"/>
                    <a:pt x="227" y="249"/>
                  </a:cubicBezTo>
                  <a:cubicBezTo>
                    <a:pt x="227" y="249"/>
                    <a:pt x="227" y="249"/>
                    <a:pt x="227" y="249"/>
                  </a:cubicBezTo>
                  <a:cubicBezTo>
                    <a:pt x="227" y="340"/>
                    <a:pt x="227" y="340"/>
                    <a:pt x="227" y="340"/>
                  </a:cubicBezTo>
                  <a:cubicBezTo>
                    <a:pt x="96" y="340"/>
                    <a:pt x="96" y="340"/>
                    <a:pt x="96" y="340"/>
                  </a:cubicBezTo>
                  <a:cubicBezTo>
                    <a:pt x="89" y="321"/>
                    <a:pt x="71" y="308"/>
                    <a:pt x="50" y="308"/>
                  </a:cubicBezTo>
                  <a:cubicBezTo>
                    <a:pt x="22" y="308"/>
                    <a:pt x="0" y="330"/>
                    <a:pt x="0" y="358"/>
                  </a:cubicBezTo>
                  <a:cubicBezTo>
                    <a:pt x="0" y="386"/>
                    <a:pt x="22" y="408"/>
                    <a:pt x="50" y="408"/>
                  </a:cubicBezTo>
                  <a:cubicBezTo>
                    <a:pt x="67" y="408"/>
                    <a:pt x="83" y="399"/>
                    <a:pt x="91" y="385"/>
                  </a:cubicBezTo>
                  <a:cubicBezTo>
                    <a:pt x="227" y="385"/>
                    <a:pt x="227" y="385"/>
                    <a:pt x="227" y="385"/>
                  </a:cubicBezTo>
                  <a:cubicBezTo>
                    <a:pt x="227" y="521"/>
                    <a:pt x="227" y="521"/>
                    <a:pt x="227" y="521"/>
                  </a:cubicBezTo>
                  <a:cubicBezTo>
                    <a:pt x="155" y="521"/>
                    <a:pt x="155" y="521"/>
                    <a:pt x="155" y="521"/>
                  </a:cubicBezTo>
                  <a:cubicBezTo>
                    <a:pt x="145" y="488"/>
                    <a:pt x="115" y="465"/>
                    <a:pt x="79" y="465"/>
                  </a:cubicBezTo>
                  <a:cubicBezTo>
                    <a:pt x="35" y="465"/>
                    <a:pt x="0" y="500"/>
                    <a:pt x="0" y="544"/>
                  </a:cubicBezTo>
                  <a:cubicBezTo>
                    <a:pt x="0" y="588"/>
                    <a:pt x="35" y="623"/>
                    <a:pt x="79" y="623"/>
                  </a:cubicBezTo>
                  <a:cubicBezTo>
                    <a:pt x="115" y="623"/>
                    <a:pt x="145" y="599"/>
                    <a:pt x="155" y="567"/>
                  </a:cubicBezTo>
                  <a:cubicBezTo>
                    <a:pt x="227" y="567"/>
                    <a:pt x="227" y="567"/>
                    <a:pt x="227" y="567"/>
                  </a:cubicBezTo>
                  <a:cubicBezTo>
                    <a:pt x="227" y="604"/>
                    <a:pt x="227" y="604"/>
                    <a:pt x="227" y="604"/>
                  </a:cubicBezTo>
                  <a:cubicBezTo>
                    <a:pt x="194" y="614"/>
                    <a:pt x="170" y="644"/>
                    <a:pt x="170" y="680"/>
                  </a:cubicBezTo>
                  <a:cubicBezTo>
                    <a:pt x="170" y="716"/>
                    <a:pt x="194" y="746"/>
                    <a:pt x="227" y="756"/>
                  </a:cubicBezTo>
                  <a:cubicBezTo>
                    <a:pt x="227" y="800"/>
                    <a:pt x="227" y="800"/>
                    <a:pt x="227" y="800"/>
                  </a:cubicBezTo>
                  <a:cubicBezTo>
                    <a:pt x="213" y="807"/>
                    <a:pt x="204" y="822"/>
                    <a:pt x="204" y="839"/>
                  </a:cubicBezTo>
                  <a:cubicBezTo>
                    <a:pt x="204" y="864"/>
                    <a:pt x="224" y="884"/>
                    <a:pt x="249" y="884"/>
                  </a:cubicBezTo>
                  <a:cubicBezTo>
                    <a:pt x="274" y="884"/>
                    <a:pt x="295" y="864"/>
                    <a:pt x="295" y="839"/>
                  </a:cubicBezTo>
                  <a:cubicBezTo>
                    <a:pt x="295" y="822"/>
                    <a:pt x="285" y="807"/>
                    <a:pt x="272" y="800"/>
                  </a:cubicBezTo>
                  <a:cubicBezTo>
                    <a:pt x="272" y="756"/>
                    <a:pt x="272" y="756"/>
                    <a:pt x="272" y="756"/>
                  </a:cubicBezTo>
                  <a:cubicBezTo>
                    <a:pt x="298" y="748"/>
                    <a:pt x="318" y="728"/>
                    <a:pt x="325" y="703"/>
                  </a:cubicBezTo>
                  <a:cubicBezTo>
                    <a:pt x="453" y="703"/>
                    <a:pt x="453" y="703"/>
                    <a:pt x="453" y="703"/>
                  </a:cubicBezTo>
                  <a:cubicBezTo>
                    <a:pt x="453" y="567"/>
                    <a:pt x="453" y="567"/>
                    <a:pt x="453" y="567"/>
                  </a:cubicBezTo>
                  <a:cubicBezTo>
                    <a:pt x="521" y="567"/>
                    <a:pt x="521" y="567"/>
                    <a:pt x="521" y="567"/>
                  </a:cubicBezTo>
                  <a:cubicBezTo>
                    <a:pt x="521" y="771"/>
                    <a:pt x="521" y="771"/>
                    <a:pt x="521" y="771"/>
                  </a:cubicBezTo>
                  <a:cubicBezTo>
                    <a:pt x="363" y="771"/>
                    <a:pt x="363" y="771"/>
                    <a:pt x="363" y="771"/>
                  </a:cubicBezTo>
                  <a:cubicBezTo>
                    <a:pt x="363" y="865"/>
                    <a:pt x="363" y="865"/>
                    <a:pt x="363" y="865"/>
                  </a:cubicBezTo>
                  <a:cubicBezTo>
                    <a:pt x="330" y="874"/>
                    <a:pt x="306" y="905"/>
                    <a:pt x="306" y="941"/>
                  </a:cubicBezTo>
                  <a:cubicBezTo>
                    <a:pt x="306" y="985"/>
                    <a:pt x="342" y="1020"/>
                    <a:pt x="385" y="1020"/>
                  </a:cubicBezTo>
                  <a:cubicBezTo>
                    <a:pt x="429" y="1020"/>
                    <a:pt x="465" y="985"/>
                    <a:pt x="465" y="941"/>
                  </a:cubicBezTo>
                  <a:cubicBezTo>
                    <a:pt x="465" y="905"/>
                    <a:pt x="441" y="874"/>
                    <a:pt x="408" y="865"/>
                  </a:cubicBezTo>
                  <a:cubicBezTo>
                    <a:pt x="408" y="816"/>
                    <a:pt x="408" y="816"/>
                    <a:pt x="408" y="816"/>
                  </a:cubicBezTo>
                  <a:cubicBezTo>
                    <a:pt x="521" y="816"/>
                    <a:pt x="521" y="816"/>
                    <a:pt x="521" y="816"/>
                  </a:cubicBezTo>
                  <a:cubicBezTo>
                    <a:pt x="521" y="844"/>
                    <a:pt x="521" y="844"/>
                    <a:pt x="521" y="844"/>
                  </a:cubicBezTo>
                  <a:cubicBezTo>
                    <a:pt x="505" y="852"/>
                    <a:pt x="494" y="869"/>
                    <a:pt x="494" y="889"/>
                  </a:cubicBezTo>
                  <a:cubicBezTo>
                    <a:pt x="494" y="916"/>
                    <a:pt x="517" y="939"/>
                    <a:pt x="544" y="939"/>
                  </a:cubicBezTo>
                  <a:cubicBezTo>
                    <a:pt x="572" y="939"/>
                    <a:pt x="594" y="916"/>
                    <a:pt x="594" y="889"/>
                  </a:cubicBezTo>
                  <a:cubicBezTo>
                    <a:pt x="594" y="869"/>
                    <a:pt x="583" y="852"/>
                    <a:pt x="567" y="844"/>
                  </a:cubicBezTo>
                  <a:cubicBezTo>
                    <a:pt x="567" y="816"/>
                    <a:pt x="567" y="816"/>
                    <a:pt x="567" y="816"/>
                  </a:cubicBezTo>
                  <a:cubicBezTo>
                    <a:pt x="635" y="816"/>
                    <a:pt x="635" y="816"/>
                    <a:pt x="635" y="816"/>
                  </a:cubicBezTo>
                  <a:cubicBezTo>
                    <a:pt x="635" y="952"/>
                    <a:pt x="635" y="952"/>
                    <a:pt x="635" y="952"/>
                  </a:cubicBezTo>
                  <a:cubicBezTo>
                    <a:pt x="820" y="952"/>
                    <a:pt x="820" y="952"/>
                    <a:pt x="820" y="952"/>
                  </a:cubicBezTo>
                  <a:cubicBezTo>
                    <a:pt x="829" y="985"/>
                    <a:pt x="860" y="1009"/>
                    <a:pt x="896" y="1009"/>
                  </a:cubicBezTo>
                  <a:cubicBezTo>
                    <a:pt x="939" y="1009"/>
                    <a:pt x="975" y="973"/>
                    <a:pt x="975" y="929"/>
                  </a:cubicBezTo>
                  <a:cubicBezTo>
                    <a:pt x="975" y="886"/>
                    <a:pt x="939" y="850"/>
                    <a:pt x="896" y="850"/>
                  </a:cubicBezTo>
                  <a:cubicBezTo>
                    <a:pt x="860" y="850"/>
                    <a:pt x="829" y="874"/>
                    <a:pt x="820" y="907"/>
                  </a:cubicBezTo>
                  <a:cubicBezTo>
                    <a:pt x="680" y="907"/>
                    <a:pt x="680" y="907"/>
                    <a:pt x="680" y="907"/>
                  </a:cubicBezTo>
                  <a:cubicBezTo>
                    <a:pt x="680" y="657"/>
                    <a:pt x="680" y="657"/>
                    <a:pt x="680" y="657"/>
                  </a:cubicBezTo>
                  <a:cubicBezTo>
                    <a:pt x="751" y="657"/>
                    <a:pt x="751" y="657"/>
                    <a:pt x="751" y="657"/>
                  </a:cubicBezTo>
                  <a:cubicBezTo>
                    <a:pt x="761" y="690"/>
                    <a:pt x="792" y="714"/>
                    <a:pt x="828" y="714"/>
                  </a:cubicBezTo>
                  <a:cubicBezTo>
                    <a:pt x="871" y="714"/>
                    <a:pt x="907" y="678"/>
                    <a:pt x="907" y="635"/>
                  </a:cubicBezTo>
                  <a:cubicBezTo>
                    <a:pt x="907" y="591"/>
                    <a:pt x="871" y="555"/>
                    <a:pt x="828" y="555"/>
                  </a:cubicBezTo>
                  <a:cubicBezTo>
                    <a:pt x="792" y="555"/>
                    <a:pt x="761" y="579"/>
                    <a:pt x="751" y="612"/>
                  </a:cubicBezTo>
                  <a:cubicBezTo>
                    <a:pt x="680" y="612"/>
                    <a:pt x="680" y="612"/>
                    <a:pt x="680" y="612"/>
                  </a:cubicBezTo>
                  <a:cubicBezTo>
                    <a:pt x="680" y="515"/>
                    <a:pt x="680" y="515"/>
                    <a:pt x="680" y="515"/>
                  </a:cubicBezTo>
                  <a:cubicBezTo>
                    <a:pt x="694" y="507"/>
                    <a:pt x="703" y="493"/>
                    <a:pt x="703" y="476"/>
                  </a:cubicBezTo>
                  <a:cubicBezTo>
                    <a:pt x="703" y="459"/>
                    <a:pt x="694" y="445"/>
                    <a:pt x="680" y="437"/>
                  </a:cubicBezTo>
                  <a:cubicBezTo>
                    <a:pt x="680" y="317"/>
                    <a:pt x="680" y="317"/>
                    <a:pt x="680" y="317"/>
                  </a:cubicBezTo>
                  <a:cubicBezTo>
                    <a:pt x="748" y="317"/>
                    <a:pt x="748" y="317"/>
                    <a:pt x="748" y="317"/>
                  </a:cubicBezTo>
                  <a:cubicBezTo>
                    <a:pt x="748" y="499"/>
                    <a:pt x="748" y="499"/>
                    <a:pt x="748" y="499"/>
                  </a:cubicBezTo>
                  <a:cubicBezTo>
                    <a:pt x="952" y="499"/>
                    <a:pt x="952" y="499"/>
                    <a:pt x="952" y="499"/>
                  </a:cubicBezTo>
                  <a:cubicBezTo>
                    <a:pt x="952" y="771"/>
                    <a:pt x="952" y="771"/>
                    <a:pt x="952" y="771"/>
                  </a:cubicBezTo>
                  <a:lnTo>
                    <a:pt x="787" y="771"/>
                  </a:lnTo>
                  <a:close/>
                  <a:moveTo>
                    <a:pt x="737" y="147"/>
                  </a:moveTo>
                  <a:cubicBezTo>
                    <a:pt x="737" y="128"/>
                    <a:pt x="752" y="113"/>
                    <a:pt x="771" y="113"/>
                  </a:cubicBezTo>
                  <a:cubicBezTo>
                    <a:pt x="790" y="113"/>
                    <a:pt x="805" y="128"/>
                    <a:pt x="805" y="147"/>
                  </a:cubicBezTo>
                  <a:cubicBezTo>
                    <a:pt x="805" y="157"/>
                    <a:pt x="800" y="166"/>
                    <a:pt x="794" y="172"/>
                  </a:cubicBezTo>
                  <a:cubicBezTo>
                    <a:pt x="788" y="178"/>
                    <a:pt x="780" y="181"/>
                    <a:pt x="771" y="181"/>
                  </a:cubicBezTo>
                  <a:cubicBezTo>
                    <a:pt x="762" y="181"/>
                    <a:pt x="754" y="178"/>
                    <a:pt x="748" y="172"/>
                  </a:cubicBezTo>
                  <a:cubicBezTo>
                    <a:pt x="741" y="166"/>
                    <a:pt x="737" y="157"/>
                    <a:pt x="737" y="147"/>
                  </a:cubicBezTo>
                  <a:close/>
                  <a:moveTo>
                    <a:pt x="431" y="204"/>
                  </a:moveTo>
                  <a:cubicBezTo>
                    <a:pt x="449" y="204"/>
                    <a:pt x="465" y="219"/>
                    <a:pt x="465" y="238"/>
                  </a:cubicBezTo>
                  <a:cubicBezTo>
                    <a:pt x="465" y="257"/>
                    <a:pt x="449" y="272"/>
                    <a:pt x="431" y="272"/>
                  </a:cubicBezTo>
                  <a:cubicBezTo>
                    <a:pt x="412" y="272"/>
                    <a:pt x="397" y="257"/>
                    <a:pt x="397" y="238"/>
                  </a:cubicBezTo>
                  <a:cubicBezTo>
                    <a:pt x="397" y="219"/>
                    <a:pt x="412" y="204"/>
                    <a:pt x="431" y="204"/>
                  </a:cubicBezTo>
                  <a:close/>
                  <a:moveTo>
                    <a:pt x="113" y="215"/>
                  </a:moveTo>
                  <a:cubicBezTo>
                    <a:pt x="94" y="215"/>
                    <a:pt x="79" y="200"/>
                    <a:pt x="79" y="181"/>
                  </a:cubicBezTo>
                  <a:cubicBezTo>
                    <a:pt x="79" y="162"/>
                    <a:pt x="94" y="147"/>
                    <a:pt x="113" y="147"/>
                  </a:cubicBezTo>
                  <a:cubicBezTo>
                    <a:pt x="132" y="147"/>
                    <a:pt x="147" y="162"/>
                    <a:pt x="147" y="181"/>
                  </a:cubicBezTo>
                  <a:cubicBezTo>
                    <a:pt x="147" y="200"/>
                    <a:pt x="132" y="215"/>
                    <a:pt x="113" y="215"/>
                  </a:cubicBezTo>
                  <a:close/>
                  <a:moveTo>
                    <a:pt x="113" y="544"/>
                  </a:moveTo>
                  <a:cubicBezTo>
                    <a:pt x="113" y="553"/>
                    <a:pt x="110" y="561"/>
                    <a:pt x="105" y="567"/>
                  </a:cubicBezTo>
                  <a:cubicBezTo>
                    <a:pt x="98" y="574"/>
                    <a:pt x="89" y="578"/>
                    <a:pt x="79" y="578"/>
                  </a:cubicBezTo>
                  <a:cubicBezTo>
                    <a:pt x="60" y="578"/>
                    <a:pt x="45" y="563"/>
                    <a:pt x="45" y="544"/>
                  </a:cubicBezTo>
                  <a:cubicBezTo>
                    <a:pt x="45" y="525"/>
                    <a:pt x="60" y="510"/>
                    <a:pt x="79" y="510"/>
                  </a:cubicBezTo>
                  <a:cubicBezTo>
                    <a:pt x="89" y="510"/>
                    <a:pt x="98" y="514"/>
                    <a:pt x="105" y="521"/>
                  </a:cubicBezTo>
                  <a:cubicBezTo>
                    <a:pt x="110" y="527"/>
                    <a:pt x="113" y="535"/>
                    <a:pt x="113" y="544"/>
                  </a:cubicBezTo>
                  <a:close/>
                  <a:moveTo>
                    <a:pt x="272" y="431"/>
                  </a:moveTo>
                  <a:cubicBezTo>
                    <a:pt x="408" y="431"/>
                    <a:pt x="408" y="431"/>
                    <a:pt x="408" y="431"/>
                  </a:cubicBezTo>
                  <a:cubicBezTo>
                    <a:pt x="408" y="521"/>
                    <a:pt x="408" y="521"/>
                    <a:pt x="408" y="521"/>
                  </a:cubicBezTo>
                  <a:cubicBezTo>
                    <a:pt x="272" y="521"/>
                    <a:pt x="272" y="521"/>
                    <a:pt x="272" y="521"/>
                  </a:cubicBezTo>
                  <a:lnTo>
                    <a:pt x="272" y="431"/>
                  </a:lnTo>
                  <a:close/>
                  <a:moveTo>
                    <a:pt x="283" y="680"/>
                  </a:moveTo>
                  <a:cubicBezTo>
                    <a:pt x="283" y="689"/>
                    <a:pt x="280" y="697"/>
                    <a:pt x="275" y="703"/>
                  </a:cubicBezTo>
                  <a:cubicBezTo>
                    <a:pt x="272" y="703"/>
                    <a:pt x="272" y="703"/>
                    <a:pt x="272" y="703"/>
                  </a:cubicBezTo>
                  <a:cubicBezTo>
                    <a:pt x="272" y="705"/>
                    <a:pt x="272" y="705"/>
                    <a:pt x="272" y="705"/>
                  </a:cubicBezTo>
                  <a:cubicBezTo>
                    <a:pt x="266" y="711"/>
                    <a:pt x="258" y="714"/>
                    <a:pt x="249" y="714"/>
                  </a:cubicBezTo>
                  <a:cubicBezTo>
                    <a:pt x="241" y="714"/>
                    <a:pt x="233" y="711"/>
                    <a:pt x="227" y="705"/>
                  </a:cubicBezTo>
                  <a:cubicBezTo>
                    <a:pt x="220" y="699"/>
                    <a:pt x="215" y="690"/>
                    <a:pt x="215" y="680"/>
                  </a:cubicBezTo>
                  <a:cubicBezTo>
                    <a:pt x="215" y="670"/>
                    <a:pt x="220" y="661"/>
                    <a:pt x="227" y="655"/>
                  </a:cubicBezTo>
                  <a:cubicBezTo>
                    <a:pt x="233" y="649"/>
                    <a:pt x="241" y="646"/>
                    <a:pt x="249" y="646"/>
                  </a:cubicBezTo>
                  <a:cubicBezTo>
                    <a:pt x="258" y="646"/>
                    <a:pt x="266" y="649"/>
                    <a:pt x="272" y="655"/>
                  </a:cubicBezTo>
                  <a:cubicBezTo>
                    <a:pt x="272" y="657"/>
                    <a:pt x="272" y="657"/>
                    <a:pt x="272" y="657"/>
                  </a:cubicBezTo>
                  <a:cubicBezTo>
                    <a:pt x="275" y="657"/>
                    <a:pt x="275" y="657"/>
                    <a:pt x="275" y="657"/>
                  </a:cubicBezTo>
                  <a:cubicBezTo>
                    <a:pt x="280" y="663"/>
                    <a:pt x="283" y="671"/>
                    <a:pt x="283" y="680"/>
                  </a:cubicBezTo>
                  <a:close/>
                  <a:moveTo>
                    <a:pt x="408" y="657"/>
                  </a:moveTo>
                  <a:cubicBezTo>
                    <a:pt x="325" y="657"/>
                    <a:pt x="325" y="657"/>
                    <a:pt x="325" y="657"/>
                  </a:cubicBezTo>
                  <a:cubicBezTo>
                    <a:pt x="318" y="632"/>
                    <a:pt x="298" y="612"/>
                    <a:pt x="272" y="604"/>
                  </a:cubicBezTo>
                  <a:cubicBezTo>
                    <a:pt x="272" y="567"/>
                    <a:pt x="272" y="567"/>
                    <a:pt x="272" y="567"/>
                  </a:cubicBezTo>
                  <a:cubicBezTo>
                    <a:pt x="408" y="567"/>
                    <a:pt x="408" y="567"/>
                    <a:pt x="408" y="567"/>
                  </a:cubicBezTo>
                  <a:lnTo>
                    <a:pt x="408" y="657"/>
                  </a:lnTo>
                  <a:close/>
                  <a:moveTo>
                    <a:pt x="419" y="941"/>
                  </a:moveTo>
                  <a:cubicBezTo>
                    <a:pt x="419" y="951"/>
                    <a:pt x="415" y="960"/>
                    <a:pt x="408" y="966"/>
                  </a:cubicBezTo>
                  <a:cubicBezTo>
                    <a:pt x="402" y="972"/>
                    <a:pt x="394" y="975"/>
                    <a:pt x="385" y="975"/>
                  </a:cubicBezTo>
                  <a:cubicBezTo>
                    <a:pt x="377" y="975"/>
                    <a:pt x="369" y="972"/>
                    <a:pt x="363" y="966"/>
                  </a:cubicBezTo>
                  <a:cubicBezTo>
                    <a:pt x="356" y="960"/>
                    <a:pt x="351" y="951"/>
                    <a:pt x="351" y="941"/>
                  </a:cubicBezTo>
                  <a:cubicBezTo>
                    <a:pt x="351" y="931"/>
                    <a:pt x="356" y="922"/>
                    <a:pt x="363" y="916"/>
                  </a:cubicBezTo>
                  <a:cubicBezTo>
                    <a:pt x="369" y="910"/>
                    <a:pt x="377" y="907"/>
                    <a:pt x="385" y="907"/>
                  </a:cubicBezTo>
                  <a:cubicBezTo>
                    <a:pt x="394" y="907"/>
                    <a:pt x="402" y="910"/>
                    <a:pt x="408" y="915"/>
                  </a:cubicBezTo>
                  <a:cubicBezTo>
                    <a:pt x="415" y="922"/>
                    <a:pt x="419" y="931"/>
                    <a:pt x="419" y="941"/>
                  </a:cubicBezTo>
                  <a:close/>
                  <a:moveTo>
                    <a:pt x="862" y="929"/>
                  </a:moveTo>
                  <a:cubicBezTo>
                    <a:pt x="862" y="921"/>
                    <a:pt x="865" y="913"/>
                    <a:pt x="870" y="907"/>
                  </a:cubicBezTo>
                  <a:cubicBezTo>
                    <a:pt x="876" y="900"/>
                    <a:pt x="886" y="895"/>
                    <a:pt x="896" y="895"/>
                  </a:cubicBezTo>
                  <a:cubicBezTo>
                    <a:pt x="914" y="895"/>
                    <a:pt x="930" y="911"/>
                    <a:pt x="930" y="929"/>
                  </a:cubicBezTo>
                  <a:cubicBezTo>
                    <a:pt x="930" y="948"/>
                    <a:pt x="914" y="963"/>
                    <a:pt x="896" y="963"/>
                  </a:cubicBezTo>
                  <a:cubicBezTo>
                    <a:pt x="886" y="963"/>
                    <a:pt x="876" y="959"/>
                    <a:pt x="870" y="952"/>
                  </a:cubicBezTo>
                  <a:cubicBezTo>
                    <a:pt x="865" y="946"/>
                    <a:pt x="862" y="938"/>
                    <a:pt x="862" y="929"/>
                  </a:cubicBezTo>
                  <a:close/>
                  <a:moveTo>
                    <a:pt x="794" y="635"/>
                  </a:moveTo>
                  <a:cubicBezTo>
                    <a:pt x="794" y="626"/>
                    <a:pt x="797" y="618"/>
                    <a:pt x="802" y="612"/>
                  </a:cubicBezTo>
                  <a:cubicBezTo>
                    <a:pt x="808" y="605"/>
                    <a:pt x="818" y="601"/>
                    <a:pt x="828" y="601"/>
                  </a:cubicBezTo>
                  <a:cubicBezTo>
                    <a:pt x="838" y="601"/>
                    <a:pt x="847" y="605"/>
                    <a:pt x="853" y="612"/>
                  </a:cubicBezTo>
                  <a:cubicBezTo>
                    <a:pt x="858" y="618"/>
                    <a:pt x="862" y="626"/>
                    <a:pt x="862" y="635"/>
                  </a:cubicBezTo>
                  <a:cubicBezTo>
                    <a:pt x="862" y="643"/>
                    <a:pt x="858" y="651"/>
                    <a:pt x="853" y="657"/>
                  </a:cubicBezTo>
                  <a:cubicBezTo>
                    <a:pt x="847" y="664"/>
                    <a:pt x="838" y="669"/>
                    <a:pt x="828" y="669"/>
                  </a:cubicBezTo>
                  <a:cubicBezTo>
                    <a:pt x="818" y="669"/>
                    <a:pt x="808" y="664"/>
                    <a:pt x="802" y="657"/>
                  </a:cubicBezTo>
                  <a:cubicBezTo>
                    <a:pt x="797" y="651"/>
                    <a:pt x="794" y="643"/>
                    <a:pt x="794" y="635"/>
                  </a:cubicBezTo>
                  <a:close/>
                </a:path>
              </a:pathLst>
            </a:custGeom>
            <a:solidFill>
              <a:srgbClr val="0F8287"/>
            </a:solidFill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000">
                <a:solidFill>
                  <a:srgbClr val="000000"/>
                </a:solidFill>
              </a:endParaRPr>
            </a:p>
          </p:txBody>
        </p:sp>
        <p:grpSp>
          <p:nvGrpSpPr>
            <p:cNvPr id="884" name="Group 883">
              <a:extLst>
                <a:ext uri="{FF2B5EF4-FFF2-40B4-BE49-F238E27FC236}">
                  <a16:creationId xmlns:a16="http://schemas.microsoft.com/office/drawing/2014/main" id="{1F295532-965B-9484-0A9B-29274579D021}"/>
                </a:ext>
              </a:extLst>
            </p:cNvPr>
            <p:cNvGrpSpPr/>
            <p:nvPr/>
          </p:nvGrpSpPr>
          <p:grpSpPr>
            <a:xfrm>
              <a:off x="7415315" y="5707614"/>
              <a:ext cx="395155" cy="274521"/>
              <a:chOff x="7794093" y="5609501"/>
              <a:chExt cx="378039" cy="259077"/>
            </a:xfrm>
          </p:grpSpPr>
          <p:sp>
            <p:nvSpPr>
              <p:cNvPr id="885" name="Freeform 62">
                <a:extLst>
                  <a:ext uri="{FF2B5EF4-FFF2-40B4-BE49-F238E27FC236}">
                    <a16:creationId xmlns:a16="http://schemas.microsoft.com/office/drawing/2014/main" id="{2921A665-FEDF-7E65-D010-45A08C0788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94093" y="5609501"/>
                <a:ext cx="378039" cy="244233"/>
              </a:xfrm>
              <a:custGeom>
                <a:avLst/>
                <a:gdLst>
                  <a:gd name="T0" fmla="*/ 121 w 890"/>
                  <a:gd name="T1" fmla="*/ 575 h 575"/>
                  <a:gd name="T2" fmla="*/ 709 w 890"/>
                  <a:gd name="T3" fmla="*/ 575 h 575"/>
                  <a:gd name="T4" fmla="*/ 884 w 890"/>
                  <a:gd name="T5" fmla="*/ 407 h 575"/>
                  <a:gd name="T6" fmla="*/ 720 w 890"/>
                  <a:gd name="T7" fmla="*/ 214 h 575"/>
                  <a:gd name="T8" fmla="*/ 497 w 890"/>
                  <a:gd name="T9" fmla="*/ 8 h 575"/>
                  <a:gd name="T10" fmla="*/ 275 w 890"/>
                  <a:gd name="T11" fmla="*/ 160 h 575"/>
                  <a:gd name="T12" fmla="*/ 105 w 890"/>
                  <a:gd name="T13" fmla="*/ 323 h 575"/>
                  <a:gd name="T14" fmla="*/ 0 w 890"/>
                  <a:gd name="T15" fmla="*/ 438 h 575"/>
                  <a:gd name="T16" fmla="*/ 121 w 890"/>
                  <a:gd name="T17" fmla="*/ 575 h 5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90" h="575">
                    <a:moveTo>
                      <a:pt x="121" y="575"/>
                    </a:moveTo>
                    <a:cubicBezTo>
                      <a:pt x="709" y="575"/>
                      <a:pt x="709" y="575"/>
                      <a:pt x="709" y="575"/>
                    </a:cubicBezTo>
                    <a:cubicBezTo>
                      <a:pt x="884" y="570"/>
                      <a:pt x="884" y="407"/>
                      <a:pt x="884" y="407"/>
                    </a:cubicBezTo>
                    <a:cubicBezTo>
                      <a:pt x="890" y="222"/>
                      <a:pt x="720" y="214"/>
                      <a:pt x="720" y="214"/>
                    </a:cubicBezTo>
                    <a:cubicBezTo>
                      <a:pt x="681" y="0"/>
                      <a:pt x="497" y="8"/>
                      <a:pt x="497" y="8"/>
                    </a:cubicBezTo>
                    <a:cubicBezTo>
                      <a:pt x="325" y="8"/>
                      <a:pt x="275" y="160"/>
                      <a:pt x="275" y="160"/>
                    </a:cubicBezTo>
                    <a:cubicBezTo>
                      <a:pt x="97" y="160"/>
                      <a:pt x="105" y="323"/>
                      <a:pt x="105" y="323"/>
                    </a:cubicBezTo>
                    <a:cubicBezTo>
                      <a:pt x="0" y="340"/>
                      <a:pt x="0" y="438"/>
                      <a:pt x="0" y="438"/>
                    </a:cubicBezTo>
                    <a:cubicBezTo>
                      <a:pt x="0" y="568"/>
                      <a:pt x="121" y="575"/>
                      <a:pt x="121" y="575"/>
                    </a:cubicBezTo>
                    <a:close/>
                  </a:path>
                </a:pathLst>
              </a:custGeom>
              <a:solidFill>
                <a:srgbClr val="0F8287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>
                  <a:solidFill>
                    <a:srgbClr val="000000"/>
                  </a:solidFill>
                </a:endParaRPr>
              </a:p>
            </p:txBody>
          </p:sp>
          <p:pic>
            <p:nvPicPr>
              <p:cNvPr id="886" name="Graphic 885" descr="Single gear">
                <a:extLst>
                  <a:ext uri="{FF2B5EF4-FFF2-40B4-BE49-F238E27FC236}">
                    <a16:creationId xmlns:a16="http://schemas.microsoft.com/office/drawing/2014/main" id="{1A41FFFE-0722-B7E4-5DDB-490E1FD41C9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7872121" y="5631527"/>
                <a:ext cx="237051" cy="237051"/>
              </a:xfrm>
              <a:prstGeom prst="rect">
                <a:avLst/>
              </a:prstGeom>
            </p:spPr>
          </p:pic>
        </p:grpSp>
      </p:grpSp>
      <p:sp>
        <p:nvSpPr>
          <p:cNvPr id="888" name="Rectangle 887">
            <a:extLst>
              <a:ext uri="{FF2B5EF4-FFF2-40B4-BE49-F238E27FC236}">
                <a16:creationId xmlns:a16="http://schemas.microsoft.com/office/drawing/2014/main" id="{EE89D401-FBFC-B801-C7EC-1AAF9EF591B9}"/>
              </a:ext>
            </a:extLst>
          </p:cNvPr>
          <p:cNvSpPr/>
          <p:nvPr/>
        </p:nvSpPr>
        <p:spPr>
          <a:xfrm>
            <a:off x="3994112" y="3650196"/>
            <a:ext cx="998648" cy="293448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0" h="0"/>
          </a:sp3d>
        </p:spPr>
        <p:txBody>
          <a:bodyPr anchor="ctr"/>
          <a:lstStyle/>
          <a:p>
            <a:pPr algn="ctr" defTabSz="913486">
              <a:defRPr/>
            </a:pPr>
            <a:r>
              <a:rPr lang="en-US" sz="999" kern="0" dirty="0">
                <a:solidFill>
                  <a:srgbClr val="FFFFFF"/>
                </a:solidFill>
                <a:cs typeface="Arial" charset="0"/>
              </a:rPr>
              <a:t>Validation</a:t>
            </a:r>
          </a:p>
        </p:txBody>
      </p:sp>
      <p:sp>
        <p:nvSpPr>
          <p:cNvPr id="889" name="Rectangle 888">
            <a:extLst>
              <a:ext uri="{FF2B5EF4-FFF2-40B4-BE49-F238E27FC236}">
                <a16:creationId xmlns:a16="http://schemas.microsoft.com/office/drawing/2014/main" id="{E8C7B06F-F61F-1234-E6D5-D32BEA915465}"/>
              </a:ext>
            </a:extLst>
          </p:cNvPr>
          <p:cNvSpPr/>
          <p:nvPr/>
        </p:nvSpPr>
        <p:spPr bwMode="auto">
          <a:xfrm>
            <a:off x="96472" y="1466029"/>
            <a:ext cx="1544890" cy="1228328"/>
          </a:xfrm>
          <a:prstGeom prst="rect">
            <a:avLst/>
          </a:prstGeom>
          <a:noFill/>
          <a:ln w="69850" cap="flat" cmpd="sng" algn="ctr">
            <a:solidFill>
              <a:srgbClr val="9933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endParaRPr lang="en-US" sz="1399" b="1" i="1">
              <a:latin typeface="Times New Roman" pitchFamily="18" charset="0"/>
            </a:endParaRPr>
          </a:p>
        </p:txBody>
      </p:sp>
      <p:sp>
        <p:nvSpPr>
          <p:cNvPr id="2" name="Arrow: Right 1">
            <a:extLst>
              <a:ext uri="{FF2B5EF4-FFF2-40B4-BE49-F238E27FC236}">
                <a16:creationId xmlns:a16="http://schemas.microsoft.com/office/drawing/2014/main" id="{EC710843-9CF7-B746-7CCC-316423C61B5E}"/>
              </a:ext>
            </a:extLst>
          </p:cNvPr>
          <p:cNvSpPr/>
          <p:nvPr/>
        </p:nvSpPr>
        <p:spPr bwMode="auto">
          <a:xfrm rot="5400000" flipH="1">
            <a:off x="669820" y="2440132"/>
            <a:ext cx="345380" cy="611035"/>
          </a:xfrm>
          <a:prstGeom prst="rightArrow">
            <a:avLst>
              <a:gd name="adj1" fmla="val 50000"/>
              <a:gd name="adj2" fmla="val 46765"/>
            </a:avLst>
          </a:prstGeom>
          <a:solidFill>
            <a:srgbClr val="FF0000"/>
          </a:solidFill>
          <a:ln w="698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endParaRPr lang="en-US" sz="1399" b="1" i="1">
              <a:latin typeface="Times New Roman" pitchFamily="18" charset="0"/>
            </a:endParaRPr>
          </a:p>
        </p:txBody>
      </p:sp>
      <p:sp>
        <p:nvSpPr>
          <p:cNvPr id="824" name="Arrow: Right 823">
            <a:extLst>
              <a:ext uri="{FF2B5EF4-FFF2-40B4-BE49-F238E27FC236}">
                <a16:creationId xmlns:a16="http://schemas.microsoft.com/office/drawing/2014/main" id="{93E9BFE4-86A0-EF66-9891-480EE4FD32EA}"/>
              </a:ext>
            </a:extLst>
          </p:cNvPr>
          <p:cNvSpPr/>
          <p:nvPr/>
        </p:nvSpPr>
        <p:spPr bwMode="auto">
          <a:xfrm rot="10800000" flipH="1">
            <a:off x="1465280" y="1754521"/>
            <a:ext cx="345380" cy="611035"/>
          </a:xfrm>
          <a:prstGeom prst="rightArrow">
            <a:avLst>
              <a:gd name="adj1" fmla="val 50000"/>
              <a:gd name="adj2" fmla="val 46765"/>
            </a:avLst>
          </a:prstGeom>
          <a:solidFill>
            <a:srgbClr val="FF0000"/>
          </a:solidFill>
          <a:ln w="698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endParaRPr lang="en-US" sz="1399" b="1" i="1">
              <a:latin typeface="Times New Roman" pitchFamily="18" charset="0"/>
            </a:endParaRPr>
          </a:p>
        </p:txBody>
      </p:sp>
      <p:sp>
        <p:nvSpPr>
          <p:cNvPr id="825" name="TextBox 824">
            <a:extLst>
              <a:ext uri="{FF2B5EF4-FFF2-40B4-BE49-F238E27FC236}">
                <a16:creationId xmlns:a16="http://schemas.microsoft.com/office/drawing/2014/main" id="{D09889BF-7430-6BC9-7902-D5993F156A6A}"/>
              </a:ext>
            </a:extLst>
          </p:cNvPr>
          <p:cNvSpPr txBox="1"/>
          <p:nvPr/>
        </p:nvSpPr>
        <p:spPr>
          <a:xfrm>
            <a:off x="5902935" y="1466029"/>
            <a:ext cx="6084922" cy="4508927"/>
          </a:xfrm>
          <a:prstGeom prst="rect">
            <a:avLst/>
          </a:prstGeom>
          <a:noFill/>
          <a:ln>
            <a:solidFill>
              <a:schemeClr val="accent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262524"/>
                </a:solidFill>
                <a:cs typeface="Times New Roman" panose="02020603050405020304" pitchFamily="18" charset="0"/>
              </a:rPr>
              <a:t>Domain Knowledg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262524"/>
                </a:solidFill>
                <a:cs typeface="Times New Roman" panose="02020603050405020304" pitchFamily="18" charset="0"/>
              </a:rPr>
              <a:t>Programming Languages: </a:t>
            </a:r>
            <a:r>
              <a:rPr lang="en-US" sz="1400" b="1" dirty="0">
                <a:solidFill>
                  <a:srgbClr val="262524"/>
                </a:solidFill>
                <a:cs typeface="Times New Roman" panose="02020603050405020304" pitchFamily="18" charset="0"/>
              </a:rPr>
              <a:t>Python, R, Java, C++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262524"/>
                </a:solidFill>
                <a:cs typeface="Times New Roman" panose="02020603050405020304" pitchFamily="18" charset="0"/>
              </a:rPr>
              <a:t>Mathematical Knowledge: </a:t>
            </a:r>
            <a:r>
              <a:rPr lang="en-US" sz="1400" b="1" dirty="0">
                <a:solidFill>
                  <a:srgbClr val="262524"/>
                </a:solidFill>
                <a:latin typeface="Primary"/>
              </a:rPr>
              <a:t>Linear algebra, Statistics, Probability, Graph</a:t>
            </a:r>
            <a:endParaRPr lang="en-US" sz="1400" dirty="0">
              <a:solidFill>
                <a:srgbClr val="262524"/>
              </a:solidFill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262524"/>
                </a:solidFill>
                <a:cs typeface="Times New Roman" panose="02020603050405020304" pitchFamily="18" charset="0"/>
              </a:rPr>
              <a:t>Machine Learning: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262524"/>
                </a:solidFill>
                <a:cs typeface="Times New Roman" panose="02020603050405020304" pitchFamily="18" charset="0"/>
              </a:rPr>
              <a:t>Deep Learni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262524"/>
                </a:solidFill>
                <a:cs typeface="Times New Roman" panose="02020603050405020304" pitchFamily="18" charset="0"/>
              </a:rPr>
              <a:t>Neural Network Architectur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262524"/>
                </a:solidFill>
                <a:cs typeface="Times New Roman" panose="02020603050405020304" pitchFamily="18" charset="0"/>
              </a:rPr>
              <a:t>Big Data and Distributed Computing: </a:t>
            </a:r>
            <a:r>
              <a:rPr lang="en-US" sz="1400" b="1" dirty="0">
                <a:solidFill>
                  <a:srgbClr val="262524"/>
                </a:solidFill>
                <a:latin typeface="Primary"/>
              </a:rPr>
              <a:t>Big Data, Distributed computing</a:t>
            </a:r>
            <a:endParaRPr lang="en-US" sz="1400" dirty="0">
              <a:solidFill>
                <a:srgbClr val="262524"/>
              </a:solidFill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262524"/>
                </a:solidFill>
                <a:cs typeface="Times New Roman" panose="02020603050405020304" pitchFamily="18" charset="0"/>
              </a:rPr>
              <a:t>Signal Processing Techniqu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262524"/>
                </a:solidFill>
                <a:cs typeface="Times New Roman" panose="02020603050405020304" pitchFamily="18" charset="0"/>
              </a:rPr>
              <a:t>Shell Scripti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262524"/>
                </a:solidFill>
                <a:cs typeface="Times New Roman" panose="02020603050405020304" pitchFamily="18" charset="0"/>
              </a:rPr>
              <a:t>Cluster Analysi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262524"/>
                </a:solidFill>
                <a:cs typeface="Times New Roman" panose="02020603050405020304" pitchFamily="18" charset="0"/>
              </a:rPr>
              <a:t>Communicatio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262524"/>
                </a:solidFill>
                <a:cs typeface="Times New Roman" panose="02020603050405020304" pitchFamily="18" charset="0"/>
              </a:rPr>
              <a:t>Decision Maki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262524"/>
                </a:solidFill>
                <a:cs typeface="Times New Roman" panose="02020603050405020304" pitchFamily="18" charset="0"/>
              </a:rPr>
              <a:t>Analytical Thinki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262524"/>
                </a:solidFill>
                <a:cs typeface="Times New Roman" panose="02020603050405020304" pitchFamily="18" charset="0"/>
              </a:rPr>
              <a:t>Creativity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CFD4F36-168B-71BA-84BE-F5C393602954}"/>
              </a:ext>
            </a:extLst>
          </p:cNvPr>
          <p:cNvSpPr txBox="1">
            <a:spLocks/>
          </p:cNvSpPr>
          <p:nvPr/>
        </p:nvSpPr>
        <p:spPr>
          <a:xfrm>
            <a:off x="2487295" y="14010"/>
            <a:ext cx="7223760" cy="108874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100" b="1" kern="1200">
                <a:solidFill>
                  <a:srgbClr val="002060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ALYTICS/ AI</a:t>
            </a:r>
            <a:endParaRPr lang="en-US" sz="2800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602534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7295" y="14010"/>
            <a:ext cx="7223760" cy="1088740"/>
          </a:xfrm>
        </p:spPr>
        <p:txBody>
          <a:bodyPr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sz="2800" b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nctional Architecture</a:t>
            </a:r>
            <a:br>
              <a:rPr lang="en-US" sz="2800" b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b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urn data into actionable information</a:t>
            </a:r>
            <a:endParaRPr lang="en-US" sz="2800" b="1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55F771E-EF65-4FBF-A448-F20D31AD837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235" r="2765"/>
          <a:stretch/>
        </p:blipFill>
        <p:spPr>
          <a:xfrm>
            <a:off x="0" y="1370470"/>
            <a:ext cx="12192000" cy="3945259"/>
          </a:xfrm>
          <a:prstGeom prst="rect">
            <a:avLst/>
          </a:prstGeom>
        </p:spPr>
      </p:pic>
      <p:sp>
        <p:nvSpPr>
          <p:cNvPr id="4" name="Rectangle 7">
            <a:extLst>
              <a:ext uri="{FF2B5EF4-FFF2-40B4-BE49-F238E27FC236}">
                <a16:creationId xmlns:a16="http://schemas.microsoft.com/office/drawing/2014/main" id="{BCD38661-8161-476F-BB55-114E282A38C2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0" y="5517619"/>
            <a:ext cx="12192000" cy="611681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>
            <a:noFill/>
          </a:ln>
          <a:effectLst/>
        </p:spPr>
        <p:txBody>
          <a:bodyPr wrap="square" lIns="215888" tIns="143925" rIns="215888" bIns="143925" numCol="1" spcCol="72000" rtlCol="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SG" sz="1899" b="1" dirty="0">
                <a:solidFill>
                  <a:srgbClr val="FFFFFF"/>
                </a:solidFill>
                <a:latin typeface="Arial"/>
                <a:ea typeface="+mn-ea"/>
              </a:rPr>
              <a:t>XHQ translates data into meaningful information in real-time to improve your operations performance</a:t>
            </a:r>
          </a:p>
        </p:txBody>
      </p:sp>
      <p:pic>
        <p:nvPicPr>
          <p:cNvPr id="5" name="Picture 9">
            <a:extLst>
              <a:ext uri="{FF2B5EF4-FFF2-40B4-BE49-F238E27FC236}">
                <a16:creationId xmlns:a16="http://schemas.microsoft.com/office/drawing/2014/main" id="{5551B99F-C2EE-45AA-9E26-7A179C0C2E8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499425" y="2126581"/>
            <a:ext cx="1217662" cy="2463708"/>
          </a:xfrm>
          <a:prstGeom prst="rect">
            <a:avLst/>
          </a:prstGeom>
          <a:noFill/>
          <a:ln>
            <a:noFill/>
          </a:ln>
          <a:effectLst>
            <a:outerShdw blurRad="139700" dist="241300" dir="11520000" sx="102000" sy="102000" algn="ctr">
              <a:srgbClr val="000000">
                <a:alpha val="18000"/>
              </a:srgbClr>
            </a:outerShdw>
          </a:effectLst>
          <a:scene3d>
            <a:camera prst="perspectiveFront" fov="2100000">
              <a:rot lat="0" lon="2100000" rev="0"/>
            </a:camera>
            <a:lightRig rig="flood" dir="t">
              <a:rot lat="0" lon="0" rev="13800000"/>
            </a:lightRig>
          </a:scene3d>
          <a:sp3d extrusionH="107950" prstMaterial="flat">
            <a:bevelT w="82550" h="63500" prst="divot"/>
            <a:bevelB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738424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7295" y="14010"/>
            <a:ext cx="7223760" cy="1088740"/>
          </a:xfrm>
        </p:spPr>
        <p:txBody>
          <a:bodyPr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sz="2800" b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HQ Information Model</a:t>
            </a:r>
            <a:endParaRPr lang="en-US" sz="2800" b="1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DCE53CE-D735-4492-8BDF-833B84F6739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235" r="2765"/>
          <a:stretch/>
        </p:blipFill>
        <p:spPr>
          <a:xfrm>
            <a:off x="1626630" y="2156657"/>
            <a:ext cx="8938740" cy="2892523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3497DD3-02E2-44FC-92F9-7D77B0F58393}"/>
              </a:ext>
            </a:extLst>
          </p:cNvPr>
          <p:cNvSpPr/>
          <p:nvPr/>
        </p:nvSpPr>
        <p:spPr bwMode="auto">
          <a:xfrm>
            <a:off x="6227280" y="2720823"/>
            <a:ext cx="1225774" cy="1635847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Font typeface="Wingdings" charset="0"/>
              <a:buNone/>
            </a:pPr>
            <a:endParaRPr lang="en-US" sz="1799" dirty="0">
              <a:solidFill>
                <a:srgbClr val="FFFFFF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1A79FC3-BF1B-4637-BDDE-C5704F9AC270}"/>
              </a:ext>
            </a:extLst>
          </p:cNvPr>
          <p:cNvSpPr txBox="1"/>
          <p:nvPr/>
        </p:nvSpPr>
        <p:spPr>
          <a:xfrm>
            <a:off x="5526275" y="2282656"/>
            <a:ext cx="3057406" cy="5229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2799" kern="0" dirty="0">
                <a:solidFill>
                  <a:srgbClr val="C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Information Model</a:t>
            </a:r>
            <a:endParaRPr lang="en-US" sz="1799" dirty="0">
              <a:solidFill>
                <a:srgbClr val="C00000"/>
              </a:solidFill>
              <a:latin typeface="Arial"/>
              <a:ea typeface="+mn-ea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5420361-682A-5515-B025-905A553DE64D}"/>
              </a:ext>
            </a:extLst>
          </p:cNvPr>
          <p:cNvSpPr/>
          <p:nvPr/>
        </p:nvSpPr>
        <p:spPr bwMode="auto">
          <a:xfrm>
            <a:off x="3598562" y="3248980"/>
            <a:ext cx="659532" cy="72008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Font typeface="Wingdings" charset="0"/>
              <a:buNone/>
            </a:pPr>
            <a:endParaRPr lang="en-US" sz="1799" dirty="0">
              <a:solidFill>
                <a:srgbClr val="FFFFFF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7D64AFE9-0F75-7606-A2DD-662C6C1AC04C}"/>
              </a:ext>
            </a:extLst>
          </p:cNvPr>
          <p:cNvSpPr/>
          <p:nvPr/>
        </p:nvSpPr>
        <p:spPr>
          <a:xfrm>
            <a:off x="3482671" y="3483006"/>
            <a:ext cx="864096" cy="25202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/>
              <a:t>CSLD </a:t>
            </a:r>
            <a:r>
              <a:rPr lang="en-US" sz="700" b="1" dirty="0" err="1"/>
              <a:t>tập</a:t>
            </a:r>
            <a:r>
              <a:rPr lang="en-US" sz="700" b="1" dirty="0"/>
              <a:t> </a:t>
            </a:r>
            <a:r>
              <a:rPr lang="en-US" sz="700" b="1" dirty="0" err="1"/>
              <a:t>trung</a:t>
            </a:r>
            <a:endParaRPr lang="en-US" sz="700" b="1" dirty="0"/>
          </a:p>
        </p:txBody>
      </p:sp>
    </p:spTree>
    <p:extLst>
      <p:ext uri="{BB962C8B-B14F-4D97-AF65-F5344CB8AC3E}">
        <p14:creationId xmlns:p14="http://schemas.microsoft.com/office/powerpoint/2010/main" val="113870804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7295" y="14010"/>
            <a:ext cx="7223760" cy="1088740"/>
          </a:xfrm>
        </p:spPr>
        <p:txBody>
          <a:bodyPr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sz="2800" b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HQ Connection</a:t>
            </a:r>
            <a:endParaRPr lang="en-US" sz="2800" b="1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5C59A20-735E-4BD9-9842-549ABA2CB26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235" r="2765"/>
          <a:stretch/>
        </p:blipFill>
        <p:spPr>
          <a:xfrm>
            <a:off x="1752600" y="2209800"/>
            <a:ext cx="8938740" cy="2892523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2D4B8EA8-646E-4A66-8735-0968802028E2}"/>
              </a:ext>
            </a:extLst>
          </p:cNvPr>
          <p:cNvSpPr/>
          <p:nvPr/>
        </p:nvSpPr>
        <p:spPr bwMode="auto">
          <a:xfrm>
            <a:off x="4385001" y="2773966"/>
            <a:ext cx="659532" cy="1635847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Font typeface="Wingdings" charset="0"/>
              <a:buNone/>
            </a:pPr>
            <a:endParaRPr lang="en-US" sz="1799" dirty="0">
              <a:solidFill>
                <a:srgbClr val="FFFFFF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08BF25F-DBD7-4FA3-BF74-152C379A881D}"/>
              </a:ext>
            </a:extLst>
          </p:cNvPr>
          <p:cNvSpPr txBox="1"/>
          <p:nvPr/>
        </p:nvSpPr>
        <p:spPr>
          <a:xfrm>
            <a:off x="3846774" y="2258125"/>
            <a:ext cx="1989199" cy="5229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2799" kern="0" dirty="0">
                <a:solidFill>
                  <a:srgbClr val="C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Connections</a:t>
            </a:r>
            <a:endParaRPr lang="en-US" sz="1799" dirty="0">
              <a:solidFill>
                <a:srgbClr val="C00000"/>
              </a:solidFill>
              <a:latin typeface="Arial"/>
              <a:ea typeface="+mn-ea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3275B01-1A3B-1CBB-D2BA-288D4EC8B790}"/>
              </a:ext>
            </a:extLst>
          </p:cNvPr>
          <p:cNvSpPr/>
          <p:nvPr/>
        </p:nvSpPr>
        <p:spPr bwMode="auto">
          <a:xfrm>
            <a:off x="3598562" y="3248980"/>
            <a:ext cx="659532" cy="72008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Font typeface="Wingdings" charset="0"/>
              <a:buNone/>
            </a:pPr>
            <a:endParaRPr lang="en-US" sz="1799" dirty="0">
              <a:solidFill>
                <a:srgbClr val="FFFFFF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BF3815C5-9BA8-0A29-CCE6-F9581479510F}"/>
              </a:ext>
            </a:extLst>
          </p:cNvPr>
          <p:cNvSpPr/>
          <p:nvPr/>
        </p:nvSpPr>
        <p:spPr>
          <a:xfrm>
            <a:off x="3482671" y="3483006"/>
            <a:ext cx="864096" cy="25202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/>
              <a:t>CSLD </a:t>
            </a:r>
            <a:r>
              <a:rPr lang="en-US" sz="700" b="1" dirty="0" err="1"/>
              <a:t>tập</a:t>
            </a:r>
            <a:r>
              <a:rPr lang="en-US" sz="700" b="1" dirty="0"/>
              <a:t> </a:t>
            </a:r>
            <a:r>
              <a:rPr lang="en-US" sz="700" b="1" dirty="0" err="1"/>
              <a:t>trung</a:t>
            </a:r>
            <a:endParaRPr lang="en-US" sz="700" b="1" dirty="0"/>
          </a:p>
        </p:txBody>
      </p:sp>
    </p:spTree>
    <p:extLst>
      <p:ext uri="{BB962C8B-B14F-4D97-AF65-F5344CB8AC3E}">
        <p14:creationId xmlns:p14="http://schemas.microsoft.com/office/powerpoint/2010/main" val="235848824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7295" y="14010"/>
            <a:ext cx="7223760" cy="1088740"/>
          </a:xfrm>
        </p:spPr>
        <p:txBody>
          <a:bodyPr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sz="2800" b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 and Integration: </a:t>
            </a:r>
            <a:br>
              <a:rPr lang="en-US" sz="2800" b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b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HQ in-built connectors</a:t>
            </a:r>
            <a:endParaRPr lang="en-US" sz="2800" b="1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EED0DC6-E307-4705-832F-B5F591F6DC36}"/>
              </a:ext>
            </a:extLst>
          </p:cNvPr>
          <p:cNvSpPr/>
          <p:nvPr/>
        </p:nvSpPr>
        <p:spPr bwMode="auto">
          <a:xfrm>
            <a:off x="4062813" y="4425750"/>
            <a:ext cx="3042134" cy="50448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US" sz="1799" b="1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C1DB511-C332-476A-92F4-E52C225CB7BF}"/>
              </a:ext>
            </a:extLst>
          </p:cNvPr>
          <p:cNvSpPr/>
          <p:nvPr/>
        </p:nvSpPr>
        <p:spPr bwMode="auto">
          <a:xfrm>
            <a:off x="7268363" y="2609321"/>
            <a:ext cx="3712403" cy="54536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US" sz="1799" b="1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0E166A5-A63A-4839-AFB9-EE9AF5934602}"/>
              </a:ext>
            </a:extLst>
          </p:cNvPr>
          <p:cNvSpPr/>
          <p:nvPr/>
        </p:nvSpPr>
        <p:spPr bwMode="auto">
          <a:xfrm>
            <a:off x="4079596" y="3954455"/>
            <a:ext cx="3659028" cy="47129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US" sz="1799" b="1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781623E-07C7-4685-B590-EEFF88CA2DDE}"/>
              </a:ext>
            </a:extLst>
          </p:cNvPr>
          <p:cNvSpPr/>
          <p:nvPr/>
        </p:nvSpPr>
        <p:spPr bwMode="auto">
          <a:xfrm>
            <a:off x="382880" y="2108811"/>
            <a:ext cx="3670001" cy="5028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US" sz="1799" b="1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127DB124-BF90-470B-AD9C-7865B843AE6A}"/>
              </a:ext>
            </a:extLst>
          </p:cNvPr>
          <p:cNvSpPr txBox="1">
            <a:spLocks noChangeArrowheads="1"/>
          </p:cNvSpPr>
          <p:nvPr/>
        </p:nvSpPr>
        <p:spPr>
          <a:xfrm>
            <a:off x="382882" y="2107881"/>
            <a:ext cx="3080440" cy="3886506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</a:ln>
        </p:spPr>
        <p:txBody>
          <a:bodyPr numCol="1"/>
          <a:lstStyle>
            <a:lvl1pPr marL="0" indent="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231651" marR="0" lvl="0" indent="-231651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altLang="en-US" sz="1399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OPC UA</a:t>
            </a:r>
          </a:p>
          <a:p>
            <a:pPr marL="231651" marR="0" lvl="0" indent="-231651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altLang="en-US" sz="1399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ODBC  (Open Database Connectivity)</a:t>
            </a:r>
            <a:endParaRPr kumimoji="0" lang="en-US" altLang="en-US" sz="1399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231651" marR="0" lvl="0" indent="-231651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altLang="en-US" sz="1399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JDBC</a:t>
            </a:r>
          </a:p>
          <a:p>
            <a:pPr marL="231651" marR="0" lvl="0" indent="-231651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altLang="en-US" sz="1399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S SQL Server Connector</a:t>
            </a:r>
          </a:p>
          <a:p>
            <a:pPr marL="231651" marR="0" lvl="0" indent="-231651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altLang="en-US" sz="1399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Oracle Connector</a:t>
            </a:r>
          </a:p>
          <a:p>
            <a:pPr marL="231651" marR="0" lvl="0" indent="-231651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399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AP R/3 Server BAPI (64 bit)</a:t>
            </a:r>
          </a:p>
          <a:p>
            <a:pPr marL="231651" marR="0" lvl="0" indent="-231651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altLang="en-US" sz="1399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ostgreSQL Connector</a:t>
            </a:r>
          </a:p>
          <a:p>
            <a:pPr marL="231651" marR="0" lvl="1" indent="-231651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399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XML</a:t>
            </a:r>
          </a:p>
          <a:p>
            <a:pPr marL="231651" marR="0" lvl="1" indent="-231651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399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EST Connector</a:t>
            </a:r>
          </a:p>
          <a:p>
            <a:pPr marL="231651" marR="0" lvl="1" indent="-231651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399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ocumentum</a:t>
            </a:r>
          </a:p>
          <a:p>
            <a:pPr marL="231651" marR="0" lvl="1" indent="-231651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399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Web Services</a:t>
            </a:r>
          </a:p>
          <a:p>
            <a:pPr marL="231651" marR="0" lvl="1" indent="-231651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399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NMP (Simple Network Management Protocol)</a:t>
            </a:r>
          </a:p>
          <a:p>
            <a:pPr marL="231651" marR="0" lvl="1" indent="-231651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en-US" sz="1199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231651" marR="0" lvl="1" indent="-231651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en-US" sz="1199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231651" marR="0" lvl="1" indent="-231651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en-US" sz="1199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602908" marR="0" lvl="1" indent="-257017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en-US" sz="1199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3FF20A69-CD72-4EE9-876D-5A1F6ED98522}"/>
              </a:ext>
            </a:extLst>
          </p:cNvPr>
          <p:cNvSpPr txBox="1">
            <a:spLocks noChangeArrowheads="1"/>
          </p:cNvSpPr>
          <p:nvPr/>
        </p:nvSpPr>
        <p:spPr>
          <a:xfrm>
            <a:off x="3463323" y="2108811"/>
            <a:ext cx="2893237" cy="3885576"/>
          </a:xfrm>
          <a:prstGeom prst="rect">
            <a:avLst/>
          </a:prstGeom>
          <a:ln>
            <a:solidFill>
              <a:srgbClr val="000000"/>
            </a:solidFill>
          </a:ln>
        </p:spPr>
        <p:txBody>
          <a:bodyPr numCol="1"/>
          <a:lstStyle>
            <a:lvl1pPr marL="0" indent="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231651" marR="0" lvl="0" indent="-231651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399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iemens </a:t>
            </a:r>
            <a:r>
              <a:rPr kumimoji="0" lang="en-US" sz="1399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imatic</a:t>
            </a:r>
            <a:r>
              <a:rPr kumimoji="0" lang="en-US" sz="1399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T Historian</a:t>
            </a:r>
          </a:p>
          <a:p>
            <a:pPr marL="231651" marR="0" lvl="0" indent="-231651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altLang="en-US" sz="1399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OSISoft</a:t>
            </a:r>
            <a:r>
              <a:rPr kumimoji="0" lang="en-US" altLang="en-US" sz="1399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PI </a:t>
            </a:r>
          </a:p>
          <a:p>
            <a:pPr marL="231651" marR="0" lvl="0" indent="-231651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altLang="en-US" sz="1399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OSI PI – AF (Asset Framework)</a:t>
            </a:r>
          </a:p>
          <a:p>
            <a:pPr marL="231651" marR="0" lvl="0" indent="-231651" algn="l" defTabSz="914400" rtl="0" eaLnBrk="1" fontAlgn="base" latinLnBrk="0" hangingPunct="1">
              <a:lnSpc>
                <a:spcPct val="80000"/>
              </a:lnSpc>
              <a:spcBef>
                <a:spcPct val="35000"/>
              </a:spcBef>
              <a:spcAft>
                <a:spcPct val="150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altLang="en-US" sz="1399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spen - </a:t>
            </a:r>
            <a:r>
              <a:rPr kumimoji="0" lang="en-US" altLang="en-US" sz="1399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nfoPlus</a:t>
            </a:r>
            <a:r>
              <a:rPr kumimoji="0" lang="en-US" altLang="en-US" sz="1399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21</a:t>
            </a:r>
          </a:p>
          <a:p>
            <a:pPr marL="231651" marR="0" lvl="1" indent="-231651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399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Honeywell PHD Historian</a:t>
            </a:r>
          </a:p>
          <a:p>
            <a:pPr marL="231651" marR="0" lvl="1" indent="-231651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399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indSphere</a:t>
            </a:r>
            <a:r>
              <a:rPr kumimoji="0" lang="en-US" sz="1399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399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loT</a:t>
            </a:r>
            <a:r>
              <a:rPr kumimoji="0" lang="en-US" sz="1399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Connector</a:t>
            </a:r>
          </a:p>
          <a:p>
            <a:pPr marL="231651" marR="0" lvl="1" indent="-231651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399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atch Connector</a:t>
            </a:r>
          </a:p>
          <a:p>
            <a:pPr marL="618271" marR="0" lvl="1" indent="-257017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atch 21</a:t>
            </a:r>
          </a:p>
          <a:p>
            <a:pPr marL="618271" marR="0" lvl="1" indent="-257017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I Batch</a:t>
            </a:r>
          </a:p>
          <a:p>
            <a:pPr marL="618271" marR="0" lvl="1" indent="-257017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99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imatic</a:t>
            </a:r>
            <a:r>
              <a:rPr kumimoji="0" lang="en-US" sz="13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T Batch</a:t>
            </a:r>
          </a:p>
          <a:p>
            <a:pPr marL="231651" marR="0" lvl="0" indent="-231651" algn="l" defTabSz="914400" rtl="0" eaLnBrk="1" fontAlgn="base" latinLnBrk="0" hangingPunct="1">
              <a:lnSpc>
                <a:spcPct val="80000"/>
              </a:lnSpc>
              <a:spcBef>
                <a:spcPct val="35000"/>
              </a:spcBef>
              <a:spcAft>
                <a:spcPct val="150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399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XHQ Tiered Solution Connector</a:t>
            </a:r>
          </a:p>
          <a:p>
            <a:pPr marL="231651" marR="0" lvl="0" indent="-231651" algn="l" defTabSz="914400" rtl="0" eaLnBrk="1" fontAlgn="base" latinLnBrk="0" hangingPunct="1">
              <a:lnSpc>
                <a:spcPct val="80000"/>
              </a:lnSpc>
              <a:spcBef>
                <a:spcPct val="35000"/>
              </a:spcBef>
              <a:spcAft>
                <a:spcPct val="150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altLang="en-US" sz="1399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XHQ Edge</a:t>
            </a:r>
          </a:p>
          <a:p>
            <a:pPr marL="438972" marR="0" lvl="0" indent="-257017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1399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361253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99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618271" marR="0" lvl="1" indent="-257017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99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9" name="Picture 8" descr="Image result for Server icon transparent">
            <a:extLst>
              <a:ext uri="{FF2B5EF4-FFF2-40B4-BE49-F238E27FC236}">
                <a16:creationId xmlns:a16="http://schemas.microsoft.com/office/drawing/2014/main" id="{50D399F5-1602-46A3-B70B-FEB22CCAE6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6961" y="2315096"/>
            <a:ext cx="843510" cy="843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8" descr="Image result for laptop icon transparent">
            <a:extLst>
              <a:ext uri="{FF2B5EF4-FFF2-40B4-BE49-F238E27FC236}">
                <a16:creationId xmlns:a16="http://schemas.microsoft.com/office/drawing/2014/main" id="{F948E304-1776-4B3C-BF43-A430AC8920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9260" y="2322076"/>
            <a:ext cx="881463" cy="881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ight Arrow 15">
            <a:extLst>
              <a:ext uri="{FF2B5EF4-FFF2-40B4-BE49-F238E27FC236}">
                <a16:creationId xmlns:a16="http://schemas.microsoft.com/office/drawing/2014/main" id="{A2B9795B-E684-4099-992B-A8C4939D0B3A}"/>
              </a:ext>
            </a:extLst>
          </p:cNvPr>
          <p:cNvSpPr/>
          <p:nvPr/>
        </p:nvSpPr>
        <p:spPr>
          <a:xfrm>
            <a:off x="8205416" y="2959384"/>
            <a:ext cx="1290651" cy="228854"/>
          </a:xfrm>
          <a:prstGeom prst="rightArrow">
            <a:avLst/>
          </a:prstGeom>
          <a:gradFill rotWithShape="1">
            <a:gsLst>
              <a:gs pos="0">
                <a:srgbClr val="FFFFFF">
                  <a:shade val="51000"/>
                  <a:satMod val="130000"/>
                </a:srgbClr>
              </a:gs>
              <a:gs pos="80000">
                <a:srgbClr val="FFFFFF">
                  <a:shade val="93000"/>
                  <a:satMod val="130000"/>
                </a:srgbClr>
              </a:gs>
              <a:gs pos="100000">
                <a:srgbClr val="FFFFFF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FFFFFF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ight Arrow 16">
            <a:extLst>
              <a:ext uri="{FF2B5EF4-FFF2-40B4-BE49-F238E27FC236}">
                <a16:creationId xmlns:a16="http://schemas.microsoft.com/office/drawing/2014/main" id="{DD082C57-9C4A-44DC-8CA8-F98F4CF55E7F}"/>
              </a:ext>
            </a:extLst>
          </p:cNvPr>
          <p:cNvSpPr/>
          <p:nvPr/>
        </p:nvSpPr>
        <p:spPr>
          <a:xfrm flipH="1">
            <a:off x="8121401" y="2387057"/>
            <a:ext cx="1290651" cy="259715"/>
          </a:xfrm>
          <a:prstGeom prst="rightArrow">
            <a:avLst/>
          </a:prstGeom>
          <a:gradFill rotWithShape="1">
            <a:gsLst>
              <a:gs pos="0">
                <a:srgbClr val="FFFFFF">
                  <a:shade val="51000"/>
                  <a:satMod val="130000"/>
                </a:srgbClr>
              </a:gs>
              <a:gs pos="80000">
                <a:srgbClr val="FFFFFF">
                  <a:shade val="93000"/>
                  <a:satMod val="130000"/>
                </a:srgbClr>
              </a:gs>
              <a:gs pos="100000">
                <a:srgbClr val="FFFFFF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FFFFFF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AEE833E-4253-4C97-944D-AC67E25BFCB7}"/>
              </a:ext>
            </a:extLst>
          </p:cNvPr>
          <p:cNvSpPr txBox="1"/>
          <p:nvPr/>
        </p:nvSpPr>
        <p:spPr>
          <a:xfrm>
            <a:off x="7913060" y="2633027"/>
            <a:ext cx="1813975" cy="33837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99" dirty="0">
                <a:solidFill>
                  <a:srgbClr val="000000"/>
                </a:solidFill>
                <a:latin typeface="Arial"/>
                <a:ea typeface="+mn-ea"/>
              </a:rPr>
              <a:t>Delta/Flag refresh</a:t>
            </a:r>
          </a:p>
        </p:txBody>
      </p:sp>
      <p:pic>
        <p:nvPicPr>
          <p:cNvPr id="14" name="Picture 13">
            <a:hlinkClick r:id="" action="ppaction://noaction"/>
            <a:extLst>
              <a:ext uri="{FF2B5EF4-FFF2-40B4-BE49-F238E27FC236}">
                <a16:creationId xmlns:a16="http://schemas.microsoft.com/office/drawing/2014/main" id="{9B8B4B65-CDF4-4B1B-8A7C-1B6117B8BDD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5609" t="15324" b="2751"/>
          <a:stretch/>
        </p:blipFill>
        <p:spPr>
          <a:xfrm>
            <a:off x="9833682" y="2445248"/>
            <a:ext cx="650948" cy="4450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Picture 2" descr="database icon">
            <a:extLst>
              <a:ext uri="{FF2B5EF4-FFF2-40B4-BE49-F238E27FC236}">
                <a16:creationId xmlns:a16="http://schemas.microsoft.com/office/drawing/2014/main" id="{633E6161-FFCB-4E67-8285-7E5176604F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496946" y="4172040"/>
            <a:ext cx="658340" cy="658340"/>
          </a:xfrm>
          <a:prstGeom prst="rect">
            <a:avLst/>
          </a:prstGeom>
          <a:noFill/>
        </p:spPr>
      </p:pic>
      <p:pic>
        <p:nvPicPr>
          <p:cNvPr id="16" name="Picture 4" descr="http://cdn.1001freedownloads.com/icon/thumb/341521/User-icon.png">
            <a:extLst>
              <a:ext uri="{FF2B5EF4-FFF2-40B4-BE49-F238E27FC236}">
                <a16:creationId xmlns:a16="http://schemas.microsoft.com/office/drawing/2014/main" id="{3CBCF45A-FB89-4269-8908-070B303869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29778" y="4377195"/>
            <a:ext cx="374053" cy="374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A907F5F2-22B3-402C-9F56-66159C1C790D}"/>
              </a:ext>
            </a:extLst>
          </p:cNvPr>
          <p:cNvCxnSpPr/>
          <p:nvPr/>
        </p:nvCxnSpPr>
        <p:spPr bwMode="auto">
          <a:xfrm rot="5400000" flipH="1" flipV="1">
            <a:off x="11374963" y="4294327"/>
            <a:ext cx="0" cy="539791"/>
          </a:xfrm>
          <a:prstGeom prst="straightConnector1">
            <a:avLst/>
          </a:prstGeom>
          <a:solidFill>
            <a:srgbClr val="000000"/>
          </a:solidFill>
          <a:ln w="2857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triangl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BD4BE063-2191-44A9-939C-CA5EDE15D852}"/>
              </a:ext>
            </a:extLst>
          </p:cNvPr>
          <p:cNvSpPr/>
          <p:nvPr/>
        </p:nvSpPr>
        <p:spPr>
          <a:xfrm>
            <a:off x="10382370" y="4792194"/>
            <a:ext cx="1066245" cy="2460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99" dirty="0">
                <a:solidFill>
                  <a:srgbClr val="000000"/>
                </a:solidFill>
                <a:latin typeface="Arial"/>
                <a:ea typeface="+mn-ea"/>
                <a:cs typeface="Times New Roman" panose="02020603050405020304" pitchFamily="18" charset="0"/>
              </a:rPr>
              <a:t>XHQ Cache</a:t>
            </a:r>
            <a:endParaRPr lang="en-SG" sz="999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EEAE371-C7CB-47BA-95A1-81333C42C590}"/>
              </a:ext>
            </a:extLst>
          </p:cNvPr>
          <p:cNvSpPr/>
          <p:nvPr/>
        </p:nvSpPr>
        <p:spPr>
          <a:xfrm>
            <a:off x="6305713" y="4939780"/>
            <a:ext cx="1142405" cy="2460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999" dirty="0">
                <a:solidFill>
                  <a:srgbClr val="000000"/>
                </a:solidFill>
                <a:latin typeface="Arial"/>
                <a:ea typeface="+mn-ea"/>
                <a:cs typeface="Times New Roman" panose="02020603050405020304" pitchFamily="18" charset="0"/>
              </a:rPr>
              <a:t>Data Source</a:t>
            </a:r>
            <a:endParaRPr lang="en-SG" sz="999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C6CE59B-D8DE-4C88-A5F4-1A3EA94C3400}"/>
              </a:ext>
            </a:extLst>
          </p:cNvPr>
          <p:cNvSpPr/>
          <p:nvPr/>
        </p:nvSpPr>
        <p:spPr>
          <a:xfrm>
            <a:off x="8549510" y="3631660"/>
            <a:ext cx="418486" cy="24609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300"/>
              </a:spcAft>
              <a:tabLst>
                <a:tab pos="456971" algn="l"/>
              </a:tabLst>
            </a:pPr>
            <a:r>
              <a:rPr lang="en-SG" sz="999" b="1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Poll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5C2A8C1-1755-4334-AC47-3D487D279A72}"/>
              </a:ext>
            </a:extLst>
          </p:cNvPr>
          <p:cNvSpPr/>
          <p:nvPr/>
        </p:nvSpPr>
        <p:spPr>
          <a:xfrm>
            <a:off x="8103259" y="3801591"/>
            <a:ext cx="1389400" cy="23071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300"/>
              </a:spcAft>
              <a:tabLst>
                <a:tab pos="456971" algn="l"/>
              </a:tabLst>
            </a:pPr>
            <a:r>
              <a:rPr lang="en-SG" sz="9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Refresh every X minut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63A055C-9A77-4669-8841-ADCABE5AD687}"/>
              </a:ext>
            </a:extLst>
          </p:cNvPr>
          <p:cNvSpPr/>
          <p:nvPr/>
        </p:nvSpPr>
        <p:spPr>
          <a:xfrm>
            <a:off x="8490073" y="4206514"/>
            <a:ext cx="447325" cy="24609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300"/>
              </a:spcAft>
              <a:tabLst>
                <a:tab pos="456971" algn="l"/>
              </a:tabLst>
            </a:pPr>
            <a:r>
              <a:rPr lang="en-SG" sz="999" b="1" dirty="0">
                <a:solidFill>
                  <a:srgbClr val="C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Flag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EF24C96-46E8-43BE-BE1F-080528B99E94}"/>
              </a:ext>
            </a:extLst>
          </p:cNvPr>
          <p:cNvSpPr/>
          <p:nvPr/>
        </p:nvSpPr>
        <p:spPr>
          <a:xfrm>
            <a:off x="7934422" y="4418694"/>
            <a:ext cx="1716243" cy="23071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300"/>
              </a:spcAft>
              <a:tabLst>
                <a:tab pos="456971" algn="l"/>
              </a:tabLst>
            </a:pPr>
            <a:r>
              <a:rPr lang="en-SG" sz="9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Refresh if Max(Date) change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A70B5D7-CF5C-4854-AA6B-A87F4FC4E976}"/>
              </a:ext>
            </a:extLst>
          </p:cNvPr>
          <p:cNvSpPr/>
          <p:nvPr/>
        </p:nvSpPr>
        <p:spPr>
          <a:xfrm>
            <a:off x="8465189" y="4832613"/>
            <a:ext cx="496993" cy="24609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300"/>
              </a:spcAft>
              <a:tabLst>
                <a:tab pos="456971" algn="l"/>
              </a:tabLst>
            </a:pPr>
            <a:r>
              <a:rPr lang="en-SG" sz="999" b="1" dirty="0">
                <a:solidFill>
                  <a:srgbClr val="C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Delta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76F0543-36D8-47DA-A50A-174BCFA68554}"/>
              </a:ext>
            </a:extLst>
          </p:cNvPr>
          <p:cNvSpPr/>
          <p:nvPr/>
        </p:nvSpPr>
        <p:spPr>
          <a:xfrm>
            <a:off x="7833283" y="5002545"/>
            <a:ext cx="2036676" cy="23071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300"/>
              </a:spcAft>
              <a:tabLst>
                <a:tab pos="456971" algn="l"/>
              </a:tabLst>
            </a:pPr>
            <a:r>
              <a:rPr lang="en-SG" sz="9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Refresh </a:t>
            </a:r>
            <a:r>
              <a:rPr lang="en-SG" sz="900" dirty="0">
                <a:solidFill>
                  <a:srgbClr val="000000"/>
                </a:solidFill>
                <a:latin typeface="Arial"/>
                <a:ea typeface="Times New Roman" panose="02020603050405020304" pitchFamily="18" charset="0"/>
                <a:cs typeface="Times New Roman" panose="02020603050405020304" pitchFamily="18" charset="0"/>
              </a:rPr>
              <a:t>on </a:t>
            </a:r>
            <a:r>
              <a:rPr lang="en-SG" sz="9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change is detected on Id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2F5A385-C19C-4B57-9539-6E15C6D522CF}"/>
              </a:ext>
            </a:extLst>
          </p:cNvPr>
          <p:cNvSpPr/>
          <p:nvPr/>
        </p:nvSpPr>
        <p:spPr>
          <a:xfrm>
            <a:off x="8417405" y="5421100"/>
            <a:ext cx="1044935" cy="24609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300"/>
              </a:spcAft>
              <a:tabLst>
                <a:tab pos="456971" algn="l"/>
              </a:tabLst>
            </a:pPr>
            <a:r>
              <a:rPr lang="en-SG" sz="999" b="1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Pass-Through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08B20E8-DB55-4F83-8057-18502F014E75}"/>
              </a:ext>
            </a:extLst>
          </p:cNvPr>
          <p:cNvSpPr/>
          <p:nvPr/>
        </p:nvSpPr>
        <p:spPr>
          <a:xfrm>
            <a:off x="7915758" y="5611828"/>
            <a:ext cx="2043085" cy="23071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300"/>
              </a:spcAft>
              <a:tabLst>
                <a:tab pos="456971" algn="l"/>
              </a:tabLst>
            </a:pPr>
            <a:r>
              <a:rPr lang="en-SG" sz="9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Refresh when requested by the user</a:t>
            </a:r>
          </a:p>
        </p:txBody>
      </p:sp>
      <p:cxnSp>
        <p:nvCxnSpPr>
          <p:cNvPr id="28" name="Elbow Connector 32">
            <a:extLst>
              <a:ext uri="{FF2B5EF4-FFF2-40B4-BE49-F238E27FC236}">
                <a16:creationId xmlns:a16="http://schemas.microsoft.com/office/drawing/2014/main" id="{5D0F36CF-5CE2-4817-A50D-0CAF0319D01A}"/>
              </a:ext>
            </a:extLst>
          </p:cNvPr>
          <p:cNvCxnSpPr>
            <a:endCxn id="20" idx="1"/>
          </p:cNvCxnSpPr>
          <p:nvPr/>
        </p:nvCxnSpPr>
        <p:spPr bwMode="auto">
          <a:xfrm flipV="1">
            <a:off x="6574641" y="3754707"/>
            <a:ext cx="1974869" cy="895798"/>
          </a:xfrm>
          <a:prstGeom prst="bentConnector3">
            <a:avLst>
              <a:gd name="adj1" fmla="val 66548"/>
            </a:avLst>
          </a:prstGeom>
          <a:solidFill>
            <a:srgbClr val="000000"/>
          </a:solidFill>
          <a:ln w="1905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Elbow Connector 33">
            <a:extLst>
              <a:ext uri="{FF2B5EF4-FFF2-40B4-BE49-F238E27FC236}">
                <a16:creationId xmlns:a16="http://schemas.microsoft.com/office/drawing/2014/main" id="{E0434A80-29CB-4E4D-9392-778924B1D219}"/>
              </a:ext>
            </a:extLst>
          </p:cNvPr>
          <p:cNvCxnSpPr>
            <a:cxnSpLocks/>
            <a:endCxn id="22" idx="1"/>
          </p:cNvCxnSpPr>
          <p:nvPr/>
        </p:nvCxnSpPr>
        <p:spPr bwMode="auto">
          <a:xfrm flipV="1">
            <a:off x="6528925" y="4329561"/>
            <a:ext cx="1961149" cy="304128"/>
          </a:xfrm>
          <a:prstGeom prst="bentConnector3">
            <a:avLst>
              <a:gd name="adj1" fmla="val 69456"/>
            </a:avLst>
          </a:prstGeom>
          <a:solidFill>
            <a:srgbClr val="000000"/>
          </a:solidFill>
          <a:ln w="1905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Elbow Connector 34">
            <a:extLst>
              <a:ext uri="{FF2B5EF4-FFF2-40B4-BE49-F238E27FC236}">
                <a16:creationId xmlns:a16="http://schemas.microsoft.com/office/drawing/2014/main" id="{55D7D24C-3489-4719-9B85-11F393F05C3E}"/>
              </a:ext>
            </a:extLst>
          </p:cNvPr>
          <p:cNvCxnSpPr>
            <a:endCxn id="24" idx="1"/>
          </p:cNvCxnSpPr>
          <p:nvPr/>
        </p:nvCxnSpPr>
        <p:spPr bwMode="auto">
          <a:xfrm>
            <a:off x="6528875" y="4650505"/>
            <a:ext cx="1936315" cy="305155"/>
          </a:xfrm>
          <a:prstGeom prst="bentConnector3">
            <a:avLst>
              <a:gd name="adj1" fmla="val 70197"/>
            </a:avLst>
          </a:prstGeom>
          <a:solidFill>
            <a:srgbClr val="000000"/>
          </a:solidFill>
          <a:ln w="1905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Elbow Connector 35">
            <a:extLst>
              <a:ext uri="{FF2B5EF4-FFF2-40B4-BE49-F238E27FC236}">
                <a16:creationId xmlns:a16="http://schemas.microsoft.com/office/drawing/2014/main" id="{D4715608-F4DD-4383-977B-049E6BB6B284}"/>
              </a:ext>
            </a:extLst>
          </p:cNvPr>
          <p:cNvCxnSpPr>
            <a:endCxn id="26" idx="1"/>
          </p:cNvCxnSpPr>
          <p:nvPr/>
        </p:nvCxnSpPr>
        <p:spPr bwMode="auto">
          <a:xfrm>
            <a:off x="6755058" y="4650505"/>
            <a:ext cx="1662346" cy="893642"/>
          </a:xfrm>
          <a:prstGeom prst="bentConnector3">
            <a:avLst>
              <a:gd name="adj1" fmla="val 68508"/>
            </a:avLst>
          </a:prstGeom>
          <a:solidFill>
            <a:srgbClr val="000000"/>
          </a:solidFill>
          <a:ln w="1905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Elbow Connector 36">
            <a:extLst>
              <a:ext uri="{FF2B5EF4-FFF2-40B4-BE49-F238E27FC236}">
                <a16:creationId xmlns:a16="http://schemas.microsoft.com/office/drawing/2014/main" id="{4A0E4ADC-0CF0-452D-B800-A3EC59E80986}"/>
              </a:ext>
            </a:extLst>
          </p:cNvPr>
          <p:cNvCxnSpPr>
            <a:stCxn id="20" idx="3"/>
            <a:endCxn id="15" idx="1"/>
          </p:cNvCxnSpPr>
          <p:nvPr/>
        </p:nvCxnSpPr>
        <p:spPr bwMode="auto">
          <a:xfrm>
            <a:off x="8967997" y="3754706"/>
            <a:ext cx="1528949" cy="746503"/>
          </a:xfrm>
          <a:prstGeom prst="bentConnector3">
            <a:avLst>
              <a:gd name="adj1" fmla="val 50000"/>
            </a:avLst>
          </a:prstGeom>
          <a:solidFill>
            <a:srgbClr val="000000"/>
          </a:solidFill>
          <a:ln w="1905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Elbow Connector 37">
            <a:extLst>
              <a:ext uri="{FF2B5EF4-FFF2-40B4-BE49-F238E27FC236}">
                <a16:creationId xmlns:a16="http://schemas.microsoft.com/office/drawing/2014/main" id="{1EFD60E7-15E9-4BA4-A600-5BDEFE017E3A}"/>
              </a:ext>
            </a:extLst>
          </p:cNvPr>
          <p:cNvCxnSpPr>
            <a:stCxn id="22" idx="3"/>
            <a:endCxn id="15" idx="1"/>
          </p:cNvCxnSpPr>
          <p:nvPr/>
        </p:nvCxnSpPr>
        <p:spPr bwMode="auto">
          <a:xfrm>
            <a:off x="8937399" y="4329561"/>
            <a:ext cx="1559547" cy="171649"/>
          </a:xfrm>
          <a:prstGeom prst="bentConnector3">
            <a:avLst>
              <a:gd name="adj1" fmla="val 50580"/>
            </a:avLst>
          </a:prstGeom>
          <a:solidFill>
            <a:srgbClr val="000000"/>
          </a:solidFill>
          <a:ln w="1905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Elbow Connector 38">
            <a:extLst>
              <a:ext uri="{FF2B5EF4-FFF2-40B4-BE49-F238E27FC236}">
                <a16:creationId xmlns:a16="http://schemas.microsoft.com/office/drawing/2014/main" id="{ED2C4D8F-AAB6-431F-A60D-74271E63ED43}"/>
              </a:ext>
            </a:extLst>
          </p:cNvPr>
          <p:cNvCxnSpPr>
            <a:stCxn id="24" idx="3"/>
            <a:endCxn id="15" idx="1"/>
          </p:cNvCxnSpPr>
          <p:nvPr/>
        </p:nvCxnSpPr>
        <p:spPr bwMode="auto">
          <a:xfrm flipV="1">
            <a:off x="8962182" y="4501210"/>
            <a:ext cx="1534763" cy="454450"/>
          </a:xfrm>
          <a:prstGeom prst="bentConnector3">
            <a:avLst>
              <a:gd name="adj1" fmla="val 50000"/>
            </a:avLst>
          </a:prstGeom>
          <a:solidFill>
            <a:srgbClr val="000000"/>
          </a:solidFill>
          <a:ln w="1905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Elbow Connector 39">
            <a:extLst>
              <a:ext uri="{FF2B5EF4-FFF2-40B4-BE49-F238E27FC236}">
                <a16:creationId xmlns:a16="http://schemas.microsoft.com/office/drawing/2014/main" id="{59883459-7364-46B1-9B26-1310F04A3434}"/>
              </a:ext>
            </a:extLst>
          </p:cNvPr>
          <p:cNvCxnSpPr>
            <a:stCxn id="26" idx="3"/>
            <a:endCxn id="16" idx="2"/>
          </p:cNvCxnSpPr>
          <p:nvPr/>
        </p:nvCxnSpPr>
        <p:spPr bwMode="auto">
          <a:xfrm flipV="1">
            <a:off x="9462339" y="4751249"/>
            <a:ext cx="2354466" cy="792898"/>
          </a:xfrm>
          <a:prstGeom prst="bentConnector2">
            <a:avLst/>
          </a:prstGeom>
          <a:solidFill>
            <a:srgbClr val="000000"/>
          </a:solidFill>
          <a:ln w="1905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6" name="Picture 35" descr="Image result for Server icon transparent">
            <a:extLst>
              <a:ext uri="{FF2B5EF4-FFF2-40B4-BE49-F238E27FC236}">
                <a16:creationId xmlns:a16="http://schemas.microsoft.com/office/drawing/2014/main" id="{D97F7FAC-EB4A-41B0-B702-D869052454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7637" y="4079454"/>
            <a:ext cx="843510" cy="843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C81B187E-D42A-4C12-A594-CE81C58A16E8}"/>
              </a:ext>
            </a:extLst>
          </p:cNvPr>
          <p:cNvSpPr/>
          <p:nvPr/>
        </p:nvSpPr>
        <p:spPr>
          <a:xfrm>
            <a:off x="9698352" y="3108778"/>
            <a:ext cx="1066245" cy="2460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99" dirty="0">
                <a:solidFill>
                  <a:srgbClr val="000000"/>
                </a:solidFill>
                <a:latin typeface="Arial"/>
                <a:ea typeface="+mn-ea"/>
                <a:cs typeface="Times New Roman" panose="02020603050405020304" pitchFamily="18" charset="0"/>
              </a:rPr>
              <a:t>XHQ Client</a:t>
            </a:r>
            <a:endParaRPr lang="en-SG" sz="999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170ED092-FD59-47F2-9608-388EB237BA02}"/>
              </a:ext>
            </a:extLst>
          </p:cNvPr>
          <p:cNvSpPr/>
          <p:nvPr/>
        </p:nvSpPr>
        <p:spPr>
          <a:xfrm>
            <a:off x="6860725" y="3091597"/>
            <a:ext cx="1142405" cy="2460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999" dirty="0">
                <a:solidFill>
                  <a:srgbClr val="000000"/>
                </a:solidFill>
                <a:latin typeface="Arial"/>
                <a:ea typeface="+mn-ea"/>
                <a:cs typeface="Times New Roman" panose="02020603050405020304" pitchFamily="18" charset="0"/>
              </a:rPr>
              <a:t>Data Source</a:t>
            </a:r>
            <a:endParaRPr lang="en-SG" sz="999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FF7F2FCA-8FC3-4934-89AE-51FDB24DBB32}"/>
              </a:ext>
            </a:extLst>
          </p:cNvPr>
          <p:cNvSpPr/>
          <p:nvPr/>
        </p:nvSpPr>
        <p:spPr>
          <a:xfrm>
            <a:off x="7406507" y="1557801"/>
            <a:ext cx="2772072" cy="3383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99" b="1" u="sng" dirty="0">
                <a:solidFill>
                  <a:srgbClr val="000000"/>
                </a:solidFill>
                <a:latin typeface="Arial"/>
                <a:ea typeface="+mn-ea"/>
              </a:rPr>
              <a:t>XHQ Data Polling Methods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1CEDB36C-9A3B-4EA6-A959-D42B6E72B58A}"/>
              </a:ext>
            </a:extLst>
          </p:cNvPr>
          <p:cNvSpPr/>
          <p:nvPr/>
        </p:nvSpPr>
        <p:spPr bwMode="auto">
          <a:xfrm>
            <a:off x="382882" y="1701708"/>
            <a:ext cx="5973679" cy="406173"/>
          </a:xfrm>
          <a:prstGeom prst="rect">
            <a:avLst/>
          </a:prstGeom>
          <a:solidFill>
            <a:srgbClr val="333399">
              <a:lumMod val="50000"/>
            </a:srgb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799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XHQ Connectors</a:t>
            </a:r>
          </a:p>
        </p:txBody>
      </p:sp>
    </p:spTree>
    <p:extLst>
      <p:ext uri="{BB962C8B-B14F-4D97-AF65-F5344CB8AC3E}">
        <p14:creationId xmlns:p14="http://schemas.microsoft.com/office/powerpoint/2010/main" val="382152069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7295" y="14010"/>
            <a:ext cx="7223760" cy="1088740"/>
          </a:xfrm>
        </p:spPr>
        <p:txBody>
          <a:bodyPr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sz="2800" b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HQ Collections</a:t>
            </a:r>
            <a:endParaRPr lang="en-US" sz="2800" b="1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AF85D4D-C50D-4BEE-9BEF-7F93AF6ACF9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235" r="2765"/>
          <a:stretch/>
        </p:blipFill>
        <p:spPr>
          <a:xfrm>
            <a:off x="2057400" y="2362200"/>
            <a:ext cx="8938740" cy="2892523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25ECB133-6CE6-4203-91DB-DE76634E1E78}"/>
              </a:ext>
            </a:extLst>
          </p:cNvPr>
          <p:cNvSpPr/>
          <p:nvPr/>
        </p:nvSpPr>
        <p:spPr bwMode="auto">
          <a:xfrm>
            <a:off x="5434130" y="3011148"/>
            <a:ext cx="659532" cy="1635847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Font typeface="Wingdings" charset="0"/>
              <a:buNone/>
            </a:pPr>
            <a:endParaRPr lang="en-US" sz="1799" dirty="0">
              <a:solidFill>
                <a:srgbClr val="FFFFFF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1507577-5ADF-4401-A462-F18820557274}"/>
              </a:ext>
            </a:extLst>
          </p:cNvPr>
          <p:cNvSpPr txBox="1"/>
          <p:nvPr/>
        </p:nvSpPr>
        <p:spPr>
          <a:xfrm>
            <a:off x="4848794" y="2488199"/>
            <a:ext cx="1830204" cy="5229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2799" kern="0" dirty="0">
                <a:solidFill>
                  <a:srgbClr val="C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Collections</a:t>
            </a:r>
            <a:endParaRPr lang="en-US" sz="1799" dirty="0">
              <a:solidFill>
                <a:srgbClr val="C00000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518265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841378" y="1448780"/>
            <a:ext cx="10603178" cy="4572508"/>
          </a:xfrm>
          <a:prstGeom prst="rect">
            <a:avLst/>
          </a:prstGeom>
          <a:gradFill flip="none" rotWithShape="1">
            <a:gsLst>
              <a:gs pos="0">
                <a:srgbClr val="1E1E5C">
                  <a:lumMod val="67000"/>
                </a:srgbClr>
              </a:gs>
              <a:gs pos="48000">
                <a:srgbClr val="2F2F91">
                  <a:lumMod val="97000"/>
                  <a:lumOff val="3000"/>
                </a:srgbClr>
              </a:gs>
              <a:gs pos="100000">
                <a:srgbClr val="6B6BCF">
                  <a:lumMod val="60000"/>
                  <a:lumOff val="40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rtlCol="0" anchor="ctr">
            <a:noAutofit/>
          </a:bodyPr>
          <a:lstStyle/>
          <a:p>
            <a:pPr algn="ctr"/>
            <a:r>
              <a:rPr lang="en-US" sz="3200" b="1" u="sng" dirty="0">
                <a:solidFill>
                  <a:schemeClr val="bg1"/>
                </a:solidFill>
                <a:ea typeface="+mn-ea"/>
                <a:cs typeface="Arial" panose="020B0604020202020204" pitchFamily="34" charset="0"/>
              </a:rPr>
              <a:t>NỘI DUNG</a:t>
            </a:r>
            <a:endParaRPr lang="vi-VN" sz="3200" b="1" u="sng" dirty="0">
              <a:solidFill>
                <a:schemeClr val="bg1"/>
              </a:solidFill>
              <a:ea typeface="+mn-ea"/>
              <a:cs typeface="Arial" panose="020B0604020202020204" pitchFamily="34" charset="0"/>
            </a:endParaRPr>
          </a:p>
          <a:p>
            <a:pPr marL="514350" indent="-514350">
              <a:lnSpc>
                <a:spcPct val="150000"/>
              </a:lnSpc>
              <a:spcBef>
                <a:spcPts val="0"/>
              </a:spcBef>
              <a:buFontTx/>
              <a:buAutoNum type="arabicPeriod"/>
            </a:pPr>
            <a:r>
              <a:rPr lang="en-US" sz="2800" b="1" dirty="0">
                <a:solidFill>
                  <a:schemeClr val="bg1"/>
                </a:solidFill>
                <a:cs typeface="Arial" panose="020B0604020202020204" pitchFamily="34" charset="0"/>
              </a:rPr>
              <a:t>GIỚI THIỆU CHUNG</a:t>
            </a:r>
          </a:p>
          <a:p>
            <a:pPr marL="514350" indent="-514350">
              <a:lnSpc>
                <a:spcPct val="150000"/>
              </a:lnSpc>
              <a:spcBef>
                <a:spcPts val="0"/>
              </a:spcBef>
              <a:buFontTx/>
              <a:buAutoNum type="arabicPeriod"/>
            </a:pPr>
            <a:r>
              <a:rPr lang="en-US" sz="2800" b="1" dirty="0">
                <a:solidFill>
                  <a:schemeClr val="bg1"/>
                </a:solidFill>
                <a:cs typeface="Arial" panose="020B0604020202020204" pitchFamily="34" charset="0"/>
              </a:rPr>
              <a:t>KIẾN TRÚC HỆ THỐNG XHQ</a:t>
            </a:r>
          </a:p>
          <a:p>
            <a:pPr marL="514350" indent="-514350">
              <a:lnSpc>
                <a:spcPct val="150000"/>
              </a:lnSpc>
              <a:spcBef>
                <a:spcPts val="0"/>
              </a:spcBef>
              <a:buAutoNum type="arabicPeriod"/>
            </a:pPr>
            <a:r>
              <a:rPr lang="en-US" sz="2800" b="1" dirty="0">
                <a:solidFill>
                  <a:schemeClr val="bg1"/>
                </a:solidFill>
                <a:cs typeface="Arial" panose="020B0604020202020204" pitchFamily="34" charset="0"/>
              </a:rPr>
              <a:t>HƯỚNG DẪN LẬP TRÌNH XHQ</a:t>
            </a:r>
          </a:p>
          <a:p>
            <a:pPr marL="514350" indent="-514350">
              <a:lnSpc>
                <a:spcPct val="150000"/>
              </a:lnSpc>
              <a:spcBef>
                <a:spcPts val="0"/>
              </a:spcBef>
              <a:buAutoNum type="arabicPeriod"/>
            </a:pPr>
            <a:r>
              <a:rPr lang="en-US" sz="2800" b="1" dirty="0">
                <a:solidFill>
                  <a:schemeClr val="bg1"/>
                </a:solidFill>
                <a:cs typeface="Arial" panose="020B0604020202020204" pitchFamily="34" charset="0"/>
              </a:rPr>
              <a:t>HỎI ĐÁP VÀ KẾT LUẬN</a:t>
            </a:r>
          </a:p>
        </p:txBody>
      </p:sp>
    </p:spTree>
    <p:extLst>
      <p:ext uri="{BB962C8B-B14F-4D97-AF65-F5344CB8AC3E}">
        <p14:creationId xmlns:p14="http://schemas.microsoft.com/office/powerpoint/2010/main" val="296972157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7295" y="14010"/>
            <a:ext cx="7223760" cy="1088740"/>
          </a:xfrm>
        </p:spPr>
        <p:txBody>
          <a:bodyPr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sz="2800" b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HQ View/ Dashboard</a:t>
            </a:r>
            <a:endParaRPr lang="en-US" sz="2800" b="1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9E38A51-07A8-469D-905D-F099A3F73584}"/>
              </a:ext>
            </a:extLst>
          </p:cNvPr>
          <p:cNvGrpSpPr/>
          <p:nvPr/>
        </p:nvGrpSpPr>
        <p:grpSpPr>
          <a:xfrm>
            <a:off x="488362" y="1376772"/>
            <a:ext cx="5021871" cy="2389774"/>
            <a:chOff x="624583" y="1440000"/>
            <a:chExt cx="10949184" cy="4973704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38580492-9042-49C6-8E99-DC1CA125616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24583" y="1440000"/>
              <a:ext cx="10477164" cy="2972738"/>
            </a:xfrm>
            <a:prstGeom prst="rect">
              <a:avLst/>
            </a:prstGeom>
            <a:ln>
              <a:solidFill>
                <a:srgbClr val="005F87"/>
              </a:solidFill>
            </a:ln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FF8684C5-E3D0-40E1-8B01-F3A299CD247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372637" y="2996952"/>
              <a:ext cx="7201130" cy="3416752"/>
            </a:xfrm>
            <a:prstGeom prst="rect">
              <a:avLst/>
            </a:prstGeom>
            <a:ln>
              <a:solidFill>
                <a:srgbClr val="005F87"/>
              </a:solidFill>
            </a:ln>
          </p:spPr>
        </p:pic>
        <p:sp>
          <p:nvSpPr>
            <p:cNvPr id="6" name="Curved Down Arrow 8">
              <a:extLst>
                <a:ext uri="{FF2B5EF4-FFF2-40B4-BE49-F238E27FC236}">
                  <a16:creationId xmlns:a16="http://schemas.microsoft.com/office/drawing/2014/main" id="{F8B79633-6AD8-49BE-942B-3059010AB227}"/>
                </a:ext>
              </a:extLst>
            </p:cNvPr>
            <p:cNvSpPr/>
            <p:nvPr/>
          </p:nvSpPr>
          <p:spPr bwMode="auto">
            <a:xfrm rot="2332465">
              <a:off x="4385721" y="2671262"/>
              <a:ext cx="978635" cy="417475"/>
            </a:xfrm>
            <a:prstGeom prst="curvedDownArrow">
              <a:avLst/>
            </a:prstGeom>
            <a:solidFill>
              <a:srgbClr val="005F87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Font typeface="Wingdings" charset="0"/>
                <a:buNone/>
              </a:pPr>
              <a:endParaRPr lang="en-US" sz="1799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2D956A1C-B252-4113-AA64-6F4EA0E04EA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48112" y="1376772"/>
            <a:ext cx="5711703" cy="2389773"/>
          </a:xfrm>
          <a:prstGeom prst="rect">
            <a:avLst/>
          </a:prstGeom>
          <a:ln>
            <a:solidFill>
              <a:srgbClr val="005F87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BA2C396-B322-4295-9FD8-0F5F209A063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4709" y="3711883"/>
            <a:ext cx="5265525" cy="206380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1F9A0A1-48D4-461D-88F1-10427593191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04997" y="3821936"/>
            <a:ext cx="4637762" cy="2361508"/>
          </a:xfrm>
          <a:prstGeom prst="rect">
            <a:avLst/>
          </a:prstGeom>
          <a:ln>
            <a:solidFill>
              <a:srgbClr val="005F87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6678E9D-DE15-471C-8EFC-10EEC0516C7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394" y="4306328"/>
            <a:ext cx="1510966" cy="1979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307043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7295" y="14010"/>
            <a:ext cx="7223760" cy="1088740"/>
          </a:xfrm>
        </p:spPr>
        <p:txBody>
          <a:bodyPr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sz="2800" b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HQ View/ Dashboard</a:t>
            </a:r>
            <a:endParaRPr lang="en-US" sz="2800" b="1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9E38A51-07A8-469D-905D-F099A3F73584}"/>
              </a:ext>
            </a:extLst>
          </p:cNvPr>
          <p:cNvGrpSpPr/>
          <p:nvPr/>
        </p:nvGrpSpPr>
        <p:grpSpPr>
          <a:xfrm>
            <a:off x="488362" y="1376772"/>
            <a:ext cx="5021871" cy="2389774"/>
            <a:chOff x="624583" y="1440000"/>
            <a:chExt cx="10949184" cy="4973704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38580492-9042-49C6-8E99-DC1CA125616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24583" y="1440000"/>
              <a:ext cx="10477164" cy="2972738"/>
            </a:xfrm>
            <a:prstGeom prst="rect">
              <a:avLst/>
            </a:prstGeom>
            <a:ln>
              <a:solidFill>
                <a:srgbClr val="005F87"/>
              </a:solidFill>
            </a:ln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FF8684C5-E3D0-40E1-8B01-F3A299CD247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372637" y="2996952"/>
              <a:ext cx="7201130" cy="3416752"/>
            </a:xfrm>
            <a:prstGeom prst="rect">
              <a:avLst/>
            </a:prstGeom>
            <a:ln>
              <a:solidFill>
                <a:srgbClr val="005F87"/>
              </a:solidFill>
            </a:ln>
          </p:spPr>
        </p:pic>
        <p:sp>
          <p:nvSpPr>
            <p:cNvPr id="6" name="Curved Down Arrow 8">
              <a:extLst>
                <a:ext uri="{FF2B5EF4-FFF2-40B4-BE49-F238E27FC236}">
                  <a16:creationId xmlns:a16="http://schemas.microsoft.com/office/drawing/2014/main" id="{F8B79633-6AD8-49BE-942B-3059010AB227}"/>
                </a:ext>
              </a:extLst>
            </p:cNvPr>
            <p:cNvSpPr/>
            <p:nvPr/>
          </p:nvSpPr>
          <p:spPr bwMode="auto">
            <a:xfrm rot="2332465">
              <a:off x="4385721" y="2671262"/>
              <a:ext cx="978635" cy="417475"/>
            </a:xfrm>
            <a:prstGeom prst="curvedDownArrow">
              <a:avLst/>
            </a:prstGeom>
            <a:solidFill>
              <a:srgbClr val="005F87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Font typeface="Wingdings" charset="0"/>
                <a:buNone/>
              </a:pPr>
              <a:endParaRPr lang="en-US" sz="1799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2D956A1C-B252-4113-AA64-6F4EA0E04EA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48112" y="1376772"/>
            <a:ext cx="5711703" cy="2389773"/>
          </a:xfrm>
          <a:prstGeom prst="rect">
            <a:avLst/>
          </a:prstGeom>
          <a:ln>
            <a:solidFill>
              <a:srgbClr val="005F87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BA2C396-B322-4295-9FD8-0F5F209A063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4709" y="3711883"/>
            <a:ext cx="5265525" cy="206380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1F9A0A1-48D4-461D-88F1-10427593191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04997" y="3821936"/>
            <a:ext cx="4637762" cy="2361508"/>
          </a:xfrm>
          <a:prstGeom prst="rect">
            <a:avLst/>
          </a:prstGeom>
          <a:ln>
            <a:solidFill>
              <a:srgbClr val="005F87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6678E9D-DE15-471C-8EFC-10EEC0516C7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394" y="4306328"/>
            <a:ext cx="1510966" cy="1979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856731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7295" y="14010"/>
            <a:ext cx="7223760" cy="1088740"/>
          </a:xfrm>
        </p:spPr>
        <p:txBody>
          <a:bodyPr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sz="2800" b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ẾN TRÚC HỆ THỐNG</a:t>
            </a:r>
            <a:endParaRPr lang="en-US" sz="2800" b="1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42691" y="1093622"/>
            <a:ext cx="8424936" cy="54677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105738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7295" y="14010"/>
            <a:ext cx="7223760" cy="1088740"/>
          </a:xfrm>
        </p:spPr>
        <p:txBody>
          <a:bodyPr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ẾN TRÚC TỔNG QUAN TRANG</a:t>
            </a:r>
            <a:b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ÀN HÌNH</a:t>
            </a: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86506" y="1268759"/>
            <a:ext cx="12891971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graphicFrame>
        <p:nvGraphicFramePr>
          <p:cNvPr id="8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1124733"/>
              </p:ext>
            </p:extLst>
          </p:nvPr>
        </p:nvGraphicFramePr>
        <p:xfrm>
          <a:off x="86507" y="1571923"/>
          <a:ext cx="12020551" cy="38801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21259966" imgH="6505454" progId="Visio.Drawing.15">
                  <p:embed/>
                </p:oleObj>
              </mc:Choice>
              <mc:Fallback>
                <p:oleObj r:id="rId2" imgW="21259966" imgH="6505454" progId="Visio.Drawing.15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6507" y="1571923"/>
                        <a:ext cx="12020551" cy="3880164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7086479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7295" y="14010"/>
            <a:ext cx="7223760" cy="1088740"/>
          </a:xfrm>
        </p:spPr>
        <p:txBody>
          <a:bodyPr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UY CẬP VÀ ĐĂNG XUẤT HỆ THỐNG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C955A9D-7DAB-4337-B05D-E7350E626E2D}"/>
              </a:ext>
            </a:extLst>
          </p:cNvPr>
          <p:cNvSpPr txBox="1"/>
          <p:nvPr/>
        </p:nvSpPr>
        <p:spPr>
          <a:xfrm>
            <a:off x="193828" y="1268760"/>
            <a:ext cx="11804345" cy="50098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indent="-342900"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v"/>
            </a:pPr>
            <a:r>
              <a:rPr lang="en-US" sz="2400" dirty="0" err="1">
                <a:solidFill>
                  <a:srgbClr val="0404BC"/>
                </a:solidFill>
              </a:rPr>
              <a:t>Đăng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nhâp</a:t>
            </a:r>
            <a:r>
              <a:rPr lang="en-US" sz="2400" dirty="0">
                <a:solidFill>
                  <a:srgbClr val="0404BC"/>
                </a:solidFill>
              </a:rPr>
              <a:t>:</a:t>
            </a:r>
          </a:p>
          <a:p>
            <a:pPr marL="285750" marR="0" indent="-285750"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dirty="0" err="1">
                <a:solidFill>
                  <a:srgbClr val="0404BC"/>
                </a:solidFill>
              </a:rPr>
              <a:t>Mở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trình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duyệt</a:t>
            </a:r>
            <a:r>
              <a:rPr lang="en-US" sz="2400" dirty="0">
                <a:solidFill>
                  <a:srgbClr val="0404BC"/>
                </a:solidFill>
              </a:rPr>
              <a:t> WEB (</a:t>
            </a:r>
            <a:r>
              <a:rPr lang="en-US" sz="2400" dirty="0" err="1">
                <a:solidFill>
                  <a:srgbClr val="0404BC"/>
                </a:solidFill>
              </a:rPr>
              <a:t>khuyến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nghị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nên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dùng</a:t>
            </a:r>
            <a:r>
              <a:rPr lang="en-US" sz="2400" dirty="0">
                <a:solidFill>
                  <a:srgbClr val="0404BC"/>
                </a:solidFill>
              </a:rPr>
              <a:t> Google Chrome </a:t>
            </a:r>
            <a:r>
              <a:rPr lang="en-US" sz="2400" dirty="0" err="1">
                <a:solidFill>
                  <a:srgbClr val="0404BC"/>
                </a:solidFill>
              </a:rPr>
              <a:t>từ</a:t>
            </a:r>
            <a:r>
              <a:rPr lang="en-US" sz="2400" dirty="0">
                <a:solidFill>
                  <a:srgbClr val="0404BC"/>
                </a:solidFill>
              </a:rPr>
              <a:t> V77.x </a:t>
            </a:r>
            <a:r>
              <a:rPr lang="en-US" sz="2400" dirty="0" err="1">
                <a:solidFill>
                  <a:srgbClr val="0404BC"/>
                </a:solidFill>
              </a:rPr>
              <a:t>trở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lên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hoặc</a:t>
            </a:r>
            <a:r>
              <a:rPr lang="en-US" sz="2400" dirty="0">
                <a:solidFill>
                  <a:srgbClr val="0404BC"/>
                </a:solidFill>
              </a:rPr>
              <a:t> Apple Safari </a:t>
            </a:r>
            <a:r>
              <a:rPr lang="en-US" sz="2400" dirty="0" err="1">
                <a:solidFill>
                  <a:srgbClr val="0404BC"/>
                </a:solidFill>
              </a:rPr>
              <a:t>từ</a:t>
            </a:r>
            <a:r>
              <a:rPr lang="en-US" sz="2400" dirty="0">
                <a:solidFill>
                  <a:srgbClr val="0404BC"/>
                </a:solidFill>
              </a:rPr>
              <a:t> V12.1 </a:t>
            </a:r>
            <a:r>
              <a:rPr lang="en-US" sz="2400" dirty="0" err="1">
                <a:solidFill>
                  <a:srgbClr val="0404BC"/>
                </a:solidFill>
              </a:rPr>
              <a:t>trở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lên</a:t>
            </a:r>
            <a:r>
              <a:rPr lang="en-US" sz="2400" dirty="0">
                <a:solidFill>
                  <a:srgbClr val="0404BC"/>
                </a:solidFill>
              </a:rPr>
              <a:t>).</a:t>
            </a:r>
          </a:p>
          <a:p>
            <a:pPr marL="285750" marR="0" indent="-2857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dirty="0" err="1">
                <a:solidFill>
                  <a:srgbClr val="0404BC"/>
                </a:solidFill>
              </a:rPr>
              <a:t>Trên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thanh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địa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chỉ</a:t>
            </a:r>
            <a:r>
              <a:rPr lang="en-US" sz="2400" dirty="0">
                <a:solidFill>
                  <a:srgbClr val="0404BC"/>
                </a:solidFill>
              </a:rPr>
              <a:t> URL, </a:t>
            </a:r>
            <a:r>
              <a:rPr lang="en-US" sz="2400" dirty="0" err="1">
                <a:solidFill>
                  <a:srgbClr val="0404BC"/>
                </a:solidFill>
              </a:rPr>
              <a:t>truy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cập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vào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địa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chỉ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của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giải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pháp</a:t>
            </a:r>
            <a:r>
              <a:rPr lang="en-US" sz="2400" dirty="0">
                <a:solidFill>
                  <a:srgbClr val="0404BC"/>
                </a:solidFill>
              </a:rPr>
              <a:t>: </a:t>
            </a:r>
            <a:r>
              <a:rPr lang="en-US" sz="2400" b="1" dirty="0">
                <a:solidFill>
                  <a:srgbClr val="0404BC"/>
                </a:solidFill>
              </a:rPr>
              <a:t>http://SIEMENSDC/indx/sv</a:t>
            </a:r>
          </a:p>
          <a:p>
            <a:pPr marL="285750" marR="0" indent="-285750"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dirty="0" err="1">
                <a:solidFill>
                  <a:srgbClr val="0404BC"/>
                </a:solidFill>
              </a:rPr>
              <a:t>Điền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thông</a:t>
            </a:r>
            <a:r>
              <a:rPr lang="en-US" sz="2400" dirty="0">
                <a:solidFill>
                  <a:srgbClr val="0404BC"/>
                </a:solidFill>
              </a:rPr>
              <a:t> tin </a:t>
            </a:r>
            <a:r>
              <a:rPr lang="en-US" sz="2400" dirty="0" err="1">
                <a:solidFill>
                  <a:srgbClr val="0404BC"/>
                </a:solidFill>
              </a:rPr>
              <a:t>người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dùng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và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mật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khẩu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được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cung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cấp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và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bấm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đăng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nhập</a:t>
            </a:r>
            <a:r>
              <a:rPr lang="en-US" sz="2400" dirty="0">
                <a:solidFill>
                  <a:srgbClr val="0404BC"/>
                </a:solidFill>
              </a:rPr>
              <a:t>.</a:t>
            </a:r>
          </a:p>
          <a:p>
            <a:pPr marL="285750" marR="0" indent="-285750"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dirty="0" err="1">
                <a:solidFill>
                  <a:srgbClr val="0404BC"/>
                </a:solidFill>
              </a:rPr>
              <a:t>Tùy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vào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phân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quyền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hệ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thống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sẽ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được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điều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hướng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đến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trang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thông</a:t>
            </a:r>
            <a:r>
              <a:rPr lang="en-US" sz="2400" dirty="0">
                <a:solidFill>
                  <a:srgbClr val="0404BC"/>
                </a:solidFill>
              </a:rPr>
              <a:t> tin </a:t>
            </a:r>
            <a:r>
              <a:rPr lang="en-US" sz="2400" dirty="0" err="1">
                <a:solidFill>
                  <a:srgbClr val="0404BC"/>
                </a:solidFill>
              </a:rPr>
              <a:t>tương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ứng</a:t>
            </a:r>
            <a:r>
              <a:rPr lang="en-US" sz="2400" dirty="0">
                <a:solidFill>
                  <a:srgbClr val="0404BC"/>
                </a:solidFill>
              </a:rPr>
              <a:t>.</a:t>
            </a:r>
          </a:p>
          <a:p>
            <a:pPr marL="285750" marR="0" indent="-285750"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2400" dirty="0">
              <a:solidFill>
                <a:srgbClr val="0404BC"/>
              </a:solidFill>
            </a:endParaRPr>
          </a:p>
          <a:p>
            <a:pPr marL="342900" marR="0" indent="-342900"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v"/>
            </a:pPr>
            <a:r>
              <a:rPr lang="en-US" sz="2400" dirty="0" err="1">
                <a:solidFill>
                  <a:srgbClr val="0404BC"/>
                </a:solidFill>
              </a:rPr>
              <a:t>Đăng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xuất</a:t>
            </a:r>
            <a:r>
              <a:rPr lang="en-US" sz="2400" dirty="0">
                <a:solidFill>
                  <a:srgbClr val="0404BC"/>
                </a:solidFill>
              </a:rPr>
              <a:t>: </a:t>
            </a:r>
            <a:r>
              <a:rPr lang="en-US" sz="2400" dirty="0" err="1">
                <a:solidFill>
                  <a:srgbClr val="0404BC"/>
                </a:solidFill>
              </a:rPr>
              <a:t>tắt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cửa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sổ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trình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duyệt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đang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mở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để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kết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thúc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phiên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truy</a:t>
            </a:r>
            <a:r>
              <a:rPr lang="en-US" sz="2400" dirty="0">
                <a:solidFill>
                  <a:srgbClr val="0404BC"/>
                </a:solidFill>
              </a:rPr>
              <a:t> </a:t>
            </a:r>
            <a:r>
              <a:rPr lang="en-US" sz="2400" dirty="0" err="1">
                <a:solidFill>
                  <a:srgbClr val="0404BC"/>
                </a:solidFill>
              </a:rPr>
              <a:t>cập</a:t>
            </a:r>
            <a:r>
              <a:rPr lang="en-US" sz="2400" dirty="0">
                <a:solidFill>
                  <a:srgbClr val="0404BC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3733999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E5C17B20-A01B-4CE9-9D04-0E2E584E3772}"/>
              </a:ext>
            </a:extLst>
          </p:cNvPr>
          <p:cNvSpPr txBox="1"/>
          <p:nvPr/>
        </p:nvSpPr>
        <p:spPr>
          <a:xfrm>
            <a:off x="1151121" y="2990855"/>
            <a:ext cx="10155763" cy="1754326"/>
          </a:xfrm>
          <a:prstGeom prst="rect">
            <a:avLst/>
          </a:prstGeom>
          <a:gradFill flip="none" rotWithShape="1">
            <a:gsLst>
              <a:gs pos="0">
                <a:srgbClr val="1E1E5C">
                  <a:lumMod val="67000"/>
                </a:srgbClr>
              </a:gs>
              <a:gs pos="48000">
                <a:srgbClr val="2F2F91">
                  <a:lumMod val="97000"/>
                  <a:lumOff val="3000"/>
                </a:srgbClr>
              </a:gs>
              <a:gs pos="100000">
                <a:srgbClr val="6B6BCF">
                  <a:lumMod val="60000"/>
                  <a:lumOff val="40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rtlCol="0" anchor="ctr">
            <a:spAutoFit/>
          </a:bodyPr>
          <a:lstStyle/>
          <a:p>
            <a:pPr marL="514350" indent="-514350" algn="ctr">
              <a:lnSpc>
                <a:spcPct val="150000"/>
              </a:lnSpc>
              <a:spcBef>
                <a:spcPts val="0"/>
              </a:spcBef>
              <a:buAutoNum type="arabicPeriod"/>
            </a:pPr>
            <a:endParaRPr lang="en-US" sz="2400" b="1" dirty="0">
              <a:solidFill>
                <a:schemeClr val="bg1"/>
              </a:solidFill>
            </a:endParaRPr>
          </a:p>
          <a:p>
            <a:pPr algn="ctr">
              <a:lnSpc>
                <a:spcPct val="150000"/>
              </a:lnSpc>
              <a:spcBef>
                <a:spcPts val="0"/>
              </a:spcBef>
            </a:pPr>
            <a:r>
              <a:rPr lang="en-US" sz="2400" b="1" dirty="0">
                <a:solidFill>
                  <a:schemeClr val="bg1"/>
                </a:solidFill>
                <a:cs typeface="Arial" panose="020B0604020202020204" pitchFamily="34" charset="0"/>
              </a:rPr>
              <a:t>3. HƯỚNG DẪN LẬP TRÌNH HỆ THỐNG XHQ</a:t>
            </a:r>
            <a:endParaRPr lang="en-US" sz="2400" b="1" dirty="0">
              <a:solidFill>
                <a:schemeClr val="bg1"/>
              </a:solidFill>
            </a:endParaRPr>
          </a:p>
          <a:p>
            <a:pPr algn="ctr">
              <a:lnSpc>
                <a:spcPct val="150000"/>
              </a:lnSpc>
              <a:spcBef>
                <a:spcPts val="0"/>
              </a:spcBef>
            </a:pPr>
            <a:endParaRPr lang="en-US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129910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36757" y="14010"/>
            <a:ext cx="7524836" cy="1088740"/>
          </a:xfrm>
        </p:spPr>
        <p:txBody>
          <a:bodyPr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sz="2800" b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HQ Basic Development Workflow</a:t>
            </a:r>
            <a:endParaRPr lang="en-US" sz="2800" b="1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B772364-6FB1-452B-9885-E29D9480634F}"/>
              </a:ext>
            </a:extLst>
          </p:cNvPr>
          <p:cNvSpPr txBox="1">
            <a:spLocks/>
          </p:cNvSpPr>
          <p:nvPr/>
        </p:nvSpPr>
        <p:spPr>
          <a:xfrm>
            <a:off x="374344" y="1845649"/>
            <a:ext cx="3198734" cy="1370886"/>
          </a:xfrm>
          <a:prstGeom prst="rect">
            <a:avLst/>
          </a:prstGeom>
          <a:gradFill rotWithShape="1">
            <a:gsLst>
              <a:gs pos="0">
                <a:srgbClr val="333399">
                  <a:shade val="51000"/>
                  <a:satMod val="130000"/>
                </a:srgbClr>
              </a:gs>
              <a:gs pos="80000">
                <a:srgbClr val="333399">
                  <a:shade val="93000"/>
                  <a:satMod val="130000"/>
                </a:srgbClr>
              </a:gs>
              <a:gs pos="100000">
                <a:srgbClr val="333399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ây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ựng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ác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đối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ượng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ông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i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95C0640-D1E7-4346-B8AB-7E84BC39A956}"/>
              </a:ext>
            </a:extLst>
          </p:cNvPr>
          <p:cNvSpPr txBox="1">
            <a:spLocks/>
          </p:cNvSpPr>
          <p:nvPr/>
        </p:nvSpPr>
        <p:spPr>
          <a:xfrm>
            <a:off x="4512649" y="1845649"/>
            <a:ext cx="3198734" cy="1370886"/>
          </a:xfrm>
          <a:prstGeom prst="rect">
            <a:avLst/>
          </a:prstGeom>
          <a:gradFill rotWithShape="1">
            <a:gsLst>
              <a:gs pos="0">
                <a:srgbClr val="333399">
                  <a:shade val="51000"/>
                  <a:satMod val="130000"/>
                </a:srgbClr>
              </a:gs>
              <a:gs pos="80000">
                <a:srgbClr val="333399">
                  <a:shade val="93000"/>
                  <a:satMod val="130000"/>
                </a:srgbClr>
              </a:gs>
              <a:gs pos="100000">
                <a:srgbClr val="333399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ạo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ác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ành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hần</a:t>
            </a:r>
            <a:endParaRPr kumimoji="0" lang="en-US" sz="2399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67B95CB-A53F-4D53-8C1A-8DE2BF0CCD85}"/>
              </a:ext>
            </a:extLst>
          </p:cNvPr>
          <p:cNvSpPr txBox="1">
            <a:spLocks/>
          </p:cNvSpPr>
          <p:nvPr/>
        </p:nvSpPr>
        <p:spPr>
          <a:xfrm>
            <a:off x="8650953" y="1845649"/>
            <a:ext cx="3198734" cy="1370886"/>
          </a:xfrm>
          <a:prstGeom prst="rect">
            <a:avLst/>
          </a:prstGeom>
          <a:gradFill rotWithShape="1">
            <a:gsLst>
              <a:gs pos="0">
                <a:srgbClr val="333399">
                  <a:shade val="51000"/>
                  <a:satMod val="130000"/>
                </a:srgbClr>
              </a:gs>
              <a:gs pos="80000">
                <a:srgbClr val="333399">
                  <a:shade val="93000"/>
                  <a:satMod val="130000"/>
                </a:srgbClr>
              </a:gs>
              <a:gs pos="100000">
                <a:srgbClr val="333399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ây dựng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ây giải pháp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ABD363D-810C-4C67-8272-844C6B964BC0}"/>
              </a:ext>
            </a:extLst>
          </p:cNvPr>
          <p:cNvSpPr txBox="1">
            <a:spLocks/>
          </p:cNvSpPr>
          <p:nvPr/>
        </p:nvSpPr>
        <p:spPr>
          <a:xfrm>
            <a:off x="8650953" y="4184690"/>
            <a:ext cx="3198734" cy="1370886"/>
          </a:xfrm>
          <a:prstGeom prst="rect">
            <a:avLst/>
          </a:prstGeom>
          <a:gradFill rotWithShape="1">
            <a:gsLst>
              <a:gs pos="0">
                <a:srgbClr val="333399">
                  <a:shade val="51000"/>
                  <a:satMod val="130000"/>
                </a:srgbClr>
              </a:gs>
              <a:gs pos="80000">
                <a:srgbClr val="333399">
                  <a:shade val="93000"/>
                  <a:satMod val="130000"/>
                </a:srgbClr>
              </a:gs>
              <a:gs pos="100000">
                <a:srgbClr val="333399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ấu hình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ác thành phầ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5B9E371-2597-44FF-AC1A-40368550FA5F}"/>
              </a:ext>
            </a:extLst>
          </p:cNvPr>
          <p:cNvSpPr txBox="1">
            <a:spLocks/>
          </p:cNvSpPr>
          <p:nvPr/>
        </p:nvSpPr>
        <p:spPr>
          <a:xfrm>
            <a:off x="4512649" y="4184690"/>
            <a:ext cx="3198734" cy="1370886"/>
          </a:xfrm>
          <a:prstGeom prst="rect">
            <a:avLst/>
          </a:prstGeom>
          <a:gradFill rotWithShape="1">
            <a:gsLst>
              <a:gs pos="0">
                <a:srgbClr val="333399">
                  <a:shade val="51000"/>
                  <a:satMod val="130000"/>
                </a:srgbClr>
              </a:gs>
              <a:gs pos="80000">
                <a:srgbClr val="333399">
                  <a:shade val="93000"/>
                  <a:satMod val="130000"/>
                </a:srgbClr>
              </a:gs>
              <a:gs pos="100000">
                <a:srgbClr val="333399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ây dựng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ác biểu mẫu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ADA86F7-C8E9-4ACF-BCFF-8B8F792A1710}"/>
              </a:ext>
            </a:extLst>
          </p:cNvPr>
          <p:cNvSpPr txBox="1">
            <a:spLocks/>
          </p:cNvSpPr>
          <p:nvPr/>
        </p:nvSpPr>
        <p:spPr>
          <a:xfrm>
            <a:off x="374344" y="4184690"/>
            <a:ext cx="3198734" cy="1370886"/>
          </a:xfrm>
          <a:prstGeom prst="rect">
            <a:avLst/>
          </a:prstGeom>
          <a:gradFill rotWithShape="1">
            <a:gsLst>
              <a:gs pos="0">
                <a:srgbClr val="333399">
                  <a:shade val="51000"/>
                  <a:satMod val="130000"/>
                </a:srgbClr>
              </a:gs>
              <a:gs pos="80000">
                <a:srgbClr val="333399">
                  <a:shade val="93000"/>
                  <a:satMod val="130000"/>
                </a:srgbClr>
              </a:gs>
              <a:gs pos="100000">
                <a:srgbClr val="333399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uy cập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 trình duyệt</a:t>
            </a:r>
          </a:p>
        </p:txBody>
      </p:sp>
      <p:sp>
        <p:nvSpPr>
          <p:cNvPr id="18" name="Right Arrow 11">
            <a:extLst>
              <a:ext uri="{FF2B5EF4-FFF2-40B4-BE49-F238E27FC236}">
                <a16:creationId xmlns:a16="http://schemas.microsoft.com/office/drawing/2014/main" id="{C6037E2C-2A40-425D-86EE-05BCC74E8237}"/>
              </a:ext>
            </a:extLst>
          </p:cNvPr>
          <p:cNvSpPr/>
          <p:nvPr/>
        </p:nvSpPr>
        <p:spPr bwMode="auto">
          <a:xfrm>
            <a:off x="3720973" y="2225686"/>
            <a:ext cx="683720" cy="610813"/>
          </a:xfrm>
          <a:prstGeom prst="rightArrow">
            <a:avLst/>
          </a:prstGeom>
          <a:solidFill>
            <a:srgbClr val="00339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endParaRPr lang="en-US" sz="1399" b="1" i="1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19" name="Right Arrow 12">
            <a:extLst>
              <a:ext uri="{FF2B5EF4-FFF2-40B4-BE49-F238E27FC236}">
                <a16:creationId xmlns:a16="http://schemas.microsoft.com/office/drawing/2014/main" id="{A24A66D1-F0B3-4816-AEAB-006DCE4CF7DC}"/>
              </a:ext>
            </a:extLst>
          </p:cNvPr>
          <p:cNvSpPr/>
          <p:nvPr/>
        </p:nvSpPr>
        <p:spPr bwMode="auto">
          <a:xfrm>
            <a:off x="7839308" y="2225686"/>
            <a:ext cx="683720" cy="610813"/>
          </a:xfrm>
          <a:prstGeom prst="rightArrow">
            <a:avLst/>
          </a:prstGeom>
          <a:solidFill>
            <a:srgbClr val="00339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endParaRPr lang="en-US" sz="1399" b="1" i="1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20" name="Right Arrow 13">
            <a:extLst>
              <a:ext uri="{FF2B5EF4-FFF2-40B4-BE49-F238E27FC236}">
                <a16:creationId xmlns:a16="http://schemas.microsoft.com/office/drawing/2014/main" id="{B7CA4D58-563D-4886-92A9-FA547688AB82}"/>
              </a:ext>
            </a:extLst>
          </p:cNvPr>
          <p:cNvSpPr/>
          <p:nvPr/>
        </p:nvSpPr>
        <p:spPr bwMode="auto">
          <a:xfrm rot="10800000">
            <a:off x="7839308" y="4564729"/>
            <a:ext cx="683720" cy="610813"/>
          </a:xfrm>
          <a:prstGeom prst="rightArrow">
            <a:avLst/>
          </a:prstGeom>
          <a:solidFill>
            <a:srgbClr val="00339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endParaRPr lang="en-US" sz="1399" b="1" i="1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21" name="Right Arrow 14">
            <a:extLst>
              <a:ext uri="{FF2B5EF4-FFF2-40B4-BE49-F238E27FC236}">
                <a16:creationId xmlns:a16="http://schemas.microsoft.com/office/drawing/2014/main" id="{DD6517BF-7E3E-49CF-A4BD-CDA604FF74BD}"/>
              </a:ext>
            </a:extLst>
          </p:cNvPr>
          <p:cNvSpPr/>
          <p:nvPr/>
        </p:nvSpPr>
        <p:spPr bwMode="auto">
          <a:xfrm rot="10800000">
            <a:off x="3701003" y="4564728"/>
            <a:ext cx="683720" cy="610813"/>
          </a:xfrm>
          <a:prstGeom prst="rightArrow">
            <a:avLst/>
          </a:prstGeom>
          <a:solidFill>
            <a:srgbClr val="00339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endParaRPr lang="en-US" sz="1399" b="1" i="1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22" name="Right Arrow 15">
            <a:extLst>
              <a:ext uri="{FF2B5EF4-FFF2-40B4-BE49-F238E27FC236}">
                <a16:creationId xmlns:a16="http://schemas.microsoft.com/office/drawing/2014/main" id="{F7898EBD-DFB3-4BCB-9CD1-D75A79388EC1}"/>
              </a:ext>
            </a:extLst>
          </p:cNvPr>
          <p:cNvSpPr/>
          <p:nvPr/>
        </p:nvSpPr>
        <p:spPr bwMode="auto">
          <a:xfrm rot="5400000">
            <a:off x="9908460" y="3395067"/>
            <a:ext cx="683720" cy="610813"/>
          </a:xfrm>
          <a:prstGeom prst="rightArrow">
            <a:avLst/>
          </a:prstGeom>
          <a:solidFill>
            <a:srgbClr val="00339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endParaRPr lang="en-US" sz="1399" b="1" i="1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62785521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36757" y="14010"/>
            <a:ext cx="7524836" cy="1088740"/>
          </a:xfrm>
        </p:spPr>
        <p:txBody>
          <a:bodyPr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sz="2800" b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HQ Basic Development Workflow</a:t>
            </a:r>
            <a:endParaRPr lang="en-US" sz="2800" b="1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B772364-6FB1-452B-9885-E29D9480634F}"/>
              </a:ext>
            </a:extLst>
          </p:cNvPr>
          <p:cNvSpPr txBox="1">
            <a:spLocks/>
          </p:cNvSpPr>
          <p:nvPr/>
        </p:nvSpPr>
        <p:spPr>
          <a:xfrm>
            <a:off x="374344" y="1845649"/>
            <a:ext cx="3198734" cy="1370886"/>
          </a:xfrm>
          <a:prstGeom prst="rect">
            <a:avLst/>
          </a:prstGeom>
          <a:gradFill rotWithShape="1">
            <a:gsLst>
              <a:gs pos="0">
                <a:srgbClr val="333399">
                  <a:shade val="51000"/>
                  <a:satMod val="130000"/>
                </a:srgbClr>
              </a:gs>
              <a:gs pos="80000">
                <a:srgbClr val="333399">
                  <a:shade val="93000"/>
                  <a:satMod val="130000"/>
                </a:srgbClr>
              </a:gs>
              <a:gs pos="100000">
                <a:srgbClr val="333399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ây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ựng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ác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đối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ượng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ông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i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95C0640-D1E7-4346-B8AB-7E84BC39A956}"/>
              </a:ext>
            </a:extLst>
          </p:cNvPr>
          <p:cNvSpPr txBox="1">
            <a:spLocks/>
          </p:cNvSpPr>
          <p:nvPr/>
        </p:nvSpPr>
        <p:spPr>
          <a:xfrm>
            <a:off x="4512649" y="1845649"/>
            <a:ext cx="3198734" cy="1370886"/>
          </a:xfrm>
          <a:prstGeom prst="rect">
            <a:avLst/>
          </a:prstGeom>
          <a:gradFill rotWithShape="1">
            <a:gsLst>
              <a:gs pos="0">
                <a:srgbClr val="333399">
                  <a:shade val="51000"/>
                  <a:satMod val="130000"/>
                </a:srgbClr>
              </a:gs>
              <a:gs pos="80000">
                <a:srgbClr val="333399">
                  <a:shade val="93000"/>
                  <a:satMod val="130000"/>
                </a:srgbClr>
              </a:gs>
              <a:gs pos="100000">
                <a:srgbClr val="333399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ô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ình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óa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ông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i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67B95CB-A53F-4D53-8C1A-8DE2BF0CCD85}"/>
              </a:ext>
            </a:extLst>
          </p:cNvPr>
          <p:cNvSpPr txBox="1">
            <a:spLocks/>
          </p:cNvSpPr>
          <p:nvPr/>
        </p:nvSpPr>
        <p:spPr>
          <a:xfrm>
            <a:off x="8650953" y="1845649"/>
            <a:ext cx="3198734" cy="1370886"/>
          </a:xfrm>
          <a:prstGeom prst="rect">
            <a:avLst/>
          </a:prstGeom>
          <a:gradFill rotWithShape="1">
            <a:gsLst>
              <a:gs pos="0">
                <a:srgbClr val="333399">
                  <a:shade val="51000"/>
                  <a:satMod val="130000"/>
                </a:srgbClr>
              </a:gs>
              <a:gs pos="80000">
                <a:srgbClr val="333399">
                  <a:shade val="93000"/>
                  <a:satMod val="130000"/>
                </a:srgbClr>
              </a:gs>
              <a:gs pos="100000">
                <a:srgbClr val="333399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ạo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ết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ối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ữ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ệu</a:t>
            </a:r>
            <a:endParaRPr kumimoji="0" lang="en-US" sz="2399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ABD363D-810C-4C67-8272-844C6B964BC0}"/>
              </a:ext>
            </a:extLst>
          </p:cNvPr>
          <p:cNvSpPr txBox="1">
            <a:spLocks/>
          </p:cNvSpPr>
          <p:nvPr/>
        </p:nvSpPr>
        <p:spPr>
          <a:xfrm>
            <a:off x="8650953" y="4184690"/>
            <a:ext cx="3198734" cy="1370886"/>
          </a:xfrm>
          <a:prstGeom prst="rect">
            <a:avLst/>
          </a:prstGeom>
          <a:gradFill rotWithShape="1">
            <a:gsLst>
              <a:gs pos="0">
                <a:srgbClr val="333399">
                  <a:shade val="51000"/>
                  <a:satMod val="130000"/>
                </a:srgbClr>
              </a:gs>
              <a:gs pos="80000">
                <a:srgbClr val="333399">
                  <a:shade val="93000"/>
                  <a:satMod val="130000"/>
                </a:srgbClr>
              </a:gs>
              <a:gs pos="100000">
                <a:srgbClr val="333399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uy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ấn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ữ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ệu</a:t>
            </a:r>
            <a:endParaRPr kumimoji="0" lang="en-US" sz="2399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5B9E371-2597-44FF-AC1A-40368550FA5F}"/>
              </a:ext>
            </a:extLst>
          </p:cNvPr>
          <p:cNvSpPr txBox="1">
            <a:spLocks/>
          </p:cNvSpPr>
          <p:nvPr/>
        </p:nvSpPr>
        <p:spPr>
          <a:xfrm>
            <a:off x="4512649" y="4184690"/>
            <a:ext cx="3198734" cy="1370886"/>
          </a:xfrm>
          <a:prstGeom prst="rect">
            <a:avLst/>
          </a:prstGeom>
          <a:gradFill rotWithShape="1">
            <a:gsLst>
              <a:gs pos="0">
                <a:srgbClr val="333399">
                  <a:shade val="51000"/>
                  <a:satMod val="130000"/>
                </a:srgbClr>
              </a:gs>
              <a:gs pos="80000">
                <a:srgbClr val="333399">
                  <a:shade val="93000"/>
                  <a:satMod val="130000"/>
                </a:srgbClr>
              </a:gs>
              <a:gs pos="100000">
                <a:srgbClr val="333399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ây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ựng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ểu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ẫu</a:t>
            </a:r>
            <a:endParaRPr kumimoji="0" lang="en-US" sz="2399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Dashboard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ực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</a:t>
            </a:r>
            <a:endParaRPr kumimoji="0" lang="en-US" sz="2399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ADA86F7-C8E9-4ACF-BCFF-8B8F792A1710}"/>
              </a:ext>
            </a:extLst>
          </p:cNvPr>
          <p:cNvSpPr txBox="1">
            <a:spLocks/>
          </p:cNvSpPr>
          <p:nvPr/>
        </p:nvSpPr>
        <p:spPr>
          <a:xfrm>
            <a:off x="374344" y="4184690"/>
            <a:ext cx="3198734" cy="1370886"/>
          </a:xfrm>
          <a:prstGeom prst="rect">
            <a:avLst/>
          </a:prstGeom>
          <a:gradFill rotWithShape="1">
            <a:gsLst>
              <a:gs pos="0">
                <a:srgbClr val="333399">
                  <a:shade val="51000"/>
                  <a:satMod val="130000"/>
                </a:srgbClr>
              </a:gs>
              <a:gs pos="80000">
                <a:srgbClr val="333399">
                  <a:shade val="93000"/>
                  <a:satMod val="130000"/>
                </a:srgbClr>
              </a:gs>
              <a:gs pos="100000">
                <a:srgbClr val="333399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uy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ập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ừ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a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qua web</a:t>
            </a:r>
          </a:p>
        </p:txBody>
      </p:sp>
      <p:sp>
        <p:nvSpPr>
          <p:cNvPr id="18" name="Right Arrow 11">
            <a:extLst>
              <a:ext uri="{FF2B5EF4-FFF2-40B4-BE49-F238E27FC236}">
                <a16:creationId xmlns:a16="http://schemas.microsoft.com/office/drawing/2014/main" id="{C6037E2C-2A40-425D-86EE-05BCC74E8237}"/>
              </a:ext>
            </a:extLst>
          </p:cNvPr>
          <p:cNvSpPr/>
          <p:nvPr/>
        </p:nvSpPr>
        <p:spPr bwMode="auto">
          <a:xfrm>
            <a:off x="3720973" y="2225686"/>
            <a:ext cx="683720" cy="610813"/>
          </a:xfrm>
          <a:prstGeom prst="rightArrow">
            <a:avLst/>
          </a:prstGeom>
          <a:solidFill>
            <a:srgbClr val="00339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endParaRPr lang="en-US" sz="1399" b="1" i="1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19" name="Right Arrow 12">
            <a:extLst>
              <a:ext uri="{FF2B5EF4-FFF2-40B4-BE49-F238E27FC236}">
                <a16:creationId xmlns:a16="http://schemas.microsoft.com/office/drawing/2014/main" id="{A24A66D1-F0B3-4816-AEAB-006DCE4CF7DC}"/>
              </a:ext>
            </a:extLst>
          </p:cNvPr>
          <p:cNvSpPr/>
          <p:nvPr/>
        </p:nvSpPr>
        <p:spPr bwMode="auto">
          <a:xfrm>
            <a:off x="7839308" y="2225686"/>
            <a:ext cx="683720" cy="610813"/>
          </a:xfrm>
          <a:prstGeom prst="rightArrow">
            <a:avLst/>
          </a:prstGeom>
          <a:solidFill>
            <a:srgbClr val="00339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endParaRPr lang="en-US" sz="1399" b="1" i="1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20" name="Right Arrow 13">
            <a:extLst>
              <a:ext uri="{FF2B5EF4-FFF2-40B4-BE49-F238E27FC236}">
                <a16:creationId xmlns:a16="http://schemas.microsoft.com/office/drawing/2014/main" id="{B7CA4D58-563D-4886-92A9-FA547688AB82}"/>
              </a:ext>
            </a:extLst>
          </p:cNvPr>
          <p:cNvSpPr/>
          <p:nvPr/>
        </p:nvSpPr>
        <p:spPr bwMode="auto">
          <a:xfrm rot="10800000">
            <a:off x="7839308" y="4564729"/>
            <a:ext cx="683720" cy="610813"/>
          </a:xfrm>
          <a:prstGeom prst="rightArrow">
            <a:avLst/>
          </a:prstGeom>
          <a:solidFill>
            <a:srgbClr val="00339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endParaRPr lang="en-US" sz="1399" b="1" i="1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21" name="Right Arrow 14">
            <a:extLst>
              <a:ext uri="{FF2B5EF4-FFF2-40B4-BE49-F238E27FC236}">
                <a16:creationId xmlns:a16="http://schemas.microsoft.com/office/drawing/2014/main" id="{DD6517BF-7E3E-49CF-A4BD-CDA604FF74BD}"/>
              </a:ext>
            </a:extLst>
          </p:cNvPr>
          <p:cNvSpPr/>
          <p:nvPr/>
        </p:nvSpPr>
        <p:spPr bwMode="auto">
          <a:xfrm rot="10800000">
            <a:off x="3701003" y="4564728"/>
            <a:ext cx="683720" cy="610813"/>
          </a:xfrm>
          <a:prstGeom prst="rightArrow">
            <a:avLst/>
          </a:prstGeom>
          <a:solidFill>
            <a:srgbClr val="00339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endParaRPr lang="en-US" sz="1399" b="1" i="1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22" name="Right Arrow 15">
            <a:extLst>
              <a:ext uri="{FF2B5EF4-FFF2-40B4-BE49-F238E27FC236}">
                <a16:creationId xmlns:a16="http://schemas.microsoft.com/office/drawing/2014/main" id="{F7898EBD-DFB3-4BCB-9CD1-D75A79388EC1}"/>
              </a:ext>
            </a:extLst>
          </p:cNvPr>
          <p:cNvSpPr/>
          <p:nvPr/>
        </p:nvSpPr>
        <p:spPr bwMode="auto">
          <a:xfrm rot="5400000">
            <a:off x="9908460" y="3395067"/>
            <a:ext cx="683720" cy="610813"/>
          </a:xfrm>
          <a:prstGeom prst="rightArrow">
            <a:avLst/>
          </a:prstGeom>
          <a:solidFill>
            <a:srgbClr val="00339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endParaRPr lang="en-US" sz="1399" b="1" i="1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6231858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CAB53-5F05-4488-89EB-F4F85713748E}"/>
              </a:ext>
            </a:extLst>
          </p:cNvPr>
          <p:cNvSpPr txBox="1">
            <a:spLocks/>
          </p:cNvSpPr>
          <p:nvPr/>
        </p:nvSpPr>
        <p:spPr>
          <a:xfrm>
            <a:off x="2336757" y="0"/>
            <a:ext cx="7524836" cy="108874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vi-VN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ây dựng các đối tượng thông ti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1A4A389-61A1-471C-B2B5-3877E732953C}"/>
              </a:ext>
            </a:extLst>
          </p:cNvPr>
          <p:cNvSpPr txBox="1">
            <a:spLocks/>
          </p:cNvSpPr>
          <p:nvPr/>
        </p:nvSpPr>
        <p:spPr>
          <a:xfrm>
            <a:off x="374344" y="1845649"/>
            <a:ext cx="3198734" cy="1370886"/>
          </a:xfrm>
          <a:prstGeom prst="rect">
            <a:avLst/>
          </a:prstGeom>
          <a:gradFill rotWithShape="1">
            <a:gsLst>
              <a:gs pos="0">
                <a:srgbClr val="333399">
                  <a:shade val="51000"/>
                  <a:satMod val="130000"/>
                </a:srgbClr>
              </a:gs>
              <a:gs pos="80000">
                <a:srgbClr val="333399">
                  <a:shade val="93000"/>
                  <a:satMod val="130000"/>
                </a:srgbClr>
              </a:gs>
              <a:gs pos="100000">
                <a:srgbClr val="333399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ây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ựng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ác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đối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ượng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ông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i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A97C040-3A02-467C-8737-35ABC0E2F45F}"/>
              </a:ext>
            </a:extLst>
          </p:cNvPr>
          <p:cNvSpPr txBox="1">
            <a:spLocks/>
          </p:cNvSpPr>
          <p:nvPr/>
        </p:nvSpPr>
        <p:spPr>
          <a:xfrm>
            <a:off x="4512649" y="1845649"/>
            <a:ext cx="3198734" cy="1370886"/>
          </a:xfrm>
          <a:prstGeom prst="rect">
            <a:avLst/>
          </a:prstGeom>
          <a:solidFill>
            <a:srgbClr val="FFFFFF">
              <a:lumMod val="75000"/>
            </a:srgbClr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ạo các thành phầ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D60126-42C2-4430-832E-C1CD57236B61}"/>
              </a:ext>
            </a:extLst>
          </p:cNvPr>
          <p:cNvSpPr txBox="1">
            <a:spLocks/>
          </p:cNvSpPr>
          <p:nvPr/>
        </p:nvSpPr>
        <p:spPr>
          <a:xfrm>
            <a:off x="8650953" y="1845649"/>
            <a:ext cx="3198734" cy="1370886"/>
          </a:xfrm>
          <a:prstGeom prst="rect">
            <a:avLst/>
          </a:prstGeom>
          <a:solidFill>
            <a:srgbClr val="FFFFFF">
              <a:lumMod val="75000"/>
            </a:srgbClr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ây dựng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ây giải pháp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8CC13D5-6E35-4375-89D5-9A0BD8CE1F12}"/>
              </a:ext>
            </a:extLst>
          </p:cNvPr>
          <p:cNvSpPr txBox="1">
            <a:spLocks/>
          </p:cNvSpPr>
          <p:nvPr/>
        </p:nvSpPr>
        <p:spPr>
          <a:xfrm>
            <a:off x="8650953" y="4184690"/>
            <a:ext cx="3198734" cy="1370886"/>
          </a:xfrm>
          <a:prstGeom prst="rect">
            <a:avLst/>
          </a:prstGeom>
          <a:solidFill>
            <a:srgbClr val="FFFFFF">
              <a:lumMod val="75000"/>
            </a:srgbClr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ấu hình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ác thành phầ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EAEA143-03AC-41CB-B06B-2DCDAA1A1AAD}"/>
              </a:ext>
            </a:extLst>
          </p:cNvPr>
          <p:cNvSpPr txBox="1">
            <a:spLocks/>
          </p:cNvSpPr>
          <p:nvPr/>
        </p:nvSpPr>
        <p:spPr>
          <a:xfrm>
            <a:off x="4512649" y="4184690"/>
            <a:ext cx="3198734" cy="1370886"/>
          </a:xfrm>
          <a:prstGeom prst="rect">
            <a:avLst/>
          </a:prstGeom>
          <a:solidFill>
            <a:srgbClr val="FFFFFF">
              <a:lumMod val="75000"/>
            </a:srgbClr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ây dựng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ác biểu mẫu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E6BAF4-A06F-4645-B665-CBEDEDB80747}"/>
              </a:ext>
            </a:extLst>
          </p:cNvPr>
          <p:cNvSpPr txBox="1">
            <a:spLocks/>
          </p:cNvSpPr>
          <p:nvPr/>
        </p:nvSpPr>
        <p:spPr>
          <a:xfrm>
            <a:off x="374344" y="4184690"/>
            <a:ext cx="3198734" cy="1370886"/>
          </a:xfrm>
          <a:prstGeom prst="rect">
            <a:avLst/>
          </a:prstGeom>
          <a:solidFill>
            <a:srgbClr val="FFFFFF">
              <a:lumMod val="75000"/>
            </a:srgbClr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uy cập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 trình duyệt</a:t>
            </a:r>
          </a:p>
        </p:txBody>
      </p:sp>
      <p:sp>
        <p:nvSpPr>
          <p:cNvPr id="9" name="Right Arrow 11">
            <a:extLst>
              <a:ext uri="{FF2B5EF4-FFF2-40B4-BE49-F238E27FC236}">
                <a16:creationId xmlns:a16="http://schemas.microsoft.com/office/drawing/2014/main" id="{77DA98AD-B17F-413A-8474-985171A12EF2}"/>
              </a:ext>
            </a:extLst>
          </p:cNvPr>
          <p:cNvSpPr/>
          <p:nvPr/>
        </p:nvSpPr>
        <p:spPr bwMode="auto">
          <a:xfrm>
            <a:off x="3720973" y="2225686"/>
            <a:ext cx="683720" cy="610813"/>
          </a:xfrm>
          <a:prstGeom prst="rightArrow">
            <a:avLst/>
          </a:prstGeom>
          <a:solidFill>
            <a:srgbClr val="FFFFFF">
              <a:lumMod val="7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3943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99" b="1" i="1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</a:endParaRPr>
          </a:p>
        </p:txBody>
      </p:sp>
      <p:sp>
        <p:nvSpPr>
          <p:cNvPr id="10" name="Right Arrow 12">
            <a:extLst>
              <a:ext uri="{FF2B5EF4-FFF2-40B4-BE49-F238E27FC236}">
                <a16:creationId xmlns:a16="http://schemas.microsoft.com/office/drawing/2014/main" id="{4BAFDE22-A3EB-45BF-9FC5-A8136C352C2B}"/>
              </a:ext>
            </a:extLst>
          </p:cNvPr>
          <p:cNvSpPr/>
          <p:nvPr/>
        </p:nvSpPr>
        <p:spPr bwMode="auto">
          <a:xfrm>
            <a:off x="7839308" y="2225686"/>
            <a:ext cx="683720" cy="610813"/>
          </a:xfrm>
          <a:prstGeom prst="rightArrow">
            <a:avLst/>
          </a:prstGeom>
          <a:solidFill>
            <a:srgbClr val="FFFFFF">
              <a:lumMod val="7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3943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99" b="1" i="1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</a:endParaRPr>
          </a:p>
        </p:txBody>
      </p:sp>
      <p:sp>
        <p:nvSpPr>
          <p:cNvPr id="11" name="Right Arrow 13">
            <a:extLst>
              <a:ext uri="{FF2B5EF4-FFF2-40B4-BE49-F238E27FC236}">
                <a16:creationId xmlns:a16="http://schemas.microsoft.com/office/drawing/2014/main" id="{78CAB4A9-5C16-4106-8316-D1AA31AD2016}"/>
              </a:ext>
            </a:extLst>
          </p:cNvPr>
          <p:cNvSpPr/>
          <p:nvPr/>
        </p:nvSpPr>
        <p:spPr bwMode="auto">
          <a:xfrm rot="10800000">
            <a:off x="7839308" y="4564729"/>
            <a:ext cx="683720" cy="610813"/>
          </a:xfrm>
          <a:prstGeom prst="rightArrow">
            <a:avLst/>
          </a:prstGeom>
          <a:solidFill>
            <a:srgbClr val="FFFFFF">
              <a:lumMod val="7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3943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99" b="1" i="1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</a:endParaRPr>
          </a:p>
        </p:txBody>
      </p:sp>
      <p:sp>
        <p:nvSpPr>
          <p:cNvPr id="12" name="Right Arrow 14">
            <a:extLst>
              <a:ext uri="{FF2B5EF4-FFF2-40B4-BE49-F238E27FC236}">
                <a16:creationId xmlns:a16="http://schemas.microsoft.com/office/drawing/2014/main" id="{895CB54E-7EFA-43D3-A081-86B9F9C4DFCB}"/>
              </a:ext>
            </a:extLst>
          </p:cNvPr>
          <p:cNvSpPr/>
          <p:nvPr/>
        </p:nvSpPr>
        <p:spPr bwMode="auto">
          <a:xfrm rot="10800000">
            <a:off x="3701003" y="4564728"/>
            <a:ext cx="683720" cy="610813"/>
          </a:xfrm>
          <a:prstGeom prst="rightArrow">
            <a:avLst/>
          </a:prstGeom>
          <a:solidFill>
            <a:srgbClr val="FFFFFF">
              <a:lumMod val="7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3943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99" b="1" i="1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</a:endParaRPr>
          </a:p>
        </p:txBody>
      </p:sp>
      <p:sp>
        <p:nvSpPr>
          <p:cNvPr id="13" name="Right Arrow 15">
            <a:extLst>
              <a:ext uri="{FF2B5EF4-FFF2-40B4-BE49-F238E27FC236}">
                <a16:creationId xmlns:a16="http://schemas.microsoft.com/office/drawing/2014/main" id="{87C30E92-A3B5-4143-8831-BDCC80A7A716}"/>
              </a:ext>
            </a:extLst>
          </p:cNvPr>
          <p:cNvSpPr/>
          <p:nvPr/>
        </p:nvSpPr>
        <p:spPr bwMode="auto">
          <a:xfrm rot="5400000">
            <a:off x="9908460" y="3395067"/>
            <a:ext cx="683720" cy="610813"/>
          </a:xfrm>
          <a:prstGeom prst="rightArrow">
            <a:avLst/>
          </a:prstGeom>
          <a:solidFill>
            <a:srgbClr val="FFFFFF">
              <a:lumMod val="7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3943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99" b="1" i="1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8875193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CAB53-5F05-4488-89EB-F4F85713748E}"/>
              </a:ext>
            </a:extLst>
          </p:cNvPr>
          <p:cNvSpPr txBox="1">
            <a:spLocks/>
          </p:cNvSpPr>
          <p:nvPr/>
        </p:nvSpPr>
        <p:spPr>
          <a:xfrm>
            <a:off x="2336757" y="0"/>
            <a:ext cx="7524836" cy="108874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vi-VN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ây dựng các đối tượng thông ti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2065EA1-49BF-4961-B8DE-60248D3BEA94}"/>
              </a:ext>
            </a:extLst>
          </p:cNvPr>
          <p:cNvSpPr/>
          <p:nvPr/>
        </p:nvSpPr>
        <p:spPr>
          <a:xfrm>
            <a:off x="-68050" y="1447490"/>
            <a:ext cx="12266400" cy="32778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algn="just">
              <a:lnSpc>
                <a:spcPct val="150000"/>
              </a:lnSpc>
            </a:pPr>
            <a:r>
              <a:rPr lang="en-US" b="1" dirty="0" err="1">
                <a:solidFill>
                  <a:srgbClr val="002060"/>
                </a:solidFill>
              </a:rPr>
              <a:t>Nhà</a:t>
            </a:r>
            <a:r>
              <a:rPr lang="en-US" b="1" dirty="0">
                <a:solidFill>
                  <a:srgbClr val="002060"/>
                </a:solidFill>
              </a:rPr>
              <a:t> </a:t>
            </a:r>
            <a:r>
              <a:rPr lang="en-US" b="1" dirty="0" err="1">
                <a:solidFill>
                  <a:srgbClr val="002060"/>
                </a:solidFill>
              </a:rPr>
              <a:t>máy</a:t>
            </a:r>
            <a:r>
              <a:rPr lang="en-US" b="1" dirty="0">
                <a:solidFill>
                  <a:srgbClr val="002060"/>
                </a:solidFill>
              </a:rPr>
              <a:t> </a:t>
            </a:r>
          </a:p>
          <a:p>
            <a:pPr marL="1657350" lvl="3" indent="-285750" algn="just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b="1" dirty="0">
                <a:solidFill>
                  <a:srgbClr val="002060"/>
                </a:solidFill>
              </a:rPr>
              <a:t>KPI </a:t>
            </a:r>
            <a:r>
              <a:rPr lang="en-US" b="1" dirty="0" err="1">
                <a:solidFill>
                  <a:srgbClr val="002060"/>
                </a:solidFill>
              </a:rPr>
              <a:t>sản</a:t>
            </a:r>
            <a:r>
              <a:rPr lang="en-US" b="1" dirty="0">
                <a:solidFill>
                  <a:srgbClr val="002060"/>
                </a:solidFill>
              </a:rPr>
              <a:t> </a:t>
            </a:r>
            <a:r>
              <a:rPr lang="en-US" b="1" dirty="0" err="1">
                <a:solidFill>
                  <a:srgbClr val="002060"/>
                </a:solidFill>
              </a:rPr>
              <a:t>xuất</a:t>
            </a:r>
            <a:endParaRPr lang="en-US" b="1" dirty="0">
              <a:solidFill>
                <a:srgbClr val="002060"/>
              </a:solidFill>
            </a:endParaRPr>
          </a:p>
          <a:p>
            <a:pPr marL="1657350" lvl="3" indent="-285750" algn="just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b="1" dirty="0">
                <a:solidFill>
                  <a:srgbClr val="002060"/>
                </a:solidFill>
              </a:rPr>
              <a:t>KPI </a:t>
            </a:r>
            <a:r>
              <a:rPr lang="en-US" b="1" dirty="0" err="1">
                <a:solidFill>
                  <a:srgbClr val="002060"/>
                </a:solidFill>
              </a:rPr>
              <a:t>Thiết</a:t>
            </a:r>
            <a:r>
              <a:rPr lang="en-US" b="1" dirty="0">
                <a:solidFill>
                  <a:srgbClr val="002060"/>
                </a:solidFill>
              </a:rPr>
              <a:t> </a:t>
            </a:r>
            <a:r>
              <a:rPr lang="en-US" b="1" dirty="0" err="1">
                <a:solidFill>
                  <a:srgbClr val="002060"/>
                </a:solidFill>
              </a:rPr>
              <a:t>bị</a:t>
            </a:r>
            <a:endParaRPr lang="en-US" b="1" dirty="0">
              <a:solidFill>
                <a:srgbClr val="002060"/>
              </a:solidFill>
            </a:endParaRPr>
          </a:p>
          <a:p>
            <a:pPr marL="1657350" lvl="3" indent="-285750" algn="just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b="1" dirty="0">
                <a:solidFill>
                  <a:srgbClr val="002060"/>
                </a:solidFill>
              </a:rPr>
              <a:t>KPI </a:t>
            </a:r>
            <a:r>
              <a:rPr lang="en-US" b="1" dirty="0" err="1">
                <a:solidFill>
                  <a:srgbClr val="002060"/>
                </a:solidFill>
              </a:rPr>
              <a:t>Bảo</a:t>
            </a:r>
            <a:r>
              <a:rPr lang="en-US" b="1" dirty="0">
                <a:solidFill>
                  <a:srgbClr val="002060"/>
                </a:solidFill>
              </a:rPr>
              <a:t> </a:t>
            </a:r>
            <a:r>
              <a:rPr lang="en-US" b="1" dirty="0" err="1">
                <a:solidFill>
                  <a:srgbClr val="002060"/>
                </a:solidFill>
              </a:rPr>
              <a:t>trì</a:t>
            </a:r>
            <a:endParaRPr lang="en-US" b="1" dirty="0">
              <a:solidFill>
                <a:srgbClr val="002060"/>
              </a:solidFill>
            </a:endParaRPr>
          </a:p>
          <a:p>
            <a:pPr marL="1657350" lvl="3" indent="-285750" algn="just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b="1" dirty="0">
                <a:solidFill>
                  <a:srgbClr val="002060"/>
                </a:solidFill>
              </a:rPr>
              <a:t>KPI An </a:t>
            </a:r>
            <a:r>
              <a:rPr lang="en-US" b="1" dirty="0" err="1">
                <a:solidFill>
                  <a:srgbClr val="002060"/>
                </a:solidFill>
              </a:rPr>
              <a:t>toàn</a:t>
            </a:r>
            <a:endParaRPr lang="en-US" b="1" dirty="0">
              <a:solidFill>
                <a:srgbClr val="002060"/>
              </a:solidFill>
            </a:endParaRPr>
          </a:p>
          <a:p>
            <a:pPr marL="1657350" lvl="3" indent="-285750" algn="just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b="1" dirty="0">
                <a:solidFill>
                  <a:srgbClr val="002060"/>
                </a:solidFill>
              </a:rPr>
              <a:t>KPI </a:t>
            </a:r>
            <a:r>
              <a:rPr lang="en-US" b="1" dirty="0" err="1">
                <a:solidFill>
                  <a:srgbClr val="002060"/>
                </a:solidFill>
              </a:rPr>
              <a:t>Tài</a:t>
            </a:r>
            <a:r>
              <a:rPr lang="en-US" b="1" dirty="0">
                <a:solidFill>
                  <a:srgbClr val="002060"/>
                </a:solidFill>
              </a:rPr>
              <a:t> </a:t>
            </a:r>
            <a:r>
              <a:rPr lang="en-US" b="1" dirty="0" err="1">
                <a:solidFill>
                  <a:srgbClr val="002060"/>
                </a:solidFill>
              </a:rPr>
              <a:t>chính</a:t>
            </a:r>
            <a:r>
              <a:rPr lang="en-US" b="1" dirty="0">
                <a:solidFill>
                  <a:srgbClr val="002060"/>
                </a:solidFill>
              </a:rPr>
              <a:t>.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7319567-1A8B-436B-846B-B1B96A5DC2EE}"/>
              </a:ext>
            </a:extLst>
          </p:cNvPr>
          <p:cNvGrpSpPr/>
          <p:nvPr/>
        </p:nvGrpSpPr>
        <p:grpSpPr>
          <a:xfrm>
            <a:off x="5043194" y="1766049"/>
            <a:ext cx="6288426" cy="3325901"/>
            <a:chOff x="5775139" y="2129542"/>
            <a:chExt cx="4962149" cy="2624443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6522393C-FDF1-4B72-8731-559115E2626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775139" y="2243950"/>
              <a:ext cx="1203723" cy="2353878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4F55F30-E91C-4E42-8E0F-CE426A41633C}"/>
                </a:ext>
              </a:extLst>
            </p:cNvPr>
            <p:cNvSpPr/>
            <p:nvPr/>
          </p:nvSpPr>
          <p:spPr>
            <a:xfrm>
              <a:off x="7858467" y="2129542"/>
              <a:ext cx="2878821" cy="254602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1" algn="just">
                <a:lnSpc>
                  <a:spcPct val="150000"/>
                </a:lnSpc>
              </a:pPr>
              <a:r>
                <a:rPr lang="en-US" b="1" dirty="0" err="1">
                  <a:solidFill>
                    <a:srgbClr val="002060"/>
                  </a:solidFill>
                </a:rPr>
                <a:t>S_Plant</a:t>
              </a:r>
              <a:endParaRPr lang="en-US" b="1" dirty="0">
                <a:solidFill>
                  <a:srgbClr val="002060"/>
                </a:solidFill>
              </a:endParaRPr>
            </a:p>
            <a:p>
              <a:pPr lvl="1" algn="just">
                <a:lnSpc>
                  <a:spcPct val="150000"/>
                </a:lnSpc>
              </a:pPr>
              <a:r>
                <a:rPr lang="en-US" b="1" dirty="0" err="1">
                  <a:solidFill>
                    <a:srgbClr val="002060"/>
                  </a:solidFill>
                </a:rPr>
                <a:t>S_Production</a:t>
              </a:r>
              <a:endParaRPr lang="en-US" b="1" dirty="0">
                <a:solidFill>
                  <a:srgbClr val="002060"/>
                </a:solidFill>
              </a:endParaRPr>
            </a:p>
            <a:p>
              <a:pPr lvl="1" algn="just">
                <a:lnSpc>
                  <a:spcPct val="150000"/>
                </a:lnSpc>
              </a:pPr>
              <a:r>
                <a:rPr lang="en-US" b="1" dirty="0" err="1">
                  <a:solidFill>
                    <a:srgbClr val="002060"/>
                  </a:solidFill>
                </a:rPr>
                <a:t>S_Equipment</a:t>
              </a:r>
              <a:endParaRPr lang="en-US" b="1" dirty="0">
                <a:solidFill>
                  <a:srgbClr val="002060"/>
                </a:solidFill>
              </a:endParaRPr>
            </a:p>
            <a:p>
              <a:pPr lvl="1" algn="just">
                <a:lnSpc>
                  <a:spcPct val="150000"/>
                </a:lnSpc>
              </a:pPr>
              <a:r>
                <a:rPr lang="en-US" b="1" dirty="0" err="1">
                  <a:solidFill>
                    <a:srgbClr val="002060"/>
                  </a:solidFill>
                </a:rPr>
                <a:t>S_Maintenace</a:t>
              </a:r>
              <a:endParaRPr lang="en-US" b="1" dirty="0">
                <a:solidFill>
                  <a:srgbClr val="002060"/>
                </a:solidFill>
              </a:endParaRPr>
            </a:p>
            <a:p>
              <a:pPr lvl="1" algn="just">
                <a:lnSpc>
                  <a:spcPct val="150000"/>
                </a:lnSpc>
              </a:pPr>
              <a:r>
                <a:rPr lang="en-US" b="1" dirty="0" err="1">
                  <a:solidFill>
                    <a:srgbClr val="002060"/>
                  </a:solidFill>
                </a:rPr>
                <a:t>S_Safety</a:t>
              </a:r>
              <a:endParaRPr lang="en-US" b="1" dirty="0">
                <a:solidFill>
                  <a:srgbClr val="002060"/>
                </a:solidFill>
              </a:endParaRPr>
            </a:p>
            <a:p>
              <a:pPr lvl="1" algn="just">
                <a:lnSpc>
                  <a:spcPct val="150000"/>
                </a:lnSpc>
              </a:pPr>
              <a:r>
                <a:rPr lang="en-US" b="1" dirty="0" err="1">
                  <a:solidFill>
                    <a:srgbClr val="002060"/>
                  </a:solidFill>
                </a:rPr>
                <a:t>S_Finance</a:t>
              </a:r>
              <a:endParaRPr lang="en-US" b="1" dirty="0">
                <a:solidFill>
                  <a:srgbClr val="002060"/>
                </a:solidFill>
              </a:endParaRPr>
            </a:p>
          </p:txBody>
        </p:sp>
        <p:sp>
          <p:nvSpPr>
            <p:cNvPr id="17" name="Right Arrow 5">
              <a:extLst>
                <a:ext uri="{FF2B5EF4-FFF2-40B4-BE49-F238E27FC236}">
                  <a16:creationId xmlns:a16="http://schemas.microsoft.com/office/drawing/2014/main" id="{74B196C3-A47D-46E2-9838-C480B75EE26B}"/>
                </a:ext>
              </a:extLst>
            </p:cNvPr>
            <p:cNvSpPr/>
            <p:nvPr/>
          </p:nvSpPr>
          <p:spPr bwMode="auto">
            <a:xfrm>
              <a:off x="7221680" y="2138149"/>
              <a:ext cx="493048" cy="610813"/>
            </a:xfrm>
            <a:prstGeom prst="rightArrow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94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399" b="1" i="1">
                <a:latin typeface="Times New Roman" pitchFamily="18" charset="0"/>
              </a:endParaRPr>
            </a:p>
          </p:txBody>
        </p:sp>
        <p:sp>
          <p:nvSpPr>
            <p:cNvPr id="18" name="Right Arrow 17">
              <a:extLst>
                <a:ext uri="{FF2B5EF4-FFF2-40B4-BE49-F238E27FC236}">
                  <a16:creationId xmlns:a16="http://schemas.microsoft.com/office/drawing/2014/main" id="{EFE50CF5-46E3-4421-8F97-80060E1CF346}"/>
                </a:ext>
              </a:extLst>
            </p:cNvPr>
            <p:cNvSpPr/>
            <p:nvPr/>
          </p:nvSpPr>
          <p:spPr bwMode="auto">
            <a:xfrm>
              <a:off x="7221680" y="2554797"/>
              <a:ext cx="493048" cy="610813"/>
            </a:xfrm>
            <a:prstGeom prst="rightArrow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94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399" b="1" i="1">
                <a:latin typeface="Times New Roman" pitchFamily="18" charset="0"/>
              </a:endParaRPr>
            </a:p>
          </p:txBody>
        </p:sp>
        <p:sp>
          <p:nvSpPr>
            <p:cNvPr id="19" name="Right Arrow 18">
              <a:extLst>
                <a:ext uri="{FF2B5EF4-FFF2-40B4-BE49-F238E27FC236}">
                  <a16:creationId xmlns:a16="http://schemas.microsoft.com/office/drawing/2014/main" id="{053F526A-35CB-4B64-9761-251117FFDF3E}"/>
                </a:ext>
              </a:extLst>
            </p:cNvPr>
            <p:cNvSpPr/>
            <p:nvPr/>
          </p:nvSpPr>
          <p:spPr bwMode="auto">
            <a:xfrm>
              <a:off x="7221680" y="2966663"/>
              <a:ext cx="493048" cy="610813"/>
            </a:xfrm>
            <a:prstGeom prst="rightArrow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94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399" b="1" i="1">
                <a:latin typeface="Times New Roman" pitchFamily="18" charset="0"/>
              </a:endParaRPr>
            </a:p>
          </p:txBody>
        </p:sp>
        <p:sp>
          <p:nvSpPr>
            <p:cNvPr id="20" name="Right Arrow 19">
              <a:extLst>
                <a:ext uri="{FF2B5EF4-FFF2-40B4-BE49-F238E27FC236}">
                  <a16:creationId xmlns:a16="http://schemas.microsoft.com/office/drawing/2014/main" id="{1F29E682-8CAF-41FA-9431-A9D079D1EC56}"/>
                </a:ext>
              </a:extLst>
            </p:cNvPr>
            <p:cNvSpPr/>
            <p:nvPr/>
          </p:nvSpPr>
          <p:spPr bwMode="auto">
            <a:xfrm>
              <a:off x="7221680" y="3337634"/>
              <a:ext cx="493048" cy="610813"/>
            </a:xfrm>
            <a:prstGeom prst="rightArrow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94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399" b="1" i="1">
                <a:latin typeface="Times New Roman" pitchFamily="18" charset="0"/>
              </a:endParaRPr>
            </a:p>
          </p:txBody>
        </p:sp>
        <p:sp>
          <p:nvSpPr>
            <p:cNvPr id="21" name="Right Arrow 20">
              <a:extLst>
                <a:ext uri="{FF2B5EF4-FFF2-40B4-BE49-F238E27FC236}">
                  <a16:creationId xmlns:a16="http://schemas.microsoft.com/office/drawing/2014/main" id="{D5FBC76A-443B-4C48-A6C6-BAE883F5C9D6}"/>
                </a:ext>
              </a:extLst>
            </p:cNvPr>
            <p:cNvSpPr/>
            <p:nvPr/>
          </p:nvSpPr>
          <p:spPr bwMode="auto">
            <a:xfrm>
              <a:off x="7221679" y="3734741"/>
              <a:ext cx="493048" cy="610813"/>
            </a:xfrm>
            <a:prstGeom prst="rightArrow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94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399" b="1" i="1">
                <a:latin typeface="Times New Roman" pitchFamily="18" charset="0"/>
              </a:endParaRPr>
            </a:p>
          </p:txBody>
        </p:sp>
        <p:sp>
          <p:nvSpPr>
            <p:cNvPr id="22" name="Right Arrow 21">
              <a:extLst>
                <a:ext uri="{FF2B5EF4-FFF2-40B4-BE49-F238E27FC236}">
                  <a16:creationId xmlns:a16="http://schemas.microsoft.com/office/drawing/2014/main" id="{7101088D-5F61-4523-9E62-40C79526BCC9}"/>
                </a:ext>
              </a:extLst>
            </p:cNvPr>
            <p:cNvSpPr/>
            <p:nvPr/>
          </p:nvSpPr>
          <p:spPr bwMode="auto">
            <a:xfrm>
              <a:off x="7236018" y="4143172"/>
              <a:ext cx="493048" cy="610813"/>
            </a:xfrm>
            <a:prstGeom prst="rightArrow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94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399" b="1" i="1">
                <a:latin typeface="Times New Roman" pitchFamily="18" charset="0"/>
              </a:endParaRPr>
            </a:p>
          </p:txBody>
        </p:sp>
      </p:grpSp>
      <p:sp>
        <p:nvSpPr>
          <p:cNvPr id="24" name="Right Arrow 18">
            <a:extLst>
              <a:ext uri="{FF2B5EF4-FFF2-40B4-BE49-F238E27FC236}">
                <a16:creationId xmlns:a16="http://schemas.microsoft.com/office/drawing/2014/main" id="{86688042-B103-4FAC-98C5-C1773E8FEF2B}"/>
              </a:ext>
            </a:extLst>
          </p:cNvPr>
          <p:cNvSpPr/>
          <p:nvPr/>
        </p:nvSpPr>
        <p:spPr bwMode="auto">
          <a:xfrm>
            <a:off x="4014871" y="2910003"/>
            <a:ext cx="624829" cy="77407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399" b="1" i="1">
              <a:latin typeface="Times New Roman" pitchFamily="18" charset="0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74920A4-AC36-4BE4-9E3A-68D9C5FBF8DE}"/>
              </a:ext>
            </a:extLst>
          </p:cNvPr>
          <p:cNvCxnSpPr>
            <a:cxnSpLocks/>
          </p:cNvCxnSpPr>
          <p:nvPr/>
        </p:nvCxnSpPr>
        <p:spPr>
          <a:xfrm>
            <a:off x="3254859" y="1766049"/>
            <a:ext cx="0" cy="28681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64425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E5C17B20-A01B-4CE9-9D04-0E2E584E3772}"/>
              </a:ext>
            </a:extLst>
          </p:cNvPr>
          <p:cNvSpPr txBox="1"/>
          <p:nvPr/>
        </p:nvSpPr>
        <p:spPr>
          <a:xfrm>
            <a:off x="1021294" y="2990855"/>
            <a:ext cx="10155763" cy="1754326"/>
          </a:xfrm>
          <a:prstGeom prst="rect">
            <a:avLst/>
          </a:prstGeom>
          <a:gradFill flip="none" rotWithShape="1">
            <a:gsLst>
              <a:gs pos="0">
                <a:srgbClr val="1E1E5C">
                  <a:lumMod val="67000"/>
                </a:srgbClr>
              </a:gs>
              <a:gs pos="48000">
                <a:srgbClr val="2F2F91">
                  <a:lumMod val="97000"/>
                  <a:lumOff val="3000"/>
                </a:srgbClr>
              </a:gs>
              <a:gs pos="100000">
                <a:srgbClr val="6B6BCF">
                  <a:lumMod val="60000"/>
                  <a:lumOff val="40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rtlCol="0" anchor="ctr">
            <a:spAutoFit/>
          </a:bodyPr>
          <a:lstStyle/>
          <a:p>
            <a:pPr marL="514350" indent="-514350" algn="ctr">
              <a:lnSpc>
                <a:spcPct val="150000"/>
              </a:lnSpc>
              <a:spcBef>
                <a:spcPts val="0"/>
              </a:spcBef>
              <a:buAutoNum type="arabicPeriod"/>
            </a:pPr>
            <a:endParaRPr lang="en-US" sz="2400" b="1" dirty="0">
              <a:solidFill>
                <a:schemeClr val="bg1"/>
              </a:solidFill>
            </a:endParaRPr>
          </a:p>
          <a:p>
            <a:pPr algn="ctr">
              <a:lnSpc>
                <a:spcPct val="150000"/>
              </a:lnSpc>
              <a:spcBef>
                <a:spcPts val="0"/>
              </a:spcBef>
            </a:pPr>
            <a:r>
              <a:rPr lang="en-US" sz="2400" b="1" dirty="0">
                <a:solidFill>
                  <a:schemeClr val="bg1"/>
                </a:solidFill>
              </a:rPr>
              <a:t>1. GIỚI THIỆU CHUNG</a:t>
            </a:r>
          </a:p>
          <a:p>
            <a:pPr algn="ctr">
              <a:lnSpc>
                <a:spcPct val="150000"/>
              </a:lnSpc>
              <a:spcBef>
                <a:spcPts val="0"/>
              </a:spcBef>
            </a:pPr>
            <a:endParaRPr lang="en-US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286061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CAB53-5F05-4488-89EB-F4F85713748E}"/>
              </a:ext>
            </a:extLst>
          </p:cNvPr>
          <p:cNvSpPr txBox="1">
            <a:spLocks/>
          </p:cNvSpPr>
          <p:nvPr/>
        </p:nvSpPr>
        <p:spPr>
          <a:xfrm>
            <a:off x="2336757" y="0"/>
            <a:ext cx="7524836" cy="108874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vi-VN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ây dựng các đối tượng thông tin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002C9B4D-3460-4D2F-A9BA-4D2C34A0BD97}"/>
              </a:ext>
            </a:extLst>
          </p:cNvPr>
          <p:cNvSpPr/>
          <p:nvPr/>
        </p:nvSpPr>
        <p:spPr bwMode="auto">
          <a:xfrm>
            <a:off x="3254859" y="1874362"/>
            <a:ext cx="2438400" cy="33850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Tổng</a:t>
            </a:r>
            <a:r>
              <a:rPr lang="en-US" sz="1600" b="1" i="1" dirty="0">
                <a:solidFill>
                  <a:schemeClr val="bg1"/>
                </a:solidFill>
                <a:latin typeface="Times New Roman" pitchFamily="18" charset="0"/>
              </a:rPr>
              <a:t> </a:t>
            </a:r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quan</a:t>
            </a:r>
            <a:endParaRPr lang="en-US" sz="1600" b="1" i="1" dirty="0">
              <a:solidFill>
                <a:schemeClr val="bg1"/>
              </a:solidFill>
              <a:latin typeface="Times New Roman" pitchFamily="18" charset="0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8CA43A39-BA0E-4C00-86B6-4F6208141370}"/>
              </a:ext>
            </a:extLst>
          </p:cNvPr>
          <p:cNvSpPr/>
          <p:nvPr/>
        </p:nvSpPr>
        <p:spPr bwMode="auto">
          <a:xfrm>
            <a:off x="3254859" y="2321623"/>
            <a:ext cx="2438400" cy="33850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Sản</a:t>
            </a:r>
            <a:r>
              <a:rPr lang="en-US" sz="1600" b="1" i="1" dirty="0">
                <a:solidFill>
                  <a:schemeClr val="bg1"/>
                </a:solidFill>
                <a:latin typeface="Times New Roman" pitchFamily="18" charset="0"/>
              </a:rPr>
              <a:t> </a:t>
            </a:r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xuất</a:t>
            </a:r>
            <a:endParaRPr lang="en-US" sz="1600" b="1" i="1" dirty="0">
              <a:solidFill>
                <a:schemeClr val="bg1"/>
              </a:solidFill>
              <a:latin typeface="Times New Roman" pitchFamily="18" charset="0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0DA9D8E0-85E4-481C-A046-66E612BAC190}"/>
              </a:ext>
            </a:extLst>
          </p:cNvPr>
          <p:cNvSpPr/>
          <p:nvPr/>
        </p:nvSpPr>
        <p:spPr bwMode="auto">
          <a:xfrm>
            <a:off x="3254859" y="2768884"/>
            <a:ext cx="2438400" cy="33850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Chất</a:t>
            </a:r>
            <a:r>
              <a:rPr lang="en-US" sz="1600" b="1" i="1" dirty="0">
                <a:solidFill>
                  <a:schemeClr val="bg1"/>
                </a:solidFill>
                <a:latin typeface="Times New Roman" pitchFamily="18" charset="0"/>
              </a:rPr>
              <a:t> </a:t>
            </a:r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lượng</a:t>
            </a:r>
            <a:endParaRPr lang="en-US" sz="1600" b="1" i="1" dirty="0">
              <a:solidFill>
                <a:schemeClr val="bg1"/>
              </a:solidFill>
              <a:latin typeface="Times New Roman" pitchFamily="18" charset="0"/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54F90B06-5CEF-4BFE-8C40-7FEBC304360B}"/>
              </a:ext>
            </a:extLst>
          </p:cNvPr>
          <p:cNvSpPr/>
          <p:nvPr/>
        </p:nvSpPr>
        <p:spPr bwMode="auto">
          <a:xfrm>
            <a:off x="3254859" y="3216145"/>
            <a:ext cx="2438400" cy="33850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Sửa</a:t>
            </a:r>
            <a:r>
              <a:rPr lang="en-US" sz="1600" b="1" i="1" dirty="0">
                <a:solidFill>
                  <a:schemeClr val="bg1"/>
                </a:solidFill>
                <a:latin typeface="Times New Roman" pitchFamily="18" charset="0"/>
              </a:rPr>
              <a:t> </a:t>
            </a:r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chữa</a:t>
            </a:r>
            <a:endParaRPr lang="en-US" sz="1600" b="1" i="1" dirty="0">
              <a:solidFill>
                <a:schemeClr val="bg1"/>
              </a:solidFill>
              <a:latin typeface="Times New Roman" pitchFamily="18" charset="0"/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9D086858-2407-401C-B0E0-9AE2804C1E35}"/>
              </a:ext>
            </a:extLst>
          </p:cNvPr>
          <p:cNvSpPr/>
          <p:nvPr/>
        </p:nvSpPr>
        <p:spPr bwMode="auto">
          <a:xfrm>
            <a:off x="3254859" y="3653211"/>
            <a:ext cx="2438400" cy="33850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Môi</a:t>
            </a:r>
            <a:r>
              <a:rPr lang="en-US" sz="1600" b="1" i="1" dirty="0">
                <a:solidFill>
                  <a:schemeClr val="bg1"/>
                </a:solidFill>
                <a:latin typeface="Times New Roman" pitchFamily="18" charset="0"/>
              </a:rPr>
              <a:t> </a:t>
            </a:r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trường</a:t>
            </a:r>
            <a:endParaRPr lang="en-US" sz="1600" b="1" i="1" dirty="0">
              <a:solidFill>
                <a:schemeClr val="bg1"/>
              </a:solidFill>
              <a:latin typeface="Times New Roman" pitchFamily="18" charset="0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E0EDE138-6FF5-448E-95AD-372C0B05CBD5}"/>
              </a:ext>
            </a:extLst>
          </p:cNvPr>
          <p:cNvSpPr/>
          <p:nvPr/>
        </p:nvSpPr>
        <p:spPr bwMode="auto">
          <a:xfrm>
            <a:off x="3254859" y="4090277"/>
            <a:ext cx="2438400" cy="33850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Cảnh</a:t>
            </a:r>
            <a:r>
              <a:rPr lang="en-US" sz="1600" b="1" i="1" dirty="0">
                <a:solidFill>
                  <a:schemeClr val="bg1"/>
                </a:solidFill>
                <a:latin typeface="Times New Roman" pitchFamily="18" charset="0"/>
              </a:rPr>
              <a:t> </a:t>
            </a:r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báo</a:t>
            </a:r>
            <a:endParaRPr lang="en-US" sz="1600" b="1" i="1" dirty="0">
              <a:solidFill>
                <a:schemeClr val="bg1"/>
              </a:solidFill>
              <a:latin typeface="Times New Roman" pitchFamily="18" charset="0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788BB27D-1525-4A8B-9055-97B6EC246F8C}"/>
              </a:ext>
            </a:extLst>
          </p:cNvPr>
          <p:cNvSpPr/>
          <p:nvPr/>
        </p:nvSpPr>
        <p:spPr bwMode="auto">
          <a:xfrm>
            <a:off x="3254859" y="4527343"/>
            <a:ext cx="2438400" cy="33850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Điện</a:t>
            </a:r>
            <a:r>
              <a:rPr lang="en-US" sz="1600" b="1" i="1" dirty="0">
                <a:solidFill>
                  <a:schemeClr val="bg1"/>
                </a:solidFill>
                <a:latin typeface="Times New Roman" pitchFamily="18" charset="0"/>
              </a:rPr>
              <a:t> </a:t>
            </a:r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năng</a:t>
            </a:r>
            <a:endParaRPr lang="en-US" sz="1600" b="1" i="1" dirty="0">
              <a:solidFill>
                <a:schemeClr val="bg1"/>
              </a:solidFill>
              <a:latin typeface="Times New Roman" pitchFamily="18" charset="0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F9FDF17D-0913-4A49-956E-E2D2F0DFE7D7}"/>
              </a:ext>
            </a:extLst>
          </p:cNvPr>
          <p:cNvSpPr/>
          <p:nvPr/>
        </p:nvSpPr>
        <p:spPr bwMode="auto">
          <a:xfrm>
            <a:off x="3254859" y="4957017"/>
            <a:ext cx="2438400" cy="33850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Quản</a:t>
            </a:r>
            <a:r>
              <a:rPr lang="en-US" sz="1600" b="1" i="1" dirty="0">
                <a:solidFill>
                  <a:schemeClr val="bg1"/>
                </a:solidFill>
                <a:latin typeface="Times New Roman" pitchFamily="18" charset="0"/>
              </a:rPr>
              <a:t> </a:t>
            </a:r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trị</a:t>
            </a:r>
            <a:r>
              <a:rPr lang="en-US" sz="1600" b="1" i="1" dirty="0">
                <a:solidFill>
                  <a:schemeClr val="bg1"/>
                </a:solidFill>
                <a:latin typeface="Times New Roman" pitchFamily="18" charset="0"/>
              </a:rPr>
              <a:t> KPI</a:t>
            </a:r>
          </a:p>
        </p:txBody>
      </p:sp>
      <p:sp>
        <p:nvSpPr>
          <p:cNvPr id="107" name="Flowchart: Terminator 106">
            <a:extLst>
              <a:ext uri="{FF2B5EF4-FFF2-40B4-BE49-F238E27FC236}">
                <a16:creationId xmlns:a16="http://schemas.microsoft.com/office/drawing/2014/main" id="{E61AE1DE-F0B5-4FB0-AD0C-C2993A99974B}"/>
              </a:ext>
            </a:extLst>
          </p:cNvPr>
          <p:cNvSpPr/>
          <p:nvPr/>
        </p:nvSpPr>
        <p:spPr bwMode="auto">
          <a:xfrm>
            <a:off x="3258772" y="1196752"/>
            <a:ext cx="2434487" cy="476003"/>
          </a:xfrm>
          <a:prstGeom prst="flowChartTerminator">
            <a:avLst/>
          </a:prstGeom>
          <a:solidFill>
            <a:srgbClr val="0070C0"/>
          </a:solidFill>
          <a:ln w="698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r>
              <a:rPr lang="en-US" sz="1600" b="1" dirty="0" err="1">
                <a:solidFill>
                  <a:schemeClr val="bg1"/>
                </a:solidFill>
                <a:latin typeface="Times New Roman" pitchFamily="18" charset="0"/>
              </a:rPr>
              <a:t>Bình</a:t>
            </a:r>
            <a:r>
              <a:rPr lang="en-US" sz="1600" b="1" dirty="0">
                <a:solidFill>
                  <a:schemeClr val="bg1"/>
                </a:solidFill>
                <a:latin typeface="Times New Roman" pitchFamily="18" charset="0"/>
              </a:rPr>
              <a:t> </a:t>
            </a:r>
            <a:r>
              <a:rPr lang="en-US" sz="1600" b="1" dirty="0" err="1">
                <a:solidFill>
                  <a:schemeClr val="bg1"/>
                </a:solidFill>
                <a:latin typeface="Times New Roman" pitchFamily="18" charset="0"/>
              </a:rPr>
              <a:t>Phước</a:t>
            </a:r>
            <a:endParaRPr lang="en-US" sz="1600" b="1" dirty="0">
              <a:solidFill>
                <a:schemeClr val="bg1"/>
              </a:solidFill>
              <a:latin typeface="Times New Roman" pitchFamily="18" charset="0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BFDB1241-CC56-4BF5-A781-AE67D24CCF4D}"/>
              </a:ext>
            </a:extLst>
          </p:cNvPr>
          <p:cNvSpPr/>
          <p:nvPr/>
        </p:nvSpPr>
        <p:spPr bwMode="auto">
          <a:xfrm>
            <a:off x="5888087" y="1874362"/>
            <a:ext cx="2438400" cy="33850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Khai</a:t>
            </a:r>
            <a:r>
              <a:rPr lang="en-US" sz="1600" b="1" i="1" dirty="0">
                <a:solidFill>
                  <a:schemeClr val="bg1"/>
                </a:solidFill>
                <a:latin typeface="Times New Roman" pitchFamily="18" charset="0"/>
              </a:rPr>
              <a:t> </a:t>
            </a:r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thác</a:t>
            </a:r>
            <a:endParaRPr lang="en-US" sz="1600" b="1" i="1" dirty="0">
              <a:solidFill>
                <a:schemeClr val="bg1"/>
              </a:solidFill>
              <a:latin typeface="Times New Roman" pitchFamily="18" charset="0"/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B982B625-D5EA-467C-9D1C-B6BE927E080B}"/>
              </a:ext>
            </a:extLst>
          </p:cNvPr>
          <p:cNvSpPr/>
          <p:nvPr/>
        </p:nvSpPr>
        <p:spPr bwMode="auto">
          <a:xfrm>
            <a:off x="5888087" y="2351106"/>
            <a:ext cx="2438400" cy="33850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Nguyên</a:t>
            </a:r>
            <a:r>
              <a:rPr lang="en-US" sz="1600" b="1" i="1" dirty="0">
                <a:solidFill>
                  <a:schemeClr val="bg1"/>
                </a:solidFill>
                <a:latin typeface="Times New Roman" pitchFamily="18" charset="0"/>
              </a:rPr>
              <a:t> </a:t>
            </a:r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liệu</a:t>
            </a:r>
            <a:endParaRPr lang="en-US" sz="1600" b="1" i="1" dirty="0">
              <a:solidFill>
                <a:schemeClr val="bg1"/>
              </a:solidFill>
              <a:latin typeface="Times New Roman" pitchFamily="18" charset="0"/>
            </a:endParaRP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31C0AFED-F11C-4641-AC26-0DDDC98E18D4}"/>
              </a:ext>
            </a:extLst>
          </p:cNvPr>
          <p:cNvSpPr/>
          <p:nvPr/>
        </p:nvSpPr>
        <p:spPr bwMode="auto">
          <a:xfrm>
            <a:off x="5888087" y="2788172"/>
            <a:ext cx="2438400" cy="33850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Nhập</a:t>
            </a:r>
            <a:r>
              <a:rPr lang="en-US" sz="1600" b="1" i="1" dirty="0">
                <a:solidFill>
                  <a:schemeClr val="bg1"/>
                </a:solidFill>
                <a:latin typeface="Times New Roman" pitchFamily="18" charset="0"/>
              </a:rPr>
              <a:t> </a:t>
            </a:r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liệu</a:t>
            </a:r>
            <a:endParaRPr lang="en-US" sz="1600" b="1" i="1" dirty="0">
              <a:solidFill>
                <a:schemeClr val="bg1"/>
              </a:solidFill>
              <a:latin typeface="Times New Roman" pitchFamily="18" charset="0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0007BD15-A5CF-40E1-8E7B-1CE7F0C34ED2}"/>
              </a:ext>
            </a:extLst>
          </p:cNvPr>
          <p:cNvSpPr/>
          <p:nvPr/>
        </p:nvSpPr>
        <p:spPr bwMode="auto">
          <a:xfrm>
            <a:off x="5888087" y="3225238"/>
            <a:ext cx="2438400" cy="33850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Nghiền</a:t>
            </a:r>
            <a:r>
              <a:rPr lang="en-US" sz="1600" b="1" i="1" dirty="0">
                <a:solidFill>
                  <a:schemeClr val="bg1"/>
                </a:solidFill>
                <a:latin typeface="Times New Roman" pitchFamily="18" charset="0"/>
              </a:rPr>
              <a:t> </a:t>
            </a:r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liệu</a:t>
            </a:r>
            <a:endParaRPr lang="en-US" sz="1600" b="1" i="1" dirty="0">
              <a:solidFill>
                <a:schemeClr val="bg1"/>
              </a:solidFill>
              <a:latin typeface="Times New Roman" pitchFamily="18" charset="0"/>
            </a:endParaRP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81A09996-1836-4EA8-AA9E-89E50D83FC46}"/>
              </a:ext>
            </a:extLst>
          </p:cNvPr>
          <p:cNvSpPr/>
          <p:nvPr/>
        </p:nvSpPr>
        <p:spPr bwMode="auto">
          <a:xfrm>
            <a:off x="5888087" y="3662304"/>
            <a:ext cx="2438400" cy="33850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Nghiền</a:t>
            </a:r>
            <a:r>
              <a:rPr lang="en-US" sz="1600" b="1" i="1" dirty="0">
                <a:solidFill>
                  <a:schemeClr val="bg1"/>
                </a:solidFill>
                <a:latin typeface="Times New Roman" pitchFamily="18" charset="0"/>
              </a:rPr>
              <a:t> than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7AD55483-E07C-4310-AC42-76A9738B4B51}"/>
              </a:ext>
            </a:extLst>
          </p:cNvPr>
          <p:cNvSpPr/>
          <p:nvPr/>
        </p:nvSpPr>
        <p:spPr bwMode="auto">
          <a:xfrm>
            <a:off x="3254859" y="5416188"/>
            <a:ext cx="2438400" cy="33850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r>
              <a:rPr lang="en-US" sz="1600" b="1" i="1" dirty="0">
                <a:solidFill>
                  <a:schemeClr val="bg1"/>
                </a:solidFill>
                <a:latin typeface="Times New Roman" pitchFamily="18" charset="0"/>
              </a:rPr>
              <a:t>…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02C9B4D-3460-4D2F-A9BA-4D2C34A0BD97}"/>
              </a:ext>
            </a:extLst>
          </p:cNvPr>
          <p:cNvSpPr/>
          <p:nvPr/>
        </p:nvSpPr>
        <p:spPr bwMode="auto">
          <a:xfrm>
            <a:off x="230523" y="1874362"/>
            <a:ext cx="2438400" cy="33850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Báo</a:t>
            </a:r>
            <a:r>
              <a:rPr lang="en-US" sz="1600" b="1" i="1" dirty="0">
                <a:solidFill>
                  <a:schemeClr val="bg1"/>
                </a:solidFill>
                <a:latin typeface="Times New Roman" pitchFamily="18" charset="0"/>
              </a:rPr>
              <a:t> </a:t>
            </a:r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cáo</a:t>
            </a:r>
            <a:r>
              <a:rPr lang="en-US" sz="1600" b="1" i="1" dirty="0">
                <a:solidFill>
                  <a:schemeClr val="bg1"/>
                </a:solidFill>
                <a:latin typeface="Times New Roman" pitchFamily="18" charset="0"/>
              </a:rPr>
              <a:t> </a:t>
            </a:r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tổng</a:t>
            </a:r>
            <a:r>
              <a:rPr lang="en-US" sz="1600" b="1" i="1" dirty="0">
                <a:solidFill>
                  <a:schemeClr val="bg1"/>
                </a:solidFill>
                <a:latin typeface="Times New Roman" pitchFamily="18" charset="0"/>
              </a:rPr>
              <a:t> </a:t>
            </a:r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quan</a:t>
            </a:r>
            <a:endParaRPr lang="en-US" sz="1600" b="1" i="1" dirty="0">
              <a:solidFill>
                <a:schemeClr val="bg1"/>
              </a:solidFill>
              <a:latin typeface="Times New Roman" pitchFamily="18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CA43A39-BA0E-4C00-86B6-4F6208141370}"/>
              </a:ext>
            </a:extLst>
          </p:cNvPr>
          <p:cNvSpPr/>
          <p:nvPr/>
        </p:nvSpPr>
        <p:spPr bwMode="auto">
          <a:xfrm>
            <a:off x="230523" y="2321623"/>
            <a:ext cx="2438400" cy="33850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Nhà</a:t>
            </a:r>
            <a:r>
              <a:rPr lang="en-US" sz="1600" b="1" i="1" dirty="0">
                <a:solidFill>
                  <a:schemeClr val="bg1"/>
                </a:solidFill>
                <a:latin typeface="Times New Roman" pitchFamily="18" charset="0"/>
              </a:rPr>
              <a:t> </a:t>
            </a:r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máy</a:t>
            </a:r>
            <a:r>
              <a:rPr lang="en-US" sz="1600" b="1" i="1" dirty="0">
                <a:solidFill>
                  <a:schemeClr val="bg1"/>
                </a:solidFill>
                <a:latin typeface="Times New Roman" pitchFamily="18" charset="0"/>
              </a:rPr>
              <a:t> XM </a:t>
            </a:r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Bình</a:t>
            </a:r>
            <a:r>
              <a:rPr lang="en-US" sz="1600" b="1" i="1" dirty="0">
                <a:solidFill>
                  <a:schemeClr val="bg1"/>
                </a:solidFill>
                <a:latin typeface="Times New Roman" pitchFamily="18" charset="0"/>
              </a:rPr>
              <a:t> </a:t>
            </a:r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Phước</a:t>
            </a:r>
            <a:endParaRPr lang="en-US" sz="1600" b="1" i="1" dirty="0">
              <a:solidFill>
                <a:schemeClr val="bg1"/>
              </a:solidFill>
              <a:latin typeface="Times New Roman" pitchFamily="18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DA9D8E0-85E4-481C-A046-66E612BAC190}"/>
              </a:ext>
            </a:extLst>
          </p:cNvPr>
          <p:cNvSpPr/>
          <p:nvPr/>
        </p:nvSpPr>
        <p:spPr bwMode="auto">
          <a:xfrm>
            <a:off x="230523" y="2768884"/>
            <a:ext cx="2438400" cy="33850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Nhà</a:t>
            </a:r>
            <a:r>
              <a:rPr lang="en-US" sz="1600" b="1" i="1" dirty="0">
                <a:solidFill>
                  <a:schemeClr val="bg1"/>
                </a:solidFill>
                <a:latin typeface="Times New Roman" pitchFamily="18" charset="0"/>
              </a:rPr>
              <a:t> </a:t>
            </a:r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máy</a:t>
            </a:r>
            <a:r>
              <a:rPr lang="en-US" sz="1600" b="1" i="1" dirty="0">
                <a:solidFill>
                  <a:schemeClr val="bg1"/>
                </a:solidFill>
                <a:latin typeface="Times New Roman" pitchFamily="18" charset="0"/>
              </a:rPr>
              <a:t> XM </a:t>
            </a:r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Kiên</a:t>
            </a:r>
            <a:r>
              <a:rPr lang="en-US" sz="1600" b="1" i="1" dirty="0">
                <a:solidFill>
                  <a:schemeClr val="bg1"/>
                </a:solidFill>
                <a:latin typeface="Times New Roman" pitchFamily="18" charset="0"/>
              </a:rPr>
              <a:t> </a:t>
            </a:r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Lương</a:t>
            </a:r>
            <a:endParaRPr lang="en-US" sz="1600" b="1" i="1" dirty="0">
              <a:solidFill>
                <a:schemeClr val="bg1"/>
              </a:solidFill>
              <a:latin typeface="Times New Roman" pitchFamily="18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4F90B06-5CEF-4BFE-8C40-7FEBC304360B}"/>
              </a:ext>
            </a:extLst>
          </p:cNvPr>
          <p:cNvSpPr/>
          <p:nvPr/>
        </p:nvSpPr>
        <p:spPr bwMode="auto">
          <a:xfrm>
            <a:off x="230523" y="3216145"/>
            <a:ext cx="2438400" cy="33850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Trạm</a:t>
            </a:r>
            <a:r>
              <a:rPr lang="en-US" sz="1600" b="1" i="1" dirty="0">
                <a:solidFill>
                  <a:schemeClr val="bg1"/>
                </a:solidFill>
                <a:latin typeface="Times New Roman" pitchFamily="18" charset="0"/>
              </a:rPr>
              <a:t> </a:t>
            </a:r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nghiền</a:t>
            </a:r>
            <a:r>
              <a:rPr lang="en-US" sz="1600" b="1" i="1" dirty="0">
                <a:solidFill>
                  <a:schemeClr val="bg1"/>
                </a:solidFill>
                <a:latin typeface="Times New Roman" pitchFamily="18" charset="0"/>
              </a:rPr>
              <a:t> </a:t>
            </a:r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Phú</a:t>
            </a:r>
            <a:r>
              <a:rPr lang="en-US" sz="1600" b="1" i="1" dirty="0">
                <a:solidFill>
                  <a:schemeClr val="bg1"/>
                </a:solidFill>
                <a:latin typeface="Times New Roman" pitchFamily="18" charset="0"/>
              </a:rPr>
              <a:t> </a:t>
            </a:r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Hữu</a:t>
            </a:r>
            <a:endParaRPr lang="en-US" sz="1600" b="1" i="1" dirty="0">
              <a:solidFill>
                <a:schemeClr val="bg1"/>
              </a:solidFill>
              <a:latin typeface="Times New Roman" pitchFamily="18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D086858-2407-401C-B0E0-9AE2804C1E35}"/>
              </a:ext>
            </a:extLst>
          </p:cNvPr>
          <p:cNvSpPr/>
          <p:nvPr/>
        </p:nvSpPr>
        <p:spPr bwMode="auto">
          <a:xfrm>
            <a:off x="230523" y="3653211"/>
            <a:ext cx="2438400" cy="33850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Trạm</a:t>
            </a:r>
            <a:r>
              <a:rPr lang="en-US" sz="1600" b="1" i="1" dirty="0">
                <a:solidFill>
                  <a:schemeClr val="bg1"/>
                </a:solidFill>
                <a:latin typeface="Times New Roman" pitchFamily="18" charset="0"/>
              </a:rPr>
              <a:t> </a:t>
            </a:r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nghiền</a:t>
            </a:r>
            <a:r>
              <a:rPr lang="en-US" sz="1600" b="1" i="1" dirty="0">
                <a:solidFill>
                  <a:schemeClr val="bg1"/>
                </a:solidFill>
                <a:latin typeface="Times New Roman" pitchFamily="18" charset="0"/>
              </a:rPr>
              <a:t> Long An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0EDE138-6FF5-448E-95AD-372C0B05CBD5}"/>
              </a:ext>
            </a:extLst>
          </p:cNvPr>
          <p:cNvSpPr/>
          <p:nvPr/>
        </p:nvSpPr>
        <p:spPr bwMode="auto">
          <a:xfrm>
            <a:off x="230523" y="4090277"/>
            <a:ext cx="2438400" cy="33850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Trạm</a:t>
            </a:r>
            <a:r>
              <a:rPr lang="en-US" sz="1600" b="1" i="1" dirty="0">
                <a:solidFill>
                  <a:schemeClr val="bg1"/>
                </a:solidFill>
                <a:latin typeface="Times New Roman" pitchFamily="18" charset="0"/>
              </a:rPr>
              <a:t> </a:t>
            </a:r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nghiền</a:t>
            </a:r>
            <a:r>
              <a:rPr lang="en-US" sz="1600" b="1" i="1" dirty="0">
                <a:solidFill>
                  <a:schemeClr val="bg1"/>
                </a:solidFill>
                <a:latin typeface="Times New Roman" pitchFamily="18" charset="0"/>
              </a:rPr>
              <a:t> Cam </a:t>
            </a:r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Ranh</a:t>
            </a:r>
            <a:endParaRPr lang="en-US" sz="1600" b="1" i="1" dirty="0">
              <a:solidFill>
                <a:schemeClr val="bg1"/>
              </a:solidFill>
              <a:latin typeface="Times New Roman" pitchFamily="18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88BB27D-1525-4A8B-9055-97B6EC246F8C}"/>
              </a:ext>
            </a:extLst>
          </p:cNvPr>
          <p:cNvSpPr/>
          <p:nvPr/>
        </p:nvSpPr>
        <p:spPr bwMode="auto">
          <a:xfrm>
            <a:off x="230523" y="4527343"/>
            <a:ext cx="2438400" cy="33850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r>
              <a:rPr lang="en-US" sz="1600" b="1" i="1" dirty="0">
                <a:solidFill>
                  <a:schemeClr val="bg1"/>
                </a:solidFill>
                <a:latin typeface="Times New Roman" pitchFamily="18" charset="0"/>
              </a:rPr>
              <a:t>So </a:t>
            </a:r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sánh</a:t>
            </a:r>
            <a:r>
              <a:rPr lang="en-US" sz="1600" b="1" i="1" dirty="0">
                <a:solidFill>
                  <a:schemeClr val="bg1"/>
                </a:solidFill>
                <a:latin typeface="Times New Roman" pitchFamily="18" charset="0"/>
              </a:rPr>
              <a:t> </a:t>
            </a:r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cùng</a:t>
            </a:r>
            <a:r>
              <a:rPr lang="en-US" sz="1600" b="1" i="1" dirty="0">
                <a:solidFill>
                  <a:schemeClr val="bg1"/>
                </a:solidFill>
                <a:latin typeface="Times New Roman" pitchFamily="18" charset="0"/>
              </a:rPr>
              <a:t> </a:t>
            </a:r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kỳ</a:t>
            </a:r>
            <a:endParaRPr lang="en-US" sz="1600" b="1" i="1" dirty="0">
              <a:solidFill>
                <a:schemeClr val="bg1"/>
              </a:solidFill>
              <a:latin typeface="Times New Roman" pitchFamily="18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9FDF17D-0913-4A49-956E-E2D2F0DFE7D7}"/>
              </a:ext>
            </a:extLst>
          </p:cNvPr>
          <p:cNvSpPr/>
          <p:nvPr/>
        </p:nvSpPr>
        <p:spPr bwMode="auto">
          <a:xfrm>
            <a:off x="230523" y="4957017"/>
            <a:ext cx="2438400" cy="33850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Xuất</a:t>
            </a:r>
            <a:r>
              <a:rPr lang="en-US" sz="1600" b="1" i="1" dirty="0">
                <a:solidFill>
                  <a:schemeClr val="bg1"/>
                </a:solidFill>
                <a:latin typeface="Times New Roman" pitchFamily="18" charset="0"/>
              </a:rPr>
              <a:t> </a:t>
            </a:r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báo</a:t>
            </a:r>
            <a:r>
              <a:rPr lang="en-US" sz="1600" b="1" i="1" dirty="0">
                <a:solidFill>
                  <a:schemeClr val="bg1"/>
                </a:solidFill>
                <a:latin typeface="Times New Roman" pitchFamily="18" charset="0"/>
              </a:rPr>
              <a:t> </a:t>
            </a:r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cáo</a:t>
            </a:r>
            <a:r>
              <a:rPr lang="en-US" sz="1600" b="1" i="1" dirty="0">
                <a:solidFill>
                  <a:schemeClr val="bg1"/>
                </a:solidFill>
                <a:latin typeface="Times New Roman" pitchFamily="18" charset="0"/>
              </a:rPr>
              <a:t> </a:t>
            </a:r>
          </a:p>
        </p:txBody>
      </p:sp>
      <p:sp>
        <p:nvSpPr>
          <p:cNvPr id="31" name="Flowchart: Terminator 30">
            <a:extLst>
              <a:ext uri="{FF2B5EF4-FFF2-40B4-BE49-F238E27FC236}">
                <a16:creationId xmlns:a16="http://schemas.microsoft.com/office/drawing/2014/main" id="{E61AE1DE-F0B5-4FB0-AD0C-C2993A99974B}"/>
              </a:ext>
            </a:extLst>
          </p:cNvPr>
          <p:cNvSpPr/>
          <p:nvPr/>
        </p:nvSpPr>
        <p:spPr bwMode="auto">
          <a:xfrm>
            <a:off x="234436" y="1196752"/>
            <a:ext cx="2984419" cy="476003"/>
          </a:xfrm>
          <a:prstGeom prst="flowChartTerminator">
            <a:avLst/>
          </a:prstGeom>
          <a:solidFill>
            <a:srgbClr val="0070C0"/>
          </a:solidFill>
          <a:ln w="698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r>
              <a:rPr lang="en-US" sz="1600" b="1" dirty="0">
                <a:solidFill>
                  <a:schemeClr val="bg1"/>
                </a:solidFill>
                <a:latin typeface="Times New Roman" pitchFamily="18" charset="0"/>
              </a:rPr>
              <a:t>Văn </a:t>
            </a:r>
            <a:r>
              <a:rPr lang="en-US" sz="1600" b="1" dirty="0" err="1">
                <a:solidFill>
                  <a:schemeClr val="bg1"/>
                </a:solidFill>
                <a:latin typeface="Times New Roman" pitchFamily="18" charset="0"/>
              </a:rPr>
              <a:t>phòng</a:t>
            </a:r>
            <a:r>
              <a:rPr lang="en-US" sz="1600" b="1" dirty="0">
                <a:solidFill>
                  <a:schemeClr val="bg1"/>
                </a:solidFill>
                <a:latin typeface="Times New Roman" pitchFamily="18" charset="0"/>
              </a:rPr>
              <a:t> </a:t>
            </a:r>
            <a:r>
              <a:rPr lang="en-US" sz="1600" b="1" dirty="0" err="1">
                <a:solidFill>
                  <a:schemeClr val="bg1"/>
                </a:solidFill>
                <a:latin typeface="Times New Roman" pitchFamily="18" charset="0"/>
              </a:rPr>
              <a:t>chính</a:t>
            </a:r>
            <a:r>
              <a:rPr lang="en-US" sz="1600" b="1" dirty="0">
                <a:solidFill>
                  <a:schemeClr val="bg1"/>
                </a:solidFill>
                <a:latin typeface="Times New Roman" pitchFamily="18" charset="0"/>
              </a:rPr>
              <a:t> </a:t>
            </a:r>
            <a:r>
              <a:rPr lang="en-US" sz="1600" b="1" dirty="0" err="1">
                <a:solidFill>
                  <a:schemeClr val="bg1"/>
                </a:solidFill>
                <a:latin typeface="Times New Roman" pitchFamily="18" charset="0"/>
              </a:rPr>
              <a:t>Hà</a:t>
            </a:r>
            <a:r>
              <a:rPr lang="en-US" sz="1600" b="1" dirty="0">
                <a:solidFill>
                  <a:schemeClr val="bg1"/>
                </a:solidFill>
                <a:latin typeface="Times New Roman" pitchFamily="18" charset="0"/>
              </a:rPr>
              <a:t> </a:t>
            </a:r>
            <a:r>
              <a:rPr lang="en-US" sz="1600" b="1" dirty="0" err="1">
                <a:solidFill>
                  <a:schemeClr val="bg1"/>
                </a:solidFill>
                <a:latin typeface="Times New Roman" pitchFamily="18" charset="0"/>
              </a:rPr>
              <a:t>Tiên</a:t>
            </a:r>
            <a:r>
              <a:rPr lang="en-US" sz="1600" b="1" dirty="0">
                <a:solidFill>
                  <a:schemeClr val="bg1"/>
                </a:solidFill>
                <a:latin typeface="Times New Roman" pitchFamily="18" charset="0"/>
              </a:rPr>
              <a:t> 1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1A09996-1836-4EA8-AA9E-89E50D83FC46}"/>
              </a:ext>
            </a:extLst>
          </p:cNvPr>
          <p:cNvSpPr/>
          <p:nvPr/>
        </p:nvSpPr>
        <p:spPr bwMode="auto">
          <a:xfrm>
            <a:off x="5888087" y="4090277"/>
            <a:ext cx="2438400" cy="33850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r>
              <a:rPr lang="en-US" sz="1600" b="1" i="1" dirty="0">
                <a:solidFill>
                  <a:schemeClr val="bg1"/>
                </a:solidFill>
                <a:latin typeface="Times New Roman" pitchFamily="18" charset="0"/>
              </a:rPr>
              <a:t>…</a:t>
            </a:r>
          </a:p>
        </p:txBody>
      </p:sp>
      <p:sp>
        <p:nvSpPr>
          <p:cNvPr id="34" name="Flowchart: Terminator 33">
            <a:extLst>
              <a:ext uri="{FF2B5EF4-FFF2-40B4-BE49-F238E27FC236}">
                <a16:creationId xmlns:a16="http://schemas.microsoft.com/office/drawing/2014/main" id="{E61AE1DE-F0B5-4FB0-AD0C-C2993A99974B}"/>
              </a:ext>
            </a:extLst>
          </p:cNvPr>
          <p:cNvSpPr/>
          <p:nvPr/>
        </p:nvSpPr>
        <p:spPr bwMode="auto">
          <a:xfrm>
            <a:off x="9411543" y="1222973"/>
            <a:ext cx="1440160" cy="476003"/>
          </a:xfrm>
          <a:prstGeom prst="flowChartTerminator">
            <a:avLst/>
          </a:prstGeom>
          <a:solidFill>
            <a:srgbClr val="0070C0"/>
          </a:solidFill>
          <a:ln w="698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r>
              <a:rPr lang="en-US" sz="1600" b="1" dirty="0">
                <a:solidFill>
                  <a:schemeClr val="bg1"/>
                </a:solidFill>
                <a:latin typeface="Times New Roman" pitchFamily="18" charset="0"/>
              </a:rPr>
              <a:t>…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AD55483-E07C-4310-AC42-76A9738B4B51}"/>
              </a:ext>
            </a:extLst>
          </p:cNvPr>
          <p:cNvSpPr/>
          <p:nvPr/>
        </p:nvSpPr>
        <p:spPr bwMode="auto">
          <a:xfrm>
            <a:off x="8727467" y="1874362"/>
            <a:ext cx="2438400" cy="33850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r>
              <a:rPr lang="en-US" sz="1600" b="1" i="1" dirty="0">
                <a:solidFill>
                  <a:schemeClr val="bg1"/>
                </a:solidFill>
                <a:latin typeface="Times New Roman" pitchFamily="18" charset="0"/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165331739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CAB53-5F05-4488-89EB-F4F85713748E}"/>
              </a:ext>
            </a:extLst>
          </p:cNvPr>
          <p:cNvSpPr txBox="1">
            <a:spLocks/>
          </p:cNvSpPr>
          <p:nvPr/>
        </p:nvSpPr>
        <p:spPr>
          <a:xfrm>
            <a:off x="2336757" y="0"/>
            <a:ext cx="7524836" cy="108874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vi-VN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ạo các thành phầ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7100844-6A10-4294-A939-955240DB38B2}"/>
              </a:ext>
            </a:extLst>
          </p:cNvPr>
          <p:cNvSpPr txBox="1">
            <a:spLocks/>
          </p:cNvSpPr>
          <p:nvPr/>
        </p:nvSpPr>
        <p:spPr>
          <a:xfrm>
            <a:off x="374344" y="1845649"/>
            <a:ext cx="3198734" cy="1370886"/>
          </a:xfrm>
          <a:prstGeom prst="rect">
            <a:avLst/>
          </a:prstGeom>
          <a:gradFill rotWithShape="1">
            <a:gsLst>
              <a:gs pos="0">
                <a:srgbClr val="333399">
                  <a:shade val="51000"/>
                  <a:satMod val="130000"/>
                </a:srgbClr>
              </a:gs>
              <a:gs pos="80000">
                <a:srgbClr val="333399">
                  <a:shade val="93000"/>
                  <a:satMod val="130000"/>
                </a:srgbClr>
              </a:gs>
              <a:gs pos="100000">
                <a:srgbClr val="333399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ây dựng các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đối tượng thông ti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53FB072-F238-4485-A298-8F82C3BE100C}"/>
              </a:ext>
            </a:extLst>
          </p:cNvPr>
          <p:cNvSpPr txBox="1">
            <a:spLocks/>
          </p:cNvSpPr>
          <p:nvPr/>
        </p:nvSpPr>
        <p:spPr>
          <a:xfrm>
            <a:off x="4512649" y="1845649"/>
            <a:ext cx="3198734" cy="1370886"/>
          </a:xfrm>
          <a:prstGeom prst="rect">
            <a:avLst/>
          </a:prstGeom>
          <a:gradFill rotWithShape="1">
            <a:gsLst>
              <a:gs pos="0">
                <a:srgbClr val="333399">
                  <a:shade val="51000"/>
                  <a:satMod val="130000"/>
                </a:srgbClr>
              </a:gs>
              <a:gs pos="80000">
                <a:srgbClr val="333399">
                  <a:shade val="93000"/>
                  <a:satMod val="130000"/>
                </a:srgbClr>
              </a:gs>
              <a:gs pos="100000">
                <a:srgbClr val="333399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none" rtlCol="0" anchor="ctr">
            <a:noAutofit/>
          </a:bodyPr>
          <a:lstStyle>
            <a:defPPr>
              <a:defRPr lang="de-DE"/>
            </a:defPPr>
            <a:lvl1pPr algn="ctr">
              <a:spcBef>
                <a:spcPts val="0"/>
              </a:spcBef>
              <a:defRPr sz="2400"/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ạo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ác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ành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hần</a:t>
            </a:r>
            <a:endParaRPr kumimoji="0" lang="en-US" sz="2399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3EDBFED-9568-4AC9-8716-990BB8F9CB41}"/>
              </a:ext>
            </a:extLst>
          </p:cNvPr>
          <p:cNvSpPr txBox="1">
            <a:spLocks/>
          </p:cNvSpPr>
          <p:nvPr/>
        </p:nvSpPr>
        <p:spPr>
          <a:xfrm>
            <a:off x="8650953" y="1845649"/>
            <a:ext cx="3198734" cy="1370886"/>
          </a:xfrm>
          <a:prstGeom prst="rect">
            <a:avLst/>
          </a:prstGeom>
          <a:solidFill>
            <a:srgbClr val="FFFFFF">
              <a:lumMod val="75000"/>
            </a:srgbClr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ây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ựng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ây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iải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háp</a:t>
            </a:r>
            <a:endParaRPr kumimoji="0" lang="en-US" sz="2399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0F8D47D-B863-4BDC-A505-DA37FE5A006E}"/>
              </a:ext>
            </a:extLst>
          </p:cNvPr>
          <p:cNvSpPr txBox="1">
            <a:spLocks/>
          </p:cNvSpPr>
          <p:nvPr/>
        </p:nvSpPr>
        <p:spPr>
          <a:xfrm>
            <a:off x="8650953" y="4184690"/>
            <a:ext cx="3198734" cy="1370886"/>
          </a:xfrm>
          <a:prstGeom prst="rect">
            <a:avLst/>
          </a:prstGeom>
          <a:solidFill>
            <a:srgbClr val="FFFFFF">
              <a:lumMod val="75000"/>
            </a:srgbClr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ấu hình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ác thành phầ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31CBB13-68EF-4F40-9C05-1C6BD9A4BEBD}"/>
              </a:ext>
            </a:extLst>
          </p:cNvPr>
          <p:cNvSpPr txBox="1">
            <a:spLocks/>
          </p:cNvSpPr>
          <p:nvPr/>
        </p:nvSpPr>
        <p:spPr>
          <a:xfrm>
            <a:off x="4512649" y="4184690"/>
            <a:ext cx="3198734" cy="1370886"/>
          </a:xfrm>
          <a:prstGeom prst="rect">
            <a:avLst/>
          </a:prstGeom>
          <a:solidFill>
            <a:srgbClr val="FFFFFF">
              <a:lumMod val="75000"/>
            </a:srgbClr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ây dựng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ác biểu mẫu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3ED788B-B72B-482A-892F-273507C06E61}"/>
              </a:ext>
            </a:extLst>
          </p:cNvPr>
          <p:cNvSpPr txBox="1">
            <a:spLocks/>
          </p:cNvSpPr>
          <p:nvPr/>
        </p:nvSpPr>
        <p:spPr>
          <a:xfrm>
            <a:off x="374344" y="4184690"/>
            <a:ext cx="3198734" cy="1370886"/>
          </a:xfrm>
          <a:prstGeom prst="rect">
            <a:avLst/>
          </a:prstGeom>
          <a:solidFill>
            <a:srgbClr val="FFFFFF">
              <a:lumMod val="75000"/>
            </a:srgbClr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uy cập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 trình duyệt</a:t>
            </a:r>
          </a:p>
        </p:txBody>
      </p:sp>
      <p:sp>
        <p:nvSpPr>
          <p:cNvPr id="9" name="Right Arrow 11">
            <a:extLst>
              <a:ext uri="{FF2B5EF4-FFF2-40B4-BE49-F238E27FC236}">
                <a16:creationId xmlns:a16="http://schemas.microsoft.com/office/drawing/2014/main" id="{125559BB-9D19-49F8-9033-F7A677DA37E9}"/>
              </a:ext>
            </a:extLst>
          </p:cNvPr>
          <p:cNvSpPr/>
          <p:nvPr/>
        </p:nvSpPr>
        <p:spPr bwMode="auto">
          <a:xfrm>
            <a:off x="3720973" y="2225686"/>
            <a:ext cx="683720" cy="610813"/>
          </a:xfrm>
          <a:prstGeom prst="rightArrow">
            <a:avLst/>
          </a:prstGeom>
          <a:solidFill>
            <a:srgbClr val="FFFFFF">
              <a:lumMod val="7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3943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99" b="1" i="1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</a:endParaRPr>
          </a:p>
        </p:txBody>
      </p:sp>
      <p:sp>
        <p:nvSpPr>
          <p:cNvPr id="10" name="Right Arrow 12">
            <a:extLst>
              <a:ext uri="{FF2B5EF4-FFF2-40B4-BE49-F238E27FC236}">
                <a16:creationId xmlns:a16="http://schemas.microsoft.com/office/drawing/2014/main" id="{17576638-D17C-4BC4-B811-1F9ABAB9615D}"/>
              </a:ext>
            </a:extLst>
          </p:cNvPr>
          <p:cNvSpPr/>
          <p:nvPr/>
        </p:nvSpPr>
        <p:spPr bwMode="auto">
          <a:xfrm>
            <a:off x="7839308" y="2225686"/>
            <a:ext cx="683720" cy="610813"/>
          </a:xfrm>
          <a:prstGeom prst="rightArrow">
            <a:avLst/>
          </a:prstGeom>
          <a:solidFill>
            <a:srgbClr val="FFFFFF">
              <a:lumMod val="7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3943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99" b="1" i="1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</a:endParaRPr>
          </a:p>
        </p:txBody>
      </p:sp>
      <p:sp>
        <p:nvSpPr>
          <p:cNvPr id="11" name="Right Arrow 13">
            <a:extLst>
              <a:ext uri="{FF2B5EF4-FFF2-40B4-BE49-F238E27FC236}">
                <a16:creationId xmlns:a16="http://schemas.microsoft.com/office/drawing/2014/main" id="{9CE56F0B-D79E-423E-8F07-079EDC03E1B4}"/>
              </a:ext>
            </a:extLst>
          </p:cNvPr>
          <p:cNvSpPr/>
          <p:nvPr/>
        </p:nvSpPr>
        <p:spPr bwMode="auto">
          <a:xfrm rot="10800000">
            <a:off x="7839308" y="4564729"/>
            <a:ext cx="683720" cy="610813"/>
          </a:xfrm>
          <a:prstGeom prst="rightArrow">
            <a:avLst/>
          </a:prstGeom>
          <a:solidFill>
            <a:srgbClr val="FFFFFF">
              <a:lumMod val="7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3943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99" b="1" i="1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</a:endParaRPr>
          </a:p>
        </p:txBody>
      </p:sp>
      <p:sp>
        <p:nvSpPr>
          <p:cNvPr id="12" name="Right Arrow 14">
            <a:extLst>
              <a:ext uri="{FF2B5EF4-FFF2-40B4-BE49-F238E27FC236}">
                <a16:creationId xmlns:a16="http://schemas.microsoft.com/office/drawing/2014/main" id="{BB0DD554-297B-4395-A90D-1B06D0324517}"/>
              </a:ext>
            </a:extLst>
          </p:cNvPr>
          <p:cNvSpPr/>
          <p:nvPr/>
        </p:nvSpPr>
        <p:spPr bwMode="auto">
          <a:xfrm rot="10800000">
            <a:off x="3701003" y="4564728"/>
            <a:ext cx="683720" cy="610813"/>
          </a:xfrm>
          <a:prstGeom prst="rightArrow">
            <a:avLst/>
          </a:prstGeom>
          <a:solidFill>
            <a:srgbClr val="FFFFFF">
              <a:lumMod val="7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3943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99" b="1" i="1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</a:endParaRPr>
          </a:p>
        </p:txBody>
      </p:sp>
      <p:sp>
        <p:nvSpPr>
          <p:cNvPr id="13" name="Right Arrow 15">
            <a:extLst>
              <a:ext uri="{FF2B5EF4-FFF2-40B4-BE49-F238E27FC236}">
                <a16:creationId xmlns:a16="http://schemas.microsoft.com/office/drawing/2014/main" id="{D088B9C9-EAEB-44CF-8C21-45C6E4D45D83}"/>
              </a:ext>
            </a:extLst>
          </p:cNvPr>
          <p:cNvSpPr/>
          <p:nvPr/>
        </p:nvSpPr>
        <p:spPr bwMode="auto">
          <a:xfrm rot="5400000">
            <a:off x="9908460" y="3395067"/>
            <a:ext cx="683720" cy="610813"/>
          </a:xfrm>
          <a:prstGeom prst="rightArrow">
            <a:avLst/>
          </a:prstGeom>
          <a:solidFill>
            <a:srgbClr val="FFFFFF">
              <a:lumMod val="7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3943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99" b="1" i="1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9252339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CAB53-5F05-4488-89EB-F4F85713748E}"/>
              </a:ext>
            </a:extLst>
          </p:cNvPr>
          <p:cNvSpPr txBox="1">
            <a:spLocks/>
          </p:cNvSpPr>
          <p:nvPr/>
        </p:nvSpPr>
        <p:spPr>
          <a:xfrm>
            <a:off x="2336757" y="0"/>
            <a:ext cx="7524836" cy="108874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vi-VN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ạo các thành phần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99BFB63-9F3B-429F-968A-44AA053888B9}"/>
              </a:ext>
            </a:extLst>
          </p:cNvPr>
          <p:cNvSpPr/>
          <p:nvPr/>
        </p:nvSpPr>
        <p:spPr>
          <a:xfrm>
            <a:off x="4999632" y="2048273"/>
            <a:ext cx="2878821" cy="1881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000" b="1" dirty="0" err="1">
                <a:solidFill>
                  <a:srgbClr val="002060"/>
                </a:solidFill>
                <a:latin typeface="Arial"/>
                <a:ea typeface="+mn-ea"/>
              </a:rPr>
              <a:t>S_Overview</a:t>
            </a:r>
            <a:endParaRPr lang="en-US" sz="2000" b="1" dirty="0">
              <a:solidFill>
                <a:srgbClr val="002060"/>
              </a:solidFill>
              <a:latin typeface="Arial"/>
              <a:ea typeface="+mn-ea"/>
            </a:endParaRPr>
          </a:p>
          <a:p>
            <a:pPr lvl="1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000" b="1" dirty="0" err="1">
                <a:solidFill>
                  <a:srgbClr val="002060"/>
                </a:solidFill>
                <a:latin typeface="Arial"/>
                <a:ea typeface="+mn-ea"/>
              </a:rPr>
              <a:t>S_Finance</a:t>
            </a:r>
            <a:endParaRPr lang="en-US" sz="2000" b="1" dirty="0">
              <a:solidFill>
                <a:srgbClr val="002060"/>
              </a:solidFill>
              <a:latin typeface="Arial"/>
              <a:ea typeface="+mn-ea"/>
            </a:endParaRPr>
          </a:p>
          <a:p>
            <a:pPr lvl="1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000" b="1" dirty="0" err="1">
                <a:solidFill>
                  <a:srgbClr val="002060"/>
                </a:solidFill>
                <a:latin typeface="Arial"/>
                <a:ea typeface="+mn-ea"/>
              </a:rPr>
              <a:t>S_Production</a:t>
            </a:r>
            <a:r>
              <a:rPr lang="en-US" sz="2000" b="1" dirty="0">
                <a:solidFill>
                  <a:srgbClr val="002060"/>
                </a:solidFill>
                <a:latin typeface="Arial"/>
                <a:ea typeface="+mn-ea"/>
              </a:rPr>
              <a:t> </a:t>
            </a:r>
            <a:r>
              <a:rPr lang="en-US" sz="2000" b="1" dirty="0" err="1">
                <a:solidFill>
                  <a:srgbClr val="002060"/>
                </a:solidFill>
                <a:latin typeface="Arial"/>
                <a:ea typeface="+mn-ea"/>
              </a:rPr>
              <a:t>S_Maintenace</a:t>
            </a:r>
            <a:endParaRPr lang="en-US" sz="2000" b="1" dirty="0">
              <a:solidFill>
                <a:srgbClr val="002060"/>
              </a:solidFill>
              <a:latin typeface="Arial"/>
              <a:ea typeface="+mn-ea"/>
            </a:endParaRPr>
          </a:p>
        </p:txBody>
      </p:sp>
      <p:sp>
        <p:nvSpPr>
          <p:cNvPr id="22" name="Right Arrow 5">
            <a:extLst>
              <a:ext uri="{FF2B5EF4-FFF2-40B4-BE49-F238E27FC236}">
                <a16:creationId xmlns:a16="http://schemas.microsoft.com/office/drawing/2014/main" id="{DD636D31-4D5E-44FA-87A5-8ED437D71728}"/>
              </a:ext>
            </a:extLst>
          </p:cNvPr>
          <p:cNvSpPr/>
          <p:nvPr/>
        </p:nvSpPr>
        <p:spPr bwMode="auto">
          <a:xfrm>
            <a:off x="4722496" y="2056880"/>
            <a:ext cx="493048" cy="610813"/>
          </a:xfrm>
          <a:prstGeom prst="rightArrow">
            <a:avLst/>
          </a:prstGeom>
          <a:solidFill>
            <a:srgbClr val="FFFFFF">
              <a:lumMod val="7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3943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99" b="1" i="1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</a:endParaRPr>
          </a:p>
        </p:txBody>
      </p:sp>
      <p:sp>
        <p:nvSpPr>
          <p:cNvPr id="23" name="Right Arrow 17">
            <a:extLst>
              <a:ext uri="{FF2B5EF4-FFF2-40B4-BE49-F238E27FC236}">
                <a16:creationId xmlns:a16="http://schemas.microsoft.com/office/drawing/2014/main" id="{C3D9ED6C-69C1-4B32-93F0-7EF28AC00C37}"/>
              </a:ext>
            </a:extLst>
          </p:cNvPr>
          <p:cNvSpPr/>
          <p:nvPr/>
        </p:nvSpPr>
        <p:spPr bwMode="auto">
          <a:xfrm>
            <a:off x="4722496" y="2489277"/>
            <a:ext cx="493048" cy="610813"/>
          </a:xfrm>
          <a:prstGeom prst="rightArrow">
            <a:avLst/>
          </a:prstGeom>
          <a:solidFill>
            <a:srgbClr val="FFFFFF">
              <a:lumMod val="7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3943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99" b="1" i="1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</a:endParaRPr>
          </a:p>
        </p:txBody>
      </p:sp>
      <p:sp>
        <p:nvSpPr>
          <p:cNvPr id="24" name="Right Arrow 18">
            <a:extLst>
              <a:ext uri="{FF2B5EF4-FFF2-40B4-BE49-F238E27FC236}">
                <a16:creationId xmlns:a16="http://schemas.microsoft.com/office/drawing/2014/main" id="{773CE61E-7F99-4AE2-B574-77B0B1B92A59}"/>
              </a:ext>
            </a:extLst>
          </p:cNvPr>
          <p:cNvSpPr/>
          <p:nvPr/>
        </p:nvSpPr>
        <p:spPr bwMode="auto">
          <a:xfrm>
            <a:off x="4722496" y="2993333"/>
            <a:ext cx="493048" cy="610813"/>
          </a:xfrm>
          <a:prstGeom prst="rightArrow">
            <a:avLst/>
          </a:prstGeom>
          <a:solidFill>
            <a:srgbClr val="FFFFFF">
              <a:lumMod val="7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3943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99" b="1" i="1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</a:endParaRPr>
          </a:p>
        </p:txBody>
      </p:sp>
      <p:sp>
        <p:nvSpPr>
          <p:cNvPr id="25" name="Right Arrow 19">
            <a:extLst>
              <a:ext uri="{FF2B5EF4-FFF2-40B4-BE49-F238E27FC236}">
                <a16:creationId xmlns:a16="http://schemas.microsoft.com/office/drawing/2014/main" id="{48140166-FD36-4537-828F-4531860571EF}"/>
              </a:ext>
            </a:extLst>
          </p:cNvPr>
          <p:cNvSpPr/>
          <p:nvPr/>
        </p:nvSpPr>
        <p:spPr bwMode="auto">
          <a:xfrm>
            <a:off x="4722496" y="3389377"/>
            <a:ext cx="493048" cy="610813"/>
          </a:xfrm>
          <a:prstGeom prst="rightArrow">
            <a:avLst/>
          </a:prstGeom>
          <a:solidFill>
            <a:srgbClr val="FFFFFF">
              <a:lumMod val="7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3943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99" b="1" i="1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431A838-1E87-4065-9547-E91EB30E5AA8}"/>
              </a:ext>
            </a:extLst>
          </p:cNvPr>
          <p:cNvSpPr/>
          <p:nvPr/>
        </p:nvSpPr>
        <p:spPr bwMode="auto">
          <a:xfrm>
            <a:off x="2155316" y="2162545"/>
            <a:ext cx="2438400" cy="33850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Tổng</a:t>
            </a:r>
            <a:r>
              <a:rPr lang="en-US" sz="1600" b="1" i="1" dirty="0">
                <a:solidFill>
                  <a:schemeClr val="bg1"/>
                </a:solidFill>
                <a:latin typeface="Times New Roman" pitchFamily="18" charset="0"/>
              </a:rPr>
              <a:t> </a:t>
            </a:r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quan</a:t>
            </a:r>
            <a:endParaRPr lang="en-US" sz="1600" b="1" i="1" dirty="0">
              <a:solidFill>
                <a:schemeClr val="bg1"/>
              </a:solidFill>
              <a:latin typeface="Times New Roman" pitchFamily="18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35F83ED-3EE5-4A69-82F6-4359B5D93673}"/>
              </a:ext>
            </a:extLst>
          </p:cNvPr>
          <p:cNvSpPr/>
          <p:nvPr/>
        </p:nvSpPr>
        <p:spPr bwMode="auto">
          <a:xfrm>
            <a:off x="2155316" y="2609806"/>
            <a:ext cx="2438400" cy="33850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Tài</a:t>
            </a:r>
            <a:r>
              <a:rPr lang="en-US" sz="1600" b="1" i="1" dirty="0">
                <a:solidFill>
                  <a:schemeClr val="bg1"/>
                </a:solidFill>
                <a:latin typeface="Times New Roman" pitchFamily="18" charset="0"/>
              </a:rPr>
              <a:t> </a:t>
            </a:r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chính</a:t>
            </a:r>
            <a:endParaRPr lang="en-US" sz="1600" b="1" i="1" dirty="0">
              <a:solidFill>
                <a:schemeClr val="bg1"/>
              </a:solidFill>
              <a:latin typeface="Times New Roman" pitchFamily="18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B8A120C-942D-47D6-AC96-136B57E10BC0}"/>
              </a:ext>
            </a:extLst>
          </p:cNvPr>
          <p:cNvSpPr/>
          <p:nvPr/>
        </p:nvSpPr>
        <p:spPr bwMode="auto">
          <a:xfrm>
            <a:off x="2188446" y="3057067"/>
            <a:ext cx="2438400" cy="33850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Sản</a:t>
            </a:r>
            <a:r>
              <a:rPr lang="en-US" sz="1600" b="1" i="1" dirty="0">
                <a:solidFill>
                  <a:schemeClr val="bg1"/>
                </a:solidFill>
                <a:latin typeface="Times New Roman" pitchFamily="18" charset="0"/>
              </a:rPr>
              <a:t> </a:t>
            </a:r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xuất</a:t>
            </a:r>
            <a:endParaRPr lang="en-US" sz="1600" b="1" i="1" dirty="0">
              <a:solidFill>
                <a:schemeClr val="bg1"/>
              </a:solidFill>
              <a:latin typeface="Times New Roman" pitchFamily="18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D81427B-3EFF-4FB3-9C4A-CB000E9FBED3}"/>
              </a:ext>
            </a:extLst>
          </p:cNvPr>
          <p:cNvSpPr/>
          <p:nvPr/>
        </p:nvSpPr>
        <p:spPr bwMode="auto">
          <a:xfrm>
            <a:off x="2188446" y="3504328"/>
            <a:ext cx="2438400" cy="33850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Bảo</a:t>
            </a:r>
            <a:r>
              <a:rPr lang="en-US" sz="1600" b="1" i="1" dirty="0">
                <a:solidFill>
                  <a:schemeClr val="bg1"/>
                </a:solidFill>
                <a:latin typeface="Times New Roman" pitchFamily="18" charset="0"/>
              </a:rPr>
              <a:t> </a:t>
            </a:r>
            <a:r>
              <a:rPr lang="en-US" sz="1600" b="1" i="1" dirty="0" err="1">
                <a:solidFill>
                  <a:schemeClr val="bg1"/>
                </a:solidFill>
                <a:latin typeface="Times New Roman" pitchFamily="18" charset="0"/>
              </a:rPr>
              <a:t>trì</a:t>
            </a:r>
            <a:endParaRPr lang="en-US" sz="1600" b="1" i="1" dirty="0">
              <a:solidFill>
                <a:schemeClr val="bg1"/>
              </a:solidFill>
              <a:latin typeface="Times New Roman" pitchFamily="18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F1C1A82-B439-469B-A00B-ED2022F1C2ED}"/>
              </a:ext>
            </a:extLst>
          </p:cNvPr>
          <p:cNvSpPr/>
          <p:nvPr/>
        </p:nvSpPr>
        <p:spPr>
          <a:xfrm>
            <a:off x="7504080" y="2038766"/>
            <a:ext cx="2878821" cy="32669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000" b="1" dirty="0" err="1">
                <a:solidFill>
                  <a:srgbClr val="002060"/>
                </a:solidFill>
                <a:latin typeface="Arial"/>
                <a:ea typeface="+mn-ea"/>
              </a:rPr>
              <a:t>C_Overview</a:t>
            </a:r>
            <a:endParaRPr lang="en-US" sz="2000" b="1" dirty="0">
              <a:solidFill>
                <a:srgbClr val="002060"/>
              </a:solidFill>
              <a:latin typeface="Arial"/>
              <a:ea typeface="+mn-ea"/>
            </a:endParaRPr>
          </a:p>
          <a:p>
            <a:pPr lvl="1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000" b="1" dirty="0" err="1">
                <a:solidFill>
                  <a:srgbClr val="002060"/>
                </a:solidFill>
                <a:latin typeface="Arial"/>
                <a:ea typeface="+mn-ea"/>
              </a:rPr>
              <a:t>C_Finance</a:t>
            </a:r>
            <a:endParaRPr lang="en-US" sz="2000" b="1" dirty="0">
              <a:solidFill>
                <a:srgbClr val="002060"/>
              </a:solidFill>
              <a:latin typeface="Arial"/>
              <a:ea typeface="+mn-ea"/>
            </a:endParaRPr>
          </a:p>
          <a:p>
            <a:pPr lvl="1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000" b="1" dirty="0" err="1">
                <a:solidFill>
                  <a:srgbClr val="002060"/>
                </a:solidFill>
                <a:latin typeface="Arial"/>
                <a:ea typeface="+mn-ea"/>
              </a:rPr>
              <a:t>C_Production</a:t>
            </a:r>
            <a:r>
              <a:rPr lang="en-US" sz="2000" b="1" dirty="0">
                <a:solidFill>
                  <a:srgbClr val="002060"/>
                </a:solidFill>
                <a:latin typeface="Arial"/>
                <a:ea typeface="+mn-ea"/>
              </a:rPr>
              <a:t> </a:t>
            </a:r>
            <a:r>
              <a:rPr lang="en-US" sz="2000" b="1" dirty="0" err="1">
                <a:solidFill>
                  <a:srgbClr val="002060"/>
                </a:solidFill>
                <a:latin typeface="Arial"/>
                <a:ea typeface="+mn-ea"/>
              </a:rPr>
              <a:t>C_Maintenace</a:t>
            </a:r>
            <a:endParaRPr lang="en-US" sz="2000" b="1" dirty="0">
              <a:solidFill>
                <a:srgbClr val="002060"/>
              </a:solidFill>
              <a:latin typeface="Arial"/>
              <a:ea typeface="+mn-ea"/>
            </a:endParaRPr>
          </a:p>
          <a:p>
            <a:pPr lvl="1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000" b="1" dirty="0" err="1">
                <a:solidFill>
                  <a:srgbClr val="002060"/>
                </a:solidFill>
                <a:latin typeface="Arial"/>
                <a:ea typeface="+mn-ea"/>
              </a:rPr>
              <a:t>C_Equipment</a:t>
            </a:r>
            <a:endParaRPr lang="en-US" sz="2000" b="1" dirty="0">
              <a:solidFill>
                <a:srgbClr val="002060"/>
              </a:solidFill>
              <a:latin typeface="Arial"/>
              <a:ea typeface="+mn-ea"/>
            </a:endParaRPr>
          </a:p>
          <a:p>
            <a:pPr lvl="1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000" b="1" dirty="0" err="1">
                <a:solidFill>
                  <a:srgbClr val="002060"/>
                </a:solidFill>
                <a:latin typeface="Arial"/>
                <a:ea typeface="+mn-ea"/>
              </a:rPr>
              <a:t>C_Elog</a:t>
            </a:r>
            <a:endParaRPr lang="en-US" sz="2000" b="1" dirty="0">
              <a:solidFill>
                <a:srgbClr val="002060"/>
              </a:solidFill>
              <a:latin typeface="Arial"/>
              <a:ea typeface="+mn-ea"/>
            </a:endParaRPr>
          </a:p>
          <a:p>
            <a:pPr lvl="1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solidFill>
                  <a:srgbClr val="002060"/>
                </a:solidFill>
                <a:latin typeface="Arial"/>
                <a:ea typeface="+mn-ea"/>
              </a:rPr>
              <a:t>…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A107D3D-4D3D-DF53-CA7A-0F3F26EEE96E}"/>
              </a:ext>
            </a:extLst>
          </p:cNvPr>
          <p:cNvSpPr/>
          <p:nvPr/>
        </p:nvSpPr>
        <p:spPr>
          <a:xfrm>
            <a:off x="5379095" y="2056880"/>
            <a:ext cx="2124985" cy="324887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90517AD-D3E6-A9CD-BC55-40D9FA3AD37B}"/>
              </a:ext>
            </a:extLst>
          </p:cNvPr>
          <p:cNvSpPr/>
          <p:nvPr/>
        </p:nvSpPr>
        <p:spPr>
          <a:xfrm>
            <a:off x="7739415" y="2056880"/>
            <a:ext cx="2124985" cy="324887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970014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CAB53-5F05-4488-89EB-F4F85713748E}"/>
              </a:ext>
            </a:extLst>
          </p:cNvPr>
          <p:cNvSpPr txBox="1">
            <a:spLocks/>
          </p:cNvSpPr>
          <p:nvPr/>
        </p:nvSpPr>
        <p:spPr>
          <a:xfrm>
            <a:off x="2336757" y="0"/>
            <a:ext cx="7524836" cy="108874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vi-VN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ây dựng cây giải pháp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C05CECD-170D-4638-AA8B-221711D614F9}"/>
              </a:ext>
            </a:extLst>
          </p:cNvPr>
          <p:cNvSpPr txBox="1">
            <a:spLocks/>
          </p:cNvSpPr>
          <p:nvPr/>
        </p:nvSpPr>
        <p:spPr>
          <a:xfrm>
            <a:off x="374344" y="1845649"/>
            <a:ext cx="3198734" cy="1370886"/>
          </a:xfrm>
          <a:prstGeom prst="rect">
            <a:avLst/>
          </a:prstGeom>
          <a:gradFill rotWithShape="1">
            <a:gsLst>
              <a:gs pos="0">
                <a:srgbClr val="333399">
                  <a:shade val="51000"/>
                  <a:satMod val="130000"/>
                </a:srgbClr>
              </a:gs>
              <a:gs pos="80000">
                <a:srgbClr val="333399">
                  <a:shade val="93000"/>
                  <a:satMod val="130000"/>
                </a:srgbClr>
              </a:gs>
              <a:gs pos="100000">
                <a:srgbClr val="333399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ây dựng các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đối tượng thông ti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CB97A60-FE5F-4FAD-8500-A8588D8536AE}"/>
              </a:ext>
            </a:extLst>
          </p:cNvPr>
          <p:cNvSpPr txBox="1">
            <a:spLocks/>
          </p:cNvSpPr>
          <p:nvPr/>
        </p:nvSpPr>
        <p:spPr>
          <a:xfrm>
            <a:off x="4512649" y="1845649"/>
            <a:ext cx="3198734" cy="1370886"/>
          </a:xfrm>
          <a:prstGeom prst="rect">
            <a:avLst/>
          </a:prstGeom>
          <a:gradFill rotWithShape="1">
            <a:gsLst>
              <a:gs pos="0">
                <a:srgbClr val="333399">
                  <a:shade val="51000"/>
                  <a:satMod val="130000"/>
                </a:srgbClr>
              </a:gs>
              <a:gs pos="80000">
                <a:srgbClr val="333399">
                  <a:shade val="93000"/>
                  <a:satMod val="130000"/>
                </a:srgbClr>
              </a:gs>
              <a:gs pos="100000">
                <a:srgbClr val="333399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none" rtlCol="0" anchor="ctr">
            <a:noAutofit/>
          </a:bodyPr>
          <a:lstStyle>
            <a:defPPr>
              <a:defRPr lang="de-DE"/>
            </a:defPPr>
            <a:lvl1pPr algn="ctr">
              <a:spcBef>
                <a:spcPts val="0"/>
              </a:spcBef>
              <a:defRPr sz="2400"/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ạo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ác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ành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hần</a:t>
            </a:r>
            <a:endParaRPr kumimoji="0" lang="en-US" sz="2399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168D191-BC2D-4182-973B-65AC4A17F7A1}"/>
              </a:ext>
            </a:extLst>
          </p:cNvPr>
          <p:cNvSpPr txBox="1">
            <a:spLocks/>
          </p:cNvSpPr>
          <p:nvPr/>
        </p:nvSpPr>
        <p:spPr>
          <a:xfrm>
            <a:off x="8650953" y="1845649"/>
            <a:ext cx="3198734" cy="1370886"/>
          </a:xfrm>
          <a:prstGeom prst="rect">
            <a:avLst/>
          </a:prstGeom>
          <a:gradFill rotWithShape="1">
            <a:gsLst>
              <a:gs pos="0">
                <a:srgbClr val="333399">
                  <a:shade val="51000"/>
                  <a:satMod val="130000"/>
                </a:srgbClr>
              </a:gs>
              <a:gs pos="80000">
                <a:srgbClr val="333399">
                  <a:shade val="93000"/>
                  <a:satMod val="130000"/>
                </a:srgbClr>
              </a:gs>
              <a:gs pos="100000">
                <a:srgbClr val="333399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none" rtlCol="0" anchor="ctr">
            <a:noAutofit/>
          </a:bodyPr>
          <a:lstStyle>
            <a:defPPr>
              <a:defRPr lang="de-DE"/>
            </a:defPPr>
            <a:lvl1pPr algn="ctr">
              <a:spcBef>
                <a:spcPts val="0"/>
              </a:spcBef>
              <a:defRPr sz="2400"/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ây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ựng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ây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iải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háp</a:t>
            </a:r>
            <a:endParaRPr kumimoji="0" lang="en-US" sz="2399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6D591C5-11C3-4CBD-89EB-CCDC89D9EE17}"/>
              </a:ext>
            </a:extLst>
          </p:cNvPr>
          <p:cNvSpPr txBox="1">
            <a:spLocks/>
          </p:cNvSpPr>
          <p:nvPr/>
        </p:nvSpPr>
        <p:spPr>
          <a:xfrm>
            <a:off x="8650953" y="4184690"/>
            <a:ext cx="3198734" cy="1370886"/>
          </a:xfrm>
          <a:prstGeom prst="rect">
            <a:avLst/>
          </a:prstGeom>
          <a:solidFill>
            <a:srgbClr val="FFFFFF">
              <a:lumMod val="75000"/>
            </a:srgbClr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ấu hình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ác thành phầ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0A3AE43-B60C-44F3-A2A7-347713E03644}"/>
              </a:ext>
            </a:extLst>
          </p:cNvPr>
          <p:cNvSpPr txBox="1">
            <a:spLocks/>
          </p:cNvSpPr>
          <p:nvPr/>
        </p:nvSpPr>
        <p:spPr>
          <a:xfrm>
            <a:off x="4512649" y="4184690"/>
            <a:ext cx="3198734" cy="1370886"/>
          </a:xfrm>
          <a:prstGeom prst="rect">
            <a:avLst/>
          </a:prstGeom>
          <a:solidFill>
            <a:srgbClr val="FFFFFF">
              <a:lumMod val="75000"/>
            </a:srgbClr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ây dựng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ác biểu mẫu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BA32BB7-43AD-409A-8A3F-9C8DA46E79E3}"/>
              </a:ext>
            </a:extLst>
          </p:cNvPr>
          <p:cNvSpPr txBox="1">
            <a:spLocks/>
          </p:cNvSpPr>
          <p:nvPr/>
        </p:nvSpPr>
        <p:spPr>
          <a:xfrm>
            <a:off x="374344" y="4184690"/>
            <a:ext cx="3198734" cy="1370886"/>
          </a:xfrm>
          <a:prstGeom prst="rect">
            <a:avLst/>
          </a:prstGeom>
          <a:solidFill>
            <a:srgbClr val="FFFFFF">
              <a:lumMod val="75000"/>
            </a:srgbClr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uy cập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 trình duyệt</a:t>
            </a:r>
          </a:p>
        </p:txBody>
      </p:sp>
      <p:sp>
        <p:nvSpPr>
          <p:cNvPr id="20" name="Right Arrow 11">
            <a:extLst>
              <a:ext uri="{FF2B5EF4-FFF2-40B4-BE49-F238E27FC236}">
                <a16:creationId xmlns:a16="http://schemas.microsoft.com/office/drawing/2014/main" id="{2F1E026F-797A-4D63-8A99-76DE1D7115CF}"/>
              </a:ext>
            </a:extLst>
          </p:cNvPr>
          <p:cNvSpPr/>
          <p:nvPr/>
        </p:nvSpPr>
        <p:spPr bwMode="auto">
          <a:xfrm>
            <a:off x="3720973" y="2225686"/>
            <a:ext cx="683720" cy="610813"/>
          </a:xfrm>
          <a:prstGeom prst="rightArrow">
            <a:avLst/>
          </a:prstGeom>
          <a:solidFill>
            <a:srgbClr val="FFFFFF">
              <a:lumMod val="7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3943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99" b="1" i="1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</a:endParaRPr>
          </a:p>
        </p:txBody>
      </p:sp>
      <p:sp>
        <p:nvSpPr>
          <p:cNvPr id="21" name="Right Arrow 12">
            <a:extLst>
              <a:ext uri="{FF2B5EF4-FFF2-40B4-BE49-F238E27FC236}">
                <a16:creationId xmlns:a16="http://schemas.microsoft.com/office/drawing/2014/main" id="{B9F08CC7-8C6A-46C7-8D7E-CC883223F767}"/>
              </a:ext>
            </a:extLst>
          </p:cNvPr>
          <p:cNvSpPr/>
          <p:nvPr/>
        </p:nvSpPr>
        <p:spPr bwMode="auto">
          <a:xfrm>
            <a:off x="7839308" y="2225686"/>
            <a:ext cx="683720" cy="610813"/>
          </a:xfrm>
          <a:prstGeom prst="rightArrow">
            <a:avLst/>
          </a:prstGeom>
          <a:solidFill>
            <a:srgbClr val="FFFFFF">
              <a:lumMod val="7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3943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99" b="1" i="1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</a:endParaRPr>
          </a:p>
        </p:txBody>
      </p:sp>
      <p:sp>
        <p:nvSpPr>
          <p:cNvPr id="22" name="Right Arrow 13">
            <a:extLst>
              <a:ext uri="{FF2B5EF4-FFF2-40B4-BE49-F238E27FC236}">
                <a16:creationId xmlns:a16="http://schemas.microsoft.com/office/drawing/2014/main" id="{AD25C90D-28AB-4D19-871D-7BC07B9308AB}"/>
              </a:ext>
            </a:extLst>
          </p:cNvPr>
          <p:cNvSpPr/>
          <p:nvPr/>
        </p:nvSpPr>
        <p:spPr bwMode="auto">
          <a:xfrm rot="10800000">
            <a:off x="7839308" y="4564729"/>
            <a:ext cx="683720" cy="610813"/>
          </a:xfrm>
          <a:prstGeom prst="rightArrow">
            <a:avLst/>
          </a:prstGeom>
          <a:solidFill>
            <a:srgbClr val="FFFFFF">
              <a:lumMod val="7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3943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99" b="1" i="1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</a:endParaRPr>
          </a:p>
        </p:txBody>
      </p:sp>
      <p:sp>
        <p:nvSpPr>
          <p:cNvPr id="23" name="Right Arrow 14">
            <a:extLst>
              <a:ext uri="{FF2B5EF4-FFF2-40B4-BE49-F238E27FC236}">
                <a16:creationId xmlns:a16="http://schemas.microsoft.com/office/drawing/2014/main" id="{70A0C51C-64AB-4BE4-8A1C-B19547A770E9}"/>
              </a:ext>
            </a:extLst>
          </p:cNvPr>
          <p:cNvSpPr/>
          <p:nvPr/>
        </p:nvSpPr>
        <p:spPr bwMode="auto">
          <a:xfrm rot="10800000">
            <a:off x="3701003" y="4564728"/>
            <a:ext cx="683720" cy="610813"/>
          </a:xfrm>
          <a:prstGeom prst="rightArrow">
            <a:avLst/>
          </a:prstGeom>
          <a:solidFill>
            <a:srgbClr val="FFFFFF">
              <a:lumMod val="7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3943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99" b="1" i="1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</a:endParaRPr>
          </a:p>
        </p:txBody>
      </p:sp>
      <p:sp>
        <p:nvSpPr>
          <p:cNvPr id="24" name="Right Arrow 15">
            <a:extLst>
              <a:ext uri="{FF2B5EF4-FFF2-40B4-BE49-F238E27FC236}">
                <a16:creationId xmlns:a16="http://schemas.microsoft.com/office/drawing/2014/main" id="{2A0EF0DF-E76F-4173-A1B9-645580C3A669}"/>
              </a:ext>
            </a:extLst>
          </p:cNvPr>
          <p:cNvSpPr/>
          <p:nvPr/>
        </p:nvSpPr>
        <p:spPr bwMode="auto">
          <a:xfrm rot="5400000">
            <a:off x="9908460" y="3395067"/>
            <a:ext cx="683720" cy="610813"/>
          </a:xfrm>
          <a:prstGeom prst="rightArrow">
            <a:avLst/>
          </a:prstGeom>
          <a:solidFill>
            <a:srgbClr val="FFFFFF">
              <a:lumMod val="7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3943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99" b="1" i="1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8063076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CAB53-5F05-4488-89EB-F4F85713748E}"/>
              </a:ext>
            </a:extLst>
          </p:cNvPr>
          <p:cNvSpPr txBox="1">
            <a:spLocks/>
          </p:cNvSpPr>
          <p:nvPr/>
        </p:nvSpPr>
        <p:spPr>
          <a:xfrm>
            <a:off x="2336757" y="0"/>
            <a:ext cx="7524836" cy="108874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vi-VN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ây dựng cây giải pháp</a:t>
            </a:r>
          </a:p>
        </p:txBody>
      </p:sp>
      <p:grpSp>
        <p:nvGrpSpPr>
          <p:cNvPr id="98" name="Group 97">
            <a:extLst>
              <a:ext uri="{FF2B5EF4-FFF2-40B4-BE49-F238E27FC236}">
                <a16:creationId xmlns:a16="http://schemas.microsoft.com/office/drawing/2014/main" id="{E64DBC05-299F-437B-8227-0219AE6C6E7B}"/>
              </a:ext>
            </a:extLst>
          </p:cNvPr>
          <p:cNvGrpSpPr/>
          <p:nvPr/>
        </p:nvGrpSpPr>
        <p:grpSpPr>
          <a:xfrm>
            <a:off x="609600" y="1551526"/>
            <a:ext cx="11219741" cy="4037054"/>
            <a:chOff x="551742" y="1860001"/>
            <a:chExt cx="11219741" cy="4037054"/>
          </a:xfrm>
        </p:grpSpPr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002C9B4D-3460-4D2F-A9BA-4D2C34A0BD97}"/>
                </a:ext>
              </a:extLst>
            </p:cNvPr>
            <p:cNvSpPr/>
            <p:nvPr/>
          </p:nvSpPr>
          <p:spPr bwMode="auto">
            <a:xfrm>
              <a:off x="2252870" y="2475894"/>
              <a:ext cx="2438400" cy="338506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943" eaLnBrk="0" hangingPunct="0"/>
              <a:r>
                <a:rPr lang="en-US" sz="1600" b="1" i="1" dirty="0" err="1">
                  <a:solidFill>
                    <a:schemeClr val="bg1"/>
                  </a:solidFill>
                  <a:latin typeface="Times New Roman" pitchFamily="18" charset="0"/>
                </a:rPr>
                <a:t>Tổng</a:t>
              </a:r>
              <a:r>
                <a:rPr lang="en-US" sz="1600" b="1" i="1" dirty="0">
                  <a:solidFill>
                    <a:schemeClr val="bg1"/>
                  </a:solidFill>
                  <a:latin typeface="Times New Roman" pitchFamily="18" charset="0"/>
                </a:rPr>
                <a:t> </a:t>
              </a:r>
              <a:r>
                <a:rPr lang="en-US" sz="1600" b="1" i="1" dirty="0" err="1">
                  <a:solidFill>
                    <a:schemeClr val="bg1"/>
                  </a:solidFill>
                  <a:latin typeface="Times New Roman" pitchFamily="18" charset="0"/>
                </a:rPr>
                <a:t>quan</a:t>
              </a:r>
              <a:endParaRPr lang="en-US" sz="1600" b="1" i="1" dirty="0">
                <a:solidFill>
                  <a:schemeClr val="bg1"/>
                </a:solidFill>
                <a:latin typeface="Times New Roman" pitchFamily="18" charset="0"/>
              </a:endParaRPr>
            </a:p>
          </p:txBody>
        </p: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8CA43A39-BA0E-4C00-86B6-4F6208141370}"/>
                </a:ext>
              </a:extLst>
            </p:cNvPr>
            <p:cNvSpPr/>
            <p:nvPr/>
          </p:nvSpPr>
          <p:spPr bwMode="auto">
            <a:xfrm>
              <a:off x="2252870" y="2923155"/>
              <a:ext cx="2438400" cy="338506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943" eaLnBrk="0" hangingPunct="0"/>
              <a:r>
                <a:rPr lang="en-US" sz="1600" b="1" i="1" dirty="0" err="1">
                  <a:solidFill>
                    <a:schemeClr val="bg1"/>
                  </a:solidFill>
                  <a:latin typeface="Times New Roman" pitchFamily="18" charset="0"/>
                </a:rPr>
                <a:t>Sản</a:t>
              </a:r>
              <a:r>
                <a:rPr lang="en-US" sz="1600" b="1" i="1" dirty="0">
                  <a:solidFill>
                    <a:schemeClr val="bg1"/>
                  </a:solidFill>
                  <a:latin typeface="Times New Roman" pitchFamily="18" charset="0"/>
                </a:rPr>
                <a:t> </a:t>
              </a:r>
              <a:r>
                <a:rPr lang="en-US" sz="1600" b="1" i="1" dirty="0" err="1">
                  <a:solidFill>
                    <a:schemeClr val="bg1"/>
                  </a:solidFill>
                  <a:latin typeface="Times New Roman" pitchFamily="18" charset="0"/>
                </a:rPr>
                <a:t>xuất</a:t>
              </a:r>
              <a:endParaRPr lang="en-US" sz="1600" b="1" i="1" dirty="0">
                <a:solidFill>
                  <a:schemeClr val="bg1"/>
                </a:solidFill>
                <a:latin typeface="Times New Roman" pitchFamily="18" charset="0"/>
              </a:endParaRPr>
            </a:p>
          </p:txBody>
        </p:sp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0DA9D8E0-85E4-481C-A046-66E612BAC190}"/>
                </a:ext>
              </a:extLst>
            </p:cNvPr>
            <p:cNvSpPr/>
            <p:nvPr/>
          </p:nvSpPr>
          <p:spPr bwMode="auto">
            <a:xfrm>
              <a:off x="2286000" y="3370416"/>
              <a:ext cx="2438400" cy="338506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943" eaLnBrk="0" hangingPunct="0"/>
              <a:r>
                <a:rPr lang="en-US" sz="1600" b="1" i="1" dirty="0" err="1">
                  <a:solidFill>
                    <a:schemeClr val="bg1"/>
                  </a:solidFill>
                  <a:latin typeface="Times New Roman" pitchFamily="18" charset="0"/>
                </a:rPr>
                <a:t>Chất</a:t>
              </a:r>
              <a:r>
                <a:rPr lang="en-US" sz="1600" b="1" i="1" dirty="0">
                  <a:solidFill>
                    <a:schemeClr val="bg1"/>
                  </a:solidFill>
                  <a:latin typeface="Times New Roman" pitchFamily="18" charset="0"/>
                </a:rPr>
                <a:t> </a:t>
              </a:r>
              <a:r>
                <a:rPr lang="en-US" sz="1600" b="1" i="1" dirty="0" err="1">
                  <a:solidFill>
                    <a:schemeClr val="bg1"/>
                  </a:solidFill>
                  <a:latin typeface="Times New Roman" pitchFamily="18" charset="0"/>
                </a:rPr>
                <a:t>lượng</a:t>
              </a:r>
              <a:endParaRPr lang="en-US" sz="1600" b="1" i="1" dirty="0">
                <a:solidFill>
                  <a:schemeClr val="bg1"/>
                </a:solidFill>
                <a:latin typeface="Times New Roman" pitchFamily="18" charset="0"/>
              </a:endParaRPr>
            </a:p>
          </p:txBody>
        </p: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54F90B06-5CEF-4BFE-8C40-7FEBC304360B}"/>
                </a:ext>
              </a:extLst>
            </p:cNvPr>
            <p:cNvSpPr/>
            <p:nvPr/>
          </p:nvSpPr>
          <p:spPr bwMode="auto">
            <a:xfrm>
              <a:off x="2286000" y="3817677"/>
              <a:ext cx="2438400" cy="338506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943" eaLnBrk="0" hangingPunct="0"/>
              <a:r>
                <a:rPr lang="en-US" sz="1600" b="1" i="1" dirty="0" err="1">
                  <a:solidFill>
                    <a:schemeClr val="bg1"/>
                  </a:solidFill>
                  <a:latin typeface="Times New Roman" pitchFamily="18" charset="0"/>
                </a:rPr>
                <a:t>Sửa</a:t>
              </a:r>
              <a:r>
                <a:rPr lang="en-US" sz="1600" b="1" i="1" dirty="0">
                  <a:solidFill>
                    <a:schemeClr val="bg1"/>
                  </a:solidFill>
                  <a:latin typeface="Times New Roman" pitchFamily="18" charset="0"/>
                </a:rPr>
                <a:t> </a:t>
              </a:r>
              <a:r>
                <a:rPr lang="en-US" sz="1600" b="1" i="1" dirty="0" err="1">
                  <a:solidFill>
                    <a:schemeClr val="bg1"/>
                  </a:solidFill>
                  <a:latin typeface="Times New Roman" pitchFamily="18" charset="0"/>
                </a:rPr>
                <a:t>chữa</a:t>
              </a:r>
              <a:endParaRPr lang="en-US" sz="1600" b="1" i="1" dirty="0">
                <a:solidFill>
                  <a:schemeClr val="bg1"/>
                </a:solidFill>
                <a:latin typeface="Times New Roman" pitchFamily="18" charset="0"/>
              </a:endParaRPr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9D086858-2407-401C-B0E0-9AE2804C1E35}"/>
                </a:ext>
              </a:extLst>
            </p:cNvPr>
            <p:cNvSpPr/>
            <p:nvPr/>
          </p:nvSpPr>
          <p:spPr bwMode="auto">
            <a:xfrm>
              <a:off x="2286000" y="4254743"/>
              <a:ext cx="2438400" cy="338506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943" eaLnBrk="0" hangingPunct="0"/>
              <a:r>
                <a:rPr lang="en-US" sz="1600" b="1" i="1" dirty="0" err="1">
                  <a:solidFill>
                    <a:schemeClr val="bg1"/>
                  </a:solidFill>
                  <a:latin typeface="Times New Roman" pitchFamily="18" charset="0"/>
                </a:rPr>
                <a:t>Môi</a:t>
              </a:r>
              <a:r>
                <a:rPr lang="en-US" sz="1600" b="1" i="1" dirty="0">
                  <a:solidFill>
                    <a:schemeClr val="bg1"/>
                  </a:solidFill>
                  <a:latin typeface="Times New Roman" pitchFamily="18" charset="0"/>
                </a:rPr>
                <a:t> </a:t>
              </a:r>
              <a:r>
                <a:rPr lang="en-US" sz="1600" b="1" i="1" dirty="0" err="1">
                  <a:solidFill>
                    <a:schemeClr val="bg1"/>
                  </a:solidFill>
                  <a:latin typeface="Times New Roman" pitchFamily="18" charset="0"/>
                </a:rPr>
                <a:t>trường</a:t>
              </a:r>
              <a:endParaRPr lang="en-US" sz="1600" b="1" i="1" dirty="0">
                <a:solidFill>
                  <a:schemeClr val="bg1"/>
                </a:solidFill>
                <a:latin typeface="Times New Roman" pitchFamily="18" charset="0"/>
              </a:endParaRPr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E0EDE138-6FF5-448E-95AD-372C0B05CBD5}"/>
                </a:ext>
              </a:extLst>
            </p:cNvPr>
            <p:cNvSpPr/>
            <p:nvPr/>
          </p:nvSpPr>
          <p:spPr bwMode="auto">
            <a:xfrm>
              <a:off x="2286000" y="4691809"/>
              <a:ext cx="2438400" cy="338506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943" eaLnBrk="0" hangingPunct="0"/>
              <a:r>
                <a:rPr lang="en-US" sz="1600" b="1" i="1" dirty="0" err="1">
                  <a:solidFill>
                    <a:schemeClr val="bg1"/>
                  </a:solidFill>
                  <a:latin typeface="Times New Roman" pitchFamily="18" charset="0"/>
                </a:rPr>
                <a:t>Cảnh</a:t>
              </a:r>
              <a:r>
                <a:rPr lang="en-US" sz="1600" b="1" i="1" dirty="0">
                  <a:solidFill>
                    <a:schemeClr val="bg1"/>
                  </a:solidFill>
                  <a:latin typeface="Times New Roman" pitchFamily="18" charset="0"/>
                </a:rPr>
                <a:t> </a:t>
              </a:r>
              <a:r>
                <a:rPr lang="en-US" sz="1600" b="1" i="1" dirty="0" err="1">
                  <a:solidFill>
                    <a:schemeClr val="bg1"/>
                  </a:solidFill>
                  <a:latin typeface="Times New Roman" pitchFamily="18" charset="0"/>
                </a:rPr>
                <a:t>báo</a:t>
              </a:r>
              <a:endParaRPr lang="en-US" sz="1600" b="1" i="1" dirty="0">
                <a:solidFill>
                  <a:schemeClr val="bg1"/>
                </a:solidFill>
                <a:latin typeface="Times New Roman" pitchFamily="18" charset="0"/>
              </a:endParaRPr>
            </a:p>
          </p:txBody>
        </p:sp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788BB27D-1525-4A8B-9055-97B6EC246F8C}"/>
                </a:ext>
              </a:extLst>
            </p:cNvPr>
            <p:cNvSpPr/>
            <p:nvPr/>
          </p:nvSpPr>
          <p:spPr bwMode="auto">
            <a:xfrm>
              <a:off x="2286000" y="5128875"/>
              <a:ext cx="2438400" cy="338506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943" eaLnBrk="0" hangingPunct="0"/>
              <a:r>
                <a:rPr lang="en-US" sz="1600" b="1" i="1" dirty="0" err="1">
                  <a:solidFill>
                    <a:schemeClr val="bg1"/>
                  </a:solidFill>
                  <a:latin typeface="Times New Roman" pitchFamily="18" charset="0"/>
                </a:rPr>
                <a:t>Điện</a:t>
              </a:r>
              <a:r>
                <a:rPr lang="en-US" sz="1600" b="1" i="1" dirty="0">
                  <a:solidFill>
                    <a:schemeClr val="bg1"/>
                  </a:solidFill>
                  <a:latin typeface="Times New Roman" pitchFamily="18" charset="0"/>
                </a:rPr>
                <a:t> </a:t>
              </a:r>
              <a:r>
                <a:rPr lang="en-US" sz="1600" b="1" i="1" dirty="0" err="1">
                  <a:solidFill>
                    <a:schemeClr val="bg1"/>
                  </a:solidFill>
                  <a:latin typeface="Times New Roman" pitchFamily="18" charset="0"/>
                </a:rPr>
                <a:t>năng</a:t>
              </a:r>
              <a:endParaRPr lang="en-US" sz="1600" b="1" i="1" dirty="0">
                <a:solidFill>
                  <a:schemeClr val="bg1"/>
                </a:solidFill>
                <a:latin typeface="Times New Roman" pitchFamily="18" charset="0"/>
              </a:endParaRPr>
            </a:p>
          </p:txBody>
        </p:sp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F9FDF17D-0913-4A49-956E-E2D2F0DFE7D7}"/>
                </a:ext>
              </a:extLst>
            </p:cNvPr>
            <p:cNvSpPr/>
            <p:nvPr/>
          </p:nvSpPr>
          <p:spPr bwMode="auto">
            <a:xfrm>
              <a:off x="2286000" y="5558549"/>
              <a:ext cx="2438400" cy="338506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943" eaLnBrk="0" hangingPunct="0"/>
              <a:r>
                <a:rPr lang="en-US" sz="1600" b="1" i="1" dirty="0" err="1">
                  <a:solidFill>
                    <a:schemeClr val="bg1"/>
                  </a:solidFill>
                  <a:latin typeface="Times New Roman" pitchFamily="18" charset="0"/>
                </a:rPr>
                <a:t>Quản</a:t>
              </a:r>
              <a:r>
                <a:rPr lang="en-US" sz="1600" b="1" i="1" dirty="0">
                  <a:solidFill>
                    <a:schemeClr val="bg1"/>
                  </a:solidFill>
                  <a:latin typeface="Times New Roman" pitchFamily="18" charset="0"/>
                </a:rPr>
                <a:t> </a:t>
              </a:r>
              <a:r>
                <a:rPr lang="en-US" sz="1600" b="1" i="1" dirty="0" err="1">
                  <a:solidFill>
                    <a:schemeClr val="bg1"/>
                  </a:solidFill>
                  <a:latin typeface="Times New Roman" pitchFamily="18" charset="0"/>
                </a:rPr>
                <a:t>trị</a:t>
              </a:r>
              <a:r>
                <a:rPr lang="en-US" sz="1600" b="1" i="1" dirty="0">
                  <a:solidFill>
                    <a:schemeClr val="bg1"/>
                  </a:solidFill>
                  <a:latin typeface="Times New Roman" pitchFamily="18" charset="0"/>
                </a:rPr>
                <a:t> KPI</a:t>
              </a:r>
            </a:p>
          </p:txBody>
        </p:sp>
        <p:sp>
          <p:nvSpPr>
            <p:cNvPr id="107" name="Flowchart: Terminator 106">
              <a:extLst>
                <a:ext uri="{FF2B5EF4-FFF2-40B4-BE49-F238E27FC236}">
                  <a16:creationId xmlns:a16="http://schemas.microsoft.com/office/drawing/2014/main" id="{E61AE1DE-F0B5-4FB0-AD0C-C2993A99974B}"/>
                </a:ext>
              </a:extLst>
            </p:cNvPr>
            <p:cNvSpPr/>
            <p:nvPr/>
          </p:nvSpPr>
          <p:spPr bwMode="auto">
            <a:xfrm>
              <a:off x="551742" y="1860001"/>
              <a:ext cx="1295400" cy="476003"/>
            </a:xfrm>
            <a:prstGeom prst="flowChartTerminator">
              <a:avLst/>
            </a:prstGeom>
            <a:solidFill>
              <a:srgbClr val="0070C0"/>
            </a:solidFill>
            <a:ln w="698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943" eaLnBrk="0" hangingPunct="0"/>
              <a:r>
                <a:rPr lang="en-US" sz="1600" b="1" dirty="0">
                  <a:solidFill>
                    <a:schemeClr val="bg1"/>
                  </a:solidFill>
                  <a:latin typeface="Times New Roman" pitchFamily="18" charset="0"/>
                </a:rPr>
                <a:t>NMBP</a:t>
              </a:r>
            </a:p>
          </p:txBody>
        </p:sp>
        <p:cxnSp>
          <p:nvCxnSpPr>
            <p:cNvPr id="108" name="Connector: Elbow 107">
              <a:extLst>
                <a:ext uri="{FF2B5EF4-FFF2-40B4-BE49-F238E27FC236}">
                  <a16:creationId xmlns:a16="http://schemas.microsoft.com/office/drawing/2014/main" id="{F46A74E3-BD55-4233-842B-CD1E9AA63C85}"/>
                </a:ext>
              </a:extLst>
            </p:cNvPr>
            <p:cNvCxnSpPr>
              <a:cxnSpLocks/>
              <a:stCxn id="107" idx="2"/>
              <a:endCxn id="99" idx="1"/>
            </p:cNvCxnSpPr>
            <p:nvPr/>
          </p:nvCxnSpPr>
          <p:spPr bwMode="auto">
            <a:xfrm rot="16200000" flipH="1">
              <a:off x="1571585" y="1963861"/>
              <a:ext cx="309143" cy="1053428"/>
            </a:xfrm>
            <a:prstGeom prst="bentConnector2">
              <a:avLst/>
            </a:prstGeom>
            <a:ln>
              <a:headEnd type="none" w="med" len="med"/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09" name="Connector: Elbow 108">
              <a:extLst>
                <a:ext uri="{FF2B5EF4-FFF2-40B4-BE49-F238E27FC236}">
                  <a16:creationId xmlns:a16="http://schemas.microsoft.com/office/drawing/2014/main" id="{A83D6143-C83C-4F74-8951-24853015D8DD}"/>
                </a:ext>
              </a:extLst>
            </p:cNvPr>
            <p:cNvCxnSpPr>
              <a:cxnSpLocks/>
              <a:stCxn id="107" idx="2"/>
              <a:endCxn id="100" idx="1"/>
            </p:cNvCxnSpPr>
            <p:nvPr/>
          </p:nvCxnSpPr>
          <p:spPr bwMode="auto">
            <a:xfrm rot="16200000" flipH="1">
              <a:off x="1347954" y="2187492"/>
              <a:ext cx="756404" cy="1053428"/>
            </a:xfrm>
            <a:prstGeom prst="bentConnector2">
              <a:avLst/>
            </a:prstGeom>
            <a:ln>
              <a:headEnd type="none" w="med" len="med"/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10" name="Connector: Elbow 109">
              <a:extLst>
                <a:ext uri="{FF2B5EF4-FFF2-40B4-BE49-F238E27FC236}">
                  <a16:creationId xmlns:a16="http://schemas.microsoft.com/office/drawing/2014/main" id="{349179BD-F04D-4B0E-A262-3AA36D751EDA}"/>
                </a:ext>
              </a:extLst>
            </p:cNvPr>
            <p:cNvCxnSpPr>
              <a:cxnSpLocks/>
              <a:stCxn id="107" idx="2"/>
              <a:endCxn id="101" idx="1"/>
            </p:cNvCxnSpPr>
            <p:nvPr/>
          </p:nvCxnSpPr>
          <p:spPr bwMode="auto">
            <a:xfrm rot="16200000" flipH="1">
              <a:off x="1140889" y="2394557"/>
              <a:ext cx="1203665" cy="1086558"/>
            </a:xfrm>
            <a:prstGeom prst="bentConnector2">
              <a:avLst/>
            </a:prstGeom>
            <a:ln>
              <a:headEnd type="none" w="med" len="med"/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11" name="Connector: Elbow 110">
              <a:extLst>
                <a:ext uri="{FF2B5EF4-FFF2-40B4-BE49-F238E27FC236}">
                  <a16:creationId xmlns:a16="http://schemas.microsoft.com/office/drawing/2014/main" id="{C001D101-DE09-4AF6-87B6-CE3696BE6C58}"/>
                </a:ext>
              </a:extLst>
            </p:cNvPr>
            <p:cNvCxnSpPr>
              <a:cxnSpLocks/>
              <a:stCxn id="107" idx="2"/>
              <a:endCxn id="102" idx="1"/>
            </p:cNvCxnSpPr>
            <p:nvPr/>
          </p:nvCxnSpPr>
          <p:spPr bwMode="auto">
            <a:xfrm rot="16200000" flipH="1">
              <a:off x="917258" y="2618188"/>
              <a:ext cx="1650926" cy="1086558"/>
            </a:xfrm>
            <a:prstGeom prst="bentConnector2">
              <a:avLst/>
            </a:prstGeom>
            <a:ln>
              <a:headEnd type="none" w="med" len="med"/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12" name="Connector: Elbow 111">
              <a:extLst>
                <a:ext uri="{FF2B5EF4-FFF2-40B4-BE49-F238E27FC236}">
                  <a16:creationId xmlns:a16="http://schemas.microsoft.com/office/drawing/2014/main" id="{ED9124C7-8E4E-4733-AFFA-AFC8F37A5FB2}"/>
                </a:ext>
              </a:extLst>
            </p:cNvPr>
            <p:cNvCxnSpPr>
              <a:cxnSpLocks/>
              <a:stCxn id="107" idx="2"/>
              <a:endCxn id="103" idx="1"/>
            </p:cNvCxnSpPr>
            <p:nvPr/>
          </p:nvCxnSpPr>
          <p:spPr bwMode="auto">
            <a:xfrm rot="16200000" flipH="1">
              <a:off x="698725" y="2836721"/>
              <a:ext cx="2087992" cy="1086558"/>
            </a:xfrm>
            <a:prstGeom prst="bentConnector2">
              <a:avLst/>
            </a:prstGeom>
            <a:ln>
              <a:headEnd type="none" w="med" len="med"/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13" name="Connector: Elbow 112">
              <a:extLst>
                <a:ext uri="{FF2B5EF4-FFF2-40B4-BE49-F238E27FC236}">
                  <a16:creationId xmlns:a16="http://schemas.microsoft.com/office/drawing/2014/main" id="{5E1BD5FE-555F-4EC7-8362-3EFE8B66D6BE}"/>
                </a:ext>
              </a:extLst>
            </p:cNvPr>
            <p:cNvCxnSpPr>
              <a:cxnSpLocks/>
              <a:stCxn id="107" idx="2"/>
              <a:endCxn id="104" idx="1"/>
            </p:cNvCxnSpPr>
            <p:nvPr/>
          </p:nvCxnSpPr>
          <p:spPr bwMode="auto">
            <a:xfrm rot="16200000" flipH="1">
              <a:off x="480192" y="3055254"/>
              <a:ext cx="2525058" cy="1086558"/>
            </a:xfrm>
            <a:prstGeom prst="bentConnector2">
              <a:avLst/>
            </a:prstGeom>
            <a:ln>
              <a:headEnd type="none" w="med" len="med"/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14" name="Connector: Elbow 113">
              <a:extLst>
                <a:ext uri="{FF2B5EF4-FFF2-40B4-BE49-F238E27FC236}">
                  <a16:creationId xmlns:a16="http://schemas.microsoft.com/office/drawing/2014/main" id="{B99B5281-0ACD-4709-8D1B-BE8C1BA3890F}"/>
                </a:ext>
              </a:extLst>
            </p:cNvPr>
            <p:cNvCxnSpPr>
              <a:cxnSpLocks/>
              <a:stCxn id="107" idx="2"/>
              <a:endCxn id="105" idx="1"/>
            </p:cNvCxnSpPr>
            <p:nvPr/>
          </p:nvCxnSpPr>
          <p:spPr bwMode="auto">
            <a:xfrm rot="16200000" flipH="1">
              <a:off x="261659" y="3273787"/>
              <a:ext cx="2962124" cy="1086558"/>
            </a:xfrm>
            <a:prstGeom prst="bentConnector2">
              <a:avLst/>
            </a:prstGeom>
            <a:ln>
              <a:headEnd type="none" w="med" len="med"/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15" name="Connector: Elbow 114">
              <a:extLst>
                <a:ext uri="{FF2B5EF4-FFF2-40B4-BE49-F238E27FC236}">
                  <a16:creationId xmlns:a16="http://schemas.microsoft.com/office/drawing/2014/main" id="{C6841A3A-7EE2-4270-B053-EF298AF80D23}"/>
                </a:ext>
              </a:extLst>
            </p:cNvPr>
            <p:cNvCxnSpPr>
              <a:cxnSpLocks/>
              <a:stCxn id="107" idx="2"/>
              <a:endCxn id="106" idx="1"/>
            </p:cNvCxnSpPr>
            <p:nvPr/>
          </p:nvCxnSpPr>
          <p:spPr bwMode="auto">
            <a:xfrm rot="16200000" flipH="1">
              <a:off x="46822" y="3488624"/>
              <a:ext cx="3391798" cy="1086558"/>
            </a:xfrm>
            <a:prstGeom prst="bentConnector2">
              <a:avLst/>
            </a:prstGeom>
            <a:ln>
              <a:headEnd type="none" w="med" len="med"/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BFDB1241-CC56-4BF5-A781-AE67D24CCF4D}"/>
                </a:ext>
              </a:extLst>
            </p:cNvPr>
            <p:cNvSpPr/>
            <p:nvPr/>
          </p:nvSpPr>
          <p:spPr bwMode="auto">
            <a:xfrm>
              <a:off x="5809541" y="3365272"/>
              <a:ext cx="2438400" cy="338506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943" eaLnBrk="0" hangingPunct="0"/>
              <a:r>
                <a:rPr lang="en-US" sz="1600" b="1" i="1" dirty="0">
                  <a:solidFill>
                    <a:schemeClr val="bg1"/>
                  </a:solidFill>
                  <a:latin typeface="Times New Roman" pitchFamily="18" charset="0"/>
                </a:rPr>
                <a:t>PXKT</a:t>
              </a:r>
            </a:p>
          </p:txBody>
        </p:sp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B982B625-D5EA-467C-9D1C-B6BE927E080B}"/>
                </a:ext>
              </a:extLst>
            </p:cNvPr>
            <p:cNvSpPr/>
            <p:nvPr/>
          </p:nvSpPr>
          <p:spPr bwMode="auto">
            <a:xfrm>
              <a:off x="5809541" y="3842016"/>
              <a:ext cx="2438400" cy="338506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943" eaLnBrk="0" hangingPunct="0"/>
              <a:r>
                <a:rPr lang="en-US" sz="1600" b="1" i="1" dirty="0">
                  <a:solidFill>
                    <a:schemeClr val="bg1"/>
                  </a:solidFill>
                  <a:latin typeface="Times New Roman" pitchFamily="18" charset="0"/>
                </a:rPr>
                <a:t>PXNL</a:t>
              </a: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31C0AFED-F11C-4641-AC26-0DDDC98E18D4}"/>
                </a:ext>
              </a:extLst>
            </p:cNvPr>
            <p:cNvSpPr/>
            <p:nvPr/>
          </p:nvSpPr>
          <p:spPr bwMode="auto">
            <a:xfrm>
              <a:off x="5809541" y="4279082"/>
              <a:ext cx="2438400" cy="338506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943" eaLnBrk="0" hangingPunct="0"/>
              <a:r>
                <a:rPr lang="en-US" sz="1600" b="1" i="1" dirty="0">
                  <a:solidFill>
                    <a:schemeClr val="bg1"/>
                  </a:solidFill>
                  <a:latin typeface="Times New Roman" pitchFamily="18" charset="0"/>
                </a:rPr>
                <a:t>PXCL</a:t>
              </a:r>
            </a:p>
          </p:txBody>
        </p:sp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0007BD15-A5CF-40E1-8E7B-1CE7F0C34ED2}"/>
                </a:ext>
              </a:extLst>
            </p:cNvPr>
            <p:cNvSpPr/>
            <p:nvPr/>
          </p:nvSpPr>
          <p:spPr bwMode="auto">
            <a:xfrm>
              <a:off x="5809541" y="4716148"/>
              <a:ext cx="2438400" cy="338506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943" eaLnBrk="0" hangingPunct="0"/>
              <a:r>
                <a:rPr lang="en-US" sz="1600" b="1" i="1" dirty="0">
                  <a:solidFill>
                    <a:schemeClr val="bg1"/>
                  </a:solidFill>
                  <a:latin typeface="Times New Roman" pitchFamily="18" charset="0"/>
                </a:rPr>
                <a:t>PXXM</a:t>
              </a:r>
            </a:p>
          </p:txBody>
        </p:sp>
        <p:cxnSp>
          <p:nvCxnSpPr>
            <p:cNvPr id="121" name="Connector: Elbow 120">
              <a:extLst>
                <a:ext uri="{FF2B5EF4-FFF2-40B4-BE49-F238E27FC236}">
                  <a16:creationId xmlns:a16="http://schemas.microsoft.com/office/drawing/2014/main" id="{89BCEF49-4153-4D22-87F7-925313027C4A}"/>
                </a:ext>
              </a:extLst>
            </p:cNvPr>
            <p:cNvCxnSpPr>
              <a:cxnSpLocks/>
              <a:stCxn id="100" idx="3"/>
              <a:endCxn id="116" idx="1"/>
            </p:cNvCxnSpPr>
            <p:nvPr/>
          </p:nvCxnSpPr>
          <p:spPr bwMode="auto">
            <a:xfrm>
              <a:off x="4691270" y="3092408"/>
              <a:ext cx="1118271" cy="442117"/>
            </a:xfrm>
            <a:prstGeom prst="bentConnector3">
              <a:avLst>
                <a:gd name="adj1" fmla="val 50000"/>
              </a:avLst>
            </a:prstGeom>
            <a:ln>
              <a:headEnd type="none" w="med" len="med"/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22" name="Connector: Elbow 121">
              <a:extLst>
                <a:ext uri="{FF2B5EF4-FFF2-40B4-BE49-F238E27FC236}">
                  <a16:creationId xmlns:a16="http://schemas.microsoft.com/office/drawing/2014/main" id="{CB5CA4C2-303E-44D7-8529-21117665447E}"/>
                </a:ext>
              </a:extLst>
            </p:cNvPr>
            <p:cNvCxnSpPr>
              <a:cxnSpLocks/>
              <a:stCxn id="100" idx="3"/>
              <a:endCxn id="117" idx="1"/>
            </p:cNvCxnSpPr>
            <p:nvPr/>
          </p:nvCxnSpPr>
          <p:spPr bwMode="auto">
            <a:xfrm>
              <a:off x="4691270" y="3092408"/>
              <a:ext cx="1118271" cy="918861"/>
            </a:xfrm>
            <a:prstGeom prst="bentConnector3">
              <a:avLst>
                <a:gd name="adj1" fmla="val 50000"/>
              </a:avLst>
            </a:prstGeom>
            <a:ln>
              <a:headEnd type="none" w="med" len="med"/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23" name="Connector: Elbow 122">
              <a:extLst>
                <a:ext uri="{FF2B5EF4-FFF2-40B4-BE49-F238E27FC236}">
                  <a16:creationId xmlns:a16="http://schemas.microsoft.com/office/drawing/2014/main" id="{8BC4972D-550D-4311-9C2A-3D1CA5577826}"/>
                </a:ext>
              </a:extLst>
            </p:cNvPr>
            <p:cNvCxnSpPr>
              <a:cxnSpLocks/>
              <a:stCxn id="100" idx="3"/>
              <a:endCxn id="118" idx="1"/>
            </p:cNvCxnSpPr>
            <p:nvPr/>
          </p:nvCxnSpPr>
          <p:spPr bwMode="auto">
            <a:xfrm>
              <a:off x="4691270" y="3092408"/>
              <a:ext cx="1118271" cy="1355927"/>
            </a:xfrm>
            <a:prstGeom prst="bentConnector3">
              <a:avLst>
                <a:gd name="adj1" fmla="val 50000"/>
              </a:avLst>
            </a:prstGeom>
            <a:ln>
              <a:headEnd type="none" w="med" len="med"/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24" name="Connector: Elbow 123">
              <a:extLst>
                <a:ext uri="{FF2B5EF4-FFF2-40B4-BE49-F238E27FC236}">
                  <a16:creationId xmlns:a16="http://schemas.microsoft.com/office/drawing/2014/main" id="{195AFC7A-658B-489C-AB86-EFB30E7F3115}"/>
                </a:ext>
              </a:extLst>
            </p:cNvPr>
            <p:cNvCxnSpPr>
              <a:cxnSpLocks/>
              <a:stCxn id="100" idx="3"/>
              <a:endCxn id="119" idx="1"/>
            </p:cNvCxnSpPr>
            <p:nvPr/>
          </p:nvCxnSpPr>
          <p:spPr bwMode="auto">
            <a:xfrm>
              <a:off x="4691270" y="3092408"/>
              <a:ext cx="1118271" cy="1792993"/>
            </a:xfrm>
            <a:prstGeom prst="bentConnector3">
              <a:avLst>
                <a:gd name="adj1" fmla="val 50000"/>
              </a:avLst>
            </a:prstGeom>
            <a:ln>
              <a:headEnd type="none" w="med" len="med"/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84969C6A-80A7-468A-A3B2-79BEA589ABD9}"/>
                </a:ext>
              </a:extLst>
            </p:cNvPr>
            <p:cNvSpPr/>
            <p:nvPr/>
          </p:nvSpPr>
          <p:spPr bwMode="auto">
            <a:xfrm>
              <a:off x="9333083" y="3842016"/>
              <a:ext cx="2438400" cy="338506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943" eaLnBrk="0" hangingPunct="0"/>
              <a:r>
                <a:rPr lang="en-US" sz="1600" b="1" i="1" dirty="0" err="1">
                  <a:solidFill>
                    <a:schemeClr val="bg1"/>
                  </a:solidFill>
                  <a:latin typeface="Times New Roman" pitchFamily="18" charset="0"/>
                </a:rPr>
                <a:t>Quy</a:t>
              </a:r>
              <a:r>
                <a:rPr lang="en-US" sz="1600" b="1" i="1" dirty="0">
                  <a:solidFill>
                    <a:schemeClr val="bg1"/>
                  </a:solidFill>
                  <a:latin typeface="Times New Roman" pitchFamily="18" charset="0"/>
                </a:rPr>
                <a:t> </a:t>
              </a:r>
              <a:r>
                <a:rPr lang="en-US" sz="1600" b="1" i="1" dirty="0" err="1">
                  <a:solidFill>
                    <a:schemeClr val="bg1"/>
                  </a:solidFill>
                  <a:latin typeface="Times New Roman" pitchFamily="18" charset="0"/>
                </a:rPr>
                <a:t>trình</a:t>
              </a:r>
              <a:r>
                <a:rPr lang="en-US" sz="1600" b="1" i="1" dirty="0">
                  <a:solidFill>
                    <a:schemeClr val="bg1"/>
                  </a:solidFill>
                  <a:latin typeface="Times New Roman" pitchFamily="18" charset="0"/>
                </a:rPr>
                <a:t> </a:t>
              </a:r>
              <a:r>
                <a:rPr lang="en-US" sz="1600" b="1" i="1" dirty="0" err="1">
                  <a:solidFill>
                    <a:schemeClr val="bg1"/>
                  </a:solidFill>
                  <a:latin typeface="Times New Roman" pitchFamily="18" charset="0"/>
                </a:rPr>
                <a:t>Công</a:t>
              </a:r>
              <a:r>
                <a:rPr lang="en-US" sz="1600" b="1" i="1" dirty="0">
                  <a:solidFill>
                    <a:schemeClr val="bg1"/>
                  </a:solidFill>
                  <a:latin typeface="Times New Roman" pitchFamily="18" charset="0"/>
                </a:rPr>
                <a:t> </a:t>
              </a:r>
              <a:r>
                <a:rPr lang="en-US" sz="1600" b="1" i="1" dirty="0" err="1">
                  <a:solidFill>
                    <a:schemeClr val="bg1"/>
                  </a:solidFill>
                  <a:latin typeface="Times New Roman" pitchFamily="18" charset="0"/>
                </a:rPr>
                <a:t>nghệ</a:t>
              </a:r>
              <a:endParaRPr lang="en-US" sz="1600" b="1" i="1" dirty="0">
                <a:solidFill>
                  <a:schemeClr val="bg1"/>
                </a:solidFill>
                <a:latin typeface="Times New Roman" pitchFamily="18" charset="0"/>
              </a:endParaRPr>
            </a:p>
          </p:txBody>
        </p:sp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E43DEFE3-8860-4B06-8064-76EDE4B0D574}"/>
                </a:ext>
              </a:extLst>
            </p:cNvPr>
            <p:cNvSpPr/>
            <p:nvPr/>
          </p:nvSpPr>
          <p:spPr bwMode="auto">
            <a:xfrm>
              <a:off x="9333083" y="4279082"/>
              <a:ext cx="2438400" cy="338506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943" eaLnBrk="0" hangingPunct="0"/>
              <a:r>
                <a:rPr lang="en-US" sz="1600" b="1" i="1" dirty="0" err="1">
                  <a:solidFill>
                    <a:schemeClr val="bg1"/>
                  </a:solidFill>
                  <a:latin typeface="Times New Roman" pitchFamily="18" charset="0"/>
                </a:rPr>
                <a:t>Báo</a:t>
              </a:r>
              <a:r>
                <a:rPr lang="en-US" sz="1600" b="1" i="1" dirty="0">
                  <a:solidFill>
                    <a:schemeClr val="bg1"/>
                  </a:solidFill>
                  <a:latin typeface="Times New Roman" pitchFamily="18" charset="0"/>
                </a:rPr>
                <a:t> </a:t>
              </a:r>
              <a:r>
                <a:rPr lang="en-US" sz="1600" b="1" i="1" dirty="0" err="1">
                  <a:solidFill>
                    <a:schemeClr val="bg1"/>
                  </a:solidFill>
                  <a:latin typeface="Times New Roman" pitchFamily="18" charset="0"/>
                </a:rPr>
                <a:t>cáo</a:t>
              </a:r>
              <a:r>
                <a:rPr lang="en-US" sz="1600" b="1" i="1" dirty="0">
                  <a:solidFill>
                    <a:schemeClr val="bg1"/>
                  </a:solidFill>
                  <a:latin typeface="Times New Roman" pitchFamily="18" charset="0"/>
                </a:rPr>
                <a:t> </a:t>
              </a:r>
              <a:r>
                <a:rPr lang="en-US" sz="1600" b="1" i="1" dirty="0" err="1">
                  <a:solidFill>
                    <a:schemeClr val="bg1"/>
                  </a:solidFill>
                  <a:latin typeface="Times New Roman" pitchFamily="18" charset="0"/>
                </a:rPr>
                <a:t>nhật</a:t>
              </a:r>
              <a:r>
                <a:rPr lang="en-US" sz="1600" b="1" i="1" dirty="0">
                  <a:solidFill>
                    <a:schemeClr val="bg1"/>
                  </a:solidFill>
                  <a:latin typeface="Times New Roman" pitchFamily="18" charset="0"/>
                </a:rPr>
                <a:t> </a:t>
              </a:r>
              <a:r>
                <a:rPr lang="en-US" sz="1600" b="1" i="1" dirty="0" err="1">
                  <a:solidFill>
                    <a:schemeClr val="bg1"/>
                  </a:solidFill>
                  <a:latin typeface="Times New Roman" pitchFamily="18" charset="0"/>
                </a:rPr>
                <a:t>trình</a:t>
              </a:r>
              <a:endParaRPr lang="en-US" sz="1600" b="1" i="1" dirty="0">
                <a:solidFill>
                  <a:schemeClr val="bg1"/>
                </a:solidFill>
                <a:latin typeface="Times New Roman" pitchFamily="18" charset="0"/>
              </a:endParaRPr>
            </a:p>
          </p:txBody>
        </p:sp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4B877205-CB88-4C33-BFB0-F90E9DC15DCE}"/>
                </a:ext>
              </a:extLst>
            </p:cNvPr>
            <p:cNvSpPr/>
            <p:nvPr/>
          </p:nvSpPr>
          <p:spPr bwMode="auto">
            <a:xfrm>
              <a:off x="9333083" y="4716148"/>
              <a:ext cx="2438400" cy="338506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943" eaLnBrk="0" hangingPunct="0"/>
              <a:r>
                <a:rPr lang="en-US" sz="1600" b="1" i="1" dirty="0" err="1">
                  <a:solidFill>
                    <a:schemeClr val="bg1"/>
                  </a:solidFill>
                  <a:latin typeface="Times New Roman" pitchFamily="18" charset="0"/>
                </a:rPr>
                <a:t>Nhật</a:t>
              </a:r>
              <a:r>
                <a:rPr lang="en-US" sz="1600" b="1" i="1" dirty="0">
                  <a:solidFill>
                    <a:schemeClr val="bg1"/>
                  </a:solidFill>
                  <a:latin typeface="Times New Roman" pitchFamily="18" charset="0"/>
                </a:rPr>
                <a:t> </a:t>
              </a:r>
              <a:r>
                <a:rPr lang="en-US" sz="1600" b="1" i="1" dirty="0" err="1">
                  <a:solidFill>
                    <a:schemeClr val="bg1"/>
                  </a:solidFill>
                  <a:latin typeface="Times New Roman" pitchFamily="18" charset="0"/>
                </a:rPr>
                <a:t>ký</a:t>
              </a:r>
              <a:r>
                <a:rPr lang="en-US" sz="1600" b="1" i="1" dirty="0">
                  <a:solidFill>
                    <a:schemeClr val="bg1"/>
                  </a:solidFill>
                  <a:latin typeface="Times New Roman" pitchFamily="18" charset="0"/>
                </a:rPr>
                <a:t> </a:t>
              </a:r>
              <a:r>
                <a:rPr lang="en-US" sz="1600" b="1" i="1" dirty="0" err="1">
                  <a:solidFill>
                    <a:schemeClr val="bg1"/>
                  </a:solidFill>
                  <a:latin typeface="Times New Roman" pitchFamily="18" charset="0"/>
                </a:rPr>
                <a:t>điện</a:t>
              </a:r>
              <a:r>
                <a:rPr lang="en-US" sz="1600" b="1" i="1" dirty="0">
                  <a:solidFill>
                    <a:schemeClr val="bg1"/>
                  </a:solidFill>
                  <a:latin typeface="Times New Roman" pitchFamily="18" charset="0"/>
                </a:rPr>
                <a:t> </a:t>
              </a:r>
              <a:r>
                <a:rPr lang="en-US" sz="1600" b="1" i="1" dirty="0" err="1">
                  <a:solidFill>
                    <a:schemeClr val="bg1"/>
                  </a:solidFill>
                  <a:latin typeface="Times New Roman" pitchFamily="18" charset="0"/>
                </a:rPr>
                <a:t>tử</a:t>
              </a:r>
              <a:endParaRPr lang="en-US" sz="1600" b="1" i="1" dirty="0">
                <a:solidFill>
                  <a:schemeClr val="bg1"/>
                </a:solidFill>
                <a:latin typeface="Times New Roman" pitchFamily="18" charset="0"/>
              </a:endParaRPr>
            </a:p>
          </p:txBody>
        </p:sp>
        <p:sp>
          <p:nvSpPr>
            <p:cNvPr id="129" name="Rectangle 128">
              <a:extLst>
                <a:ext uri="{FF2B5EF4-FFF2-40B4-BE49-F238E27FC236}">
                  <a16:creationId xmlns:a16="http://schemas.microsoft.com/office/drawing/2014/main" id="{478C9DD7-4500-40E4-AC1D-E29EEB4E0492}"/>
                </a:ext>
              </a:extLst>
            </p:cNvPr>
            <p:cNvSpPr/>
            <p:nvPr/>
          </p:nvSpPr>
          <p:spPr bwMode="auto">
            <a:xfrm>
              <a:off x="9333083" y="5153214"/>
              <a:ext cx="2438400" cy="338506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943" eaLnBrk="0" hangingPunct="0"/>
              <a:r>
                <a:rPr lang="en-US" sz="1600" b="1" i="1" dirty="0" err="1">
                  <a:solidFill>
                    <a:schemeClr val="bg1"/>
                  </a:solidFill>
                  <a:latin typeface="Times New Roman" pitchFamily="18" charset="0"/>
                </a:rPr>
                <a:t>Các</a:t>
              </a:r>
              <a:r>
                <a:rPr lang="en-US" sz="1600" b="1" i="1" dirty="0">
                  <a:solidFill>
                    <a:schemeClr val="bg1"/>
                  </a:solidFill>
                  <a:latin typeface="Times New Roman" pitchFamily="18" charset="0"/>
                </a:rPr>
                <a:t> </a:t>
              </a:r>
              <a:r>
                <a:rPr lang="en-US" sz="1600" b="1" i="1" dirty="0" err="1">
                  <a:solidFill>
                    <a:schemeClr val="bg1"/>
                  </a:solidFill>
                  <a:latin typeface="Times New Roman" pitchFamily="18" charset="0"/>
                </a:rPr>
                <a:t>thống</a:t>
              </a:r>
              <a:r>
                <a:rPr lang="en-US" sz="1600" b="1" i="1" dirty="0">
                  <a:solidFill>
                    <a:schemeClr val="bg1"/>
                  </a:solidFill>
                  <a:latin typeface="Times New Roman" pitchFamily="18" charset="0"/>
                </a:rPr>
                <a:t> </a:t>
              </a:r>
              <a:r>
                <a:rPr lang="en-US" sz="1600" b="1" i="1" dirty="0" err="1">
                  <a:solidFill>
                    <a:schemeClr val="bg1"/>
                  </a:solidFill>
                  <a:latin typeface="Times New Roman" pitchFamily="18" charset="0"/>
                </a:rPr>
                <a:t>số</a:t>
              </a:r>
              <a:r>
                <a:rPr lang="en-US" sz="1600" b="1" i="1" dirty="0">
                  <a:solidFill>
                    <a:schemeClr val="bg1"/>
                  </a:solidFill>
                  <a:latin typeface="Times New Roman" pitchFamily="18" charset="0"/>
                </a:rPr>
                <a:t> </a:t>
              </a:r>
              <a:r>
                <a:rPr lang="en-US" sz="1600" b="1" i="1" dirty="0" err="1">
                  <a:solidFill>
                    <a:schemeClr val="bg1"/>
                  </a:solidFill>
                  <a:latin typeface="Times New Roman" pitchFamily="18" charset="0"/>
                </a:rPr>
                <a:t>sản</a:t>
              </a:r>
              <a:r>
                <a:rPr lang="en-US" sz="1600" b="1" i="1" dirty="0">
                  <a:solidFill>
                    <a:schemeClr val="bg1"/>
                  </a:solidFill>
                  <a:latin typeface="Times New Roman" pitchFamily="18" charset="0"/>
                </a:rPr>
                <a:t> </a:t>
              </a:r>
              <a:r>
                <a:rPr lang="en-US" sz="1600" b="1" i="1" dirty="0" err="1">
                  <a:solidFill>
                    <a:schemeClr val="bg1"/>
                  </a:solidFill>
                  <a:latin typeface="Times New Roman" pitchFamily="18" charset="0"/>
                </a:rPr>
                <a:t>xuất</a:t>
              </a:r>
              <a:endParaRPr lang="en-US" sz="1600" b="1" i="1" dirty="0">
                <a:solidFill>
                  <a:schemeClr val="bg1"/>
                </a:solidFill>
                <a:latin typeface="Times New Roman" pitchFamily="18" charset="0"/>
              </a:endParaRPr>
            </a:p>
          </p:txBody>
        </p:sp>
        <p:cxnSp>
          <p:nvCxnSpPr>
            <p:cNvPr id="130" name="Connector: Elbow 129">
              <a:extLst>
                <a:ext uri="{FF2B5EF4-FFF2-40B4-BE49-F238E27FC236}">
                  <a16:creationId xmlns:a16="http://schemas.microsoft.com/office/drawing/2014/main" id="{5DD73F8E-D9D0-4697-A08C-506C1E279858}"/>
                </a:ext>
              </a:extLst>
            </p:cNvPr>
            <p:cNvCxnSpPr>
              <a:cxnSpLocks/>
              <a:stCxn id="117" idx="3"/>
              <a:endCxn id="126" idx="1"/>
            </p:cNvCxnSpPr>
            <p:nvPr/>
          </p:nvCxnSpPr>
          <p:spPr bwMode="auto">
            <a:xfrm>
              <a:off x="8247941" y="4011269"/>
              <a:ext cx="1085142" cy="12700"/>
            </a:xfrm>
            <a:prstGeom prst="bentConnector3">
              <a:avLst>
                <a:gd name="adj1" fmla="val 50000"/>
              </a:avLst>
            </a:prstGeom>
            <a:ln>
              <a:headEnd type="none" w="med" len="med"/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31" name="Connector: Elbow 130">
              <a:extLst>
                <a:ext uri="{FF2B5EF4-FFF2-40B4-BE49-F238E27FC236}">
                  <a16:creationId xmlns:a16="http://schemas.microsoft.com/office/drawing/2014/main" id="{1B55054D-9A40-4AC5-8FB2-92D5FF7DCC27}"/>
                </a:ext>
              </a:extLst>
            </p:cNvPr>
            <p:cNvCxnSpPr>
              <a:cxnSpLocks/>
              <a:stCxn id="117" idx="3"/>
              <a:endCxn id="127" idx="1"/>
            </p:cNvCxnSpPr>
            <p:nvPr/>
          </p:nvCxnSpPr>
          <p:spPr bwMode="auto">
            <a:xfrm>
              <a:off x="8247941" y="4011269"/>
              <a:ext cx="1085142" cy="437066"/>
            </a:xfrm>
            <a:prstGeom prst="bentConnector3">
              <a:avLst>
                <a:gd name="adj1" fmla="val 50000"/>
              </a:avLst>
            </a:prstGeom>
            <a:ln>
              <a:headEnd type="none" w="med" len="med"/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32" name="Connector: Elbow 131">
              <a:extLst>
                <a:ext uri="{FF2B5EF4-FFF2-40B4-BE49-F238E27FC236}">
                  <a16:creationId xmlns:a16="http://schemas.microsoft.com/office/drawing/2014/main" id="{8FAB25B8-DA0C-4C12-8CB9-475F34A2F1BD}"/>
                </a:ext>
              </a:extLst>
            </p:cNvPr>
            <p:cNvCxnSpPr>
              <a:cxnSpLocks/>
              <a:stCxn id="117" idx="3"/>
              <a:endCxn id="128" idx="1"/>
            </p:cNvCxnSpPr>
            <p:nvPr/>
          </p:nvCxnSpPr>
          <p:spPr bwMode="auto">
            <a:xfrm>
              <a:off x="8247941" y="4011269"/>
              <a:ext cx="1085142" cy="874132"/>
            </a:xfrm>
            <a:prstGeom prst="bentConnector3">
              <a:avLst>
                <a:gd name="adj1" fmla="val 50000"/>
              </a:avLst>
            </a:prstGeom>
            <a:ln>
              <a:headEnd type="none" w="med" len="med"/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33" name="Connector: Elbow 132">
              <a:extLst>
                <a:ext uri="{FF2B5EF4-FFF2-40B4-BE49-F238E27FC236}">
                  <a16:creationId xmlns:a16="http://schemas.microsoft.com/office/drawing/2014/main" id="{27E030B0-F060-4D42-B69D-49B2EFAFBF93}"/>
                </a:ext>
              </a:extLst>
            </p:cNvPr>
            <p:cNvCxnSpPr>
              <a:cxnSpLocks/>
              <a:stCxn id="117" idx="3"/>
              <a:endCxn id="129" idx="1"/>
            </p:cNvCxnSpPr>
            <p:nvPr/>
          </p:nvCxnSpPr>
          <p:spPr bwMode="auto">
            <a:xfrm>
              <a:off x="8247941" y="4011269"/>
              <a:ext cx="1085142" cy="1311198"/>
            </a:xfrm>
            <a:prstGeom prst="bentConnector3">
              <a:avLst>
                <a:gd name="adj1" fmla="val 50000"/>
              </a:avLst>
            </a:prstGeom>
            <a:ln>
              <a:headEnd type="none" w="med" len="med"/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5503345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CAB53-5F05-4488-89EB-F4F85713748E}"/>
              </a:ext>
            </a:extLst>
          </p:cNvPr>
          <p:cNvSpPr txBox="1">
            <a:spLocks/>
          </p:cNvSpPr>
          <p:nvPr/>
        </p:nvSpPr>
        <p:spPr>
          <a:xfrm>
            <a:off x="2336757" y="0"/>
            <a:ext cx="7524836" cy="108874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vi-VN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ấu hình các thành phần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E7C5EF8-479A-4C0F-B6AC-F1DCA5544EC7}"/>
              </a:ext>
            </a:extLst>
          </p:cNvPr>
          <p:cNvSpPr txBox="1">
            <a:spLocks/>
          </p:cNvSpPr>
          <p:nvPr/>
        </p:nvSpPr>
        <p:spPr>
          <a:xfrm>
            <a:off x="374344" y="1845649"/>
            <a:ext cx="3198734" cy="1370886"/>
          </a:xfrm>
          <a:prstGeom prst="rect">
            <a:avLst/>
          </a:prstGeom>
          <a:gradFill rotWithShape="1">
            <a:gsLst>
              <a:gs pos="0">
                <a:srgbClr val="333399">
                  <a:shade val="51000"/>
                  <a:satMod val="130000"/>
                </a:srgbClr>
              </a:gs>
              <a:gs pos="80000">
                <a:srgbClr val="333399">
                  <a:shade val="93000"/>
                  <a:satMod val="130000"/>
                </a:srgbClr>
              </a:gs>
              <a:gs pos="100000">
                <a:srgbClr val="333399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ây dựng các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đối tượng thông ti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288AE56-2DB4-4D75-88B4-8B76394D2F66}"/>
              </a:ext>
            </a:extLst>
          </p:cNvPr>
          <p:cNvSpPr txBox="1">
            <a:spLocks/>
          </p:cNvSpPr>
          <p:nvPr/>
        </p:nvSpPr>
        <p:spPr>
          <a:xfrm>
            <a:off x="4512649" y="1845649"/>
            <a:ext cx="3198734" cy="1370886"/>
          </a:xfrm>
          <a:prstGeom prst="rect">
            <a:avLst/>
          </a:prstGeom>
          <a:gradFill rotWithShape="1">
            <a:gsLst>
              <a:gs pos="0">
                <a:srgbClr val="333399">
                  <a:shade val="51000"/>
                  <a:satMod val="130000"/>
                </a:srgbClr>
              </a:gs>
              <a:gs pos="80000">
                <a:srgbClr val="333399">
                  <a:shade val="93000"/>
                  <a:satMod val="130000"/>
                </a:srgbClr>
              </a:gs>
              <a:gs pos="100000">
                <a:srgbClr val="333399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none" rtlCol="0" anchor="ctr">
            <a:noAutofit/>
          </a:bodyPr>
          <a:lstStyle>
            <a:defPPr>
              <a:defRPr lang="de-DE"/>
            </a:defPPr>
            <a:lvl1pPr algn="ctr">
              <a:spcBef>
                <a:spcPts val="0"/>
              </a:spcBef>
              <a:defRPr sz="2400"/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ạo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ác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ành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hần</a:t>
            </a:r>
            <a:endParaRPr kumimoji="0" lang="en-US" sz="2399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8100BFB-3C7A-43B9-BDCE-E4B4D8DDBFC2}"/>
              </a:ext>
            </a:extLst>
          </p:cNvPr>
          <p:cNvSpPr txBox="1">
            <a:spLocks/>
          </p:cNvSpPr>
          <p:nvPr/>
        </p:nvSpPr>
        <p:spPr>
          <a:xfrm>
            <a:off x="8650953" y="1845649"/>
            <a:ext cx="3198734" cy="1370886"/>
          </a:xfrm>
          <a:prstGeom prst="rect">
            <a:avLst/>
          </a:prstGeom>
          <a:gradFill rotWithShape="1">
            <a:gsLst>
              <a:gs pos="0">
                <a:srgbClr val="333399">
                  <a:shade val="51000"/>
                  <a:satMod val="130000"/>
                </a:srgbClr>
              </a:gs>
              <a:gs pos="80000">
                <a:srgbClr val="333399">
                  <a:shade val="93000"/>
                  <a:satMod val="130000"/>
                </a:srgbClr>
              </a:gs>
              <a:gs pos="100000">
                <a:srgbClr val="333399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none" rtlCol="0" anchor="ctr">
            <a:noAutofit/>
          </a:bodyPr>
          <a:lstStyle>
            <a:defPPr>
              <a:defRPr lang="de-DE"/>
            </a:defPPr>
            <a:lvl1pPr algn="ctr">
              <a:spcBef>
                <a:spcPts val="0"/>
              </a:spcBef>
              <a:defRPr sz="2400"/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ây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ựng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ây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iải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háp</a:t>
            </a:r>
            <a:endParaRPr kumimoji="0" lang="en-US" sz="2399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95EDE46-6EED-4407-BF90-16C7664F3977}"/>
              </a:ext>
            </a:extLst>
          </p:cNvPr>
          <p:cNvSpPr txBox="1">
            <a:spLocks/>
          </p:cNvSpPr>
          <p:nvPr/>
        </p:nvSpPr>
        <p:spPr>
          <a:xfrm>
            <a:off x="8650953" y="4184690"/>
            <a:ext cx="3198734" cy="1370886"/>
          </a:xfrm>
          <a:prstGeom prst="rect">
            <a:avLst/>
          </a:prstGeom>
          <a:gradFill rotWithShape="1">
            <a:gsLst>
              <a:gs pos="0">
                <a:srgbClr val="333399">
                  <a:shade val="51000"/>
                  <a:satMod val="130000"/>
                </a:srgbClr>
              </a:gs>
              <a:gs pos="80000">
                <a:srgbClr val="333399">
                  <a:shade val="93000"/>
                  <a:satMod val="130000"/>
                </a:srgbClr>
              </a:gs>
              <a:gs pos="100000">
                <a:srgbClr val="333399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none" rtlCol="0" anchor="ctr">
            <a:noAutofit/>
          </a:bodyPr>
          <a:lstStyle>
            <a:defPPr>
              <a:defRPr lang="de-DE"/>
            </a:defPPr>
            <a:lvl1pPr algn="ctr">
              <a:spcBef>
                <a:spcPts val="0"/>
              </a:spcBef>
              <a:defRPr sz="2400"/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ấu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ình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ác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ành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hần</a:t>
            </a:r>
            <a:endParaRPr kumimoji="0" lang="en-US" sz="2399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B5CFFF9-7ACF-4745-8E40-9986A9D7A0FA}"/>
              </a:ext>
            </a:extLst>
          </p:cNvPr>
          <p:cNvSpPr txBox="1">
            <a:spLocks/>
          </p:cNvSpPr>
          <p:nvPr/>
        </p:nvSpPr>
        <p:spPr>
          <a:xfrm>
            <a:off x="4512649" y="4184690"/>
            <a:ext cx="3198734" cy="1370886"/>
          </a:xfrm>
          <a:prstGeom prst="rect">
            <a:avLst/>
          </a:prstGeom>
          <a:solidFill>
            <a:srgbClr val="FFFFFF">
              <a:lumMod val="75000"/>
            </a:srgbClr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ây dựng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ác biểu mẫu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0E56DA8-3C0C-4A11-A6EE-2C4F3AC4D3C5}"/>
              </a:ext>
            </a:extLst>
          </p:cNvPr>
          <p:cNvSpPr txBox="1">
            <a:spLocks/>
          </p:cNvSpPr>
          <p:nvPr/>
        </p:nvSpPr>
        <p:spPr>
          <a:xfrm>
            <a:off x="374344" y="4184690"/>
            <a:ext cx="3198734" cy="1370886"/>
          </a:xfrm>
          <a:prstGeom prst="rect">
            <a:avLst/>
          </a:prstGeom>
          <a:solidFill>
            <a:srgbClr val="FFFFFF">
              <a:lumMod val="75000"/>
            </a:srgbClr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uy cập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 trình duyệt</a:t>
            </a:r>
          </a:p>
        </p:txBody>
      </p:sp>
      <p:sp>
        <p:nvSpPr>
          <p:cNvPr id="31" name="Right Arrow 11">
            <a:extLst>
              <a:ext uri="{FF2B5EF4-FFF2-40B4-BE49-F238E27FC236}">
                <a16:creationId xmlns:a16="http://schemas.microsoft.com/office/drawing/2014/main" id="{2C7815B6-40BF-40EE-9ED3-AA01CAC863E9}"/>
              </a:ext>
            </a:extLst>
          </p:cNvPr>
          <p:cNvSpPr/>
          <p:nvPr/>
        </p:nvSpPr>
        <p:spPr bwMode="auto">
          <a:xfrm>
            <a:off x="3720973" y="2225686"/>
            <a:ext cx="683720" cy="610813"/>
          </a:xfrm>
          <a:prstGeom prst="rightArrow">
            <a:avLst/>
          </a:prstGeom>
          <a:solidFill>
            <a:srgbClr val="FFFFFF">
              <a:lumMod val="7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3943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99" b="1" i="1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</a:endParaRPr>
          </a:p>
        </p:txBody>
      </p:sp>
      <p:sp>
        <p:nvSpPr>
          <p:cNvPr id="32" name="Right Arrow 12">
            <a:extLst>
              <a:ext uri="{FF2B5EF4-FFF2-40B4-BE49-F238E27FC236}">
                <a16:creationId xmlns:a16="http://schemas.microsoft.com/office/drawing/2014/main" id="{F1957EC2-8779-45F0-BC87-3C452541169B}"/>
              </a:ext>
            </a:extLst>
          </p:cNvPr>
          <p:cNvSpPr/>
          <p:nvPr/>
        </p:nvSpPr>
        <p:spPr bwMode="auto">
          <a:xfrm>
            <a:off x="7839308" y="2225686"/>
            <a:ext cx="683720" cy="610813"/>
          </a:xfrm>
          <a:prstGeom prst="rightArrow">
            <a:avLst/>
          </a:prstGeom>
          <a:solidFill>
            <a:srgbClr val="FFFFFF">
              <a:lumMod val="7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3943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99" b="1" i="1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</a:endParaRPr>
          </a:p>
        </p:txBody>
      </p:sp>
      <p:sp>
        <p:nvSpPr>
          <p:cNvPr id="33" name="Right Arrow 13">
            <a:extLst>
              <a:ext uri="{FF2B5EF4-FFF2-40B4-BE49-F238E27FC236}">
                <a16:creationId xmlns:a16="http://schemas.microsoft.com/office/drawing/2014/main" id="{DF52A534-27BF-4EC5-9137-C79E92FE6FB0}"/>
              </a:ext>
            </a:extLst>
          </p:cNvPr>
          <p:cNvSpPr/>
          <p:nvPr/>
        </p:nvSpPr>
        <p:spPr bwMode="auto">
          <a:xfrm rot="10800000">
            <a:off x="7839308" y="4564729"/>
            <a:ext cx="683720" cy="610813"/>
          </a:xfrm>
          <a:prstGeom prst="rightArrow">
            <a:avLst/>
          </a:prstGeom>
          <a:solidFill>
            <a:srgbClr val="FFFFFF">
              <a:lumMod val="7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3943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99" b="1" i="1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</a:endParaRPr>
          </a:p>
        </p:txBody>
      </p:sp>
      <p:sp>
        <p:nvSpPr>
          <p:cNvPr id="34" name="Right Arrow 14">
            <a:extLst>
              <a:ext uri="{FF2B5EF4-FFF2-40B4-BE49-F238E27FC236}">
                <a16:creationId xmlns:a16="http://schemas.microsoft.com/office/drawing/2014/main" id="{B10ECD14-18A2-4ED7-8AD0-6C103BC7EDDF}"/>
              </a:ext>
            </a:extLst>
          </p:cNvPr>
          <p:cNvSpPr/>
          <p:nvPr/>
        </p:nvSpPr>
        <p:spPr bwMode="auto">
          <a:xfrm rot="10800000">
            <a:off x="3701003" y="4564728"/>
            <a:ext cx="683720" cy="610813"/>
          </a:xfrm>
          <a:prstGeom prst="rightArrow">
            <a:avLst/>
          </a:prstGeom>
          <a:solidFill>
            <a:srgbClr val="FFFFFF">
              <a:lumMod val="7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3943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99" b="1" i="1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</a:endParaRPr>
          </a:p>
        </p:txBody>
      </p:sp>
      <p:sp>
        <p:nvSpPr>
          <p:cNvPr id="35" name="Right Arrow 15">
            <a:extLst>
              <a:ext uri="{FF2B5EF4-FFF2-40B4-BE49-F238E27FC236}">
                <a16:creationId xmlns:a16="http://schemas.microsoft.com/office/drawing/2014/main" id="{82B91F67-8F28-4B27-A6C8-57CC7C8060BF}"/>
              </a:ext>
            </a:extLst>
          </p:cNvPr>
          <p:cNvSpPr/>
          <p:nvPr/>
        </p:nvSpPr>
        <p:spPr bwMode="auto">
          <a:xfrm rot="5400000">
            <a:off x="9908460" y="3395067"/>
            <a:ext cx="683720" cy="610813"/>
          </a:xfrm>
          <a:prstGeom prst="rightArrow">
            <a:avLst/>
          </a:prstGeom>
          <a:solidFill>
            <a:srgbClr val="FFFFFF">
              <a:lumMod val="7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3943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99" b="1" i="1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86780935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CAB53-5F05-4488-89EB-F4F85713748E}"/>
              </a:ext>
            </a:extLst>
          </p:cNvPr>
          <p:cNvSpPr txBox="1">
            <a:spLocks/>
          </p:cNvSpPr>
          <p:nvPr/>
        </p:nvSpPr>
        <p:spPr>
          <a:xfrm>
            <a:off x="2336757" y="0"/>
            <a:ext cx="7524836" cy="108874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vi-VN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ấu hình các thành phần</a:t>
            </a:r>
          </a:p>
        </p:txBody>
      </p:sp>
      <p:sp>
        <p:nvSpPr>
          <p:cNvPr id="7" name="object 3">
            <a:extLst>
              <a:ext uri="{FF2B5EF4-FFF2-40B4-BE49-F238E27FC236}">
                <a16:creationId xmlns:a16="http://schemas.microsoft.com/office/drawing/2014/main" id="{75B1AB79-728D-444C-9324-3F5A00590030}"/>
              </a:ext>
            </a:extLst>
          </p:cNvPr>
          <p:cNvSpPr/>
          <p:nvPr/>
        </p:nvSpPr>
        <p:spPr>
          <a:xfrm>
            <a:off x="5029200" y="1859279"/>
            <a:ext cx="4800600" cy="156667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0E7F369D-2BEB-4237-B8C1-49521A479C8D}"/>
              </a:ext>
            </a:extLst>
          </p:cNvPr>
          <p:cNvSpPr/>
          <p:nvPr/>
        </p:nvSpPr>
        <p:spPr>
          <a:xfrm>
            <a:off x="2057400" y="1783079"/>
            <a:ext cx="2209800" cy="11049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5">
            <a:extLst>
              <a:ext uri="{FF2B5EF4-FFF2-40B4-BE49-F238E27FC236}">
                <a16:creationId xmlns:a16="http://schemas.microsoft.com/office/drawing/2014/main" id="{EA0166D6-9537-4317-B421-28DFA76FB2E6}"/>
              </a:ext>
            </a:extLst>
          </p:cNvPr>
          <p:cNvSpPr/>
          <p:nvPr/>
        </p:nvSpPr>
        <p:spPr>
          <a:xfrm>
            <a:off x="2743200" y="4110228"/>
            <a:ext cx="7315200" cy="19812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6">
            <a:extLst>
              <a:ext uri="{FF2B5EF4-FFF2-40B4-BE49-F238E27FC236}">
                <a16:creationId xmlns:a16="http://schemas.microsoft.com/office/drawing/2014/main" id="{12FBD6A6-F70E-4A36-8E31-13B03F8CFBFD}"/>
              </a:ext>
            </a:extLst>
          </p:cNvPr>
          <p:cNvSpPr/>
          <p:nvPr/>
        </p:nvSpPr>
        <p:spPr>
          <a:xfrm>
            <a:off x="3605657" y="2209039"/>
            <a:ext cx="1541780" cy="1850389"/>
          </a:xfrm>
          <a:custGeom>
            <a:avLst/>
            <a:gdLst/>
            <a:ahLst/>
            <a:cxnLst/>
            <a:rect l="l" t="t" r="r" b="b"/>
            <a:pathLst>
              <a:path w="1541779" h="1850389">
                <a:moveTo>
                  <a:pt x="1478280" y="46424"/>
                </a:moveTo>
                <a:lnTo>
                  <a:pt x="0" y="1825752"/>
                </a:lnTo>
                <a:lnTo>
                  <a:pt x="29210" y="1850136"/>
                </a:lnTo>
                <a:lnTo>
                  <a:pt x="1507622" y="70801"/>
                </a:lnTo>
                <a:lnTo>
                  <a:pt x="1478280" y="46424"/>
                </a:lnTo>
                <a:close/>
              </a:path>
              <a:path w="1541779" h="1850389">
                <a:moveTo>
                  <a:pt x="1534213" y="31750"/>
                </a:moveTo>
                <a:lnTo>
                  <a:pt x="1490471" y="31750"/>
                </a:lnTo>
                <a:lnTo>
                  <a:pt x="1519808" y="56134"/>
                </a:lnTo>
                <a:lnTo>
                  <a:pt x="1507622" y="70801"/>
                </a:lnTo>
                <a:lnTo>
                  <a:pt x="1522221" y="82931"/>
                </a:lnTo>
                <a:lnTo>
                  <a:pt x="1534213" y="31750"/>
                </a:lnTo>
                <a:close/>
              </a:path>
              <a:path w="1541779" h="1850389">
                <a:moveTo>
                  <a:pt x="1490471" y="31750"/>
                </a:moveTo>
                <a:lnTo>
                  <a:pt x="1478280" y="46424"/>
                </a:lnTo>
                <a:lnTo>
                  <a:pt x="1507622" y="70801"/>
                </a:lnTo>
                <a:lnTo>
                  <a:pt x="1519808" y="56134"/>
                </a:lnTo>
                <a:lnTo>
                  <a:pt x="1490471" y="31750"/>
                </a:lnTo>
                <a:close/>
              </a:path>
              <a:path w="1541779" h="1850389">
                <a:moveTo>
                  <a:pt x="1541653" y="0"/>
                </a:moveTo>
                <a:lnTo>
                  <a:pt x="1463675" y="34289"/>
                </a:lnTo>
                <a:lnTo>
                  <a:pt x="1478280" y="46424"/>
                </a:lnTo>
                <a:lnTo>
                  <a:pt x="1490471" y="31750"/>
                </a:lnTo>
                <a:lnTo>
                  <a:pt x="1534213" y="31750"/>
                </a:lnTo>
                <a:lnTo>
                  <a:pt x="154165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7">
            <a:extLst>
              <a:ext uri="{FF2B5EF4-FFF2-40B4-BE49-F238E27FC236}">
                <a16:creationId xmlns:a16="http://schemas.microsoft.com/office/drawing/2014/main" id="{9BEDFD85-4A96-4137-BC2E-098925503C26}"/>
              </a:ext>
            </a:extLst>
          </p:cNvPr>
          <p:cNvSpPr/>
          <p:nvPr/>
        </p:nvSpPr>
        <p:spPr>
          <a:xfrm>
            <a:off x="5232147" y="2484883"/>
            <a:ext cx="252729" cy="1581785"/>
          </a:xfrm>
          <a:custGeom>
            <a:avLst/>
            <a:gdLst/>
            <a:ahLst/>
            <a:cxnLst/>
            <a:rect l="l" t="t" r="r" b="b"/>
            <a:pathLst>
              <a:path w="252729" h="1581785">
                <a:moveTo>
                  <a:pt x="56686" y="73086"/>
                </a:moveTo>
                <a:lnTo>
                  <a:pt x="18841" y="78047"/>
                </a:lnTo>
                <a:lnTo>
                  <a:pt x="214756" y="1581276"/>
                </a:lnTo>
                <a:lnTo>
                  <a:pt x="252602" y="1576450"/>
                </a:lnTo>
                <a:lnTo>
                  <a:pt x="56686" y="73086"/>
                </a:lnTo>
                <a:close/>
              </a:path>
              <a:path w="252729" h="1581785">
                <a:moveTo>
                  <a:pt x="27939" y="0"/>
                </a:moveTo>
                <a:lnTo>
                  <a:pt x="0" y="80517"/>
                </a:lnTo>
                <a:lnTo>
                  <a:pt x="18841" y="78047"/>
                </a:lnTo>
                <a:lnTo>
                  <a:pt x="16382" y="59181"/>
                </a:lnTo>
                <a:lnTo>
                  <a:pt x="54228" y="54228"/>
                </a:lnTo>
                <a:lnTo>
                  <a:pt x="64515" y="54228"/>
                </a:lnTo>
                <a:lnTo>
                  <a:pt x="27939" y="0"/>
                </a:lnTo>
                <a:close/>
              </a:path>
              <a:path w="252729" h="1581785">
                <a:moveTo>
                  <a:pt x="54228" y="54228"/>
                </a:moveTo>
                <a:lnTo>
                  <a:pt x="16382" y="59181"/>
                </a:lnTo>
                <a:lnTo>
                  <a:pt x="18841" y="78047"/>
                </a:lnTo>
                <a:lnTo>
                  <a:pt x="56686" y="73086"/>
                </a:lnTo>
                <a:lnTo>
                  <a:pt x="54228" y="54228"/>
                </a:lnTo>
                <a:close/>
              </a:path>
              <a:path w="252729" h="1581785">
                <a:moveTo>
                  <a:pt x="64515" y="54228"/>
                </a:moveTo>
                <a:lnTo>
                  <a:pt x="54228" y="54228"/>
                </a:lnTo>
                <a:lnTo>
                  <a:pt x="56686" y="73086"/>
                </a:lnTo>
                <a:lnTo>
                  <a:pt x="75564" y="70612"/>
                </a:lnTo>
                <a:lnTo>
                  <a:pt x="64515" y="5422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8">
            <a:extLst>
              <a:ext uri="{FF2B5EF4-FFF2-40B4-BE49-F238E27FC236}">
                <a16:creationId xmlns:a16="http://schemas.microsoft.com/office/drawing/2014/main" id="{221B4463-EA67-4F54-B2B7-F8F59F4D2125}"/>
              </a:ext>
            </a:extLst>
          </p:cNvPr>
          <p:cNvSpPr/>
          <p:nvPr/>
        </p:nvSpPr>
        <p:spPr>
          <a:xfrm>
            <a:off x="5560060" y="3004820"/>
            <a:ext cx="1374140" cy="1033780"/>
          </a:xfrm>
          <a:custGeom>
            <a:avLst/>
            <a:gdLst/>
            <a:ahLst/>
            <a:cxnLst/>
            <a:rect l="l" t="t" r="r" b="b"/>
            <a:pathLst>
              <a:path w="1374139" h="1033779">
                <a:moveTo>
                  <a:pt x="72430" y="30340"/>
                </a:moveTo>
                <a:lnTo>
                  <a:pt x="49596" y="60871"/>
                </a:lnTo>
                <a:lnTo>
                  <a:pt x="1351026" y="1033272"/>
                </a:lnTo>
                <a:lnTo>
                  <a:pt x="1373886" y="1002792"/>
                </a:lnTo>
                <a:lnTo>
                  <a:pt x="72430" y="30340"/>
                </a:lnTo>
                <a:close/>
              </a:path>
              <a:path w="1374139" h="1033779">
                <a:moveTo>
                  <a:pt x="0" y="0"/>
                </a:moveTo>
                <a:lnTo>
                  <a:pt x="38226" y="76073"/>
                </a:lnTo>
                <a:lnTo>
                  <a:pt x="49596" y="60871"/>
                </a:lnTo>
                <a:lnTo>
                  <a:pt x="34416" y="49530"/>
                </a:lnTo>
                <a:lnTo>
                  <a:pt x="57150" y="18923"/>
                </a:lnTo>
                <a:lnTo>
                  <a:pt x="80970" y="18923"/>
                </a:lnTo>
                <a:lnTo>
                  <a:pt x="83819" y="15112"/>
                </a:lnTo>
                <a:lnTo>
                  <a:pt x="0" y="0"/>
                </a:lnTo>
                <a:close/>
              </a:path>
              <a:path w="1374139" h="1033779">
                <a:moveTo>
                  <a:pt x="57150" y="18923"/>
                </a:moveTo>
                <a:lnTo>
                  <a:pt x="34416" y="49530"/>
                </a:lnTo>
                <a:lnTo>
                  <a:pt x="49596" y="60871"/>
                </a:lnTo>
                <a:lnTo>
                  <a:pt x="72430" y="30340"/>
                </a:lnTo>
                <a:lnTo>
                  <a:pt x="57150" y="18923"/>
                </a:lnTo>
                <a:close/>
              </a:path>
              <a:path w="1374139" h="1033779">
                <a:moveTo>
                  <a:pt x="80970" y="18923"/>
                </a:moveTo>
                <a:lnTo>
                  <a:pt x="57150" y="18923"/>
                </a:lnTo>
                <a:lnTo>
                  <a:pt x="72430" y="30340"/>
                </a:lnTo>
                <a:lnTo>
                  <a:pt x="80970" y="1892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9">
            <a:extLst>
              <a:ext uri="{FF2B5EF4-FFF2-40B4-BE49-F238E27FC236}">
                <a16:creationId xmlns:a16="http://schemas.microsoft.com/office/drawing/2014/main" id="{7F58498B-DE9B-48E1-B2ED-203C4294158B}"/>
              </a:ext>
            </a:extLst>
          </p:cNvPr>
          <p:cNvSpPr/>
          <p:nvPr/>
        </p:nvSpPr>
        <p:spPr>
          <a:xfrm>
            <a:off x="7239000" y="3276601"/>
            <a:ext cx="2046731" cy="718947"/>
          </a:xfrm>
          <a:custGeom>
            <a:avLst/>
            <a:gdLst/>
            <a:ahLst/>
            <a:cxnLst/>
            <a:rect l="l" t="t" r="r" b="b"/>
            <a:pathLst>
              <a:path w="2122170" h="583564">
                <a:moveTo>
                  <a:pt x="78569" y="18370"/>
                </a:moveTo>
                <a:lnTo>
                  <a:pt x="69029" y="55322"/>
                </a:lnTo>
                <a:lnTo>
                  <a:pt x="2112010" y="583310"/>
                </a:lnTo>
                <a:lnTo>
                  <a:pt x="2121662" y="546480"/>
                </a:lnTo>
                <a:lnTo>
                  <a:pt x="78569" y="18370"/>
                </a:lnTo>
                <a:close/>
              </a:path>
              <a:path w="2122170" h="583564">
                <a:moveTo>
                  <a:pt x="83312" y="0"/>
                </a:moveTo>
                <a:lnTo>
                  <a:pt x="0" y="17779"/>
                </a:lnTo>
                <a:lnTo>
                  <a:pt x="64262" y="73787"/>
                </a:lnTo>
                <a:lnTo>
                  <a:pt x="69029" y="55322"/>
                </a:lnTo>
                <a:lnTo>
                  <a:pt x="50546" y="50545"/>
                </a:lnTo>
                <a:lnTo>
                  <a:pt x="60071" y="13588"/>
                </a:lnTo>
                <a:lnTo>
                  <a:pt x="79803" y="13588"/>
                </a:lnTo>
                <a:lnTo>
                  <a:pt x="83312" y="0"/>
                </a:lnTo>
                <a:close/>
              </a:path>
              <a:path w="2122170" h="583564">
                <a:moveTo>
                  <a:pt x="60071" y="13588"/>
                </a:moveTo>
                <a:lnTo>
                  <a:pt x="50546" y="50545"/>
                </a:lnTo>
                <a:lnTo>
                  <a:pt x="69029" y="55322"/>
                </a:lnTo>
                <a:lnTo>
                  <a:pt x="78569" y="18370"/>
                </a:lnTo>
                <a:lnTo>
                  <a:pt x="60071" y="13588"/>
                </a:lnTo>
                <a:close/>
              </a:path>
              <a:path w="2122170" h="583564">
                <a:moveTo>
                  <a:pt x="79803" y="13588"/>
                </a:moveTo>
                <a:lnTo>
                  <a:pt x="60071" y="13588"/>
                </a:lnTo>
                <a:lnTo>
                  <a:pt x="78569" y="18370"/>
                </a:lnTo>
                <a:lnTo>
                  <a:pt x="79803" y="1358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6572406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CAB53-5F05-4488-89EB-F4F85713748E}"/>
              </a:ext>
            </a:extLst>
          </p:cNvPr>
          <p:cNvSpPr txBox="1">
            <a:spLocks/>
          </p:cNvSpPr>
          <p:nvPr/>
        </p:nvSpPr>
        <p:spPr>
          <a:xfrm>
            <a:off x="2336757" y="0"/>
            <a:ext cx="7524836" cy="108874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vi-VN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ây dựng các biểu mẫu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C80186F-9347-4949-9165-80495498A9B1}"/>
              </a:ext>
            </a:extLst>
          </p:cNvPr>
          <p:cNvSpPr txBox="1">
            <a:spLocks/>
          </p:cNvSpPr>
          <p:nvPr/>
        </p:nvSpPr>
        <p:spPr>
          <a:xfrm>
            <a:off x="374344" y="1845649"/>
            <a:ext cx="3198734" cy="1370886"/>
          </a:xfrm>
          <a:prstGeom prst="rect">
            <a:avLst/>
          </a:prstGeom>
          <a:gradFill rotWithShape="1">
            <a:gsLst>
              <a:gs pos="0">
                <a:srgbClr val="333399">
                  <a:shade val="51000"/>
                  <a:satMod val="130000"/>
                </a:srgbClr>
              </a:gs>
              <a:gs pos="80000">
                <a:srgbClr val="333399">
                  <a:shade val="93000"/>
                  <a:satMod val="130000"/>
                </a:srgbClr>
              </a:gs>
              <a:gs pos="100000">
                <a:srgbClr val="333399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ây dựng các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đối tượng thông ti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A6C8251-7A8D-4D6C-9DB3-220579F1B10D}"/>
              </a:ext>
            </a:extLst>
          </p:cNvPr>
          <p:cNvSpPr txBox="1">
            <a:spLocks/>
          </p:cNvSpPr>
          <p:nvPr/>
        </p:nvSpPr>
        <p:spPr>
          <a:xfrm>
            <a:off x="4512649" y="1845649"/>
            <a:ext cx="3198734" cy="1370886"/>
          </a:xfrm>
          <a:prstGeom prst="rect">
            <a:avLst/>
          </a:prstGeom>
          <a:gradFill rotWithShape="1">
            <a:gsLst>
              <a:gs pos="0">
                <a:srgbClr val="333399">
                  <a:shade val="51000"/>
                  <a:satMod val="130000"/>
                </a:srgbClr>
              </a:gs>
              <a:gs pos="80000">
                <a:srgbClr val="333399">
                  <a:shade val="93000"/>
                  <a:satMod val="130000"/>
                </a:srgbClr>
              </a:gs>
              <a:gs pos="100000">
                <a:srgbClr val="333399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none" rtlCol="0" anchor="ctr">
            <a:noAutofit/>
          </a:bodyPr>
          <a:lstStyle>
            <a:defPPr>
              <a:defRPr lang="de-DE"/>
            </a:defPPr>
            <a:lvl1pPr algn="ctr">
              <a:spcBef>
                <a:spcPts val="0"/>
              </a:spcBef>
              <a:defRPr sz="2400"/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ạo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ác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ành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hần</a:t>
            </a:r>
            <a:endParaRPr kumimoji="0" lang="en-US" sz="2399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139DCCC-AD34-42AA-A5E3-9A13AC6F851F}"/>
              </a:ext>
            </a:extLst>
          </p:cNvPr>
          <p:cNvSpPr txBox="1">
            <a:spLocks/>
          </p:cNvSpPr>
          <p:nvPr/>
        </p:nvSpPr>
        <p:spPr>
          <a:xfrm>
            <a:off x="8650953" y="1845649"/>
            <a:ext cx="3198734" cy="1370886"/>
          </a:xfrm>
          <a:prstGeom prst="rect">
            <a:avLst/>
          </a:prstGeom>
          <a:gradFill rotWithShape="1">
            <a:gsLst>
              <a:gs pos="0">
                <a:srgbClr val="333399">
                  <a:shade val="51000"/>
                  <a:satMod val="130000"/>
                </a:srgbClr>
              </a:gs>
              <a:gs pos="80000">
                <a:srgbClr val="333399">
                  <a:shade val="93000"/>
                  <a:satMod val="130000"/>
                </a:srgbClr>
              </a:gs>
              <a:gs pos="100000">
                <a:srgbClr val="333399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none" rtlCol="0" anchor="ctr">
            <a:noAutofit/>
          </a:bodyPr>
          <a:lstStyle>
            <a:defPPr>
              <a:defRPr lang="de-DE"/>
            </a:defPPr>
            <a:lvl1pPr algn="ctr">
              <a:spcBef>
                <a:spcPts val="0"/>
              </a:spcBef>
              <a:defRPr sz="2400"/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ây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ựng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ây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iải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háp</a:t>
            </a:r>
            <a:endParaRPr kumimoji="0" lang="en-US" sz="2399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BAE584F-0AD5-457C-8ECB-944050D75936}"/>
              </a:ext>
            </a:extLst>
          </p:cNvPr>
          <p:cNvSpPr txBox="1">
            <a:spLocks/>
          </p:cNvSpPr>
          <p:nvPr/>
        </p:nvSpPr>
        <p:spPr>
          <a:xfrm>
            <a:off x="8650953" y="4184690"/>
            <a:ext cx="3198734" cy="1370886"/>
          </a:xfrm>
          <a:prstGeom prst="rect">
            <a:avLst/>
          </a:prstGeom>
          <a:gradFill rotWithShape="1">
            <a:gsLst>
              <a:gs pos="0">
                <a:srgbClr val="333399">
                  <a:shade val="51000"/>
                  <a:satMod val="130000"/>
                </a:srgbClr>
              </a:gs>
              <a:gs pos="80000">
                <a:srgbClr val="333399">
                  <a:shade val="93000"/>
                  <a:satMod val="130000"/>
                </a:srgbClr>
              </a:gs>
              <a:gs pos="100000">
                <a:srgbClr val="333399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none" rtlCol="0" anchor="ctr">
            <a:noAutofit/>
          </a:bodyPr>
          <a:lstStyle>
            <a:defPPr>
              <a:defRPr lang="de-DE"/>
            </a:defPPr>
            <a:lvl1pPr algn="ctr">
              <a:spcBef>
                <a:spcPts val="0"/>
              </a:spcBef>
              <a:defRPr sz="2400"/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ấu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ình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ác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ành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hần</a:t>
            </a:r>
            <a:endParaRPr kumimoji="0" lang="en-US" sz="2399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97428AA-BBC6-4811-884F-67575C2B97F6}"/>
              </a:ext>
            </a:extLst>
          </p:cNvPr>
          <p:cNvSpPr txBox="1">
            <a:spLocks/>
          </p:cNvSpPr>
          <p:nvPr/>
        </p:nvSpPr>
        <p:spPr>
          <a:xfrm>
            <a:off x="4512649" y="4184690"/>
            <a:ext cx="3198734" cy="1370886"/>
          </a:xfrm>
          <a:prstGeom prst="rect">
            <a:avLst/>
          </a:prstGeom>
          <a:gradFill rotWithShape="1">
            <a:gsLst>
              <a:gs pos="0">
                <a:srgbClr val="333399">
                  <a:shade val="51000"/>
                  <a:satMod val="130000"/>
                </a:srgbClr>
              </a:gs>
              <a:gs pos="80000">
                <a:srgbClr val="333399">
                  <a:shade val="93000"/>
                  <a:satMod val="130000"/>
                </a:srgbClr>
              </a:gs>
              <a:gs pos="100000">
                <a:srgbClr val="333399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none" rtlCol="0" anchor="ctr">
            <a:noAutofit/>
          </a:bodyPr>
          <a:lstStyle>
            <a:defPPr>
              <a:defRPr lang="de-DE"/>
            </a:defPPr>
            <a:lvl1pPr algn="ctr">
              <a:spcBef>
                <a:spcPts val="0"/>
              </a:spcBef>
              <a:defRPr sz="2400"/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ây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ựng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ác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ểu</a:t>
            </a:r>
            <a:r>
              <a: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399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ẫu</a:t>
            </a:r>
            <a:endParaRPr kumimoji="0" lang="en-US" sz="2399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EB9F4DA-2B39-4075-9351-324A804B560E}"/>
              </a:ext>
            </a:extLst>
          </p:cNvPr>
          <p:cNvSpPr txBox="1">
            <a:spLocks/>
          </p:cNvSpPr>
          <p:nvPr/>
        </p:nvSpPr>
        <p:spPr>
          <a:xfrm>
            <a:off x="374344" y="4184690"/>
            <a:ext cx="3198734" cy="1370886"/>
          </a:xfrm>
          <a:prstGeom prst="rect">
            <a:avLst/>
          </a:prstGeom>
          <a:solidFill>
            <a:srgbClr val="FFFFFF">
              <a:lumMod val="75000"/>
            </a:srgbClr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uy cập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 trình duyệt</a:t>
            </a:r>
          </a:p>
        </p:txBody>
      </p:sp>
      <p:sp>
        <p:nvSpPr>
          <p:cNvPr id="20" name="Right Arrow 11">
            <a:extLst>
              <a:ext uri="{FF2B5EF4-FFF2-40B4-BE49-F238E27FC236}">
                <a16:creationId xmlns:a16="http://schemas.microsoft.com/office/drawing/2014/main" id="{9B8FAB29-4E87-4AEB-800F-821A16E95497}"/>
              </a:ext>
            </a:extLst>
          </p:cNvPr>
          <p:cNvSpPr/>
          <p:nvPr/>
        </p:nvSpPr>
        <p:spPr bwMode="auto">
          <a:xfrm>
            <a:off x="3720973" y="2225686"/>
            <a:ext cx="683720" cy="610813"/>
          </a:xfrm>
          <a:prstGeom prst="rightArrow">
            <a:avLst/>
          </a:prstGeom>
          <a:solidFill>
            <a:srgbClr val="FFFFFF">
              <a:lumMod val="7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3943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99" b="1" i="1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</a:endParaRPr>
          </a:p>
        </p:txBody>
      </p:sp>
      <p:sp>
        <p:nvSpPr>
          <p:cNvPr id="21" name="Right Arrow 12">
            <a:extLst>
              <a:ext uri="{FF2B5EF4-FFF2-40B4-BE49-F238E27FC236}">
                <a16:creationId xmlns:a16="http://schemas.microsoft.com/office/drawing/2014/main" id="{C3716D09-B9E3-4C35-9DFB-48E378690859}"/>
              </a:ext>
            </a:extLst>
          </p:cNvPr>
          <p:cNvSpPr/>
          <p:nvPr/>
        </p:nvSpPr>
        <p:spPr bwMode="auto">
          <a:xfrm>
            <a:off x="7839308" y="2225686"/>
            <a:ext cx="683720" cy="610813"/>
          </a:xfrm>
          <a:prstGeom prst="rightArrow">
            <a:avLst/>
          </a:prstGeom>
          <a:solidFill>
            <a:srgbClr val="FFFFFF">
              <a:lumMod val="7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3943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99" b="1" i="1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</a:endParaRPr>
          </a:p>
        </p:txBody>
      </p:sp>
      <p:sp>
        <p:nvSpPr>
          <p:cNvPr id="22" name="Right Arrow 13">
            <a:extLst>
              <a:ext uri="{FF2B5EF4-FFF2-40B4-BE49-F238E27FC236}">
                <a16:creationId xmlns:a16="http://schemas.microsoft.com/office/drawing/2014/main" id="{41C8E602-27D8-498E-B7F0-CF2D48BBD579}"/>
              </a:ext>
            </a:extLst>
          </p:cNvPr>
          <p:cNvSpPr/>
          <p:nvPr/>
        </p:nvSpPr>
        <p:spPr bwMode="auto">
          <a:xfrm rot="10800000">
            <a:off x="7839308" y="4564729"/>
            <a:ext cx="683720" cy="610813"/>
          </a:xfrm>
          <a:prstGeom prst="rightArrow">
            <a:avLst/>
          </a:prstGeom>
          <a:solidFill>
            <a:srgbClr val="FFFFFF">
              <a:lumMod val="7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3943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99" b="1" i="1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</a:endParaRPr>
          </a:p>
        </p:txBody>
      </p:sp>
      <p:sp>
        <p:nvSpPr>
          <p:cNvPr id="23" name="Right Arrow 14">
            <a:extLst>
              <a:ext uri="{FF2B5EF4-FFF2-40B4-BE49-F238E27FC236}">
                <a16:creationId xmlns:a16="http://schemas.microsoft.com/office/drawing/2014/main" id="{DD17A861-7A7F-4DA6-98A4-162777D3893E}"/>
              </a:ext>
            </a:extLst>
          </p:cNvPr>
          <p:cNvSpPr/>
          <p:nvPr/>
        </p:nvSpPr>
        <p:spPr bwMode="auto">
          <a:xfrm rot="10800000">
            <a:off x="3701003" y="4564728"/>
            <a:ext cx="683720" cy="610813"/>
          </a:xfrm>
          <a:prstGeom prst="rightArrow">
            <a:avLst/>
          </a:prstGeom>
          <a:solidFill>
            <a:srgbClr val="FFFFFF">
              <a:lumMod val="7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3943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99" b="1" i="1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</a:endParaRPr>
          </a:p>
        </p:txBody>
      </p:sp>
      <p:sp>
        <p:nvSpPr>
          <p:cNvPr id="24" name="Right Arrow 15">
            <a:extLst>
              <a:ext uri="{FF2B5EF4-FFF2-40B4-BE49-F238E27FC236}">
                <a16:creationId xmlns:a16="http://schemas.microsoft.com/office/drawing/2014/main" id="{19F66D85-A586-47BF-A741-E94981A16803}"/>
              </a:ext>
            </a:extLst>
          </p:cNvPr>
          <p:cNvSpPr/>
          <p:nvPr/>
        </p:nvSpPr>
        <p:spPr bwMode="auto">
          <a:xfrm rot="5400000">
            <a:off x="9908460" y="3395067"/>
            <a:ext cx="683720" cy="610813"/>
          </a:xfrm>
          <a:prstGeom prst="rightArrow">
            <a:avLst/>
          </a:prstGeom>
          <a:solidFill>
            <a:srgbClr val="FFFFFF">
              <a:lumMod val="7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3943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99" b="1" i="1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20766624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DB12CAFC-DC2D-5793-AC62-1F5D9D11A5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92954" y="3054973"/>
            <a:ext cx="3117849" cy="164886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4CAB53-5F05-4488-89EB-F4F85713748E}"/>
              </a:ext>
            </a:extLst>
          </p:cNvPr>
          <p:cNvSpPr txBox="1">
            <a:spLocks/>
          </p:cNvSpPr>
          <p:nvPr/>
        </p:nvSpPr>
        <p:spPr>
          <a:xfrm>
            <a:off x="2336757" y="0"/>
            <a:ext cx="7524836" cy="108874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vi-VN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ây dựng các biểu mẫu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B95A7F5A-7E29-9C0E-F05F-0C825D86F854}"/>
              </a:ext>
            </a:extLst>
          </p:cNvPr>
          <p:cNvGrpSpPr/>
          <p:nvPr/>
        </p:nvGrpSpPr>
        <p:grpSpPr>
          <a:xfrm>
            <a:off x="97590" y="2676595"/>
            <a:ext cx="9989102" cy="3678259"/>
            <a:chOff x="551742" y="1852628"/>
            <a:chExt cx="11237734" cy="4049670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2AA06C74-075B-EAB8-2360-8179E0EC71AA}"/>
                </a:ext>
              </a:extLst>
            </p:cNvPr>
            <p:cNvSpPr/>
            <p:nvPr/>
          </p:nvSpPr>
          <p:spPr bwMode="auto">
            <a:xfrm>
              <a:off x="2252870" y="2470652"/>
              <a:ext cx="2438399" cy="348991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943" eaLnBrk="0" hangingPunct="0"/>
              <a:r>
                <a:rPr lang="en-US" sz="1200" b="1" i="1" dirty="0" err="1">
                  <a:solidFill>
                    <a:schemeClr val="bg1"/>
                  </a:solidFill>
                  <a:latin typeface="Times New Roman" pitchFamily="18" charset="0"/>
                </a:rPr>
                <a:t>Tổng</a:t>
              </a:r>
              <a:r>
                <a:rPr lang="en-US" sz="1200" b="1" i="1" dirty="0">
                  <a:solidFill>
                    <a:schemeClr val="bg1"/>
                  </a:solidFill>
                  <a:latin typeface="Times New Roman" pitchFamily="18" charset="0"/>
                </a:rPr>
                <a:t> </a:t>
              </a:r>
              <a:r>
                <a:rPr lang="en-US" sz="1200" b="1" i="1" dirty="0" err="1">
                  <a:solidFill>
                    <a:schemeClr val="bg1"/>
                  </a:solidFill>
                  <a:latin typeface="Times New Roman" pitchFamily="18" charset="0"/>
                </a:rPr>
                <a:t>quan</a:t>
              </a:r>
              <a:endParaRPr lang="en-US" sz="1200" b="1" i="1" dirty="0">
                <a:solidFill>
                  <a:schemeClr val="bg1"/>
                </a:solidFill>
                <a:latin typeface="Times New Roman" pitchFamily="18" charset="0"/>
              </a:endParaRPr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931D1E86-0EB1-9059-7C7B-A1B8801D6D8B}"/>
                </a:ext>
              </a:extLst>
            </p:cNvPr>
            <p:cNvSpPr/>
            <p:nvPr/>
          </p:nvSpPr>
          <p:spPr bwMode="auto">
            <a:xfrm>
              <a:off x="2252870" y="2917913"/>
              <a:ext cx="2438399" cy="348991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943" eaLnBrk="0" hangingPunct="0"/>
              <a:r>
                <a:rPr lang="en-US" sz="1200" b="1" i="1" dirty="0" err="1">
                  <a:solidFill>
                    <a:schemeClr val="bg1"/>
                  </a:solidFill>
                  <a:latin typeface="Times New Roman" pitchFamily="18" charset="0"/>
                </a:rPr>
                <a:t>Sản</a:t>
              </a:r>
              <a:r>
                <a:rPr lang="en-US" sz="1200" b="1" i="1" dirty="0">
                  <a:solidFill>
                    <a:schemeClr val="bg1"/>
                  </a:solidFill>
                  <a:latin typeface="Times New Roman" pitchFamily="18" charset="0"/>
                </a:rPr>
                <a:t> </a:t>
              </a:r>
              <a:r>
                <a:rPr lang="en-US" sz="1200" b="1" i="1" dirty="0" err="1">
                  <a:solidFill>
                    <a:schemeClr val="bg1"/>
                  </a:solidFill>
                  <a:latin typeface="Times New Roman" pitchFamily="18" charset="0"/>
                </a:rPr>
                <a:t>xuất</a:t>
              </a:r>
              <a:endParaRPr lang="en-US" sz="1200" b="1" i="1" dirty="0">
                <a:solidFill>
                  <a:schemeClr val="bg1"/>
                </a:solidFill>
                <a:latin typeface="Times New Roman" pitchFamily="18" charset="0"/>
              </a:endParaRP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BBEB4F11-34D5-DC81-E075-17A83A1BEDD8}"/>
                </a:ext>
              </a:extLst>
            </p:cNvPr>
            <p:cNvSpPr/>
            <p:nvPr/>
          </p:nvSpPr>
          <p:spPr bwMode="auto">
            <a:xfrm>
              <a:off x="2286000" y="3365175"/>
              <a:ext cx="2438399" cy="348991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943" eaLnBrk="0" hangingPunct="0"/>
              <a:r>
                <a:rPr lang="en-US" sz="1200" b="1" i="1" dirty="0" err="1">
                  <a:solidFill>
                    <a:schemeClr val="bg1"/>
                  </a:solidFill>
                  <a:latin typeface="Times New Roman" pitchFamily="18" charset="0"/>
                </a:rPr>
                <a:t>Chất</a:t>
              </a:r>
              <a:r>
                <a:rPr lang="en-US" sz="1200" b="1" i="1" dirty="0">
                  <a:solidFill>
                    <a:schemeClr val="bg1"/>
                  </a:solidFill>
                  <a:latin typeface="Times New Roman" pitchFamily="18" charset="0"/>
                </a:rPr>
                <a:t> </a:t>
              </a:r>
              <a:r>
                <a:rPr lang="en-US" sz="1200" b="1" i="1" dirty="0" err="1">
                  <a:solidFill>
                    <a:schemeClr val="bg1"/>
                  </a:solidFill>
                  <a:latin typeface="Times New Roman" pitchFamily="18" charset="0"/>
                </a:rPr>
                <a:t>lượng</a:t>
              </a:r>
              <a:endParaRPr lang="en-US" sz="1200" b="1" i="1" dirty="0">
                <a:solidFill>
                  <a:schemeClr val="bg1"/>
                </a:solidFill>
                <a:latin typeface="Times New Roman" pitchFamily="18" charset="0"/>
              </a:endParaRP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52E5807B-B332-2D39-3EDE-1116102313CB}"/>
                </a:ext>
              </a:extLst>
            </p:cNvPr>
            <p:cNvSpPr/>
            <p:nvPr/>
          </p:nvSpPr>
          <p:spPr bwMode="auto">
            <a:xfrm>
              <a:off x="2286000" y="3812434"/>
              <a:ext cx="2438399" cy="348991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943" eaLnBrk="0" hangingPunct="0"/>
              <a:r>
                <a:rPr lang="en-US" sz="1200" b="1" i="1" dirty="0" err="1">
                  <a:solidFill>
                    <a:schemeClr val="bg1"/>
                  </a:solidFill>
                  <a:latin typeface="Times New Roman" pitchFamily="18" charset="0"/>
                </a:rPr>
                <a:t>Sửa</a:t>
              </a:r>
              <a:r>
                <a:rPr lang="en-US" sz="1200" b="1" i="1" dirty="0">
                  <a:solidFill>
                    <a:schemeClr val="bg1"/>
                  </a:solidFill>
                  <a:latin typeface="Times New Roman" pitchFamily="18" charset="0"/>
                </a:rPr>
                <a:t> </a:t>
              </a:r>
              <a:r>
                <a:rPr lang="en-US" sz="1200" b="1" i="1" dirty="0" err="1">
                  <a:solidFill>
                    <a:schemeClr val="bg1"/>
                  </a:solidFill>
                  <a:latin typeface="Times New Roman" pitchFamily="18" charset="0"/>
                </a:rPr>
                <a:t>chữa</a:t>
              </a:r>
              <a:endParaRPr lang="en-US" sz="1200" b="1" i="1" dirty="0">
                <a:solidFill>
                  <a:schemeClr val="bg1"/>
                </a:solidFill>
                <a:latin typeface="Times New Roman" pitchFamily="18" charset="0"/>
              </a:endParaRPr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2965CE79-D081-A9FF-3745-3DF4ED3ABF53}"/>
                </a:ext>
              </a:extLst>
            </p:cNvPr>
            <p:cNvSpPr/>
            <p:nvPr/>
          </p:nvSpPr>
          <p:spPr bwMode="auto">
            <a:xfrm>
              <a:off x="2286000" y="4249501"/>
              <a:ext cx="2438399" cy="348991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943" eaLnBrk="0" hangingPunct="0"/>
              <a:r>
                <a:rPr lang="en-US" sz="1200" b="1" i="1" dirty="0" err="1">
                  <a:solidFill>
                    <a:schemeClr val="bg1"/>
                  </a:solidFill>
                  <a:latin typeface="Times New Roman" pitchFamily="18" charset="0"/>
                </a:rPr>
                <a:t>Môi</a:t>
              </a:r>
              <a:r>
                <a:rPr lang="en-US" sz="1200" b="1" i="1" dirty="0">
                  <a:solidFill>
                    <a:schemeClr val="bg1"/>
                  </a:solidFill>
                  <a:latin typeface="Times New Roman" pitchFamily="18" charset="0"/>
                </a:rPr>
                <a:t> </a:t>
              </a:r>
              <a:r>
                <a:rPr lang="en-US" sz="1200" b="1" i="1" dirty="0" err="1">
                  <a:solidFill>
                    <a:schemeClr val="bg1"/>
                  </a:solidFill>
                  <a:latin typeface="Times New Roman" pitchFamily="18" charset="0"/>
                </a:rPr>
                <a:t>trường</a:t>
              </a:r>
              <a:endParaRPr lang="en-US" sz="1200" b="1" i="1" dirty="0">
                <a:solidFill>
                  <a:schemeClr val="bg1"/>
                </a:solidFill>
                <a:latin typeface="Times New Roman" pitchFamily="18" charset="0"/>
              </a:endParaRPr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74A65DBC-BC8F-8936-B6D4-04B2F2CAF981}"/>
                </a:ext>
              </a:extLst>
            </p:cNvPr>
            <p:cNvSpPr/>
            <p:nvPr/>
          </p:nvSpPr>
          <p:spPr bwMode="auto">
            <a:xfrm>
              <a:off x="2286000" y="4686567"/>
              <a:ext cx="2438399" cy="348991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943" eaLnBrk="0" hangingPunct="0"/>
              <a:r>
                <a:rPr lang="en-US" sz="1200" b="1" i="1" dirty="0" err="1">
                  <a:solidFill>
                    <a:schemeClr val="bg1"/>
                  </a:solidFill>
                  <a:latin typeface="Times New Roman" pitchFamily="18" charset="0"/>
                </a:rPr>
                <a:t>Cảnh</a:t>
              </a:r>
              <a:r>
                <a:rPr lang="en-US" sz="1200" b="1" i="1" dirty="0">
                  <a:solidFill>
                    <a:schemeClr val="bg1"/>
                  </a:solidFill>
                  <a:latin typeface="Times New Roman" pitchFamily="18" charset="0"/>
                </a:rPr>
                <a:t> </a:t>
              </a:r>
              <a:r>
                <a:rPr lang="en-US" sz="1200" b="1" i="1" dirty="0" err="1">
                  <a:solidFill>
                    <a:schemeClr val="bg1"/>
                  </a:solidFill>
                  <a:latin typeface="Times New Roman" pitchFamily="18" charset="0"/>
                </a:rPr>
                <a:t>báo</a:t>
              </a:r>
              <a:endParaRPr lang="en-US" sz="1200" b="1" i="1" dirty="0">
                <a:solidFill>
                  <a:schemeClr val="bg1"/>
                </a:solidFill>
                <a:latin typeface="Times New Roman" pitchFamily="18" charset="0"/>
              </a:endParaRPr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221A61E6-39A7-7143-FBE1-30E7318CA593}"/>
                </a:ext>
              </a:extLst>
            </p:cNvPr>
            <p:cNvSpPr/>
            <p:nvPr/>
          </p:nvSpPr>
          <p:spPr bwMode="auto">
            <a:xfrm>
              <a:off x="2286000" y="5123632"/>
              <a:ext cx="2438399" cy="348991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943" eaLnBrk="0" hangingPunct="0"/>
              <a:r>
                <a:rPr lang="en-US" sz="1200" b="1" i="1" dirty="0" err="1">
                  <a:solidFill>
                    <a:schemeClr val="bg1"/>
                  </a:solidFill>
                  <a:latin typeface="Times New Roman" pitchFamily="18" charset="0"/>
                </a:rPr>
                <a:t>Điện</a:t>
              </a:r>
              <a:r>
                <a:rPr lang="en-US" sz="1200" b="1" i="1" dirty="0">
                  <a:solidFill>
                    <a:schemeClr val="bg1"/>
                  </a:solidFill>
                  <a:latin typeface="Times New Roman" pitchFamily="18" charset="0"/>
                </a:rPr>
                <a:t> </a:t>
              </a:r>
              <a:r>
                <a:rPr lang="en-US" sz="1200" b="1" i="1" dirty="0" err="1">
                  <a:solidFill>
                    <a:schemeClr val="bg1"/>
                  </a:solidFill>
                  <a:latin typeface="Times New Roman" pitchFamily="18" charset="0"/>
                </a:rPr>
                <a:t>năng</a:t>
              </a:r>
              <a:endParaRPr lang="en-US" sz="1200" b="1" i="1" dirty="0">
                <a:solidFill>
                  <a:schemeClr val="bg1"/>
                </a:solidFill>
                <a:latin typeface="Times New Roman" pitchFamily="18" charset="0"/>
              </a:endParaRPr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B97D88B6-FBA7-90A8-9941-478694ACFC09}"/>
                </a:ext>
              </a:extLst>
            </p:cNvPr>
            <p:cNvSpPr/>
            <p:nvPr/>
          </p:nvSpPr>
          <p:spPr bwMode="auto">
            <a:xfrm>
              <a:off x="2286000" y="5553307"/>
              <a:ext cx="2438399" cy="348991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943" eaLnBrk="0" hangingPunct="0"/>
              <a:r>
                <a:rPr lang="en-US" sz="1200" b="1" i="1" dirty="0" err="1">
                  <a:solidFill>
                    <a:schemeClr val="bg1"/>
                  </a:solidFill>
                  <a:latin typeface="Times New Roman" pitchFamily="18" charset="0"/>
                </a:rPr>
                <a:t>Quản</a:t>
              </a:r>
              <a:r>
                <a:rPr lang="en-US" sz="1200" b="1" i="1" dirty="0">
                  <a:solidFill>
                    <a:schemeClr val="bg1"/>
                  </a:solidFill>
                  <a:latin typeface="Times New Roman" pitchFamily="18" charset="0"/>
                </a:rPr>
                <a:t> </a:t>
              </a:r>
              <a:r>
                <a:rPr lang="en-US" sz="1200" b="1" i="1" dirty="0" err="1">
                  <a:solidFill>
                    <a:schemeClr val="bg1"/>
                  </a:solidFill>
                  <a:latin typeface="Times New Roman" pitchFamily="18" charset="0"/>
                </a:rPr>
                <a:t>trị</a:t>
              </a:r>
              <a:r>
                <a:rPr lang="en-US" sz="1200" b="1" i="1" dirty="0">
                  <a:solidFill>
                    <a:schemeClr val="bg1"/>
                  </a:solidFill>
                  <a:latin typeface="Times New Roman" pitchFamily="18" charset="0"/>
                </a:rPr>
                <a:t> KPI</a:t>
              </a:r>
            </a:p>
          </p:txBody>
        </p:sp>
        <p:sp>
          <p:nvSpPr>
            <p:cNvPr id="96" name="Flowchart: Terminator 95">
              <a:extLst>
                <a:ext uri="{FF2B5EF4-FFF2-40B4-BE49-F238E27FC236}">
                  <a16:creationId xmlns:a16="http://schemas.microsoft.com/office/drawing/2014/main" id="{7B2415E1-61F1-8CD1-53D6-B137DACE37AE}"/>
                </a:ext>
              </a:extLst>
            </p:cNvPr>
            <p:cNvSpPr/>
            <p:nvPr/>
          </p:nvSpPr>
          <p:spPr bwMode="auto">
            <a:xfrm>
              <a:off x="551742" y="1852628"/>
              <a:ext cx="1295400" cy="490749"/>
            </a:xfrm>
            <a:prstGeom prst="flowChartTerminator">
              <a:avLst/>
            </a:prstGeom>
            <a:solidFill>
              <a:srgbClr val="0070C0"/>
            </a:solidFill>
            <a:ln w="698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943" eaLnBrk="0" hangingPunct="0"/>
              <a:r>
                <a:rPr lang="en-US" sz="1200" b="1" dirty="0">
                  <a:solidFill>
                    <a:schemeClr val="bg1"/>
                  </a:solidFill>
                  <a:latin typeface="Times New Roman" pitchFamily="18" charset="0"/>
                </a:rPr>
                <a:t>NMBP</a:t>
              </a:r>
            </a:p>
          </p:txBody>
        </p:sp>
        <p:cxnSp>
          <p:nvCxnSpPr>
            <p:cNvPr id="97" name="Connector: Elbow 96">
              <a:extLst>
                <a:ext uri="{FF2B5EF4-FFF2-40B4-BE49-F238E27FC236}">
                  <a16:creationId xmlns:a16="http://schemas.microsoft.com/office/drawing/2014/main" id="{91599876-86DD-0992-0339-BC6EE4826982}"/>
                </a:ext>
              </a:extLst>
            </p:cNvPr>
            <p:cNvCxnSpPr>
              <a:cxnSpLocks/>
              <a:stCxn id="96" idx="2"/>
              <a:endCxn id="46" idx="1"/>
            </p:cNvCxnSpPr>
            <p:nvPr/>
          </p:nvCxnSpPr>
          <p:spPr bwMode="auto">
            <a:xfrm rot="16200000" flipH="1">
              <a:off x="1575271" y="1967548"/>
              <a:ext cx="301771" cy="1053427"/>
            </a:xfrm>
            <a:prstGeom prst="bentConnector2">
              <a:avLst/>
            </a:prstGeom>
            <a:ln>
              <a:headEnd type="none" w="med" len="med"/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98" name="Connector: Elbow 97">
              <a:extLst>
                <a:ext uri="{FF2B5EF4-FFF2-40B4-BE49-F238E27FC236}">
                  <a16:creationId xmlns:a16="http://schemas.microsoft.com/office/drawing/2014/main" id="{C61FFE41-E05F-052E-FE29-53C9CB889AD4}"/>
                </a:ext>
              </a:extLst>
            </p:cNvPr>
            <p:cNvCxnSpPr>
              <a:cxnSpLocks/>
              <a:stCxn id="96" idx="2"/>
              <a:endCxn id="89" idx="1"/>
            </p:cNvCxnSpPr>
            <p:nvPr/>
          </p:nvCxnSpPr>
          <p:spPr bwMode="auto">
            <a:xfrm rot="16200000" flipH="1">
              <a:off x="1351641" y="2191179"/>
              <a:ext cx="749031" cy="1053427"/>
            </a:xfrm>
            <a:prstGeom prst="bentConnector2">
              <a:avLst/>
            </a:prstGeom>
            <a:ln>
              <a:headEnd type="none" w="med" len="med"/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99" name="Connector: Elbow 98">
              <a:extLst>
                <a:ext uri="{FF2B5EF4-FFF2-40B4-BE49-F238E27FC236}">
                  <a16:creationId xmlns:a16="http://schemas.microsoft.com/office/drawing/2014/main" id="{25787591-846E-0271-BA6E-31B870144152}"/>
                </a:ext>
              </a:extLst>
            </p:cNvPr>
            <p:cNvCxnSpPr>
              <a:cxnSpLocks/>
              <a:stCxn id="96" idx="2"/>
              <a:endCxn id="90" idx="1"/>
            </p:cNvCxnSpPr>
            <p:nvPr/>
          </p:nvCxnSpPr>
          <p:spPr bwMode="auto">
            <a:xfrm rot="16200000" flipH="1">
              <a:off x="1144575" y="2398245"/>
              <a:ext cx="1196294" cy="1086558"/>
            </a:xfrm>
            <a:prstGeom prst="bentConnector2">
              <a:avLst/>
            </a:prstGeom>
            <a:ln>
              <a:headEnd type="none" w="med" len="med"/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00" name="Connector: Elbow 99">
              <a:extLst>
                <a:ext uri="{FF2B5EF4-FFF2-40B4-BE49-F238E27FC236}">
                  <a16:creationId xmlns:a16="http://schemas.microsoft.com/office/drawing/2014/main" id="{DF4A8041-8160-CEDC-C6B1-42468B63FB5B}"/>
                </a:ext>
              </a:extLst>
            </p:cNvPr>
            <p:cNvCxnSpPr>
              <a:cxnSpLocks/>
              <a:stCxn id="96" idx="2"/>
              <a:endCxn id="91" idx="1"/>
            </p:cNvCxnSpPr>
            <p:nvPr/>
          </p:nvCxnSpPr>
          <p:spPr bwMode="auto">
            <a:xfrm rot="16200000" flipH="1">
              <a:off x="920946" y="2621874"/>
              <a:ext cx="1643553" cy="1086558"/>
            </a:xfrm>
            <a:prstGeom prst="bentConnector2">
              <a:avLst/>
            </a:prstGeom>
            <a:ln>
              <a:headEnd type="none" w="med" len="med"/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01" name="Connector: Elbow 100">
              <a:extLst>
                <a:ext uri="{FF2B5EF4-FFF2-40B4-BE49-F238E27FC236}">
                  <a16:creationId xmlns:a16="http://schemas.microsoft.com/office/drawing/2014/main" id="{00C513B3-3041-8E3C-9C96-F0B259A7C835}"/>
                </a:ext>
              </a:extLst>
            </p:cNvPr>
            <p:cNvCxnSpPr>
              <a:cxnSpLocks/>
              <a:stCxn id="96" idx="2"/>
              <a:endCxn id="92" idx="1"/>
            </p:cNvCxnSpPr>
            <p:nvPr/>
          </p:nvCxnSpPr>
          <p:spPr bwMode="auto">
            <a:xfrm rot="16200000" flipH="1">
              <a:off x="702413" y="2840407"/>
              <a:ext cx="2080619" cy="1086558"/>
            </a:xfrm>
            <a:prstGeom prst="bentConnector2">
              <a:avLst/>
            </a:prstGeom>
            <a:ln>
              <a:headEnd type="none" w="med" len="med"/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02" name="Connector: Elbow 101">
              <a:extLst>
                <a:ext uri="{FF2B5EF4-FFF2-40B4-BE49-F238E27FC236}">
                  <a16:creationId xmlns:a16="http://schemas.microsoft.com/office/drawing/2014/main" id="{30D31943-83F8-03E9-126D-BB7F6B805CCE}"/>
                </a:ext>
              </a:extLst>
            </p:cNvPr>
            <p:cNvCxnSpPr>
              <a:cxnSpLocks/>
              <a:stCxn id="96" idx="2"/>
              <a:endCxn id="93" idx="1"/>
            </p:cNvCxnSpPr>
            <p:nvPr/>
          </p:nvCxnSpPr>
          <p:spPr bwMode="auto">
            <a:xfrm rot="16200000" flipH="1">
              <a:off x="483879" y="3058940"/>
              <a:ext cx="2517686" cy="1086558"/>
            </a:xfrm>
            <a:prstGeom prst="bentConnector2">
              <a:avLst/>
            </a:prstGeom>
            <a:ln>
              <a:headEnd type="none" w="med" len="med"/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03" name="Connector: Elbow 102">
              <a:extLst>
                <a:ext uri="{FF2B5EF4-FFF2-40B4-BE49-F238E27FC236}">
                  <a16:creationId xmlns:a16="http://schemas.microsoft.com/office/drawing/2014/main" id="{57BA3BE5-2AE6-F6FB-905F-374E57561838}"/>
                </a:ext>
              </a:extLst>
            </p:cNvPr>
            <p:cNvCxnSpPr>
              <a:cxnSpLocks/>
              <a:stCxn id="96" idx="2"/>
              <a:endCxn id="94" idx="1"/>
            </p:cNvCxnSpPr>
            <p:nvPr/>
          </p:nvCxnSpPr>
          <p:spPr bwMode="auto">
            <a:xfrm rot="16200000" flipH="1">
              <a:off x="265346" y="3277474"/>
              <a:ext cx="2954751" cy="1086558"/>
            </a:xfrm>
            <a:prstGeom prst="bentConnector2">
              <a:avLst/>
            </a:prstGeom>
            <a:ln>
              <a:headEnd type="none" w="med" len="med"/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04" name="Connector: Elbow 103">
              <a:extLst>
                <a:ext uri="{FF2B5EF4-FFF2-40B4-BE49-F238E27FC236}">
                  <a16:creationId xmlns:a16="http://schemas.microsoft.com/office/drawing/2014/main" id="{EDCE2678-CC85-1214-345C-971E4264E7DD}"/>
                </a:ext>
              </a:extLst>
            </p:cNvPr>
            <p:cNvCxnSpPr>
              <a:cxnSpLocks/>
              <a:stCxn id="96" idx="2"/>
              <a:endCxn id="95" idx="1"/>
            </p:cNvCxnSpPr>
            <p:nvPr/>
          </p:nvCxnSpPr>
          <p:spPr bwMode="auto">
            <a:xfrm rot="16200000" flipH="1">
              <a:off x="50509" y="3492311"/>
              <a:ext cx="3384425" cy="1086558"/>
            </a:xfrm>
            <a:prstGeom prst="bentConnector2">
              <a:avLst/>
            </a:prstGeom>
            <a:ln>
              <a:headEnd type="none" w="med" len="med"/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3EBC359B-B411-CFFC-BC5A-130BDB78A867}"/>
                </a:ext>
              </a:extLst>
            </p:cNvPr>
            <p:cNvSpPr/>
            <p:nvPr/>
          </p:nvSpPr>
          <p:spPr bwMode="auto">
            <a:xfrm>
              <a:off x="5809541" y="3360030"/>
              <a:ext cx="2438399" cy="348991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943" eaLnBrk="0" hangingPunct="0"/>
              <a:r>
                <a:rPr lang="en-US" sz="1200" b="1" i="1" dirty="0">
                  <a:solidFill>
                    <a:schemeClr val="bg1"/>
                  </a:solidFill>
                  <a:latin typeface="Times New Roman" pitchFamily="18" charset="0"/>
                </a:rPr>
                <a:t>PXKT</a:t>
              </a:r>
            </a:p>
          </p:txBody>
        </p:sp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C178F287-33F4-20A0-C320-8192E0B62256}"/>
                </a:ext>
              </a:extLst>
            </p:cNvPr>
            <p:cNvSpPr/>
            <p:nvPr/>
          </p:nvSpPr>
          <p:spPr bwMode="auto">
            <a:xfrm>
              <a:off x="5809541" y="3836774"/>
              <a:ext cx="2438399" cy="348991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943" eaLnBrk="0" hangingPunct="0"/>
              <a:r>
                <a:rPr lang="en-US" sz="1200" b="1" i="1" dirty="0">
                  <a:solidFill>
                    <a:schemeClr val="bg1"/>
                  </a:solidFill>
                  <a:latin typeface="Times New Roman" pitchFamily="18" charset="0"/>
                </a:rPr>
                <a:t>PXNL</a:t>
              </a:r>
            </a:p>
          </p:txBody>
        </p:sp>
        <p:sp>
          <p:nvSpPr>
            <p:cNvPr id="107" name="Rectangle 106">
              <a:extLst>
                <a:ext uri="{FF2B5EF4-FFF2-40B4-BE49-F238E27FC236}">
                  <a16:creationId xmlns:a16="http://schemas.microsoft.com/office/drawing/2014/main" id="{75C511A7-68B1-4CD7-7887-F0FA2E385CF1}"/>
                </a:ext>
              </a:extLst>
            </p:cNvPr>
            <p:cNvSpPr/>
            <p:nvPr/>
          </p:nvSpPr>
          <p:spPr bwMode="auto">
            <a:xfrm>
              <a:off x="5809541" y="4273840"/>
              <a:ext cx="2438399" cy="348991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943" eaLnBrk="0" hangingPunct="0"/>
              <a:r>
                <a:rPr lang="en-US" sz="1200" b="1" i="1" dirty="0">
                  <a:solidFill>
                    <a:schemeClr val="bg1"/>
                  </a:solidFill>
                  <a:latin typeface="Times New Roman" pitchFamily="18" charset="0"/>
                </a:rPr>
                <a:t>PXCL</a:t>
              </a:r>
            </a:p>
          </p:txBody>
        </p:sp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88766CB1-E25E-1B60-274E-8A4EB1F7754A}"/>
                </a:ext>
              </a:extLst>
            </p:cNvPr>
            <p:cNvSpPr/>
            <p:nvPr/>
          </p:nvSpPr>
          <p:spPr bwMode="auto">
            <a:xfrm>
              <a:off x="5809541" y="4710906"/>
              <a:ext cx="2438399" cy="348991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943" eaLnBrk="0" hangingPunct="0"/>
              <a:r>
                <a:rPr lang="en-US" sz="1200" b="1" i="1" dirty="0">
                  <a:solidFill>
                    <a:schemeClr val="bg1"/>
                  </a:solidFill>
                  <a:latin typeface="Times New Roman" pitchFamily="18" charset="0"/>
                </a:rPr>
                <a:t>PXXM</a:t>
              </a:r>
            </a:p>
          </p:txBody>
        </p:sp>
        <p:cxnSp>
          <p:nvCxnSpPr>
            <p:cNvPr id="109" name="Connector: Elbow 108">
              <a:extLst>
                <a:ext uri="{FF2B5EF4-FFF2-40B4-BE49-F238E27FC236}">
                  <a16:creationId xmlns:a16="http://schemas.microsoft.com/office/drawing/2014/main" id="{4F198039-DEDE-D6DE-D216-F02C1ABC67EA}"/>
                </a:ext>
              </a:extLst>
            </p:cNvPr>
            <p:cNvCxnSpPr>
              <a:cxnSpLocks/>
              <a:stCxn id="89" idx="3"/>
              <a:endCxn id="105" idx="1"/>
            </p:cNvCxnSpPr>
            <p:nvPr/>
          </p:nvCxnSpPr>
          <p:spPr bwMode="auto">
            <a:xfrm>
              <a:off x="4691269" y="3092408"/>
              <a:ext cx="1118272" cy="442117"/>
            </a:xfrm>
            <a:prstGeom prst="bentConnector3">
              <a:avLst>
                <a:gd name="adj1" fmla="val 50000"/>
              </a:avLst>
            </a:prstGeom>
            <a:ln>
              <a:headEnd type="none" w="med" len="med"/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10" name="Connector: Elbow 109">
              <a:extLst>
                <a:ext uri="{FF2B5EF4-FFF2-40B4-BE49-F238E27FC236}">
                  <a16:creationId xmlns:a16="http://schemas.microsoft.com/office/drawing/2014/main" id="{871064CF-413C-CA85-0562-477BDE5A1242}"/>
                </a:ext>
              </a:extLst>
            </p:cNvPr>
            <p:cNvCxnSpPr>
              <a:cxnSpLocks/>
              <a:stCxn id="89" idx="3"/>
              <a:endCxn id="106" idx="1"/>
            </p:cNvCxnSpPr>
            <p:nvPr/>
          </p:nvCxnSpPr>
          <p:spPr bwMode="auto">
            <a:xfrm>
              <a:off x="4691269" y="3092408"/>
              <a:ext cx="1118272" cy="918861"/>
            </a:xfrm>
            <a:prstGeom prst="bentConnector3">
              <a:avLst>
                <a:gd name="adj1" fmla="val 50000"/>
              </a:avLst>
            </a:prstGeom>
            <a:ln>
              <a:headEnd type="none" w="med" len="med"/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11" name="Connector: Elbow 110">
              <a:extLst>
                <a:ext uri="{FF2B5EF4-FFF2-40B4-BE49-F238E27FC236}">
                  <a16:creationId xmlns:a16="http://schemas.microsoft.com/office/drawing/2014/main" id="{C02EB3F2-2C8C-57A0-9558-790DC1254232}"/>
                </a:ext>
              </a:extLst>
            </p:cNvPr>
            <p:cNvCxnSpPr>
              <a:cxnSpLocks/>
              <a:stCxn id="89" idx="3"/>
              <a:endCxn id="107" idx="1"/>
            </p:cNvCxnSpPr>
            <p:nvPr/>
          </p:nvCxnSpPr>
          <p:spPr bwMode="auto">
            <a:xfrm>
              <a:off x="4691269" y="3092408"/>
              <a:ext cx="1118272" cy="1355927"/>
            </a:xfrm>
            <a:prstGeom prst="bentConnector3">
              <a:avLst>
                <a:gd name="adj1" fmla="val 50000"/>
              </a:avLst>
            </a:prstGeom>
            <a:ln>
              <a:headEnd type="none" w="med" len="med"/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12" name="Connector: Elbow 111">
              <a:extLst>
                <a:ext uri="{FF2B5EF4-FFF2-40B4-BE49-F238E27FC236}">
                  <a16:creationId xmlns:a16="http://schemas.microsoft.com/office/drawing/2014/main" id="{75AF5C69-350D-BF69-9B2C-C1A0ABE3FD13}"/>
                </a:ext>
              </a:extLst>
            </p:cNvPr>
            <p:cNvCxnSpPr>
              <a:cxnSpLocks/>
              <a:stCxn id="89" idx="3"/>
              <a:endCxn id="108" idx="1"/>
            </p:cNvCxnSpPr>
            <p:nvPr/>
          </p:nvCxnSpPr>
          <p:spPr bwMode="auto">
            <a:xfrm>
              <a:off x="4691269" y="3092408"/>
              <a:ext cx="1118272" cy="1792994"/>
            </a:xfrm>
            <a:prstGeom prst="bentConnector3">
              <a:avLst>
                <a:gd name="adj1" fmla="val 50000"/>
              </a:avLst>
            </a:prstGeom>
            <a:ln>
              <a:headEnd type="none" w="med" len="med"/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1787C077-2F0D-851E-289F-E9CA2088B206}"/>
                </a:ext>
              </a:extLst>
            </p:cNvPr>
            <p:cNvSpPr/>
            <p:nvPr/>
          </p:nvSpPr>
          <p:spPr bwMode="auto">
            <a:xfrm>
              <a:off x="9347871" y="4254583"/>
              <a:ext cx="2438399" cy="348991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943" eaLnBrk="0" hangingPunct="0"/>
              <a:r>
                <a:rPr lang="en-US" sz="1200" b="1" i="1" dirty="0" err="1">
                  <a:solidFill>
                    <a:schemeClr val="bg1"/>
                  </a:solidFill>
                  <a:latin typeface="Times New Roman" pitchFamily="18" charset="0"/>
                </a:rPr>
                <a:t>Quy</a:t>
              </a:r>
              <a:r>
                <a:rPr lang="en-US" sz="1200" b="1" i="1" dirty="0">
                  <a:solidFill>
                    <a:schemeClr val="bg1"/>
                  </a:solidFill>
                  <a:latin typeface="Times New Roman" pitchFamily="18" charset="0"/>
                </a:rPr>
                <a:t> </a:t>
              </a:r>
              <a:r>
                <a:rPr lang="en-US" sz="1200" b="1" i="1" dirty="0" err="1">
                  <a:solidFill>
                    <a:schemeClr val="bg1"/>
                  </a:solidFill>
                  <a:latin typeface="Times New Roman" pitchFamily="18" charset="0"/>
                </a:rPr>
                <a:t>trình</a:t>
              </a:r>
              <a:r>
                <a:rPr lang="en-US" sz="1200" b="1" i="1" dirty="0">
                  <a:solidFill>
                    <a:schemeClr val="bg1"/>
                  </a:solidFill>
                  <a:latin typeface="Times New Roman" pitchFamily="18" charset="0"/>
                </a:rPr>
                <a:t> </a:t>
              </a:r>
              <a:r>
                <a:rPr lang="en-US" sz="1200" b="1" i="1" dirty="0" err="1">
                  <a:solidFill>
                    <a:schemeClr val="bg1"/>
                  </a:solidFill>
                  <a:latin typeface="Times New Roman" pitchFamily="18" charset="0"/>
                </a:rPr>
                <a:t>Công</a:t>
              </a:r>
              <a:r>
                <a:rPr lang="en-US" sz="1200" b="1" i="1" dirty="0">
                  <a:solidFill>
                    <a:schemeClr val="bg1"/>
                  </a:solidFill>
                  <a:latin typeface="Times New Roman" pitchFamily="18" charset="0"/>
                </a:rPr>
                <a:t> </a:t>
              </a:r>
              <a:r>
                <a:rPr lang="en-US" sz="1200" b="1" i="1" dirty="0" err="1">
                  <a:solidFill>
                    <a:schemeClr val="bg1"/>
                  </a:solidFill>
                  <a:latin typeface="Times New Roman" pitchFamily="18" charset="0"/>
                </a:rPr>
                <a:t>nghệ</a:t>
              </a:r>
              <a:endParaRPr lang="en-US" sz="1200" b="1" i="1" dirty="0">
                <a:solidFill>
                  <a:schemeClr val="bg1"/>
                </a:solidFill>
                <a:latin typeface="Times New Roman" pitchFamily="18" charset="0"/>
              </a:endParaRP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0FBB4BA2-9B65-64D4-CAAC-D6AEAA77F7FC}"/>
                </a:ext>
              </a:extLst>
            </p:cNvPr>
            <p:cNvSpPr/>
            <p:nvPr/>
          </p:nvSpPr>
          <p:spPr bwMode="auto">
            <a:xfrm>
              <a:off x="9324086" y="4739078"/>
              <a:ext cx="2438399" cy="348991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943" eaLnBrk="0" hangingPunct="0"/>
              <a:r>
                <a:rPr lang="en-US" sz="1200" b="1" i="1" dirty="0" err="1">
                  <a:solidFill>
                    <a:schemeClr val="bg1"/>
                  </a:solidFill>
                  <a:latin typeface="Times New Roman" pitchFamily="18" charset="0"/>
                </a:rPr>
                <a:t>Báo</a:t>
              </a:r>
              <a:r>
                <a:rPr lang="en-US" sz="1200" b="1" i="1" dirty="0">
                  <a:solidFill>
                    <a:schemeClr val="bg1"/>
                  </a:solidFill>
                  <a:latin typeface="Times New Roman" pitchFamily="18" charset="0"/>
                </a:rPr>
                <a:t> </a:t>
              </a:r>
              <a:r>
                <a:rPr lang="en-US" sz="1200" b="1" i="1" dirty="0" err="1">
                  <a:solidFill>
                    <a:schemeClr val="bg1"/>
                  </a:solidFill>
                  <a:latin typeface="Times New Roman" pitchFamily="18" charset="0"/>
                </a:rPr>
                <a:t>cáo</a:t>
              </a:r>
              <a:r>
                <a:rPr lang="en-US" sz="1200" b="1" i="1" dirty="0">
                  <a:solidFill>
                    <a:schemeClr val="bg1"/>
                  </a:solidFill>
                  <a:latin typeface="Times New Roman" pitchFamily="18" charset="0"/>
                </a:rPr>
                <a:t> </a:t>
              </a:r>
              <a:r>
                <a:rPr lang="en-US" sz="1200" b="1" i="1" dirty="0" err="1">
                  <a:solidFill>
                    <a:schemeClr val="bg1"/>
                  </a:solidFill>
                  <a:latin typeface="Times New Roman" pitchFamily="18" charset="0"/>
                </a:rPr>
                <a:t>nhật</a:t>
              </a:r>
              <a:r>
                <a:rPr lang="en-US" sz="1200" b="1" i="1" dirty="0">
                  <a:solidFill>
                    <a:schemeClr val="bg1"/>
                  </a:solidFill>
                  <a:latin typeface="Times New Roman" pitchFamily="18" charset="0"/>
                </a:rPr>
                <a:t> </a:t>
              </a:r>
              <a:r>
                <a:rPr lang="en-US" sz="1200" b="1" i="1" dirty="0" err="1">
                  <a:solidFill>
                    <a:schemeClr val="bg1"/>
                  </a:solidFill>
                  <a:latin typeface="Times New Roman" pitchFamily="18" charset="0"/>
                </a:rPr>
                <a:t>trình</a:t>
              </a:r>
              <a:endParaRPr lang="en-US" sz="1200" b="1" i="1" dirty="0">
                <a:solidFill>
                  <a:schemeClr val="bg1"/>
                </a:solidFill>
                <a:latin typeface="Times New Roman" pitchFamily="18" charset="0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25095905-8E5D-303F-E637-7500EBB046F0}"/>
                </a:ext>
              </a:extLst>
            </p:cNvPr>
            <p:cNvSpPr/>
            <p:nvPr/>
          </p:nvSpPr>
          <p:spPr bwMode="auto">
            <a:xfrm>
              <a:off x="9333083" y="5160279"/>
              <a:ext cx="2438399" cy="348991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943" eaLnBrk="0" hangingPunct="0"/>
              <a:r>
                <a:rPr lang="en-US" sz="1200" b="1" i="1" dirty="0" err="1">
                  <a:solidFill>
                    <a:schemeClr val="bg1"/>
                  </a:solidFill>
                  <a:latin typeface="Times New Roman" pitchFamily="18" charset="0"/>
                </a:rPr>
                <a:t>Nhật</a:t>
              </a:r>
              <a:r>
                <a:rPr lang="en-US" sz="1200" b="1" i="1" dirty="0">
                  <a:solidFill>
                    <a:schemeClr val="bg1"/>
                  </a:solidFill>
                  <a:latin typeface="Times New Roman" pitchFamily="18" charset="0"/>
                </a:rPr>
                <a:t> </a:t>
              </a:r>
              <a:r>
                <a:rPr lang="en-US" sz="1200" b="1" i="1" dirty="0" err="1">
                  <a:solidFill>
                    <a:schemeClr val="bg1"/>
                  </a:solidFill>
                  <a:latin typeface="Times New Roman" pitchFamily="18" charset="0"/>
                </a:rPr>
                <a:t>ký</a:t>
              </a:r>
              <a:r>
                <a:rPr lang="en-US" sz="1200" b="1" i="1" dirty="0">
                  <a:solidFill>
                    <a:schemeClr val="bg1"/>
                  </a:solidFill>
                  <a:latin typeface="Times New Roman" pitchFamily="18" charset="0"/>
                </a:rPr>
                <a:t> </a:t>
              </a:r>
              <a:r>
                <a:rPr lang="en-US" sz="1200" b="1" i="1" dirty="0" err="1">
                  <a:solidFill>
                    <a:schemeClr val="bg1"/>
                  </a:solidFill>
                  <a:latin typeface="Times New Roman" pitchFamily="18" charset="0"/>
                </a:rPr>
                <a:t>điện</a:t>
              </a:r>
              <a:r>
                <a:rPr lang="en-US" sz="1200" b="1" i="1" dirty="0">
                  <a:solidFill>
                    <a:schemeClr val="bg1"/>
                  </a:solidFill>
                  <a:latin typeface="Times New Roman" pitchFamily="18" charset="0"/>
                </a:rPr>
                <a:t> </a:t>
              </a:r>
              <a:r>
                <a:rPr lang="en-US" sz="1200" b="1" i="1" dirty="0" err="1">
                  <a:solidFill>
                    <a:schemeClr val="bg1"/>
                  </a:solidFill>
                  <a:latin typeface="Times New Roman" pitchFamily="18" charset="0"/>
                </a:rPr>
                <a:t>tử</a:t>
              </a:r>
              <a:endParaRPr lang="en-US" sz="1200" b="1" i="1" dirty="0">
                <a:solidFill>
                  <a:schemeClr val="bg1"/>
                </a:solidFill>
                <a:latin typeface="Times New Roman" pitchFamily="18" charset="0"/>
              </a:endParaRPr>
            </a:p>
          </p:txBody>
        </p: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BF911C59-19F4-9FAD-5FD9-32BE692E9DB2}"/>
                </a:ext>
              </a:extLst>
            </p:cNvPr>
            <p:cNvSpPr/>
            <p:nvPr/>
          </p:nvSpPr>
          <p:spPr bwMode="auto">
            <a:xfrm>
              <a:off x="9351077" y="5553307"/>
              <a:ext cx="2438399" cy="348991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943" eaLnBrk="0" hangingPunct="0"/>
              <a:r>
                <a:rPr lang="en-US" sz="1200" b="1" i="1" dirty="0" err="1">
                  <a:solidFill>
                    <a:schemeClr val="bg1"/>
                  </a:solidFill>
                  <a:latin typeface="Times New Roman" pitchFamily="18" charset="0"/>
                </a:rPr>
                <a:t>Các</a:t>
              </a:r>
              <a:r>
                <a:rPr lang="en-US" sz="1200" b="1" i="1" dirty="0">
                  <a:solidFill>
                    <a:schemeClr val="bg1"/>
                  </a:solidFill>
                  <a:latin typeface="Times New Roman" pitchFamily="18" charset="0"/>
                </a:rPr>
                <a:t> </a:t>
              </a:r>
              <a:r>
                <a:rPr lang="en-US" sz="1200" b="1" i="1" dirty="0" err="1">
                  <a:solidFill>
                    <a:schemeClr val="bg1"/>
                  </a:solidFill>
                  <a:latin typeface="Times New Roman" pitchFamily="18" charset="0"/>
                </a:rPr>
                <a:t>thống</a:t>
              </a:r>
              <a:r>
                <a:rPr lang="en-US" sz="1200" b="1" i="1" dirty="0">
                  <a:solidFill>
                    <a:schemeClr val="bg1"/>
                  </a:solidFill>
                  <a:latin typeface="Times New Roman" pitchFamily="18" charset="0"/>
                </a:rPr>
                <a:t> </a:t>
              </a:r>
              <a:r>
                <a:rPr lang="en-US" sz="1200" b="1" i="1" dirty="0" err="1">
                  <a:solidFill>
                    <a:schemeClr val="bg1"/>
                  </a:solidFill>
                  <a:latin typeface="Times New Roman" pitchFamily="18" charset="0"/>
                </a:rPr>
                <a:t>số</a:t>
              </a:r>
              <a:r>
                <a:rPr lang="en-US" sz="1200" b="1" i="1" dirty="0">
                  <a:solidFill>
                    <a:schemeClr val="bg1"/>
                  </a:solidFill>
                  <a:latin typeface="Times New Roman" pitchFamily="18" charset="0"/>
                </a:rPr>
                <a:t> </a:t>
              </a:r>
              <a:r>
                <a:rPr lang="en-US" sz="1200" b="1" i="1" dirty="0" err="1">
                  <a:solidFill>
                    <a:schemeClr val="bg1"/>
                  </a:solidFill>
                  <a:latin typeface="Times New Roman" pitchFamily="18" charset="0"/>
                </a:rPr>
                <a:t>sản</a:t>
              </a:r>
              <a:r>
                <a:rPr lang="en-US" sz="1200" b="1" i="1" dirty="0">
                  <a:solidFill>
                    <a:schemeClr val="bg1"/>
                  </a:solidFill>
                  <a:latin typeface="Times New Roman" pitchFamily="18" charset="0"/>
                </a:rPr>
                <a:t> </a:t>
              </a:r>
              <a:r>
                <a:rPr lang="en-US" sz="1200" b="1" i="1" dirty="0" err="1">
                  <a:solidFill>
                    <a:schemeClr val="bg1"/>
                  </a:solidFill>
                  <a:latin typeface="Times New Roman" pitchFamily="18" charset="0"/>
                </a:rPr>
                <a:t>xuất</a:t>
              </a:r>
              <a:endParaRPr lang="en-US" sz="1200" b="1" i="1" dirty="0">
                <a:solidFill>
                  <a:schemeClr val="bg1"/>
                </a:solidFill>
                <a:latin typeface="Times New Roman" pitchFamily="18" charset="0"/>
              </a:endParaRPr>
            </a:p>
          </p:txBody>
        </p:sp>
        <p:cxnSp>
          <p:nvCxnSpPr>
            <p:cNvPr id="117" name="Connector: Elbow 116">
              <a:extLst>
                <a:ext uri="{FF2B5EF4-FFF2-40B4-BE49-F238E27FC236}">
                  <a16:creationId xmlns:a16="http://schemas.microsoft.com/office/drawing/2014/main" id="{323B4E4B-7901-BBA0-DBD8-527DFBFEF17E}"/>
                </a:ext>
              </a:extLst>
            </p:cNvPr>
            <p:cNvCxnSpPr>
              <a:cxnSpLocks/>
              <a:stCxn id="107" idx="3"/>
              <a:endCxn id="113" idx="1"/>
            </p:cNvCxnSpPr>
            <p:nvPr/>
          </p:nvCxnSpPr>
          <p:spPr bwMode="auto">
            <a:xfrm flipV="1">
              <a:off x="8247941" y="4429078"/>
              <a:ext cx="1099930" cy="19257"/>
            </a:xfrm>
            <a:prstGeom prst="bentConnector3">
              <a:avLst>
                <a:gd name="adj1" fmla="val 50000"/>
              </a:avLst>
            </a:prstGeom>
            <a:ln>
              <a:headEnd type="none" w="med" len="med"/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18" name="Connector: Elbow 117">
              <a:extLst>
                <a:ext uri="{FF2B5EF4-FFF2-40B4-BE49-F238E27FC236}">
                  <a16:creationId xmlns:a16="http://schemas.microsoft.com/office/drawing/2014/main" id="{BC470367-AB0F-268F-A12E-BC21A8D5F982}"/>
                </a:ext>
              </a:extLst>
            </p:cNvPr>
            <p:cNvCxnSpPr>
              <a:cxnSpLocks/>
              <a:stCxn id="107" idx="3"/>
              <a:endCxn id="114" idx="1"/>
            </p:cNvCxnSpPr>
            <p:nvPr/>
          </p:nvCxnSpPr>
          <p:spPr bwMode="auto">
            <a:xfrm>
              <a:off x="8247941" y="4448335"/>
              <a:ext cx="1076145" cy="465238"/>
            </a:xfrm>
            <a:prstGeom prst="bentConnector3">
              <a:avLst>
                <a:gd name="adj1" fmla="val 50000"/>
              </a:avLst>
            </a:prstGeom>
            <a:ln>
              <a:headEnd type="none" w="med" len="med"/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19" name="Connector: Elbow 118">
              <a:extLst>
                <a:ext uri="{FF2B5EF4-FFF2-40B4-BE49-F238E27FC236}">
                  <a16:creationId xmlns:a16="http://schemas.microsoft.com/office/drawing/2014/main" id="{BB344457-6953-DD17-DD85-B57A1CE40B32}"/>
                </a:ext>
              </a:extLst>
            </p:cNvPr>
            <p:cNvCxnSpPr>
              <a:cxnSpLocks/>
              <a:stCxn id="107" idx="3"/>
              <a:endCxn id="115" idx="1"/>
            </p:cNvCxnSpPr>
            <p:nvPr/>
          </p:nvCxnSpPr>
          <p:spPr bwMode="auto">
            <a:xfrm>
              <a:off x="8247941" y="4448335"/>
              <a:ext cx="1085142" cy="886439"/>
            </a:xfrm>
            <a:prstGeom prst="bentConnector3">
              <a:avLst>
                <a:gd name="adj1" fmla="val 50000"/>
              </a:avLst>
            </a:prstGeom>
            <a:ln>
              <a:headEnd type="none" w="med" len="med"/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20" name="Connector: Elbow 119">
              <a:extLst>
                <a:ext uri="{FF2B5EF4-FFF2-40B4-BE49-F238E27FC236}">
                  <a16:creationId xmlns:a16="http://schemas.microsoft.com/office/drawing/2014/main" id="{4479ED3A-C65D-6DDF-6EC7-9F98C4DFE3EB}"/>
                </a:ext>
              </a:extLst>
            </p:cNvPr>
            <p:cNvCxnSpPr>
              <a:cxnSpLocks/>
              <a:stCxn id="107" idx="3"/>
              <a:endCxn id="116" idx="1"/>
            </p:cNvCxnSpPr>
            <p:nvPr/>
          </p:nvCxnSpPr>
          <p:spPr bwMode="auto">
            <a:xfrm>
              <a:off x="8247941" y="4448335"/>
              <a:ext cx="1103136" cy="1279467"/>
            </a:xfrm>
            <a:prstGeom prst="bentConnector3">
              <a:avLst>
                <a:gd name="adj1" fmla="val 50000"/>
              </a:avLst>
            </a:prstGeom>
            <a:ln>
              <a:headEnd type="none" w="med" len="med"/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058C8110-CFF2-DCBC-A3F3-66FA0BBFCE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2651" y="1148735"/>
            <a:ext cx="3150314" cy="162855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50D7769-F118-7DCD-017F-4BA98E9AE7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66559" y="1128738"/>
            <a:ext cx="3266696" cy="162880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39AE2E9-668F-1B45-A4F6-82629E9F772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66849" y="1395767"/>
            <a:ext cx="3456384" cy="157773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cxnSp>
        <p:nvCxnSpPr>
          <p:cNvPr id="121" name="Connector: Curved 120">
            <a:extLst>
              <a:ext uri="{FF2B5EF4-FFF2-40B4-BE49-F238E27FC236}">
                <a16:creationId xmlns:a16="http://schemas.microsoft.com/office/drawing/2014/main" id="{BAAB7DD1-B283-67CE-F6B4-4C92D2D96F21}"/>
              </a:ext>
            </a:extLst>
          </p:cNvPr>
          <p:cNvCxnSpPr>
            <a:cxnSpLocks/>
            <a:endCxn id="4" idx="2"/>
          </p:cNvCxnSpPr>
          <p:nvPr/>
        </p:nvCxnSpPr>
        <p:spPr bwMode="auto">
          <a:xfrm flipV="1">
            <a:off x="2518741" y="2777287"/>
            <a:ext cx="439067" cy="402146"/>
          </a:xfrm>
          <a:prstGeom prst="curvedConnector2">
            <a:avLst/>
          </a:prstGeom>
          <a:noFill/>
          <a:ln w="9525" cap="flat" cmpd="sng" algn="ctr">
            <a:solidFill>
              <a:srgbClr val="333399">
                <a:shade val="95000"/>
                <a:satMod val="105000"/>
              </a:srgbClr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122" name="Connector: Curved 121">
            <a:extLst>
              <a:ext uri="{FF2B5EF4-FFF2-40B4-BE49-F238E27FC236}">
                <a16:creationId xmlns:a16="http://schemas.microsoft.com/office/drawing/2014/main" id="{AADC29F6-14DA-B78C-E8AC-23B09FEBD5CF}"/>
              </a:ext>
            </a:extLst>
          </p:cNvPr>
          <p:cNvCxnSpPr>
            <a:cxnSpLocks/>
            <a:stCxn id="89" idx="3"/>
            <a:endCxn id="6" idx="1"/>
          </p:cNvCxnSpPr>
          <p:nvPr/>
        </p:nvCxnSpPr>
        <p:spPr bwMode="auto">
          <a:xfrm flipV="1">
            <a:off x="3777172" y="1943139"/>
            <a:ext cx="889387" cy="1859532"/>
          </a:xfrm>
          <a:prstGeom prst="curvedConnector3">
            <a:avLst>
              <a:gd name="adj1" fmla="val 50000"/>
            </a:avLst>
          </a:prstGeom>
          <a:noFill/>
          <a:ln w="9525" cap="flat" cmpd="sng" algn="ctr">
            <a:solidFill>
              <a:srgbClr val="333399">
                <a:shade val="95000"/>
                <a:satMod val="105000"/>
              </a:srgbClr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123" name="Connector: Curved 122">
            <a:extLst>
              <a:ext uri="{FF2B5EF4-FFF2-40B4-BE49-F238E27FC236}">
                <a16:creationId xmlns:a16="http://schemas.microsoft.com/office/drawing/2014/main" id="{6040B257-0813-6736-D812-3C8E34A86892}"/>
              </a:ext>
            </a:extLst>
          </p:cNvPr>
          <p:cNvCxnSpPr>
            <a:cxnSpLocks/>
            <a:stCxn id="107" idx="3"/>
            <a:endCxn id="8" idx="1"/>
          </p:cNvCxnSpPr>
          <p:nvPr/>
        </p:nvCxnSpPr>
        <p:spPr bwMode="auto">
          <a:xfrm flipV="1">
            <a:off x="6938659" y="2184633"/>
            <a:ext cx="1128190" cy="2849607"/>
          </a:xfrm>
          <a:prstGeom prst="curvedConnector3">
            <a:avLst>
              <a:gd name="adj1" fmla="val 50000"/>
            </a:avLst>
          </a:prstGeom>
          <a:noFill/>
          <a:ln w="9525" cap="flat" cmpd="sng" algn="ctr">
            <a:solidFill>
              <a:srgbClr val="333399">
                <a:shade val="95000"/>
                <a:satMod val="105000"/>
              </a:srgbClr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124" name="Connector: Curved 123">
            <a:extLst>
              <a:ext uri="{FF2B5EF4-FFF2-40B4-BE49-F238E27FC236}">
                <a16:creationId xmlns:a16="http://schemas.microsoft.com/office/drawing/2014/main" id="{7AB35240-11C2-30E7-712E-5861303D4DBD}"/>
              </a:ext>
            </a:extLst>
          </p:cNvPr>
          <p:cNvCxnSpPr>
            <a:cxnSpLocks/>
            <a:stCxn id="113" idx="3"/>
            <a:endCxn id="20" idx="2"/>
          </p:cNvCxnSpPr>
          <p:nvPr/>
        </p:nvCxnSpPr>
        <p:spPr bwMode="auto">
          <a:xfrm flipV="1">
            <a:off x="10083842" y="4703838"/>
            <a:ext cx="468037" cy="312911"/>
          </a:xfrm>
          <a:prstGeom prst="curvedConnector2">
            <a:avLst/>
          </a:prstGeom>
          <a:noFill/>
          <a:ln w="9525" cap="flat" cmpd="sng" algn="ctr">
            <a:solidFill>
              <a:srgbClr val="333399">
                <a:shade val="95000"/>
                <a:satMod val="105000"/>
              </a:srgbClr>
            </a:solidFill>
            <a:prstDash val="solid"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101431456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CAB53-5F05-4488-89EB-F4F85713748E}"/>
              </a:ext>
            </a:extLst>
          </p:cNvPr>
          <p:cNvSpPr txBox="1">
            <a:spLocks/>
          </p:cNvSpPr>
          <p:nvPr/>
        </p:nvSpPr>
        <p:spPr>
          <a:xfrm>
            <a:off x="2336757" y="0"/>
            <a:ext cx="7524836" cy="108874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vi-VN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ây dựng các biểu mẫu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161440FA-6000-46F4-9391-15117CF44D5A}"/>
              </a:ext>
            </a:extLst>
          </p:cNvPr>
          <p:cNvSpPr txBox="1"/>
          <p:nvPr/>
        </p:nvSpPr>
        <p:spPr>
          <a:xfrm>
            <a:off x="458529" y="1022008"/>
            <a:ext cx="11739821" cy="18921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sz="1799" dirty="0">
              <a:solidFill>
                <a:schemeClr val="tx1"/>
              </a:solidFill>
            </a:endParaRPr>
          </a:p>
          <a:p>
            <a:pPr marL="285607" indent="-285607">
              <a:buFont typeface="Wingdings" panose="05000000000000000000" pitchFamily="2" charset="2"/>
              <a:buChar char="§"/>
            </a:pPr>
            <a:r>
              <a:rPr lang="en-US" sz="2399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XHQ Advanced charts, views, table, controls, Links</a:t>
            </a:r>
          </a:p>
          <a:p>
            <a:pPr marL="285607" indent="-285607">
              <a:buFont typeface="Wingdings" panose="05000000000000000000" pitchFamily="2" charset="2"/>
              <a:buChar char="§"/>
            </a:pPr>
            <a:r>
              <a:rPr lang="en-US" sz="2399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troduction to Mobile Development</a:t>
            </a:r>
          </a:p>
          <a:p>
            <a:endParaRPr lang="en-US" sz="1799" dirty="0">
              <a:solidFill>
                <a:schemeClr val="tx1"/>
              </a:solidFill>
            </a:endParaRP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E4B74BBB-65CE-4DFA-A1A5-DC371D7435EC}"/>
              </a:ext>
            </a:extLst>
          </p:cNvPr>
          <p:cNvGrpSpPr/>
          <p:nvPr/>
        </p:nvGrpSpPr>
        <p:grpSpPr>
          <a:xfrm>
            <a:off x="8657796" y="2362200"/>
            <a:ext cx="3396745" cy="4121170"/>
            <a:chOff x="7643446" y="1949593"/>
            <a:chExt cx="4238113" cy="5141977"/>
          </a:xfrm>
        </p:grpSpPr>
        <p:pic>
          <p:nvPicPr>
            <p:cNvPr id="91" name="Picture 90">
              <a:extLst>
                <a:ext uri="{FF2B5EF4-FFF2-40B4-BE49-F238E27FC236}">
                  <a16:creationId xmlns:a16="http://schemas.microsoft.com/office/drawing/2014/main" id="{759E5309-24B4-46BF-9726-C84D3D8E894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43446" y="1949593"/>
              <a:ext cx="1812548" cy="3886200"/>
            </a:xfrm>
            <a:prstGeom prst="rect">
              <a:avLst/>
            </a:prstGeom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</p:pic>
        <p:pic>
          <p:nvPicPr>
            <p:cNvPr id="92" name="Picture 91">
              <a:extLst>
                <a:ext uri="{FF2B5EF4-FFF2-40B4-BE49-F238E27FC236}">
                  <a16:creationId xmlns:a16="http://schemas.microsoft.com/office/drawing/2014/main" id="{0BB93076-F1D4-4B56-9A70-7459F9A922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09953" y="2567960"/>
              <a:ext cx="1812549" cy="3886200"/>
            </a:xfrm>
            <a:prstGeom prst="rect">
              <a:avLst/>
            </a:prstGeom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</p:pic>
        <p:pic>
          <p:nvPicPr>
            <p:cNvPr id="93" name="Picture 92">
              <a:extLst>
                <a:ext uri="{FF2B5EF4-FFF2-40B4-BE49-F238E27FC236}">
                  <a16:creationId xmlns:a16="http://schemas.microsoft.com/office/drawing/2014/main" id="{3C93A859-FB0E-4EC2-9DF6-31B282881FE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69010" y="3205370"/>
              <a:ext cx="1812549" cy="3886200"/>
            </a:xfrm>
            <a:prstGeom prst="rect">
              <a:avLst/>
            </a:prstGeom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</p:pic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7E32DC9C-0F77-4DAC-A1A5-3BA66635AD01}"/>
              </a:ext>
            </a:extLst>
          </p:cNvPr>
          <p:cNvGrpSpPr/>
          <p:nvPr/>
        </p:nvGrpSpPr>
        <p:grpSpPr>
          <a:xfrm>
            <a:off x="5678052" y="2355545"/>
            <a:ext cx="3195218" cy="4119215"/>
            <a:chOff x="764804" y="2178570"/>
            <a:chExt cx="3866198" cy="4984230"/>
          </a:xfrm>
        </p:grpSpPr>
        <p:pic>
          <p:nvPicPr>
            <p:cNvPr id="95" name="Picture 94">
              <a:extLst>
                <a:ext uri="{FF2B5EF4-FFF2-40B4-BE49-F238E27FC236}">
                  <a16:creationId xmlns:a16="http://schemas.microsoft.com/office/drawing/2014/main" id="{C85E0C92-1DE8-44F4-AE0F-DF31D9CCBE5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4804" y="2178570"/>
              <a:ext cx="1812548" cy="3886200"/>
            </a:xfrm>
            <a:prstGeom prst="rect">
              <a:avLst/>
            </a:prstGeom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</p:pic>
        <p:pic>
          <p:nvPicPr>
            <p:cNvPr id="96" name="Picture 95">
              <a:extLst>
                <a:ext uri="{FF2B5EF4-FFF2-40B4-BE49-F238E27FC236}">
                  <a16:creationId xmlns:a16="http://schemas.microsoft.com/office/drawing/2014/main" id="{D3FE3640-E303-4FAD-8691-A1309277676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12686" y="2658450"/>
              <a:ext cx="1812548" cy="3886200"/>
            </a:xfrm>
            <a:prstGeom prst="rect">
              <a:avLst/>
            </a:prstGeom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</p:pic>
        <p:pic>
          <p:nvPicPr>
            <p:cNvPr id="97" name="Picture 96">
              <a:extLst>
                <a:ext uri="{FF2B5EF4-FFF2-40B4-BE49-F238E27FC236}">
                  <a16:creationId xmlns:a16="http://schemas.microsoft.com/office/drawing/2014/main" id="{ECADC40D-7982-4752-8C47-CF4AEB6A618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8454" y="3276600"/>
              <a:ext cx="1812548" cy="3886200"/>
            </a:xfrm>
            <a:prstGeom prst="rect">
              <a:avLst/>
            </a:prstGeom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</p:pic>
      </p:grpSp>
      <p:pic>
        <p:nvPicPr>
          <p:cNvPr id="98" name="Picture 97">
            <a:extLst>
              <a:ext uri="{FF2B5EF4-FFF2-40B4-BE49-F238E27FC236}">
                <a16:creationId xmlns:a16="http://schemas.microsoft.com/office/drawing/2014/main" id="{A41010FE-A78A-4642-9D98-432E903621B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2759" y="2405062"/>
            <a:ext cx="4057650" cy="2047875"/>
          </a:xfrm>
          <a:prstGeom prst="rect">
            <a:avLst/>
          </a:prstGeom>
          <a:ln>
            <a:solidFill>
              <a:schemeClr val="accent1">
                <a:lumMod val="75000"/>
              </a:schemeClr>
            </a:solidFill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pic>
        <p:nvPicPr>
          <p:cNvPr id="99" name="Picture 98">
            <a:extLst>
              <a:ext uri="{FF2B5EF4-FFF2-40B4-BE49-F238E27FC236}">
                <a16:creationId xmlns:a16="http://schemas.microsoft.com/office/drawing/2014/main" id="{065AAB1C-EB1B-45FA-87DE-ADFCAD6E717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17561" y="4114800"/>
            <a:ext cx="4057650" cy="2162175"/>
          </a:xfrm>
          <a:prstGeom prst="rect">
            <a:avLst/>
          </a:prstGeom>
          <a:ln>
            <a:solidFill>
              <a:schemeClr val="accent1">
                <a:lumMod val="75000"/>
              </a:schemeClr>
            </a:solidFill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9572914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7295" y="14010"/>
            <a:ext cx="7223760" cy="1088740"/>
          </a:xfrm>
        </p:spPr>
        <p:txBody>
          <a:bodyPr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sz="2800" b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 is all about Data!</a:t>
            </a:r>
            <a:endParaRPr lang="en-US" sz="2800" b="1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05B516B-7243-43FD-A654-4E0F76BDEE2D}"/>
              </a:ext>
            </a:extLst>
          </p:cNvPr>
          <p:cNvGrpSpPr/>
          <p:nvPr/>
        </p:nvGrpSpPr>
        <p:grpSpPr>
          <a:xfrm>
            <a:off x="6823037" y="1986288"/>
            <a:ext cx="3699205" cy="3379405"/>
            <a:chOff x="6024091" y="2092492"/>
            <a:chExt cx="3972877" cy="3693491"/>
          </a:xfrm>
        </p:grpSpPr>
        <p:grpSp>
          <p:nvGrpSpPr>
            <p:cNvPr id="5" name="Gruppieren 9">
              <a:extLst>
                <a:ext uri="{FF2B5EF4-FFF2-40B4-BE49-F238E27FC236}">
                  <a16:creationId xmlns:a16="http://schemas.microsoft.com/office/drawing/2014/main" id="{6C79AB72-B157-4D97-9220-0BE73D77560B}"/>
                </a:ext>
              </a:extLst>
            </p:cNvPr>
            <p:cNvGrpSpPr/>
            <p:nvPr/>
          </p:nvGrpSpPr>
          <p:grpSpPr>
            <a:xfrm>
              <a:off x="8923824" y="2535883"/>
              <a:ext cx="579169" cy="573706"/>
              <a:chOff x="10521379" y="2583181"/>
              <a:chExt cx="579170" cy="573706"/>
            </a:xfrm>
          </p:grpSpPr>
          <p:sp>
            <p:nvSpPr>
              <p:cNvPr id="102" name="Freeform 22">
                <a:extLst>
                  <a:ext uri="{FF2B5EF4-FFF2-40B4-BE49-F238E27FC236}">
                    <a16:creationId xmlns:a16="http://schemas.microsoft.com/office/drawing/2014/main" id="{CB2CF4EE-10B8-46DB-8352-13F2EF9D8A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21379" y="2583181"/>
                <a:ext cx="579170" cy="573706"/>
              </a:xfrm>
              <a:custGeom>
                <a:avLst/>
                <a:gdLst>
                  <a:gd name="T0" fmla="*/ 125 w 134"/>
                  <a:gd name="T1" fmla="*/ 83 h 133"/>
                  <a:gd name="T2" fmla="*/ 51 w 134"/>
                  <a:gd name="T3" fmla="*/ 124 h 133"/>
                  <a:gd name="T4" fmla="*/ 9 w 134"/>
                  <a:gd name="T5" fmla="*/ 50 h 133"/>
                  <a:gd name="T6" fmla="*/ 83 w 134"/>
                  <a:gd name="T7" fmla="*/ 9 h 133"/>
                  <a:gd name="T8" fmla="*/ 125 w 134"/>
                  <a:gd name="T9" fmla="*/ 8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4" h="133">
                    <a:moveTo>
                      <a:pt x="125" y="83"/>
                    </a:moveTo>
                    <a:cubicBezTo>
                      <a:pt x="115" y="115"/>
                      <a:pt x="82" y="133"/>
                      <a:pt x="51" y="124"/>
                    </a:cubicBezTo>
                    <a:cubicBezTo>
                      <a:pt x="19" y="115"/>
                      <a:pt x="0" y="82"/>
                      <a:pt x="9" y="50"/>
                    </a:cubicBezTo>
                    <a:cubicBezTo>
                      <a:pt x="19" y="18"/>
                      <a:pt x="52" y="0"/>
                      <a:pt x="83" y="9"/>
                    </a:cubicBezTo>
                    <a:cubicBezTo>
                      <a:pt x="115" y="18"/>
                      <a:pt x="134" y="51"/>
                      <a:pt x="125" y="8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  <p:sp>
            <p:nvSpPr>
              <p:cNvPr id="103" name="Freeform 22">
                <a:extLst>
                  <a:ext uri="{FF2B5EF4-FFF2-40B4-BE49-F238E27FC236}">
                    <a16:creationId xmlns:a16="http://schemas.microsoft.com/office/drawing/2014/main" id="{5A50B4E8-A93D-4F8A-B7E0-71768936BD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16735" y="2776694"/>
                <a:ext cx="188459" cy="186681"/>
              </a:xfrm>
              <a:custGeom>
                <a:avLst/>
                <a:gdLst>
                  <a:gd name="T0" fmla="*/ 125 w 134"/>
                  <a:gd name="T1" fmla="*/ 83 h 133"/>
                  <a:gd name="T2" fmla="*/ 51 w 134"/>
                  <a:gd name="T3" fmla="*/ 124 h 133"/>
                  <a:gd name="T4" fmla="*/ 9 w 134"/>
                  <a:gd name="T5" fmla="*/ 50 h 133"/>
                  <a:gd name="T6" fmla="*/ 83 w 134"/>
                  <a:gd name="T7" fmla="*/ 9 h 133"/>
                  <a:gd name="T8" fmla="*/ 125 w 134"/>
                  <a:gd name="T9" fmla="*/ 8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4" h="133">
                    <a:moveTo>
                      <a:pt x="125" y="83"/>
                    </a:moveTo>
                    <a:cubicBezTo>
                      <a:pt x="115" y="115"/>
                      <a:pt x="82" y="133"/>
                      <a:pt x="51" y="124"/>
                    </a:cubicBezTo>
                    <a:cubicBezTo>
                      <a:pt x="19" y="115"/>
                      <a:pt x="0" y="82"/>
                      <a:pt x="9" y="50"/>
                    </a:cubicBezTo>
                    <a:cubicBezTo>
                      <a:pt x="19" y="18"/>
                      <a:pt x="52" y="0"/>
                      <a:pt x="83" y="9"/>
                    </a:cubicBezTo>
                    <a:cubicBezTo>
                      <a:pt x="115" y="18"/>
                      <a:pt x="134" y="51"/>
                      <a:pt x="125" y="83"/>
                    </a:cubicBezTo>
                    <a:close/>
                  </a:path>
                </a:pathLst>
              </a:custGeom>
              <a:solidFill>
                <a:srgbClr val="F5F5F0">
                  <a:alpha val="6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</p:grpSp>
        <p:grpSp>
          <p:nvGrpSpPr>
            <p:cNvPr id="6" name="Gruppieren 84">
              <a:extLst>
                <a:ext uri="{FF2B5EF4-FFF2-40B4-BE49-F238E27FC236}">
                  <a16:creationId xmlns:a16="http://schemas.microsoft.com/office/drawing/2014/main" id="{C8DC2225-8E1D-49A6-B7B0-666E1D6D5B4E}"/>
                </a:ext>
              </a:extLst>
            </p:cNvPr>
            <p:cNvGrpSpPr/>
            <p:nvPr/>
          </p:nvGrpSpPr>
          <p:grpSpPr>
            <a:xfrm>
              <a:off x="8923824" y="2535883"/>
              <a:ext cx="579169" cy="573706"/>
              <a:chOff x="10521379" y="2583181"/>
              <a:chExt cx="579170" cy="573706"/>
            </a:xfrm>
          </p:grpSpPr>
          <p:sp>
            <p:nvSpPr>
              <p:cNvPr id="100" name="Freeform 22">
                <a:extLst>
                  <a:ext uri="{FF2B5EF4-FFF2-40B4-BE49-F238E27FC236}">
                    <a16:creationId xmlns:a16="http://schemas.microsoft.com/office/drawing/2014/main" id="{9073ED24-AC8C-42E0-877A-5E04A22B04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21379" y="2583181"/>
                <a:ext cx="579170" cy="573706"/>
              </a:xfrm>
              <a:custGeom>
                <a:avLst/>
                <a:gdLst>
                  <a:gd name="T0" fmla="*/ 125 w 134"/>
                  <a:gd name="T1" fmla="*/ 83 h 133"/>
                  <a:gd name="T2" fmla="*/ 51 w 134"/>
                  <a:gd name="T3" fmla="*/ 124 h 133"/>
                  <a:gd name="T4" fmla="*/ 9 w 134"/>
                  <a:gd name="T5" fmla="*/ 50 h 133"/>
                  <a:gd name="T6" fmla="*/ 83 w 134"/>
                  <a:gd name="T7" fmla="*/ 9 h 133"/>
                  <a:gd name="T8" fmla="*/ 125 w 134"/>
                  <a:gd name="T9" fmla="*/ 8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4" h="133">
                    <a:moveTo>
                      <a:pt x="125" y="83"/>
                    </a:moveTo>
                    <a:cubicBezTo>
                      <a:pt x="115" y="115"/>
                      <a:pt x="82" y="133"/>
                      <a:pt x="51" y="124"/>
                    </a:cubicBezTo>
                    <a:cubicBezTo>
                      <a:pt x="19" y="115"/>
                      <a:pt x="0" y="82"/>
                      <a:pt x="9" y="50"/>
                    </a:cubicBezTo>
                    <a:cubicBezTo>
                      <a:pt x="19" y="18"/>
                      <a:pt x="52" y="0"/>
                      <a:pt x="83" y="9"/>
                    </a:cubicBezTo>
                    <a:cubicBezTo>
                      <a:pt x="115" y="18"/>
                      <a:pt x="134" y="51"/>
                      <a:pt x="125" y="8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  <p:sp>
            <p:nvSpPr>
              <p:cNvPr id="101" name="Freeform 22">
                <a:extLst>
                  <a:ext uri="{FF2B5EF4-FFF2-40B4-BE49-F238E27FC236}">
                    <a16:creationId xmlns:a16="http://schemas.microsoft.com/office/drawing/2014/main" id="{C49F3048-9913-4C8C-B08C-EF9CD566E4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16735" y="2776694"/>
                <a:ext cx="188459" cy="186681"/>
              </a:xfrm>
              <a:custGeom>
                <a:avLst/>
                <a:gdLst>
                  <a:gd name="T0" fmla="*/ 125 w 134"/>
                  <a:gd name="T1" fmla="*/ 83 h 133"/>
                  <a:gd name="T2" fmla="*/ 51 w 134"/>
                  <a:gd name="T3" fmla="*/ 124 h 133"/>
                  <a:gd name="T4" fmla="*/ 9 w 134"/>
                  <a:gd name="T5" fmla="*/ 50 h 133"/>
                  <a:gd name="T6" fmla="*/ 83 w 134"/>
                  <a:gd name="T7" fmla="*/ 9 h 133"/>
                  <a:gd name="T8" fmla="*/ 125 w 134"/>
                  <a:gd name="T9" fmla="*/ 8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4" h="133">
                    <a:moveTo>
                      <a:pt x="125" y="83"/>
                    </a:moveTo>
                    <a:cubicBezTo>
                      <a:pt x="115" y="115"/>
                      <a:pt x="82" y="133"/>
                      <a:pt x="51" y="124"/>
                    </a:cubicBezTo>
                    <a:cubicBezTo>
                      <a:pt x="19" y="115"/>
                      <a:pt x="0" y="82"/>
                      <a:pt x="9" y="50"/>
                    </a:cubicBezTo>
                    <a:cubicBezTo>
                      <a:pt x="19" y="18"/>
                      <a:pt x="52" y="0"/>
                      <a:pt x="83" y="9"/>
                    </a:cubicBezTo>
                    <a:cubicBezTo>
                      <a:pt x="115" y="18"/>
                      <a:pt x="134" y="51"/>
                      <a:pt x="125" y="83"/>
                    </a:cubicBezTo>
                    <a:close/>
                  </a:path>
                </a:pathLst>
              </a:custGeom>
              <a:solidFill>
                <a:srgbClr val="F5F5F0">
                  <a:alpha val="6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</p:grpSp>
        <p:pic>
          <p:nvPicPr>
            <p:cNvPr id="8" name="glow">
              <a:extLst>
                <a:ext uri="{FF2B5EF4-FFF2-40B4-BE49-F238E27FC236}">
                  <a16:creationId xmlns:a16="http://schemas.microsoft.com/office/drawing/2014/main" id="{D5F504B6-3795-460E-B7CE-3F2C889F4EA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24091" y="2092492"/>
              <a:ext cx="3972877" cy="3693491"/>
            </a:xfrm>
            <a:prstGeom prst="rect">
              <a:avLst/>
            </a:prstGeom>
          </p:spPr>
        </p:pic>
        <p:grpSp>
          <p:nvGrpSpPr>
            <p:cNvPr id="9" name="Gruppieren 90">
              <a:extLst>
                <a:ext uri="{FF2B5EF4-FFF2-40B4-BE49-F238E27FC236}">
                  <a16:creationId xmlns:a16="http://schemas.microsoft.com/office/drawing/2014/main" id="{3E938268-DB10-48C3-8425-978E25CD787F}"/>
                </a:ext>
              </a:extLst>
            </p:cNvPr>
            <p:cNvGrpSpPr/>
            <p:nvPr/>
          </p:nvGrpSpPr>
          <p:grpSpPr>
            <a:xfrm>
              <a:off x="8923824" y="2535883"/>
              <a:ext cx="579169" cy="573706"/>
              <a:chOff x="10521379" y="2583181"/>
              <a:chExt cx="579170" cy="573706"/>
            </a:xfrm>
          </p:grpSpPr>
          <p:sp>
            <p:nvSpPr>
              <p:cNvPr id="98" name="Freeform 22">
                <a:extLst>
                  <a:ext uri="{FF2B5EF4-FFF2-40B4-BE49-F238E27FC236}">
                    <a16:creationId xmlns:a16="http://schemas.microsoft.com/office/drawing/2014/main" id="{B20350A8-87D2-4F60-B333-6C524A0C96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21379" y="2583181"/>
                <a:ext cx="579170" cy="573706"/>
              </a:xfrm>
              <a:custGeom>
                <a:avLst/>
                <a:gdLst>
                  <a:gd name="T0" fmla="*/ 125 w 134"/>
                  <a:gd name="T1" fmla="*/ 83 h 133"/>
                  <a:gd name="T2" fmla="*/ 51 w 134"/>
                  <a:gd name="T3" fmla="*/ 124 h 133"/>
                  <a:gd name="T4" fmla="*/ 9 w 134"/>
                  <a:gd name="T5" fmla="*/ 50 h 133"/>
                  <a:gd name="T6" fmla="*/ 83 w 134"/>
                  <a:gd name="T7" fmla="*/ 9 h 133"/>
                  <a:gd name="T8" fmla="*/ 125 w 134"/>
                  <a:gd name="T9" fmla="*/ 8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4" h="133">
                    <a:moveTo>
                      <a:pt x="125" y="83"/>
                    </a:moveTo>
                    <a:cubicBezTo>
                      <a:pt x="115" y="115"/>
                      <a:pt x="82" y="133"/>
                      <a:pt x="51" y="124"/>
                    </a:cubicBezTo>
                    <a:cubicBezTo>
                      <a:pt x="19" y="115"/>
                      <a:pt x="0" y="82"/>
                      <a:pt x="9" y="50"/>
                    </a:cubicBezTo>
                    <a:cubicBezTo>
                      <a:pt x="19" y="18"/>
                      <a:pt x="52" y="0"/>
                      <a:pt x="83" y="9"/>
                    </a:cubicBezTo>
                    <a:cubicBezTo>
                      <a:pt x="115" y="18"/>
                      <a:pt x="134" y="51"/>
                      <a:pt x="125" y="8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  <p:sp>
            <p:nvSpPr>
              <p:cNvPr id="99" name="Freeform 22">
                <a:extLst>
                  <a:ext uri="{FF2B5EF4-FFF2-40B4-BE49-F238E27FC236}">
                    <a16:creationId xmlns:a16="http://schemas.microsoft.com/office/drawing/2014/main" id="{ABE42793-5AF7-474A-A17A-53BA647EAF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16735" y="2776694"/>
                <a:ext cx="188459" cy="186681"/>
              </a:xfrm>
              <a:custGeom>
                <a:avLst/>
                <a:gdLst>
                  <a:gd name="T0" fmla="*/ 125 w 134"/>
                  <a:gd name="T1" fmla="*/ 83 h 133"/>
                  <a:gd name="T2" fmla="*/ 51 w 134"/>
                  <a:gd name="T3" fmla="*/ 124 h 133"/>
                  <a:gd name="T4" fmla="*/ 9 w 134"/>
                  <a:gd name="T5" fmla="*/ 50 h 133"/>
                  <a:gd name="T6" fmla="*/ 83 w 134"/>
                  <a:gd name="T7" fmla="*/ 9 h 133"/>
                  <a:gd name="T8" fmla="*/ 125 w 134"/>
                  <a:gd name="T9" fmla="*/ 8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4" h="133">
                    <a:moveTo>
                      <a:pt x="125" y="83"/>
                    </a:moveTo>
                    <a:cubicBezTo>
                      <a:pt x="115" y="115"/>
                      <a:pt x="82" y="133"/>
                      <a:pt x="51" y="124"/>
                    </a:cubicBezTo>
                    <a:cubicBezTo>
                      <a:pt x="19" y="115"/>
                      <a:pt x="0" y="82"/>
                      <a:pt x="9" y="50"/>
                    </a:cubicBezTo>
                    <a:cubicBezTo>
                      <a:pt x="19" y="18"/>
                      <a:pt x="52" y="0"/>
                      <a:pt x="83" y="9"/>
                    </a:cubicBezTo>
                    <a:cubicBezTo>
                      <a:pt x="115" y="18"/>
                      <a:pt x="134" y="51"/>
                      <a:pt x="125" y="83"/>
                    </a:cubicBezTo>
                    <a:close/>
                  </a:path>
                </a:pathLst>
              </a:custGeom>
              <a:solidFill>
                <a:srgbClr val="F5F5F0">
                  <a:alpha val="6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</p:grpSp>
        <p:grpSp>
          <p:nvGrpSpPr>
            <p:cNvPr id="10" name="Gruppieren 93">
              <a:extLst>
                <a:ext uri="{FF2B5EF4-FFF2-40B4-BE49-F238E27FC236}">
                  <a16:creationId xmlns:a16="http://schemas.microsoft.com/office/drawing/2014/main" id="{D4DB65B0-258E-4356-9D71-EA8E8CDE284C}"/>
                </a:ext>
              </a:extLst>
            </p:cNvPr>
            <p:cNvGrpSpPr/>
            <p:nvPr/>
          </p:nvGrpSpPr>
          <p:grpSpPr>
            <a:xfrm>
              <a:off x="8923824" y="2535883"/>
              <a:ext cx="579169" cy="573706"/>
              <a:chOff x="10521379" y="2583181"/>
              <a:chExt cx="579170" cy="573706"/>
            </a:xfrm>
          </p:grpSpPr>
          <p:sp>
            <p:nvSpPr>
              <p:cNvPr id="96" name="Freeform 22">
                <a:extLst>
                  <a:ext uri="{FF2B5EF4-FFF2-40B4-BE49-F238E27FC236}">
                    <a16:creationId xmlns:a16="http://schemas.microsoft.com/office/drawing/2014/main" id="{694FBC64-B19D-4B3E-9029-1FBC48DFFC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21379" y="2583181"/>
                <a:ext cx="579170" cy="573706"/>
              </a:xfrm>
              <a:custGeom>
                <a:avLst/>
                <a:gdLst>
                  <a:gd name="T0" fmla="*/ 125 w 134"/>
                  <a:gd name="T1" fmla="*/ 83 h 133"/>
                  <a:gd name="T2" fmla="*/ 51 w 134"/>
                  <a:gd name="T3" fmla="*/ 124 h 133"/>
                  <a:gd name="T4" fmla="*/ 9 w 134"/>
                  <a:gd name="T5" fmla="*/ 50 h 133"/>
                  <a:gd name="T6" fmla="*/ 83 w 134"/>
                  <a:gd name="T7" fmla="*/ 9 h 133"/>
                  <a:gd name="T8" fmla="*/ 125 w 134"/>
                  <a:gd name="T9" fmla="*/ 8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4" h="133">
                    <a:moveTo>
                      <a:pt x="125" y="83"/>
                    </a:moveTo>
                    <a:cubicBezTo>
                      <a:pt x="115" y="115"/>
                      <a:pt x="82" y="133"/>
                      <a:pt x="51" y="124"/>
                    </a:cubicBezTo>
                    <a:cubicBezTo>
                      <a:pt x="19" y="115"/>
                      <a:pt x="0" y="82"/>
                      <a:pt x="9" y="50"/>
                    </a:cubicBezTo>
                    <a:cubicBezTo>
                      <a:pt x="19" y="18"/>
                      <a:pt x="52" y="0"/>
                      <a:pt x="83" y="9"/>
                    </a:cubicBezTo>
                    <a:cubicBezTo>
                      <a:pt x="115" y="18"/>
                      <a:pt x="134" y="51"/>
                      <a:pt x="125" y="8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  <p:sp>
            <p:nvSpPr>
              <p:cNvPr id="97" name="Freeform 22">
                <a:extLst>
                  <a:ext uri="{FF2B5EF4-FFF2-40B4-BE49-F238E27FC236}">
                    <a16:creationId xmlns:a16="http://schemas.microsoft.com/office/drawing/2014/main" id="{F139D516-E9B9-4F30-AAFD-4B734CF637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16735" y="2776694"/>
                <a:ext cx="188459" cy="186681"/>
              </a:xfrm>
              <a:custGeom>
                <a:avLst/>
                <a:gdLst>
                  <a:gd name="T0" fmla="*/ 125 w 134"/>
                  <a:gd name="T1" fmla="*/ 83 h 133"/>
                  <a:gd name="T2" fmla="*/ 51 w 134"/>
                  <a:gd name="T3" fmla="*/ 124 h 133"/>
                  <a:gd name="T4" fmla="*/ 9 w 134"/>
                  <a:gd name="T5" fmla="*/ 50 h 133"/>
                  <a:gd name="T6" fmla="*/ 83 w 134"/>
                  <a:gd name="T7" fmla="*/ 9 h 133"/>
                  <a:gd name="T8" fmla="*/ 125 w 134"/>
                  <a:gd name="T9" fmla="*/ 8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4" h="133">
                    <a:moveTo>
                      <a:pt x="125" y="83"/>
                    </a:moveTo>
                    <a:cubicBezTo>
                      <a:pt x="115" y="115"/>
                      <a:pt x="82" y="133"/>
                      <a:pt x="51" y="124"/>
                    </a:cubicBezTo>
                    <a:cubicBezTo>
                      <a:pt x="19" y="115"/>
                      <a:pt x="0" y="82"/>
                      <a:pt x="9" y="50"/>
                    </a:cubicBezTo>
                    <a:cubicBezTo>
                      <a:pt x="19" y="18"/>
                      <a:pt x="52" y="0"/>
                      <a:pt x="83" y="9"/>
                    </a:cubicBezTo>
                    <a:cubicBezTo>
                      <a:pt x="115" y="18"/>
                      <a:pt x="134" y="51"/>
                      <a:pt x="125" y="83"/>
                    </a:cubicBezTo>
                    <a:close/>
                  </a:path>
                </a:pathLst>
              </a:custGeom>
              <a:solidFill>
                <a:srgbClr val="F5F5F0">
                  <a:alpha val="6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</p:grpSp>
        <p:grpSp>
          <p:nvGrpSpPr>
            <p:cNvPr id="11" name="Gruppieren 96">
              <a:extLst>
                <a:ext uri="{FF2B5EF4-FFF2-40B4-BE49-F238E27FC236}">
                  <a16:creationId xmlns:a16="http://schemas.microsoft.com/office/drawing/2014/main" id="{AB80E897-4CDA-4B8B-975B-2D5B3E62CF41}"/>
                </a:ext>
              </a:extLst>
            </p:cNvPr>
            <p:cNvGrpSpPr/>
            <p:nvPr/>
          </p:nvGrpSpPr>
          <p:grpSpPr>
            <a:xfrm>
              <a:off x="8923824" y="2535883"/>
              <a:ext cx="579169" cy="573706"/>
              <a:chOff x="10521379" y="2583181"/>
              <a:chExt cx="579170" cy="573706"/>
            </a:xfrm>
          </p:grpSpPr>
          <p:sp>
            <p:nvSpPr>
              <p:cNvPr id="94" name="Freeform 22">
                <a:extLst>
                  <a:ext uri="{FF2B5EF4-FFF2-40B4-BE49-F238E27FC236}">
                    <a16:creationId xmlns:a16="http://schemas.microsoft.com/office/drawing/2014/main" id="{90B8886E-7B5F-48E4-8568-EB70C77138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21379" y="2583181"/>
                <a:ext cx="579170" cy="573706"/>
              </a:xfrm>
              <a:custGeom>
                <a:avLst/>
                <a:gdLst>
                  <a:gd name="T0" fmla="*/ 125 w 134"/>
                  <a:gd name="T1" fmla="*/ 83 h 133"/>
                  <a:gd name="T2" fmla="*/ 51 w 134"/>
                  <a:gd name="T3" fmla="*/ 124 h 133"/>
                  <a:gd name="T4" fmla="*/ 9 w 134"/>
                  <a:gd name="T5" fmla="*/ 50 h 133"/>
                  <a:gd name="T6" fmla="*/ 83 w 134"/>
                  <a:gd name="T7" fmla="*/ 9 h 133"/>
                  <a:gd name="T8" fmla="*/ 125 w 134"/>
                  <a:gd name="T9" fmla="*/ 8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4" h="133">
                    <a:moveTo>
                      <a:pt x="125" y="83"/>
                    </a:moveTo>
                    <a:cubicBezTo>
                      <a:pt x="115" y="115"/>
                      <a:pt x="82" y="133"/>
                      <a:pt x="51" y="124"/>
                    </a:cubicBezTo>
                    <a:cubicBezTo>
                      <a:pt x="19" y="115"/>
                      <a:pt x="0" y="82"/>
                      <a:pt x="9" y="50"/>
                    </a:cubicBezTo>
                    <a:cubicBezTo>
                      <a:pt x="19" y="18"/>
                      <a:pt x="52" y="0"/>
                      <a:pt x="83" y="9"/>
                    </a:cubicBezTo>
                    <a:cubicBezTo>
                      <a:pt x="115" y="18"/>
                      <a:pt x="134" y="51"/>
                      <a:pt x="125" y="8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  <p:sp>
            <p:nvSpPr>
              <p:cNvPr id="95" name="Freeform 22">
                <a:extLst>
                  <a:ext uri="{FF2B5EF4-FFF2-40B4-BE49-F238E27FC236}">
                    <a16:creationId xmlns:a16="http://schemas.microsoft.com/office/drawing/2014/main" id="{DF45E94C-610F-46C7-B18B-C80BBC197E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16735" y="2776694"/>
                <a:ext cx="188459" cy="186681"/>
              </a:xfrm>
              <a:custGeom>
                <a:avLst/>
                <a:gdLst>
                  <a:gd name="T0" fmla="*/ 125 w 134"/>
                  <a:gd name="T1" fmla="*/ 83 h 133"/>
                  <a:gd name="T2" fmla="*/ 51 w 134"/>
                  <a:gd name="T3" fmla="*/ 124 h 133"/>
                  <a:gd name="T4" fmla="*/ 9 w 134"/>
                  <a:gd name="T5" fmla="*/ 50 h 133"/>
                  <a:gd name="T6" fmla="*/ 83 w 134"/>
                  <a:gd name="T7" fmla="*/ 9 h 133"/>
                  <a:gd name="T8" fmla="*/ 125 w 134"/>
                  <a:gd name="T9" fmla="*/ 8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4" h="133">
                    <a:moveTo>
                      <a:pt x="125" y="83"/>
                    </a:moveTo>
                    <a:cubicBezTo>
                      <a:pt x="115" y="115"/>
                      <a:pt x="82" y="133"/>
                      <a:pt x="51" y="124"/>
                    </a:cubicBezTo>
                    <a:cubicBezTo>
                      <a:pt x="19" y="115"/>
                      <a:pt x="0" y="82"/>
                      <a:pt x="9" y="50"/>
                    </a:cubicBezTo>
                    <a:cubicBezTo>
                      <a:pt x="19" y="18"/>
                      <a:pt x="52" y="0"/>
                      <a:pt x="83" y="9"/>
                    </a:cubicBezTo>
                    <a:cubicBezTo>
                      <a:pt x="115" y="18"/>
                      <a:pt x="134" y="51"/>
                      <a:pt x="125" y="83"/>
                    </a:cubicBezTo>
                    <a:close/>
                  </a:path>
                </a:pathLst>
              </a:custGeom>
              <a:solidFill>
                <a:srgbClr val="F5F5F0">
                  <a:alpha val="6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</p:grpSp>
        <p:grpSp>
          <p:nvGrpSpPr>
            <p:cNvPr id="12" name="Gruppieren 99">
              <a:extLst>
                <a:ext uri="{FF2B5EF4-FFF2-40B4-BE49-F238E27FC236}">
                  <a16:creationId xmlns:a16="http://schemas.microsoft.com/office/drawing/2014/main" id="{CD72AD07-425E-4696-A41C-0BD1EED2B13F}"/>
                </a:ext>
              </a:extLst>
            </p:cNvPr>
            <p:cNvGrpSpPr/>
            <p:nvPr/>
          </p:nvGrpSpPr>
          <p:grpSpPr>
            <a:xfrm>
              <a:off x="8923824" y="2535883"/>
              <a:ext cx="579169" cy="573706"/>
              <a:chOff x="10521379" y="2583181"/>
              <a:chExt cx="579170" cy="573706"/>
            </a:xfrm>
          </p:grpSpPr>
          <p:sp>
            <p:nvSpPr>
              <p:cNvPr id="92" name="Freeform 22">
                <a:extLst>
                  <a:ext uri="{FF2B5EF4-FFF2-40B4-BE49-F238E27FC236}">
                    <a16:creationId xmlns:a16="http://schemas.microsoft.com/office/drawing/2014/main" id="{34409FA0-407D-42FC-98BB-50EC6806BD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21379" y="2583181"/>
                <a:ext cx="579170" cy="573706"/>
              </a:xfrm>
              <a:custGeom>
                <a:avLst/>
                <a:gdLst>
                  <a:gd name="T0" fmla="*/ 125 w 134"/>
                  <a:gd name="T1" fmla="*/ 83 h 133"/>
                  <a:gd name="T2" fmla="*/ 51 w 134"/>
                  <a:gd name="T3" fmla="*/ 124 h 133"/>
                  <a:gd name="T4" fmla="*/ 9 w 134"/>
                  <a:gd name="T5" fmla="*/ 50 h 133"/>
                  <a:gd name="T6" fmla="*/ 83 w 134"/>
                  <a:gd name="T7" fmla="*/ 9 h 133"/>
                  <a:gd name="T8" fmla="*/ 125 w 134"/>
                  <a:gd name="T9" fmla="*/ 8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4" h="133">
                    <a:moveTo>
                      <a:pt x="125" y="83"/>
                    </a:moveTo>
                    <a:cubicBezTo>
                      <a:pt x="115" y="115"/>
                      <a:pt x="82" y="133"/>
                      <a:pt x="51" y="124"/>
                    </a:cubicBezTo>
                    <a:cubicBezTo>
                      <a:pt x="19" y="115"/>
                      <a:pt x="0" y="82"/>
                      <a:pt x="9" y="50"/>
                    </a:cubicBezTo>
                    <a:cubicBezTo>
                      <a:pt x="19" y="18"/>
                      <a:pt x="52" y="0"/>
                      <a:pt x="83" y="9"/>
                    </a:cubicBezTo>
                    <a:cubicBezTo>
                      <a:pt x="115" y="18"/>
                      <a:pt x="134" y="51"/>
                      <a:pt x="125" y="8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  <p:sp>
            <p:nvSpPr>
              <p:cNvPr id="93" name="Freeform 230">
                <a:extLst>
                  <a:ext uri="{FF2B5EF4-FFF2-40B4-BE49-F238E27FC236}">
                    <a16:creationId xmlns:a16="http://schemas.microsoft.com/office/drawing/2014/main" id="{47FA24D9-FD17-42D3-96EB-54F1D6DB1A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16735" y="2776694"/>
                <a:ext cx="188459" cy="186681"/>
              </a:xfrm>
              <a:custGeom>
                <a:avLst/>
                <a:gdLst>
                  <a:gd name="T0" fmla="*/ 125 w 134"/>
                  <a:gd name="T1" fmla="*/ 83 h 133"/>
                  <a:gd name="T2" fmla="*/ 51 w 134"/>
                  <a:gd name="T3" fmla="*/ 124 h 133"/>
                  <a:gd name="T4" fmla="*/ 9 w 134"/>
                  <a:gd name="T5" fmla="*/ 50 h 133"/>
                  <a:gd name="T6" fmla="*/ 83 w 134"/>
                  <a:gd name="T7" fmla="*/ 9 h 133"/>
                  <a:gd name="T8" fmla="*/ 125 w 134"/>
                  <a:gd name="T9" fmla="*/ 8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4" h="133">
                    <a:moveTo>
                      <a:pt x="125" y="83"/>
                    </a:moveTo>
                    <a:cubicBezTo>
                      <a:pt x="115" y="115"/>
                      <a:pt x="82" y="133"/>
                      <a:pt x="51" y="124"/>
                    </a:cubicBezTo>
                    <a:cubicBezTo>
                      <a:pt x="19" y="115"/>
                      <a:pt x="0" y="82"/>
                      <a:pt x="9" y="50"/>
                    </a:cubicBezTo>
                    <a:cubicBezTo>
                      <a:pt x="19" y="18"/>
                      <a:pt x="52" y="0"/>
                      <a:pt x="83" y="9"/>
                    </a:cubicBezTo>
                    <a:cubicBezTo>
                      <a:pt x="115" y="18"/>
                      <a:pt x="134" y="51"/>
                      <a:pt x="125" y="83"/>
                    </a:cubicBezTo>
                    <a:close/>
                  </a:path>
                </a:pathLst>
              </a:custGeom>
              <a:solidFill>
                <a:srgbClr val="F5F5F0">
                  <a:alpha val="6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</p:grpSp>
        <p:sp>
          <p:nvSpPr>
            <p:cNvPr id="13" name="fab">
              <a:extLst>
                <a:ext uri="{FF2B5EF4-FFF2-40B4-BE49-F238E27FC236}">
                  <a16:creationId xmlns:a16="http://schemas.microsoft.com/office/drawing/2014/main" id="{2A67C2B4-A646-47E9-BCDD-03AA72BF21B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325296" y="2397705"/>
              <a:ext cx="3385150" cy="3103647"/>
            </a:xfrm>
            <a:custGeom>
              <a:avLst/>
              <a:gdLst>
                <a:gd name="T0" fmla="*/ 2416 w 2416"/>
                <a:gd name="T1" fmla="*/ 760 h 2214"/>
                <a:gd name="T2" fmla="*/ 2289 w 2416"/>
                <a:gd name="T3" fmla="*/ 760 h 2214"/>
                <a:gd name="T4" fmla="*/ 2289 w 2416"/>
                <a:gd name="T5" fmla="*/ 1287 h 2214"/>
                <a:gd name="T6" fmla="*/ 2175 w 2416"/>
                <a:gd name="T7" fmla="*/ 1195 h 2214"/>
                <a:gd name="T8" fmla="*/ 2206 w 2416"/>
                <a:gd name="T9" fmla="*/ 1135 h 2214"/>
                <a:gd name="T10" fmla="*/ 2175 w 2416"/>
                <a:gd name="T11" fmla="*/ 1060 h 2214"/>
                <a:gd name="T12" fmla="*/ 2206 w 2416"/>
                <a:gd name="T13" fmla="*/ 1000 h 2214"/>
                <a:gd name="T14" fmla="*/ 2175 w 2416"/>
                <a:gd name="T15" fmla="*/ 925 h 2214"/>
                <a:gd name="T16" fmla="*/ 2206 w 2416"/>
                <a:gd name="T17" fmla="*/ 865 h 2214"/>
                <a:gd name="T18" fmla="*/ 2175 w 2416"/>
                <a:gd name="T19" fmla="*/ 790 h 2214"/>
                <a:gd name="T20" fmla="*/ 2206 w 2416"/>
                <a:gd name="T21" fmla="*/ 730 h 2214"/>
                <a:gd name="T22" fmla="*/ 2175 w 2416"/>
                <a:gd name="T23" fmla="*/ 655 h 2214"/>
                <a:gd name="T24" fmla="*/ 2206 w 2416"/>
                <a:gd name="T25" fmla="*/ 595 h 2214"/>
                <a:gd name="T26" fmla="*/ 2175 w 2416"/>
                <a:gd name="T27" fmla="*/ 520 h 2214"/>
                <a:gd name="T28" fmla="*/ 2206 w 2416"/>
                <a:gd name="T29" fmla="*/ 460 h 2214"/>
                <a:gd name="T30" fmla="*/ 2175 w 2416"/>
                <a:gd name="T31" fmla="*/ 334 h 2214"/>
                <a:gd name="T32" fmla="*/ 2042 w 2416"/>
                <a:gd name="T33" fmla="*/ 196 h 2214"/>
                <a:gd name="T34" fmla="*/ 1910 w 2416"/>
                <a:gd name="T35" fmla="*/ 948 h 2214"/>
                <a:gd name="T36" fmla="*/ 1829 w 2416"/>
                <a:gd name="T37" fmla="*/ 138 h 2214"/>
                <a:gd name="T38" fmla="*/ 1696 w 2416"/>
                <a:gd name="T39" fmla="*/ 0 h 2214"/>
                <a:gd name="T40" fmla="*/ 1564 w 2416"/>
                <a:gd name="T41" fmla="*/ 133 h 2214"/>
                <a:gd name="T42" fmla="*/ 1413 w 2416"/>
                <a:gd name="T43" fmla="*/ 1287 h 2214"/>
                <a:gd name="T44" fmla="*/ 1413 w 2416"/>
                <a:gd name="T45" fmla="*/ 568 h 2214"/>
                <a:gd name="T46" fmla="*/ 1286 w 2416"/>
                <a:gd name="T47" fmla="*/ 568 h 2214"/>
                <a:gd name="T48" fmla="*/ 1236 w 2416"/>
                <a:gd name="T49" fmla="*/ 1287 h 2214"/>
                <a:gd name="T50" fmla="*/ 1236 w 2416"/>
                <a:gd name="T51" fmla="*/ 329 h 2214"/>
                <a:gd name="T52" fmla="*/ 1109 w 2416"/>
                <a:gd name="T53" fmla="*/ 329 h 2214"/>
                <a:gd name="T54" fmla="*/ 1034 w 2416"/>
                <a:gd name="T55" fmla="*/ 1103 h 2214"/>
                <a:gd name="T56" fmla="*/ 867 w 2416"/>
                <a:gd name="T57" fmla="*/ 365 h 2214"/>
                <a:gd name="T58" fmla="*/ 525 w 2416"/>
                <a:gd name="T59" fmla="*/ 700 h 2214"/>
                <a:gd name="T60" fmla="*/ 135 w 2416"/>
                <a:gd name="T61" fmla="*/ 1287 h 2214"/>
                <a:gd name="T62" fmla="*/ 0 w 2416"/>
                <a:gd name="T63" fmla="*/ 1562 h 2214"/>
                <a:gd name="T64" fmla="*/ 2416 w 2416"/>
                <a:gd name="T65" fmla="*/ 2214 h 2214"/>
                <a:gd name="T66" fmla="*/ 417 w 2416"/>
                <a:gd name="T67" fmla="*/ 1492 h 2214"/>
                <a:gd name="T68" fmla="*/ 248 w 2416"/>
                <a:gd name="T69" fmla="*/ 1464 h 2214"/>
                <a:gd name="T70" fmla="*/ 417 w 2416"/>
                <a:gd name="T71" fmla="*/ 1492 h 2214"/>
                <a:gd name="T72" fmla="*/ 248 w 2416"/>
                <a:gd name="T73" fmla="*/ 1430 h 2214"/>
                <a:gd name="T74" fmla="*/ 417 w 2416"/>
                <a:gd name="T75" fmla="*/ 1401 h 2214"/>
                <a:gd name="T76" fmla="*/ 992 w 2416"/>
                <a:gd name="T77" fmla="*/ 1103 h 2214"/>
                <a:gd name="T78" fmla="*/ 916 w 2416"/>
                <a:gd name="T79" fmla="*/ 700 h 2214"/>
                <a:gd name="T80" fmla="*/ 867 w 2416"/>
                <a:gd name="T81" fmla="*/ 407 h 2214"/>
                <a:gd name="T82" fmla="*/ 992 w 2416"/>
                <a:gd name="T83" fmla="*/ 1103 h 2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416" h="2214">
                  <a:moveTo>
                    <a:pt x="2416" y="760"/>
                  </a:moveTo>
                  <a:cubicBezTo>
                    <a:pt x="2416" y="760"/>
                    <a:pt x="2416" y="760"/>
                    <a:pt x="2416" y="760"/>
                  </a:cubicBezTo>
                  <a:cubicBezTo>
                    <a:pt x="2416" y="725"/>
                    <a:pt x="2387" y="696"/>
                    <a:pt x="2352" y="696"/>
                  </a:cubicBezTo>
                  <a:cubicBezTo>
                    <a:pt x="2317" y="696"/>
                    <a:pt x="2289" y="725"/>
                    <a:pt x="2289" y="760"/>
                  </a:cubicBezTo>
                  <a:cubicBezTo>
                    <a:pt x="2289" y="760"/>
                    <a:pt x="2289" y="760"/>
                    <a:pt x="2289" y="760"/>
                  </a:cubicBezTo>
                  <a:cubicBezTo>
                    <a:pt x="2289" y="1287"/>
                    <a:pt x="2289" y="1287"/>
                    <a:pt x="2289" y="1287"/>
                  </a:cubicBezTo>
                  <a:cubicBezTo>
                    <a:pt x="2175" y="1287"/>
                    <a:pt x="2175" y="1287"/>
                    <a:pt x="2175" y="1287"/>
                  </a:cubicBezTo>
                  <a:cubicBezTo>
                    <a:pt x="2175" y="1195"/>
                    <a:pt x="2175" y="1195"/>
                    <a:pt x="2175" y="1195"/>
                  </a:cubicBezTo>
                  <a:cubicBezTo>
                    <a:pt x="2206" y="1195"/>
                    <a:pt x="2206" y="1195"/>
                    <a:pt x="2206" y="1195"/>
                  </a:cubicBezTo>
                  <a:cubicBezTo>
                    <a:pt x="2206" y="1135"/>
                    <a:pt x="2206" y="1135"/>
                    <a:pt x="2206" y="1135"/>
                  </a:cubicBezTo>
                  <a:cubicBezTo>
                    <a:pt x="2175" y="1135"/>
                    <a:pt x="2175" y="1135"/>
                    <a:pt x="2175" y="1135"/>
                  </a:cubicBezTo>
                  <a:cubicBezTo>
                    <a:pt x="2175" y="1060"/>
                    <a:pt x="2175" y="1060"/>
                    <a:pt x="2175" y="1060"/>
                  </a:cubicBezTo>
                  <a:cubicBezTo>
                    <a:pt x="2206" y="1060"/>
                    <a:pt x="2206" y="1060"/>
                    <a:pt x="2206" y="1060"/>
                  </a:cubicBezTo>
                  <a:cubicBezTo>
                    <a:pt x="2206" y="1000"/>
                    <a:pt x="2206" y="1000"/>
                    <a:pt x="2206" y="1000"/>
                  </a:cubicBezTo>
                  <a:cubicBezTo>
                    <a:pt x="2175" y="1000"/>
                    <a:pt x="2175" y="1000"/>
                    <a:pt x="2175" y="1000"/>
                  </a:cubicBezTo>
                  <a:cubicBezTo>
                    <a:pt x="2175" y="925"/>
                    <a:pt x="2175" y="925"/>
                    <a:pt x="2175" y="925"/>
                  </a:cubicBezTo>
                  <a:cubicBezTo>
                    <a:pt x="2206" y="925"/>
                    <a:pt x="2206" y="925"/>
                    <a:pt x="2206" y="925"/>
                  </a:cubicBezTo>
                  <a:cubicBezTo>
                    <a:pt x="2206" y="865"/>
                    <a:pt x="2206" y="865"/>
                    <a:pt x="2206" y="865"/>
                  </a:cubicBezTo>
                  <a:cubicBezTo>
                    <a:pt x="2175" y="865"/>
                    <a:pt x="2175" y="865"/>
                    <a:pt x="2175" y="865"/>
                  </a:cubicBezTo>
                  <a:cubicBezTo>
                    <a:pt x="2175" y="790"/>
                    <a:pt x="2175" y="790"/>
                    <a:pt x="2175" y="790"/>
                  </a:cubicBezTo>
                  <a:cubicBezTo>
                    <a:pt x="2206" y="790"/>
                    <a:pt x="2206" y="790"/>
                    <a:pt x="2206" y="790"/>
                  </a:cubicBezTo>
                  <a:cubicBezTo>
                    <a:pt x="2206" y="730"/>
                    <a:pt x="2206" y="730"/>
                    <a:pt x="2206" y="730"/>
                  </a:cubicBezTo>
                  <a:cubicBezTo>
                    <a:pt x="2175" y="730"/>
                    <a:pt x="2175" y="730"/>
                    <a:pt x="2175" y="730"/>
                  </a:cubicBezTo>
                  <a:cubicBezTo>
                    <a:pt x="2175" y="655"/>
                    <a:pt x="2175" y="655"/>
                    <a:pt x="2175" y="655"/>
                  </a:cubicBezTo>
                  <a:cubicBezTo>
                    <a:pt x="2206" y="655"/>
                    <a:pt x="2206" y="655"/>
                    <a:pt x="2206" y="655"/>
                  </a:cubicBezTo>
                  <a:cubicBezTo>
                    <a:pt x="2206" y="595"/>
                    <a:pt x="2206" y="595"/>
                    <a:pt x="2206" y="595"/>
                  </a:cubicBezTo>
                  <a:cubicBezTo>
                    <a:pt x="2175" y="595"/>
                    <a:pt x="2175" y="595"/>
                    <a:pt x="2175" y="595"/>
                  </a:cubicBezTo>
                  <a:cubicBezTo>
                    <a:pt x="2175" y="520"/>
                    <a:pt x="2175" y="520"/>
                    <a:pt x="2175" y="520"/>
                  </a:cubicBezTo>
                  <a:cubicBezTo>
                    <a:pt x="2206" y="520"/>
                    <a:pt x="2206" y="520"/>
                    <a:pt x="2206" y="520"/>
                  </a:cubicBezTo>
                  <a:cubicBezTo>
                    <a:pt x="2206" y="460"/>
                    <a:pt x="2206" y="460"/>
                    <a:pt x="2206" y="460"/>
                  </a:cubicBezTo>
                  <a:cubicBezTo>
                    <a:pt x="2175" y="460"/>
                    <a:pt x="2175" y="460"/>
                    <a:pt x="2175" y="460"/>
                  </a:cubicBezTo>
                  <a:cubicBezTo>
                    <a:pt x="2175" y="334"/>
                    <a:pt x="2175" y="334"/>
                    <a:pt x="2175" y="334"/>
                  </a:cubicBezTo>
                  <a:cubicBezTo>
                    <a:pt x="2175" y="332"/>
                    <a:pt x="2175" y="330"/>
                    <a:pt x="2175" y="329"/>
                  </a:cubicBezTo>
                  <a:cubicBezTo>
                    <a:pt x="2175" y="255"/>
                    <a:pt x="2116" y="196"/>
                    <a:pt x="2042" y="196"/>
                  </a:cubicBezTo>
                  <a:cubicBezTo>
                    <a:pt x="1969" y="196"/>
                    <a:pt x="1910" y="255"/>
                    <a:pt x="1910" y="329"/>
                  </a:cubicBezTo>
                  <a:cubicBezTo>
                    <a:pt x="1910" y="948"/>
                    <a:pt x="1910" y="948"/>
                    <a:pt x="1910" y="948"/>
                  </a:cubicBezTo>
                  <a:cubicBezTo>
                    <a:pt x="1829" y="948"/>
                    <a:pt x="1829" y="948"/>
                    <a:pt x="1829" y="948"/>
                  </a:cubicBezTo>
                  <a:cubicBezTo>
                    <a:pt x="1829" y="138"/>
                    <a:pt x="1829" y="138"/>
                    <a:pt x="1829" y="138"/>
                  </a:cubicBezTo>
                  <a:cubicBezTo>
                    <a:pt x="1829" y="137"/>
                    <a:pt x="1829" y="135"/>
                    <a:pt x="1829" y="133"/>
                  </a:cubicBezTo>
                  <a:cubicBezTo>
                    <a:pt x="1829" y="60"/>
                    <a:pt x="1770" y="0"/>
                    <a:pt x="1696" y="0"/>
                  </a:cubicBezTo>
                  <a:cubicBezTo>
                    <a:pt x="1623" y="0"/>
                    <a:pt x="1564" y="60"/>
                    <a:pt x="1564" y="133"/>
                  </a:cubicBezTo>
                  <a:cubicBezTo>
                    <a:pt x="1564" y="133"/>
                    <a:pt x="1564" y="133"/>
                    <a:pt x="1564" y="133"/>
                  </a:cubicBezTo>
                  <a:cubicBezTo>
                    <a:pt x="1564" y="1287"/>
                    <a:pt x="1564" y="1287"/>
                    <a:pt x="1564" y="1287"/>
                  </a:cubicBezTo>
                  <a:cubicBezTo>
                    <a:pt x="1413" y="1287"/>
                    <a:pt x="1413" y="1287"/>
                    <a:pt x="1413" y="1287"/>
                  </a:cubicBezTo>
                  <a:cubicBezTo>
                    <a:pt x="1413" y="568"/>
                    <a:pt x="1413" y="568"/>
                    <a:pt x="1413" y="568"/>
                  </a:cubicBezTo>
                  <a:cubicBezTo>
                    <a:pt x="1413" y="568"/>
                    <a:pt x="1413" y="568"/>
                    <a:pt x="1413" y="568"/>
                  </a:cubicBezTo>
                  <a:cubicBezTo>
                    <a:pt x="1413" y="533"/>
                    <a:pt x="1385" y="504"/>
                    <a:pt x="1349" y="504"/>
                  </a:cubicBezTo>
                  <a:cubicBezTo>
                    <a:pt x="1314" y="504"/>
                    <a:pt x="1286" y="533"/>
                    <a:pt x="1286" y="568"/>
                  </a:cubicBezTo>
                  <a:cubicBezTo>
                    <a:pt x="1286" y="1287"/>
                    <a:pt x="1286" y="1287"/>
                    <a:pt x="1286" y="1287"/>
                  </a:cubicBezTo>
                  <a:cubicBezTo>
                    <a:pt x="1236" y="1287"/>
                    <a:pt x="1236" y="1287"/>
                    <a:pt x="1236" y="1287"/>
                  </a:cubicBezTo>
                  <a:cubicBezTo>
                    <a:pt x="1236" y="329"/>
                    <a:pt x="1236" y="329"/>
                    <a:pt x="1236" y="329"/>
                  </a:cubicBezTo>
                  <a:cubicBezTo>
                    <a:pt x="1236" y="329"/>
                    <a:pt x="1236" y="329"/>
                    <a:pt x="1236" y="329"/>
                  </a:cubicBezTo>
                  <a:cubicBezTo>
                    <a:pt x="1236" y="293"/>
                    <a:pt x="1208" y="265"/>
                    <a:pt x="1173" y="265"/>
                  </a:cubicBezTo>
                  <a:cubicBezTo>
                    <a:pt x="1138" y="265"/>
                    <a:pt x="1109" y="293"/>
                    <a:pt x="1109" y="329"/>
                  </a:cubicBezTo>
                  <a:cubicBezTo>
                    <a:pt x="1109" y="1103"/>
                    <a:pt x="1109" y="1103"/>
                    <a:pt x="1109" y="1103"/>
                  </a:cubicBezTo>
                  <a:cubicBezTo>
                    <a:pt x="1034" y="1103"/>
                    <a:pt x="1034" y="1103"/>
                    <a:pt x="1034" y="1103"/>
                  </a:cubicBezTo>
                  <a:cubicBezTo>
                    <a:pt x="1034" y="520"/>
                    <a:pt x="1034" y="520"/>
                    <a:pt x="1034" y="520"/>
                  </a:cubicBezTo>
                  <a:cubicBezTo>
                    <a:pt x="1034" y="430"/>
                    <a:pt x="964" y="365"/>
                    <a:pt x="867" y="365"/>
                  </a:cubicBezTo>
                  <a:cubicBezTo>
                    <a:pt x="776" y="365"/>
                    <a:pt x="700" y="429"/>
                    <a:pt x="700" y="505"/>
                  </a:cubicBezTo>
                  <a:cubicBezTo>
                    <a:pt x="602" y="516"/>
                    <a:pt x="525" y="599"/>
                    <a:pt x="525" y="700"/>
                  </a:cubicBezTo>
                  <a:cubicBezTo>
                    <a:pt x="525" y="1287"/>
                    <a:pt x="525" y="1287"/>
                    <a:pt x="525" y="1287"/>
                  </a:cubicBezTo>
                  <a:cubicBezTo>
                    <a:pt x="135" y="1287"/>
                    <a:pt x="135" y="1287"/>
                    <a:pt x="135" y="1287"/>
                  </a:cubicBezTo>
                  <a:cubicBezTo>
                    <a:pt x="135" y="1562"/>
                    <a:pt x="135" y="1562"/>
                    <a:pt x="135" y="1562"/>
                  </a:cubicBezTo>
                  <a:cubicBezTo>
                    <a:pt x="0" y="1562"/>
                    <a:pt x="0" y="1562"/>
                    <a:pt x="0" y="1562"/>
                  </a:cubicBezTo>
                  <a:cubicBezTo>
                    <a:pt x="0" y="2214"/>
                    <a:pt x="0" y="2214"/>
                    <a:pt x="0" y="2214"/>
                  </a:cubicBezTo>
                  <a:cubicBezTo>
                    <a:pt x="2416" y="2214"/>
                    <a:pt x="2416" y="2214"/>
                    <a:pt x="2416" y="2214"/>
                  </a:cubicBezTo>
                  <a:cubicBezTo>
                    <a:pt x="2416" y="760"/>
                    <a:pt x="2416" y="760"/>
                    <a:pt x="2416" y="760"/>
                  </a:cubicBezTo>
                  <a:close/>
                  <a:moveTo>
                    <a:pt x="417" y="1492"/>
                  </a:moveTo>
                  <a:cubicBezTo>
                    <a:pt x="248" y="1492"/>
                    <a:pt x="248" y="1492"/>
                    <a:pt x="248" y="1492"/>
                  </a:cubicBezTo>
                  <a:cubicBezTo>
                    <a:pt x="248" y="1464"/>
                    <a:pt x="248" y="1464"/>
                    <a:pt x="248" y="1464"/>
                  </a:cubicBezTo>
                  <a:cubicBezTo>
                    <a:pt x="417" y="1464"/>
                    <a:pt x="417" y="1464"/>
                    <a:pt x="417" y="1464"/>
                  </a:cubicBezTo>
                  <a:lnTo>
                    <a:pt x="417" y="1492"/>
                  </a:lnTo>
                  <a:close/>
                  <a:moveTo>
                    <a:pt x="417" y="1430"/>
                  </a:moveTo>
                  <a:cubicBezTo>
                    <a:pt x="248" y="1430"/>
                    <a:pt x="248" y="1430"/>
                    <a:pt x="248" y="1430"/>
                  </a:cubicBezTo>
                  <a:cubicBezTo>
                    <a:pt x="248" y="1401"/>
                    <a:pt x="248" y="1401"/>
                    <a:pt x="248" y="1401"/>
                  </a:cubicBezTo>
                  <a:cubicBezTo>
                    <a:pt x="417" y="1401"/>
                    <a:pt x="417" y="1401"/>
                    <a:pt x="417" y="1401"/>
                  </a:cubicBezTo>
                  <a:lnTo>
                    <a:pt x="417" y="1430"/>
                  </a:lnTo>
                  <a:close/>
                  <a:moveTo>
                    <a:pt x="992" y="1103"/>
                  </a:moveTo>
                  <a:cubicBezTo>
                    <a:pt x="916" y="1103"/>
                    <a:pt x="916" y="1103"/>
                    <a:pt x="916" y="1103"/>
                  </a:cubicBezTo>
                  <a:cubicBezTo>
                    <a:pt x="916" y="700"/>
                    <a:pt x="916" y="700"/>
                    <a:pt x="916" y="700"/>
                  </a:cubicBezTo>
                  <a:cubicBezTo>
                    <a:pt x="916" y="599"/>
                    <a:pt x="840" y="516"/>
                    <a:pt x="742" y="505"/>
                  </a:cubicBezTo>
                  <a:cubicBezTo>
                    <a:pt x="742" y="452"/>
                    <a:pt x="799" y="407"/>
                    <a:pt x="867" y="407"/>
                  </a:cubicBezTo>
                  <a:cubicBezTo>
                    <a:pt x="940" y="407"/>
                    <a:pt x="992" y="454"/>
                    <a:pt x="992" y="520"/>
                  </a:cubicBezTo>
                  <a:lnTo>
                    <a:pt x="992" y="1103"/>
                  </a:lnTo>
                  <a:close/>
                </a:path>
              </a:pathLst>
            </a:custGeom>
            <a:solidFill>
              <a:srgbClr val="414B55"/>
            </a:solidFill>
            <a:ln>
              <a:noFill/>
            </a:ln>
            <a:effectLst>
              <a:outerShdw blurRad="63500" dist="38099" dir="2700000" algn="ctr" rotWithShape="0">
                <a:srgbClr val="808080">
                  <a:alpha val="74998"/>
                </a:srgbClr>
              </a:outerShdw>
            </a:effectLst>
          </p:spPr>
          <p:txBody>
            <a:bodyPr rot="0" spcFirstLastPara="0" vertOverflow="overflow" horzOverflow="overflow" vert="horz" wrap="square" lIns="107944" tIns="53972" rIns="107944" bIns="53972" numCol="1" spcCol="720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charset="0"/>
                <a:buNone/>
                <a:tabLst/>
                <a:defRPr/>
              </a:pPr>
              <a:endParaRPr kumimoji="0" lang="de-DE" sz="179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</a:endParaRPr>
            </a:p>
          </p:txBody>
        </p:sp>
        <p:sp>
          <p:nvSpPr>
            <p:cNvPr id="14" name="line">
              <a:extLst>
                <a:ext uri="{FF2B5EF4-FFF2-40B4-BE49-F238E27FC236}">
                  <a16:creationId xmlns:a16="http://schemas.microsoft.com/office/drawing/2014/main" id="{7831C195-59DD-4322-9298-2F5E0F28A6D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195908" y="3262675"/>
              <a:ext cx="2318139" cy="2067928"/>
            </a:xfrm>
            <a:custGeom>
              <a:avLst/>
              <a:gdLst>
                <a:gd name="T0" fmla="*/ 1580 w 1656"/>
                <a:gd name="T1" fmla="*/ 1477 h 1477"/>
                <a:gd name="T2" fmla="*/ 141 w 1656"/>
                <a:gd name="T3" fmla="*/ 1477 h 1477"/>
                <a:gd name="T4" fmla="*/ 0 w 1656"/>
                <a:gd name="T5" fmla="*/ 1345 h 1477"/>
                <a:gd name="T6" fmla="*/ 0 w 1656"/>
                <a:gd name="T7" fmla="*/ 125 h 1477"/>
                <a:gd name="T8" fmla="*/ 99 w 1656"/>
                <a:gd name="T9" fmla="*/ 0 h 1477"/>
                <a:gd name="T10" fmla="*/ 206 w 1656"/>
                <a:gd name="T11" fmla="*/ 124 h 1477"/>
                <a:gd name="T12" fmla="*/ 206 w 1656"/>
                <a:gd name="T13" fmla="*/ 341 h 1477"/>
                <a:gd name="T14" fmla="*/ 209 w 1656"/>
                <a:gd name="T15" fmla="*/ 767 h 1477"/>
                <a:gd name="T16" fmla="*/ 321 w 1656"/>
                <a:gd name="T17" fmla="*/ 846 h 1477"/>
                <a:gd name="T18" fmla="*/ 559 w 1656"/>
                <a:gd name="T19" fmla="*/ 846 h 1477"/>
                <a:gd name="T20" fmla="*/ 650 w 1656"/>
                <a:gd name="T21" fmla="*/ 937 h 1477"/>
                <a:gd name="T22" fmla="*/ 650 w 1656"/>
                <a:gd name="T23" fmla="*/ 1215 h 1477"/>
                <a:gd name="T24" fmla="*/ 753 w 1656"/>
                <a:gd name="T25" fmla="*/ 1306 h 1477"/>
                <a:gd name="T26" fmla="*/ 1010 w 1656"/>
                <a:gd name="T27" fmla="*/ 1306 h 1477"/>
                <a:gd name="T28" fmla="*/ 1113 w 1656"/>
                <a:gd name="T29" fmla="*/ 1208 h 1477"/>
                <a:gd name="T30" fmla="*/ 1113 w 1656"/>
                <a:gd name="T31" fmla="*/ 580 h 1477"/>
                <a:gd name="T32" fmla="*/ 1195 w 1656"/>
                <a:gd name="T33" fmla="*/ 485 h 1477"/>
                <a:gd name="T34" fmla="*/ 1368 w 1656"/>
                <a:gd name="T35" fmla="*/ 485 h 1477"/>
                <a:gd name="T36" fmla="*/ 1456 w 1656"/>
                <a:gd name="T37" fmla="*/ 576 h 1477"/>
                <a:gd name="T38" fmla="*/ 1456 w 1656"/>
                <a:gd name="T39" fmla="*/ 1111 h 1477"/>
                <a:gd name="T40" fmla="*/ 1524 w 1656"/>
                <a:gd name="T41" fmla="*/ 1172 h 1477"/>
                <a:gd name="T42" fmla="*/ 1595 w 1656"/>
                <a:gd name="T43" fmla="*/ 1172 h 1477"/>
                <a:gd name="T44" fmla="*/ 1653 w 1656"/>
                <a:gd name="T45" fmla="*/ 1255 h 1477"/>
                <a:gd name="T46" fmla="*/ 1653 w 1656"/>
                <a:gd name="T47" fmla="*/ 1398 h 1477"/>
                <a:gd name="T48" fmla="*/ 1580 w 1656"/>
                <a:gd name="T49" fmla="*/ 1477 h 14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656" h="1477">
                  <a:moveTo>
                    <a:pt x="1580" y="1477"/>
                  </a:moveTo>
                  <a:cubicBezTo>
                    <a:pt x="1580" y="1477"/>
                    <a:pt x="396" y="1477"/>
                    <a:pt x="141" y="1477"/>
                  </a:cubicBezTo>
                  <a:cubicBezTo>
                    <a:pt x="40" y="1477"/>
                    <a:pt x="0" y="1425"/>
                    <a:pt x="0" y="1345"/>
                  </a:cubicBezTo>
                  <a:cubicBezTo>
                    <a:pt x="0" y="1264"/>
                    <a:pt x="0" y="125"/>
                    <a:pt x="0" y="125"/>
                  </a:cubicBezTo>
                  <a:cubicBezTo>
                    <a:pt x="0" y="54"/>
                    <a:pt x="24" y="0"/>
                    <a:pt x="99" y="0"/>
                  </a:cubicBezTo>
                  <a:cubicBezTo>
                    <a:pt x="183" y="0"/>
                    <a:pt x="206" y="46"/>
                    <a:pt x="206" y="124"/>
                  </a:cubicBezTo>
                  <a:cubicBezTo>
                    <a:pt x="206" y="279"/>
                    <a:pt x="206" y="309"/>
                    <a:pt x="206" y="341"/>
                  </a:cubicBezTo>
                  <a:cubicBezTo>
                    <a:pt x="206" y="500"/>
                    <a:pt x="209" y="695"/>
                    <a:pt x="209" y="767"/>
                  </a:cubicBezTo>
                  <a:cubicBezTo>
                    <a:pt x="209" y="839"/>
                    <a:pt x="265" y="846"/>
                    <a:pt x="321" y="846"/>
                  </a:cubicBezTo>
                  <a:cubicBezTo>
                    <a:pt x="441" y="846"/>
                    <a:pt x="507" y="846"/>
                    <a:pt x="559" y="846"/>
                  </a:cubicBezTo>
                  <a:cubicBezTo>
                    <a:pt x="611" y="846"/>
                    <a:pt x="650" y="861"/>
                    <a:pt x="650" y="937"/>
                  </a:cubicBezTo>
                  <a:cubicBezTo>
                    <a:pt x="650" y="1058"/>
                    <a:pt x="650" y="1161"/>
                    <a:pt x="650" y="1215"/>
                  </a:cubicBezTo>
                  <a:cubicBezTo>
                    <a:pt x="650" y="1299"/>
                    <a:pt x="711" y="1306"/>
                    <a:pt x="753" y="1306"/>
                  </a:cubicBezTo>
                  <a:cubicBezTo>
                    <a:pt x="781" y="1306"/>
                    <a:pt x="985" y="1306"/>
                    <a:pt x="1010" y="1306"/>
                  </a:cubicBezTo>
                  <a:cubicBezTo>
                    <a:pt x="1083" y="1306"/>
                    <a:pt x="1113" y="1276"/>
                    <a:pt x="1113" y="1208"/>
                  </a:cubicBezTo>
                  <a:cubicBezTo>
                    <a:pt x="1113" y="1020"/>
                    <a:pt x="1113" y="661"/>
                    <a:pt x="1113" y="580"/>
                  </a:cubicBezTo>
                  <a:cubicBezTo>
                    <a:pt x="1113" y="520"/>
                    <a:pt x="1127" y="485"/>
                    <a:pt x="1195" y="485"/>
                  </a:cubicBezTo>
                  <a:cubicBezTo>
                    <a:pt x="1307" y="485"/>
                    <a:pt x="1316" y="485"/>
                    <a:pt x="1368" y="485"/>
                  </a:cubicBezTo>
                  <a:cubicBezTo>
                    <a:pt x="1420" y="485"/>
                    <a:pt x="1456" y="498"/>
                    <a:pt x="1456" y="576"/>
                  </a:cubicBezTo>
                  <a:cubicBezTo>
                    <a:pt x="1456" y="747"/>
                    <a:pt x="1456" y="1015"/>
                    <a:pt x="1456" y="1111"/>
                  </a:cubicBezTo>
                  <a:cubicBezTo>
                    <a:pt x="1456" y="1151"/>
                    <a:pt x="1472" y="1172"/>
                    <a:pt x="1524" y="1172"/>
                  </a:cubicBezTo>
                  <a:cubicBezTo>
                    <a:pt x="1545" y="1172"/>
                    <a:pt x="1579" y="1172"/>
                    <a:pt x="1595" y="1172"/>
                  </a:cubicBezTo>
                  <a:cubicBezTo>
                    <a:pt x="1656" y="1172"/>
                    <a:pt x="1653" y="1217"/>
                    <a:pt x="1653" y="1255"/>
                  </a:cubicBezTo>
                  <a:cubicBezTo>
                    <a:pt x="1653" y="1260"/>
                    <a:pt x="1653" y="1355"/>
                    <a:pt x="1653" y="1398"/>
                  </a:cubicBezTo>
                  <a:cubicBezTo>
                    <a:pt x="1653" y="1433"/>
                    <a:pt x="1650" y="1477"/>
                    <a:pt x="1580" y="1477"/>
                  </a:cubicBezTo>
                  <a:close/>
                </a:path>
              </a:pathLst>
            </a:custGeom>
            <a:noFill/>
            <a:ln w="44450" cap="flat">
              <a:gradFill>
                <a:gsLst>
                  <a:gs pos="0">
                    <a:srgbClr val="641946"/>
                  </a:gs>
                  <a:gs pos="40000">
                    <a:srgbClr val="EB780A"/>
                  </a:gs>
                  <a:gs pos="20000">
                    <a:srgbClr val="AF235F"/>
                  </a:gs>
                  <a:gs pos="80000">
                    <a:srgbClr val="55A0B9"/>
                  </a:gs>
                  <a:gs pos="60000">
                    <a:srgbClr val="AAB414"/>
                  </a:gs>
                  <a:gs pos="100000">
                    <a:srgbClr val="006487"/>
                  </a:gs>
                </a:gsLst>
                <a:lin ang="3600000" scaled="0"/>
              </a:gradFill>
              <a:prstDash val="solid"/>
              <a:miter lim="800000"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</a:endParaRPr>
            </a:p>
          </p:txBody>
        </p:sp>
        <p:sp>
          <p:nvSpPr>
            <p:cNvPr id="15" name="Ellipse 63">
              <a:extLst>
                <a:ext uri="{FF2B5EF4-FFF2-40B4-BE49-F238E27FC236}">
                  <a16:creationId xmlns:a16="http://schemas.microsoft.com/office/drawing/2014/main" id="{CEF814B4-1566-4984-8C6A-279847DB91B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733976" y="5283377"/>
              <a:ext cx="95995" cy="9599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>
              <a:glow rad="114300">
                <a:srgbClr val="FFFFFF">
                  <a:alpha val="43000"/>
                </a:srgbClr>
              </a:glow>
              <a:outerShdw blurRad="63500" dist="38099" dir="2700000" algn="ctr" rotWithShape="0">
                <a:srgbClr val="808080">
                  <a:alpha val="74998"/>
                </a:srgbClr>
              </a:outerShdw>
            </a:effec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charset="0"/>
                <a:buNone/>
                <a:tabLst/>
                <a:defRPr/>
              </a:pPr>
              <a:endParaRPr kumimoji="0" lang="de-DE" sz="1799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</a:endParaRPr>
            </a:p>
          </p:txBody>
        </p:sp>
        <p:sp>
          <p:nvSpPr>
            <p:cNvPr id="16" name="Ellipse 102">
              <a:extLst>
                <a:ext uri="{FF2B5EF4-FFF2-40B4-BE49-F238E27FC236}">
                  <a16:creationId xmlns:a16="http://schemas.microsoft.com/office/drawing/2014/main" id="{6C5589AD-2459-4165-B6D2-FBD431F8FC4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733976" y="5283377"/>
              <a:ext cx="95995" cy="9599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>
              <a:glow rad="114300">
                <a:srgbClr val="FFFFFF">
                  <a:alpha val="43000"/>
                </a:srgbClr>
              </a:glow>
              <a:outerShdw blurRad="63500" dist="38099" dir="2700000" algn="ctr" rotWithShape="0">
                <a:srgbClr val="808080">
                  <a:alpha val="74998"/>
                </a:srgbClr>
              </a:outerShdw>
            </a:effec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charset="0"/>
                <a:buNone/>
                <a:tabLst/>
                <a:defRPr/>
              </a:pPr>
              <a:endParaRPr kumimoji="0" lang="de-DE" sz="1799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</a:endParaRPr>
            </a:p>
          </p:txBody>
        </p:sp>
        <p:sp>
          <p:nvSpPr>
            <p:cNvPr id="17" name="Ellipse 103">
              <a:extLst>
                <a:ext uri="{FF2B5EF4-FFF2-40B4-BE49-F238E27FC236}">
                  <a16:creationId xmlns:a16="http://schemas.microsoft.com/office/drawing/2014/main" id="{46062CA8-CCAA-41E2-BE84-9AFAA487EE4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733976" y="5283377"/>
              <a:ext cx="95995" cy="9599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>
              <a:glow rad="114300">
                <a:srgbClr val="FFFFFF">
                  <a:alpha val="43000"/>
                </a:srgbClr>
              </a:glow>
              <a:outerShdw blurRad="63500" dist="38099" dir="2700000" algn="ctr" rotWithShape="0">
                <a:srgbClr val="808080">
                  <a:alpha val="74998"/>
                </a:srgbClr>
              </a:outerShdw>
            </a:effec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charset="0"/>
                <a:buNone/>
                <a:tabLst/>
                <a:defRPr/>
              </a:pPr>
              <a:endParaRPr kumimoji="0" lang="de-DE" sz="1799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</a:endParaRPr>
            </a:p>
          </p:txBody>
        </p:sp>
        <p:sp>
          <p:nvSpPr>
            <p:cNvPr id="18" name="Ellipse 104">
              <a:extLst>
                <a:ext uri="{FF2B5EF4-FFF2-40B4-BE49-F238E27FC236}">
                  <a16:creationId xmlns:a16="http://schemas.microsoft.com/office/drawing/2014/main" id="{C9D353A6-A3E8-45AA-9873-0922B4B9A12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733976" y="5283377"/>
              <a:ext cx="95995" cy="9599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>
              <a:glow rad="114300">
                <a:srgbClr val="FFFFFF">
                  <a:alpha val="43000"/>
                </a:srgbClr>
              </a:glow>
              <a:outerShdw blurRad="63500" dist="38099" dir="2700000" algn="ctr" rotWithShape="0">
                <a:srgbClr val="808080">
                  <a:alpha val="74998"/>
                </a:srgbClr>
              </a:outerShdw>
            </a:effec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charset="0"/>
                <a:buNone/>
                <a:tabLst/>
                <a:defRPr/>
              </a:pPr>
              <a:endParaRPr kumimoji="0" lang="de-DE" sz="1799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</a:endParaRPr>
            </a:p>
          </p:txBody>
        </p:sp>
        <p:sp>
          <p:nvSpPr>
            <p:cNvPr id="19" name="Ellipse 105">
              <a:extLst>
                <a:ext uri="{FF2B5EF4-FFF2-40B4-BE49-F238E27FC236}">
                  <a16:creationId xmlns:a16="http://schemas.microsoft.com/office/drawing/2014/main" id="{8D1DEFFF-19E6-4F31-9A36-CD04C3CE8F6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733976" y="5283377"/>
              <a:ext cx="95995" cy="9599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>
              <a:glow rad="114300">
                <a:srgbClr val="FFFFFF">
                  <a:alpha val="43000"/>
                </a:srgbClr>
              </a:glow>
              <a:outerShdw blurRad="63500" dist="38099" dir="2700000" algn="ctr" rotWithShape="0">
                <a:srgbClr val="808080">
                  <a:alpha val="74998"/>
                </a:srgbClr>
              </a:outerShdw>
            </a:effec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charset="0"/>
                <a:buNone/>
                <a:tabLst/>
                <a:defRPr/>
              </a:pPr>
              <a:endParaRPr kumimoji="0" lang="de-DE" sz="1799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</a:endParaRPr>
            </a:p>
          </p:txBody>
        </p:sp>
        <p:sp>
          <p:nvSpPr>
            <p:cNvPr id="20" name="Ellipse 106">
              <a:extLst>
                <a:ext uri="{FF2B5EF4-FFF2-40B4-BE49-F238E27FC236}">
                  <a16:creationId xmlns:a16="http://schemas.microsoft.com/office/drawing/2014/main" id="{B360EFB5-4EFB-42BB-B25D-BC6509A2375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733976" y="5283377"/>
              <a:ext cx="95995" cy="9599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>
              <a:glow rad="114300">
                <a:srgbClr val="FFFFFF">
                  <a:alpha val="43000"/>
                </a:srgbClr>
              </a:glow>
              <a:outerShdw blurRad="63500" dist="38099" dir="2700000" algn="ctr" rotWithShape="0">
                <a:srgbClr val="808080">
                  <a:alpha val="74998"/>
                </a:srgbClr>
              </a:outerShdw>
            </a:effec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charset="0"/>
                <a:buNone/>
                <a:tabLst/>
                <a:defRPr/>
              </a:pPr>
              <a:endParaRPr kumimoji="0" lang="de-DE" sz="1799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</a:endParaRPr>
            </a:p>
          </p:txBody>
        </p:sp>
        <p:sp>
          <p:nvSpPr>
            <p:cNvPr id="21" name="Ellipse 107">
              <a:extLst>
                <a:ext uri="{FF2B5EF4-FFF2-40B4-BE49-F238E27FC236}">
                  <a16:creationId xmlns:a16="http://schemas.microsoft.com/office/drawing/2014/main" id="{C8381431-EBFE-4E9A-9BAD-D8DA661A20D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733976" y="5283377"/>
              <a:ext cx="95995" cy="9599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>
              <a:glow rad="114300">
                <a:srgbClr val="FFFFFF">
                  <a:alpha val="43000"/>
                </a:srgbClr>
              </a:glow>
              <a:outerShdw blurRad="63500" dist="38099" dir="2700000" algn="ctr" rotWithShape="0">
                <a:srgbClr val="808080">
                  <a:alpha val="74998"/>
                </a:srgbClr>
              </a:outerShdw>
            </a:effec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charset="0"/>
                <a:buNone/>
                <a:tabLst/>
                <a:defRPr/>
              </a:pPr>
              <a:endParaRPr kumimoji="0" lang="de-DE" sz="1799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</a:endParaRPr>
            </a:p>
          </p:txBody>
        </p:sp>
        <p:sp>
          <p:nvSpPr>
            <p:cNvPr id="22" name="Ellipse 108">
              <a:extLst>
                <a:ext uri="{FF2B5EF4-FFF2-40B4-BE49-F238E27FC236}">
                  <a16:creationId xmlns:a16="http://schemas.microsoft.com/office/drawing/2014/main" id="{2C070B09-86FD-46EC-9C1B-D6B7744B5A4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733976" y="5283377"/>
              <a:ext cx="95995" cy="9599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>
              <a:glow rad="114300">
                <a:srgbClr val="FFFFFF">
                  <a:alpha val="43000"/>
                </a:srgbClr>
              </a:glow>
              <a:outerShdw blurRad="63500" dist="38099" dir="2700000" algn="ctr" rotWithShape="0">
                <a:srgbClr val="808080">
                  <a:alpha val="74998"/>
                </a:srgbClr>
              </a:outerShdw>
            </a:effec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charset="0"/>
                <a:buNone/>
                <a:tabLst/>
                <a:defRPr/>
              </a:pPr>
              <a:endParaRPr kumimoji="0" lang="de-DE" sz="1799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</a:endParaRPr>
            </a:p>
          </p:txBody>
        </p:sp>
        <p:pic>
          <p:nvPicPr>
            <p:cNvPr id="23" name="Grafik 57">
              <a:extLst>
                <a:ext uri="{FF2B5EF4-FFF2-40B4-BE49-F238E27FC236}">
                  <a16:creationId xmlns:a16="http://schemas.microsoft.com/office/drawing/2014/main" id="{657876B2-5A32-479C-A4D4-072CE85BC82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86405" y="5135804"/>
              <a:ext cx="391141" cy="391141"/>
            </a:xfrm>
            <a:prstGeom prst="rect">
              <a:avLst/>
            </a:prstGeom>
          </p:spPr>
        </p:pic>
        <p:pic>
          <p:nvPicPr>
            <p:cNvPr id="24" name="Grafik 58">
              <a:extLst>
                <a:ext uri="{FF2B5EF4-FFF2-40B4-BE49-F238E27FC236}">
                  <a16:creationId xmlns:a16="http://schemas.microsoft.com/office/drawing/2014/main" id="{07832F7D-C75A-4CAA-BBD9-7948495DEC9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86405" y="5135804"/>
              <a:ext cx="391141" cy="391141"/>
            </a:xfrm>
            <a:prstGeom prst="rect">
              <a:avLst/>
            </a:prstGeom>
          </p:spPr>
        </p:pic>
        <p:pic>
          <p:nvPicPr>
            <p:cNvPr id="25" name="Grafik 60">
              <a:extLst>
                <a:ext uri="{FF2B5EF4-FFF2-40B4-BE49-F238E27FC236}">
                  <a16:creationId xmlns:a16="http://schemas.microsoft.com/office/drawing/2014/main" id="{EFED474B-10D5-4826-9A02-B2DDE6B6803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86405" y="5135804"/>
              <a:ext cx="391141" cy="391141"/>
            </a:xfrm>
            <a:prstGeom prst="rect">
              <a:avLst/>
            </a:prstGeom>
          </p:spPr>
        </p:pic>
        <p:pic>
          <p:nvPicPr>
            <p:cNvPr id="26" name="Grafik 61">
              <a:extLst>
                <a:ext uri="{FF2B5EF4-FFF2-40B4-BE49-F238E27FC236}">
                  <a16:creationId xmlns:a16="http://schemas.microsoft.com/office/drawing/2014/main" id="{13FA6E5B-3E56-4887-8456-F477F340F1E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86405" y="5135804"/>
              <a:ext cx="391141" cy="391141"/>
            </a:xfrm>
            <a:prstGeom prst="rect">
              <a:avLst/>
            </a:prstGeom>
          </p:spPr>
        </p:pic>
        <p:pic>
          <p:nvPicPr>
            <p:cNvPr id="27" name="Grafik 62">
              <a:extLst>
                <a:ext uri="{FF2B5EF4-FFF2-40B4-BE49-F238E27FC236}">
                  <a16:creationId xmlns:a16="http://schemas.microsoft.com/office/drawing/2014/main" id="{DEBCAEA7-54C3-4682-AC72-C8E934CD6E2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86405" y="5135804"/>
              <a:ext cx="391141" cy="391141"/>
            </a:xfrm>
            <a:prstGeom prst="rect">
              <a:avLst/>
            </a:prstGeom>
          </p:spPr>
        </p:pic>
        <p:pic>
          <p:nvPicPr>
            <p:cNvPr id="28" name="Grafik 59">
              <a:extLst>
                <a:ext uri="{FF2B5EF4-FFF2-40B4-BE49-F238E27FC236}">
                  <a16:creationId xmlns:a16="http://schemas.microsoft.com/office/drawing/2014/main" id="{7ECA1323-687B-4F91-B6FA-C2965CC7FDC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86405" y="5135804"/>
              <a:ext cx="391141" cy="391141"/>
            </a:xfrm>
            <a:prstGeom prst="rect">
              <a:avLst/>
            </a:prstGeom>
          </p:spPr>
        </p:pic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F24676A6-EB08-45B7-9C75-665EF4770C70}"/>
                </a:ext>
              </a:extLst>
            </p:cNvPr>
            <p:cNvGrpSpPr/>
            <p:nvPr/>
          </p:nvGrpSpPr>
          <p:grpSpPr>
            <a:xfrm>
              <a:off x="8947215" y="4354315"/>
              <a:ext cx="245112" cy="231191"/>
              <a:chOff x="2806810" y="5389816"/>
              <a:chExt cx="245112" cy="231191"/>
            </a:xfrm>
          </p:grpSpPr>
          <p:sp>
            <p:nvSpPr>
              <p:cNvPr id="87" name="Flowchart: Manual Operation 86">
                <a:extLst>
                  <a:ext uri="{FF2B5EF4-FFF2-40B4-BE49-F238E27FC236}">
                    <a16:creationId xmlns:a16="http://schemas.microsoft.com/office/drawing/2014/main" id="{5BAF0E19-B1C8-49BB-94B9-C4621F79A443}"/>
                  </a:ext>
                </a:extLst>
              </p:cNvPr>
              <p:cNvSpPr/>
              <p:nvPr/>
            </p:nvSpPr>
            <p:spPr bwMode="auto">
              <a:xfrm rot="10800000">
                <a:off x="2806810" y="5510495"/>
                <a:ext cx="245112" cy="110512"/>
              </a:xfrm>
              <a:prstGeom prst="flowChartManualOperation">
                <a:avLst/>
              </a:prstGeom>
              <a:solidFill>
                <a:srgbClr val="000000">
                  <a:lumMod val="95000"/>
                  <a:lumOff val="5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799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  <p:sp>
            <p:nvSpPr>
              <p:cNvPr id="88" name="Flowchart: Manual Operation 87">
                <a:extLst>
                  <a:ext uri="{FF2B5EF4-FFF2-40B4-BE49-F238E27FC236}">
                    <a16:creationId xmlns:a16="http://schemas.microsoft.com/office/drawing/2014/main" id="{503CBC06-2AE9-48B0-894D-63485A406533}"/>
                  </a:ext>
                </a:extLst>
              </p:cNvPr>
              <p:cNvSpPr/>
              <p:nvPr/>
            </p:nvSpPr>
            <p:spPr bwMode="auto">
              <a:xfrm rot="10800000">
                <a:off x="2806810" y="5487182"/>
                <a:ext cx="245112" cy="110512"/>
              </a:xfrm>
              <a:prstGeom prst="flowChartManualOperation">
                <a:avLst/>
              </a:prstGeom>
              <a:solidFill>
                <a:srgbClr val="000000">
                  <a:lumMod val="85000"/>
                  <a:lumOff val="15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799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  <p:sp>
            <p:nvSpPr>
              <p:cNvPr id="89" name="Flowchart: Manual Operation 88">
                <a:extLst>
                  <a:ext uri="{FF2B5EF4-FFF2-40B4-BE49-F238E27FC236}">
                    <a16:creationId xmlns:a16="http://schemas.microsoft.com/office/drawing/2014/main" id="{E8B02B11-2F78-48C0-82AB-030CB131C69C}"/>
                  </a:ext>
                </a:extLst>
              </p:cNvPr>
              <p:cNvSpPr/>
              <p:nvPr/>
            </p:nvSpPr>
            <p:spPr bwMode="auto">
              <a:xfrm rot="10800000">
                <a:off x="2806810" y="5459914"/>
                <a:ext cx="245112" cy="110512"/>
              </a:xfrm>
              <a:prstGeom prst="flowChartManualOperation">
                <a:avLst/>
              </a:prstGeom>
              <a:solidFill>
                <a:srgbClr val="000000">
                  <a:lumMod val="75000"/>
                  <a:lumOff val="25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799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  <p:sp>
            <p:nvSpPr>
              <p:cNvPr id="90" name="Flowchart: Manual Operation 89">
                <a:extLst>
                  <a:ext uri="{FF2B5EF4-FFF2-40B4-BE49-F238E27FC236}">
                    <a16:creationId xmlns:a16="http://schemas.microsoft.com/office/drawing/2014/main" id="{9E6EEF98-7CBA-47F2-8828-FE34913F0C5E}"/>
                  </a:ext>
                </a:extLst>
              </p:cNvPr>
              <p:cNvSpPr/>
              <p:nvPr/>
            </p:nvSpPr>
            <p:spPr bwMode="auto">
              <a:xfrm rot="10800000">
                <a:off x="2806810" y="5428133"/>
                <a:ext cx="245112" cy="110512"/>
              </a:xfrm>
              <a:prstGeom prst="flowChartManualOperation">
                <a:avLst/>
              </a:prstGeom>
              <a:solidFill>
                <a:srgbClr val="000000">
                  <a:lumMod val="65000"/>
                  <a:lumOff val="35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799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  <p:sp>
            <p:nvSpPr>
              <p:cNvPr id="91" name="Flowchart: Manual Operation 90">
                <a:extLst>
                  <a:ext uri="{FF2B5EF4-FFF2-40B4-BE49-F238E27FC236}">
                    <a16:creationId xmlns:a16="http://schemas.microsoft.com/office/drawing/2014/main" id="{F668C993-7F5F-4BF6-846E-FC456AA7E31C}"/>
                  </a:ext>
                </a:extLst>
              </p:cNvPr>
              <p:cNvSpPr/>
              <p:nvPr/>
            </p:nvSpPr>
            <p:spPr bwMode="auto">
              <a:xfrm rot="10800000">
                <a:off x="2806810" y="5389816"/>
                <a:ext cx="245112" cy="110512"/>
              </a:xfrm>
              <a:prstGeom prst="flowChartManualOperation">
                <a:avLst/>
              </a:prstGeom>
              <a:solidFill>
                <a:srgbClr val="000000">
                  <a:lumMod val="50000"/>
                  <a:lumOff val="5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799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68F33DFA-0DE2-49BD-9238-3A2E38CE4B0D}"/>
                </a:ext>
              </a:extLst>
            </p:cNvPr>
            <p:cNvGrpSpPr/>
            <p:nvPr/>
          </p:nvGrpSpPr>
          <p:grpSpPr>
            <a:xfrm>
              <a:off x="8604847" y="5084117"/>
              <a:ext cx="245112" cy="231191"/>
              <a:chOff x="3127443" y="5389816"/>
              <a:chExt cx="245112" cy="231191"/>
            </a:xfrm>
          </p:grpSpPr>
          <p:sp>
            <p:nvSpPr>
              <p:cNvPr id="82" name="Flowchart: Manual Operation 81">
                <a:extLst>
                  <a:ext uri="{FF2B5EF4-FFF2-40B4-BE49-F238E27FC236}">
                    <a16:creationId xmlns:a16="http://schemas.microsoft.com/office/drawing/2014/main" id="{39B438A6-CF5E-4278-B3E7-3C87A92FC21A}"/>
                  </a:ext>
                </a:extLst>
              </p:cNvPr>
              <p:cNvSpPr/>
              <p:nvPr/>
            </p:nvSpPr>
            <p:spPr bwMode="auto">
              <a:xfrm rot="10800000">
                <a:off x="3127443" y="5510495"/>
                <a:ext cx="245112" cy="110512"/>
              </a:xfrm>
              <a:prstGeom prst="flowChartManualOperation">
                <a:avLst/>
              </a:prstGeom>
              <a:solidFill>
                <a:srgbClr val="BBE0E3">
                  <a:lumMod val="5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799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  <p:sp>
            <p:nvSpPr>
              <p:cNvPr id="83" name="Flowchart: Manual Operation 82">
                <a:extLst>
                  <a:ext uri="{FF2B5EF4-FFF2-40B4-BE49-F238E27FC236}">
                    <a16:creationId xmlns:a16="http://schemas.microsoft.com/office/drawing/2014/main" id="{788FF7A5-ED7D-4FF5-A464-EF10CDD6F305}"/>
                  </a:ext>
                </a:extLst>
              </p:cNvPr>
              <p:cNvSpPr/>
              <p:nvPr/>
            </p:nvSpPr>
            <p:spPr bwMode="auto">
              <a:xfrm rot="10800000">
                <a:off x="3127443" y="5487182"/>
                <a:ext cx="245112" cy="110512"/>
              </a:xfrm>
              <a:prstGeom prst="flowChartManualOperation">
                <a:avLst/>
              </a:prstGeom>
              <a:solidFill>
                <a:srgbClr val="BBE0E3">
                  <a:lumMod val="75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799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  <p:sp>
            <p:nvSpPr>
              <p:cNvPr id="84" name="Flowchart: Manual Operation 83">
                <a:extLst>
                  <a:ext uri="{FF2B5EF4-FFF2-40B4-BE49-F238E27FC236}">
                    <a16:creationId xmlns:a16="http://schemas.microsoft.com/office/drawing/2014/main" id="{AB1E4728-B1BA-4647-A4F7-94EEAE20EA60}"/>
                  </a:ext>
                </a:extLst>
              </p:cNvPr>
              <p:cNvSpPr/>
              <p:nvPr/>
            </p:nvSpPr>
            <p:spPr bwMode="auto">
              <a:xfrm rot="10800000">
                <a:off x="3127443" y="5459914"/>
                <a:ext cx="245112" cy="110512"/>
              </a:xfrm>
              <a:prstGeom prst="flowChartManualOperation">
                <a:avLst/>
              </a:prstGeom>
              <a:solidFill>
                <a:srgbClr val="BBE0E3">
                  <a:lumMod val="60000"/>
                  <a:lumOff val="4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799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  <p:sp>
            <p:nvSpPr>
              <p:cNvPr id="85" name="Flowchart: Manual Operation 84">
                <a:extLst>
                  <a:ext uri="{FF2B5EF4-FFF2-40B4-BE49-F238E27FC236}">
                    <a16:creationId xmlns:a16="http://schemas.microsoft.com/office/drawing/2014/main" id="{8D7DAD3B-35FD-483B-BF8B-69536ED9C053}"/>
                  </a:ext>
                </a:extLst>
              </p:cNvPr>
              <p:cNvSpPr/>
              <p:nvPr/>
            </p:nvSpPr>
            <p:spPr bwMode="auto">
              <a:xfrm rot="10800000">
                <a:off x="3127443" y="5428133"/>
                <a:ext cx="245112" cy="110512"/>
              </a:xfrm>
              <a:prstGeom prst="flowChartManualOperation">
                <a:avLst/>
              </a:prstGeom>
              <a:solidFill>
                <a:srgbClr val="BBE0E3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799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  <p:sp>
            <p:nvSpPr>
              <p:cNvPr id="86" name="Flowchart: Manual Operation 85">
                <a:extLst>
                  <a:ext uri="{FF2B5EF4-FFF2-40B4-BE49-F238E27FC236}">
                    <a16:creationId xmlns:a16="http://schemas.microsoft.com/office/drawing/2014/main" id="{B737AC89-DF72-4664-B663-D90F53C1B926}"/>
                  </a:ext>
                </a:extLst>
              </p:cNvPr>
              <p:cNvSpPr/>
              <p:nvPr/>
            </p:nvSpPr>
            <p:spPr bwMode="auto">
              <a:xfrm rot="10800000">
                <a:off x="3127443" y="5389816"/>
                <a:ext cx="245112" cy="110512"/>
              </a:xfrm>
              <a:prstGeom prst="flowChartManualOperation">
                <a:avLst/>
              </a:prstGeom>
              <a:solidFill>
                <a:srgbClr val="BBE0E3">
                  <a:lumMod val="20000"/>
                  <a:lumOff val="8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799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718B307E-2AC3-4AF4-9E3E-9B89F09F422F}"/>
                </a:ext>
              </a:extLst>
            </p:cNvPr>
            <p:cNvGrpSpPr/>
            <p:nvPr/>
          </p:nvGrpSpPr>
          <p:grpSpPr>
            <a:xfrm>
              <a:off x="7253370" y="4474103"/>
              <a:ext cx="245112" cy="231191"/>
              <a:chOff x="2633821" y="5508096"/>
              <a:chExt cx="245112" cy="231191"/>
            </a:xfrm>
          </p:grpSpPr>
          <p:sp>
            <p:nvSpPr>
              <p:cNvPr id="77" name="Flowchart: Manual Operation 76">
                <a:extLst>
                  <a:ext uri="{FF2B5EF4-FFF2-40B4-BE49-F238E27FC236}">
                    <a16:creationId xmlns:a16="http://schemas.microsoft.com/office/drawing/2014/main" id="{7CC5AB17-927B-4047-9CAD-0783F915FA63}"/>
                  </a:ext>
                </a:extLst>
              </p:cNvPr>
              <p:cNvSpPr/>
              <p:nvPr/>
            </p:nvSpPr>
            <p:spPr bwMode="auto">
              <a:xfrm rot="10800000">
                <a:off x="2633821" y="5628775"/>
                <a:ext cx="245112" cy="110512"/>
              </a:xfrm>
              <a:prstGeom prst="flowChartManualOperation">
                <a:avLst/>
              </a:prstGeom>
              <a:solidFill>
                <a:srgbClr val="333399">
                  <a:lumMod val="5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799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  <p:sp>
            <p:nvSpPr>
              <p:cNvPr id="78" name="Flowchart: Manual Operation 77">
                <a:extLst>
                  <a:ext uri="{FF2B5EF4-FFF2-40B4-BE49-F238E27FC236}">
                    <a16:creationId xmlns:a16="http://schemas.microsoft.com/office/drawing/2014/main" id="{BCE024AB-9285-44BF-AE52-B061ED2B663E}"/>
                  </a:ext>
                </a:extLst>
              </p:cNvPr>
              <p:cNvSpPr/>
              <p:nvPr/>
            </p:nvSpPr>
            <p:spPr bwMode="auto">
              <a:xfrm rot="10800000">
                <a:off x="2633821" y="5605462"/>
                <a:ext cx="245112" cy="110512"/>
              </a:xfrm>
              <a:prstGeom prst="flowChartManualOperation">
                <a:avLst/>
              </a:prstGeom>
              <a:solidFill>
                <a:srgbClr val="333399">
                  <a:lumMod val="75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799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  <p:sp>
            <p:nvSpPr>
              <p:cNvPr id="79" name="Flowchart: Manual Operation 78">
                <a:extLst>
                  <a:ext uri="{FF2B5EF4-FFF2-40B4-BE49-F238E27FC236}">
                    <a16:creationId xmlns:a16="http://schemas.microsoft.com/office/drawing/2014/main" id="{89A36353-F3A0-4147-BE1B-2BC3844E6EEA}"/>
                  </a:ext>
                </a:extLst>
              </p:cNvPr>
              <p:cNvSpPr/>
              <p:nvPr/>
            </p:nvSpPr>
            <p:spPr bwMode="auto">
              <a:xfrm rot="10800000">
                <a:off x="2633821" y="5578194"/>
                <a:ext cx="245112" cy="110512"/>
              </a:xfrm>
              <a:prstGeom prst="flowChartManualOperation">
                <a:avLst/>
              </a:prstGeom>
              <a:solidFill>
                <a:srgbClr val="333399">
                  <a:lumMod val="60000"/>
                  <a:lumOff val="4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799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  <p:sp>
            <p:nvSpPr>
              <p:cNvPr id="80" name="Flowchart: Manual Operation 79">
                <a:extLst>
                  <a:ext uri="{FF2B5EF4-FFF2-40B4-BE49-F238E27FC236}">
                    <a16:creationId xmlns:a16="http://schemas.microsoft.com/office/drawing/2014/main" id="{AFEB4A10-C63D-4C32-8BB9-E130DDAE7E2D}"/>
                  </a:ext>
                </a:extLst>
              </p:cNvPr>
              <p:cNvSpPr/>
              <p:nvPr/>
            </p:nvSpPr>
            <p:spPr bwMode="auto">
              <a:xfrm rot="10800000">
                <a:off x="2633821" y="5546413"/>
                <a:ext cx="245112" cy="110512"/>
              </a:xfrm>
              <a:prstGeom prst="flowChartManualOperation">
                <a:avLst/>
              </a:prstGeom>
              <a:solidFill>
                <a:srgbClr val="333399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799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  <p:sp>
            <p:nvSpPr>
              <p:cNvPr id="81" name="Flowchart: Manual Operation 80">
                <a:extLst>
                  <a:ext uri="{FF2B5EF4-FFF2-40B4-BE49-F238E27FC236}">
                    <a16:creationId xmlns:a16="http://schemas.microsoft.com/office/drawing/2014/main" id="{50AC849F-90C6-4EFE-8C4A-62B8104EFD5D}"/>
                  </a:ext>
                </a:extLst>
              </p:cNvPr>
              <p:cNvSpPr/>
              <p:nvPr/>
            </p:nvSpPr>
            <p:spPr bwMode="auto">
              <a:xfrm rot="10800000">
                <a:off x="2633821" y="5508096"/>
                <a:ext cx="245112" cy="110512"/>
              </a:xfrm>
              <a:prstGeom prst="flowChartManualOperation">
                <a:avLst/>
              </a:prstGeom>
              <a:solidFill>
                <a:srgbClr val="333399">
                  <a:lumMod val="20000"/>
                  <a:lumOff val="8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799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243ADBCB-E86A-4FCE-BC76-C57C46EA7587}"/>
                </a:ext>
              </a:extLst>
            </p:cNvPr>
            <p:cNvGrpSpPr/>
            <p:nvPr/>
          </p:nvGrpSpPr>
          <p:grpSpPr>
            <a:xfrm>
              <a:off x="8113106" y="4298168"/>
              <a:ext cx="245112" cy="231191"/>
              <a:chOff x="2953224" y="5503258"/>
              <a:chExt cx="245112" cy="231191"/>
            </a:xfrm>
          </p:grpSpPr>
          <p:sp>
            <p:nvSpPr>
              <p:cNvPr id="72" name="Flowchart: Manual Operation 71">
                <a:extLst>
                  <a:ext uri="{FF2B5EF4-FFF2-40B4-BE49-F238E27FC236}">
                    <a16:creationId xmlns:a16="http://schemas.microsoft.com/office/drawing/2014/main" id="{F7F801FF-61A7-4718-80A5-C2CFCFED8A1B}"/>
                  </a:ext>
                </a:extLst>
              </p:cNvPr>
              <p:cNvSpPr/>
              <p:nvPr/>
            </p:nvSpPr>
            <p:spPr bwMode="auto">
              <a:xfrm rot="10800000">
                <a:off x="2953224" y="5623937"/>
                <a:ext cx="245112" cy="110512"/>
              </a:xfrm>
              <a:prstGeom prst="flowChartManualOperation">
                <a:avLst/>
              </a:prstGeom>
              <a:solidFill>
                <a:srgbClr val="FFFFFF">
                  <a:lumMod val="5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799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  <p:sp>
            <p:nvSpPr>
              <p:cNvPr id="73" name="Flowchart: Manual Operation 72">
                <a:extLst>
                  <a:ext uri="{FF2B5EF4-FFF2-40B4-BE49-F238E27FC236}">
                    <a16:creationId xmlns:a16="http://schemas.microsoft.com/office/drawing/2014/main" id="{B7D9C9A6-9C46-4ED5-9255-4424ECCB56A3}"/>
                  </a:ext>
                </a:extLst>
              </p:cNvPr>
              <p:cNvSpPr/>
              <p:nvPr/>
            </p:nvSpPr>
            <p:spPr bwMode="auto">
              <a:xfrm rot="10800000">
                <a:off x="2953224" y="5600624"/>
                <a:ext cx="245112" cy="110512"/>
              </a:xfrm>
              <a:prstGeom prst="flowChartManualOperation">
                <a:avLst/>
              </a:prstGeom>
              <a:solidFill>
                <a:srgbClr val="FFFFFF">
                  <a:lumMod val="75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799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  <p:sp>
            <p:nvSpPr>
              <p:cNvPr id="74" name="Flowchart: Manual Operation 73">
                <a:extLst>
                  <a:ext uri="{FF2B5EF4-FFF2-40B4-BE49-F238E27FC236}">
                    <a16:creationId xmlns:a16="http://schemas.microsoft.com/office/drawing/2014/main" id="{44023E24-9CB9-49DE-A3C7-4748745FF607}"/>
                  </a:ext>
                </a:extLst>
              </p:cNvPr>
              <p:cNvSpPr/>
              <p:nvPr/>
            </p:nvSpPr>
            <p:spPr bwMode="auto">
              <a:xfrm rot="10800000">
                <a:off x="2953224" y="5573356"/>
                <a:ext cx="245112" cy="110512"/>
              </a:xfrm>
              <a:prstGeom prst="flowChartManualOperation">
                <a:avLst/>
              </a:prstGeom>
              <a:solidFill>
                <a:srgbClr val="FFFFFF">
                  <a:lumMod val="60000"/>
                  <a:lumOff val="4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799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  <p:sp>
            <p:nvSpPr>
              <p:cNvPr id="75" name="Flowchart: Manual Operation 74">
                <a:extLst>
                  <a:ext uri="{FF2B5EF4-FFF2-40B4-BE49-F238E27FC236}">
                    <a16:creationId xmlns:a16="http://schemas.microsoft.com/office/drawing/2014/main" id="{F7CA6E9E-C0AD-41CD-8AD6-DED20090B23B}"/>
                  </a:ext>
                </a:extLst>
              </p:cNvPr>
              <p:cNvSpPr/>
              <p:nvPr/>
            </p:nvSpPr>
            <p:spPr bwMode="auto">
              <a:xfrm rot="10800000">
                <a:off x="2953224" y="5541575"/>
                <a:ext cx="245112" cy="110512"/>
              </a:xfrm>
              <a:prstGeom prst="flowChartManualOperation">
                <a:avLst/>
              </a:prstGeom>
              <a:solidFill>
                <a:srgbClr val="FFFFFF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799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  <p:sp>
            <p:nvSpPr>
              <p:cNvPr id="76" name="Flowchart: Manual Operation 75">
                <a:extLst>
                  <a:ext uri="{FF2B5EF4-FFF2-40B4-BE49-F238E27FC236}">
                    <a16:creationId xmlns:a16="http://schemas.microsoft.com/office/drawing/2014/main" id="{C33BFC0C-AA31-4869-9506-AE95A867CA27}"/>
                  </a:ext>
                </a:extLst>
              </p:cNvPr>
              <p:cNvSpPr/>
              <p:nvPr/>
            </p:nvSpPr>
            <p:spPr bwMode="auto">
              <a:xfrm rot="10800000">
                <a:off x="2953224" y="5503258"/>
                <a:ext cx="245112" cy="110512"/>
              </a:xfrm>
              <a:prstGeom prst="flowChartManualOperation">
                <a:avLst/>
              </a:prstGeom>
              <a:solidFill>
                <a:srgbClr val="FFFFFF">
                  <a:lumMod val="20000"/>
                  <a:lumOff val="8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799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ADA52D4D-5E0E-4287-BCAC-39D79F0F2878}"/>
                </a:ext>
              </a:extLst>
            </p:cNvPr>
            <p:cNvGrpSpPr/>
            <p:nvPr/>
          </p:nvGrpSpPr>
          <p:grpSpPr>
            <a:xfrm>
              <a:off x="7195907" y="3950225"/>
              <a:ext cx="245112" cy="231191"/>
              <a:chOff x="3272626" y="5501136"/>
              <a:chExt cx="245112" cy="231191"/>
            </a:xfrm>
          </p:grpSpPr>
          <p:sp>
            <p:nvSpPr>
              <p:cNvPr id="67" name="Flowchart: Manual Operation 66">
                <a:extLst>
                  <a:ext uri="{FF2B5EF4-FFF2-40B4-BE49-F238E27FC236}">
                    <a16:creationId xmlns:a16="http://schemas.microsoft.com/office/drawing/2014/main" id="{0D8D8368-7D55-4DBD-A6CD-8B24382DB9F4}"/>
                  </a:ext>
                </a:extLst>
              </p:cNvPr>
              <p:cNvSpPr/>
              <p:nvPr/>
            </p:nvSpPr>
            <p:spPr bwMode="auto">
              <a:xfrm rot="10800000">
                <a:off x="3272626" y="5621815"/>
                <a:ext cx="245112" cy="110512"/>
              </a:xfrm>
              <a:prstGeom prst="flowChartManualOperation">
                <a:avLst/>
              </a:prstGeom>
              <a:solidFill>
                <a:srgbClr val="000000">
                  <a:lumMod val="5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799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  <p:sp>
            <p:nvSpPr>
              <p:cNvPr id="68" name="Flowchart: Manual Operation 67">
                <a:extLst>
                  <a:ext uri="{FF2B5EF4-FFF2-40B4-BE49-F238E27FC236}">
                    <a16:creationId xmlns:a16="http://schemas.microsoft.com/office/drawing/2014/main" id="{4BF7B30E-E0FA-4B7C-8B2D-0EAC912A608C}"/>
                  </a:ext>
                </a:extLst>
              </p:cNvPr>
              <p:cNvSpPr/>
              <p:nvPr/>
            </p:nvSpPr>
            <p:spPr bwMode="auto">
              <a:xfrm rot="10800000">
                <a:off x="3272626" y="5598502"/>
                <a:ext cx="245112" cy="110512"/>
              </a:xfrm>
              <a:prstGeom prst="flowChartManualOperation">
                <a:avLst/>
              </a:prstGeom>
              <a:solidFill>
                <a:srgbClr val="000000">
                  <a:lumMod val="75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799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  <p:sp>
            <p:nvSpPr>
              <p:cNvPr id="69" name="Flowchart: Manual Operation 68">
                <a:extLst>
                  <a:ext uri="{FF2B5EF4-FFF2-40B4-BE49-F238E27FC236}">
                    <a16:creationId xmlns:a16="http://schemas.microsoft.com/office/drawing/2014/main" id="{79453F9F-6875-4605-9C22-019C1D1B12EE}"/>
                  </a:ext>
                </a:extLst>
              </p:cNvPr>
              <p:cNvSpPr/>
              <p:nvPr/>
            </p:nvSpPr>
            <p:spPr bwMode="auto">
              <a:xfrm rot="10800000">
                <a:off x="3272626" y="5571233"/>
                <a:ext cx="245112" cy="110512"/>
              </a:xfrm>
              <a:prstGeom prst="flowChartManualOperation">
                <a:avLst/>
              </a:prstGeom>
              <a:solidFill>
                <a:srgbClr val="000000">
                  <a:lumMod val="60000"/>
                  <a:lumOff val="4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799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  <p:sp>
            <p:nvSpPr>
              <p:cNvPr id="70" name="Flowchart: Manual Operation 69">
                <a:extLst>
                  <a:ext uri="{FF2B5EF4-FFF2-40B4-BE49-F238E27FC236}">
                    <a16:creationId xmlns:a16="http://schemas.microsoft.com/office/drawing/2014/main" id="{66D84157-6C57-4A49-B6FB-9069F9502FC9}"/>
                  </a:ext>
                </a:extLst>
              </p:cNvPr>
              <p:cNvSpPr/>
              <p:nvPr/>
            </p:nvSpPr>
            <p:spPr bwMode="auto">
              <a:xfrm rot="10800000">
                <a:off x="3272626" y="5539453"/>
                <a:ext cx="245112" cy="110512"/>
              </a:xfrm>
              <a:prstGeom prst="flowChartManualOperation">
                <a:avLst/>
              </a:prstGeom>
              <a:solidFill>
                <a:srgbClr val="000000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799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  <p:sp>
            <p:nvSpPr>
              <p:cNvPr id="71" name="Flowchart: Manual Operation 70">
                <a:extLst>
                  <a:ext uri="{FF2B5EF4-FFF2-40B4-BE49-F238E27FC236}">
                    <a16:creationId xmlns:a16="http://schemas.microsoft.com/office/drawing/2014/main" id="{AB47FC5B-698C-4C05-A06F-E906971A085D}"/>
                  </a:ext>
                </a:extLst>
              </p:cNvPr>
              <p:cNvSpPr/>
              <p:nvPr/>
            </p:nvSpPr>
            <p:spPr bwMode="auto">
              <a:xfrm rot="10800000">
                <a:off x="3272626" y="5501136"/>
                <a:ext cx="245112" cy="110512"/>
              </a:xfrm>
              <a:prstGeom prst="flowChartManualOperation">
                <a:avLst/>
              </a:prstGeom>
              <a:solidFill>
                <a:srgbClr val="000000">
                  <a:lumMod val="20000"/>
                  <a:lumOff val="8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799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5816E3AC-4384-469C-871F-65D5C4448836}"/>
                </a:ext>
              </a:extLst>
            </p:cNvPr>
            <p:cNvGrpSpPr/>
            <p:nvPr/>
          </p:nvGrpSpPr>
          <p:grpSpPr>
            <a:xfrm>
              <a:off x="9422385" y="5213885"/>
              <a:ext cx="245112" cy="231191"/>
              <a:chOff x="3434027" y="5675471"/>
              <a:chExt cx="245112" cy="231191"/>
            </a:xfrm>
          </p:grpSpPr>
          <p:sp>
            <p:nvSpPr>
              <p:cNvPr id="62" name="Flowchart: Manual Operation 61">
                <a:extLst>
                  <a:ext uri="{FF2B5EF4-FFF2-40B4-BE49-F238E27FC236}">
                    <a16:creationId xmlns:a16="http://schemas.microsoft.com/office/drawing/2014/main" id="{4570AA3C-0F2A-4CD5-B5E5-E15F7E8C1CC0}"/>
                  </a:ext>
                </a:extLst>
              </p:cNvPr>
              <p:cNvSpPr/>
              <p:nvPr/>
            </p:nvSpPr>
            <p:spPr bwMode="auto">
              <a:xfrm rot="10800000">
                <a:off x="3434027" y="5796150"/>
                <a:ext cx="245112" cy="110512"/>
              </a:xfrm>
              <a:prstGeom prst="flowChartManualOperation">
                <a:avLst/>
              </a:prstGeom>
              <a:solidFill>
                <a:srgbClr val="DAEDEF">
                  <a:lumMod val="5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799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  <p:sp>
            <p:nvSpPr>
              <p:cNvPr id="63" name="Flowchart: Manual Operation 62">
                <a:extLst>
                  <a:ext uri="{FF2B5EF4-FFF2-40B4-BE49-F238E27FC236}">
                    <a16:creationId xmlns:a16="http://schemas.microsoft.com/office/drawing/2014/main" id="{4DA2904C-AC61-40F8-B02D-87A698C67008}"/>
                  </a:ext>
                </a:extLst>
              </p:cNvPr>
              <p:cNvSpPr/>
              <p:nvPr/>
            </p:nvSpPr>
            <p:spPr bwMode="auto">
              <a:xfrm rot="10800000">
                <a:off x="3434027" y="5772837"/>
                <a:ext cx="245112" cy="110512"/>
              </a:xfrm>
              <a:prstGeom prst="flowChartManualOperation">
                <a:avLst/>
              </a:prstGeom>
              <a:solidFill>
                <a:srgbClr val="DAEDEF">
                  <a:lumMod val="75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799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  <p:sp>
            <p:nvSpPr>
              <p:cNvPr id="64" name="Flowchart: Manual Operation 63">
                <a:extLst>
                  <a:ext uri="{FF2B5EF4-FFF2-40B4-BE49-F238E27FC236}">
                    <a16:creationId xmlns:a16="http://schemas.microsoft.com/office/drawing/2014/main" id="{26989B73-536F-4A6C-9553-BD164E387CDD}"/>
                  </a:ext>
                </a:extLst>
              </p:cNvPr>
              <p:cNvSpPr/>
              <p:nvPr/>
            </p:nvSpPr>
            <p:spPr bwMode="auto">
              <a:xfrm rot="10800000">
                <a:off x="3434027" y="5745568"/>
                <a:ext cx="245112" cy="110512"/>
              </a:xfrm>
              <a:prstGeom prst="flowChartManualOperation">
                <a:avLst/>
              </a:prstGeom>
              <a:solidFill>
                <a:srgbClr val="DAEDEF">
                  <a:lumMod val="60000"/>
                  <a:lumOff val="4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799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  <p:sp>
            <p:nvSpPr>
              <p:cNvPr id="65" name="Flowchart: Manual Operation 64">
                <a:extLst>
                  <a:ext uri="{FF2B5EF4-FFF2-40B4-BE49-F238E27FC236}">
                    <a16:creationId xmlns:a16="http://schemas.microsoft.com/office/drawing/2014/main" id="{D79F298D-EE32-40D2-9D12-0D821794A244}"/>
                  </a:ext>
                </a:extLst>
              </p:cNvPr>
              <p:cNvSpPr/>
              <p:nvPr/>
            </p:nvSpPr>
            <p:spPr bwMode="auto">
              <a:xfrm rot="10800000">
                <a:off x="3434027" y="5713788"/>
                <a:ext cx="245112" cy="110512"/>
              </a:xfrm>
              <a:prstGeom prst="flowChartManualOperation">
                <a:avLst/>
              </a:prstGeom>
              <a:solidFill>
                <a:srgbClr val="DAEDEF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799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  <p:sp>
            <p:nvSpPr>
              <p:cNvPr id="66" name="Flowchart: Manual Operation 65">
                <a:extLst>
                  <a:ext uri="{FF2B5EF4-FFF2-40B4-BE49-F238E27FC236}">
                    <a16:creationId xmlns:a16="http://schemas.microsoft.com/office/drawing/2014/main" id="{0B6216FD-35CF-4624-B2A4-7E0F6CA739CE}"/>
                  </a:ext>
                </a:extLst>
              </p:cNvPr>
              <p:cNvSpPr/>
              <p:nvPr/>
            </p:nvSpPr>
            <p:spPr bwMode="auto">
              <a:xfrm rot="10800000">
                <a:off x="3434027" y="5675471"/>
                <a:ext cx="245112" cy="110512"/>
              </a:xfrm>
              <a:prstGeom prst="flowChartManualOperation">
                <a:avLst/>
              </a:prstGeom>
              <a:solidFill>
                <a:srgbClr val="DAEDEF">
                  <a:lumMod val="20000"/>
                  <a:lumOff val="8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799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ECC3B8B1-AA28-46D2-8EE9-A4440495B3B3}"/>
                </a:ext>
              </a:extLst>
            </p:cNvPr>
            <p:cNvGrpSpPr/>
            <p:nvPr/>
          </p:nvGrpSpPr>
          <p:grpSpPr>
            <a:xfrm>
              <a:off x="6950795" y="5208802"/>
              <a:ext cx="245112" cy="231191"/>
              <a:chOff x="3123000" y="5677513"/>
              <a:chExt cx="245112" cy="231191"/>
            </a:xfrm>
          </p:grpSpPr>
          <p:sp>
            <p:nvSpPr>
              <p:cNvPr id="57" name="Flowchart: Manual Operation 56">
                <a:extLst>
                  <a:ext uri="{FF2B5EF4-FFF2-40B4-BE49-F238E27FC236}">
                    <a16:creationId xmlns:a16="http://schemas.microsoft.com/office/drawing/2014/main" id="{FC4FDAFD-F1E5-42C0-953C-BFFABDC5FDE2}"/>
                  </a:ext>
                </a:extLst>
              </p:cNvPr>
              <p:cNvSpPr/>
              <p:nvPr/>
            </p:nvSpPr>
            <p:spPr bwMode="auto">
              <a:xfrm rot="10800000">
                <a:off x="3123000" y="5798192"/>
                <a:ext cx="245112" cy="110512"/>
              </a:xfrm>
              <a:prstGeom prst="flowChartManualOperation">
                <a:avLst/>
              </a:prstGeom>
              <a:solidFill>
                <a:srgbClr val="2D2D8A">
                  <a:lumMod val="5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799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  <p:sp>
            <p:nvSpPr>
              <p:cNvPr id="58" name="Flowchart: Manual Operation 57">
                <a:extLst>
                  <a:ext uri="{FF2B5EF4-FFF2-40B4-BE49-F238E27FC236}">
                    <a16:creationId xmlns:a16="http://schemas.microsoft.com/office/drawing/2014/main" id="{BE35C743-0AF8-47F4-B919-84D9BAC2E25A}"/>
                  </a:ext>
                </a:extLst>
              </p:cNvPr>
              <p:cNvSpPr/>
              <p:nvPr/>
            </p:nvSpPr>
            <p:spPr bwMode="auto">
              <a:xfrm rot="10800000">
                <a:off x="3123000" y="5774879"/>
                <a:ext cx="245112" cy="110512"/>
              </a:xfrm>
              <a:prstGeom prst="flowChartManualOperation">
                <a:avLst/>
              </a:prstGeom>
              <a:solidFill>
                <a:srgbClr val="2D2D8A">
                  <a:lumMod val="75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799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  <p:sp>
            <p:nvSpPr>
              <p:cNvPr id="59" name="Flowchart: Manual Operation 58">
                <a:extLst>
                  <a:ext uri="{FF2B5EF4-FFF2-40B4-BE49-F238E27FC236}">
                    <a16:creationId xmlns:a16="http://schemas.microsoft.com/office/drawing/2014/main" id="{E1EC3F58-EE08-42E7-B55E-1CF0F57AFBB1}"/>
                  </a:ext>
                </a:extLst>
              </p:cNvPr>
              <p:cNvSpPr/>
              <p:nvPr/>
            </p:nvSpPr>
            <p:spPr bwMode="auto">
              <a:xfrm rot="10800000">
                <a:off x="3123000" y="5747611"/>
                <a:ext cx="245112" cy="110512"/>
              </a:xfrm>
              <a:prstGeom prst="flowChartManualOperation">
                <a:avLst/>
              </a:prstGeom>
              <a:solidFill>
                <a:srgbClr val="2D2D8A">
                  <a:lumMod val="60000"/>
                  <a:lumOff val="4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799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  <p:sp>
            <p:nvSpPr>
              <p:cNvPr id="60" name="Flowchart: Manual Operation 59">
                <a:extLst>
                  <a:ext uri="{FF2B5EF4-FFF2-40B4-BE49-F238E27FC236}">
                    <a16:creationId xmlns:a16="http://schemas.microsoft.com/office/drawing/2014/main" id="{D07D35FA-D715-44D6-AD07-D3E3F07CED7A}"/>
                  </a:ext>
                </a:extLst>
              </p:cNvPr>
              <p:cNvSpPr/>
              <p:nvPr/>
            </p:nvSpPr>
            <p:spPr bwMode="auto">
              <a:xfrm rot="10800000">
                <a:off x="3123000" y="5715830"/>
                <a:ext cx="245112" cy="110512"/>
              </a:xfrm>
              <a:prstGeom prst="flowChartManualOperation">
                <a:avLst/>
              </a:prstGeom>
              <a:solidFill>
                <a:srgbClr val="2D2D8A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799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  <p:sp>
            <p:nvSpPr>
              <p:cNvPr id="61" name="Flowchart: Manual Operation 60">
                <a:extLst>
                  <a:ext uri="{FF2B5EF4-FFF2-40B4-BE49-F238E27FC236}">
                    <a16:creationId xmlns:a16="http://schemas.microsoft.com/office/drawing/2014/main" id="{008D91EC-DF0C-48FA-AD97-6BC1F3B86934}"/>
                  </a:ext>
                </a:extLst>
              </p:cNvPr>
              <p:cNvSpPr/>
              <p:nvPr/>
            </p:nvSpPr>
            <p:spPr bwMode="auto">
              <a:xfrm rot="10800000">
                <a:off x="3123000" y="5677513"/>
                <a:ext cx="245112" cy="110512"/>
              </a:xfrm>
              <a:prstGeom prst="flowChartManualOperation">
                <a:avLst/>
              </a:prstGeom>
              <a:solidFill>
                <a:srgbClr val="2D2D8A">
                  <a:lumMod val="20000"/>
                  <a:lumOff val="8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799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CD934CC3-B4CD-40E6-BEE6-1BFEB0692C12}"/>
                </a:ext>
              </a:extLst>
            </p:cNvPr>
            <p:cNvGrpSpPr/>
            <p:nvPr/>
          </p:nvGrpSpPr>
          <p:grpSpPr>
            <a:xfrm>
              <a:off x="9295921" y="4289998"/>
              <a:ext cx="360039" cy="364712"/>
              <a:chOff x="4334830" y="5108998"/>
              <a:chExt cx="360040" cy="364712"/>
            </a:xfrm>
          </p:grpSpPr>
          <p:sp>
            <p:nvSpPr>
              <p:cNvPr id="55" name="Flowchart: Magnetic Disk 54">
                <a:extLst>
                  <a:ext uri="{FF2B5EF4-FFF2-40B4-BE49-F238E27FC236}">
                    <a16:creationId xmlns:a16="http://schemas.microsoft.com/office/drawing/2014/main" id="{33B77200-96CB-45B1-9154-69C57843646E}"/>
                  </a:ext>
                </a:extLst>
              </p:cNvPr>
              <p:cNvSpPr/>
              <p:nvPr/>
            </p:nvSpPr>
            <p:spPr bwMode="auto">
              <a:xfrm>
                <a:off x="4334830" y="5115823"/>
                <a:ext cx="360040" cy="357887"/>
              </a:xfrm>
              <a:prstGeom prst="flowChartMagneticDisk">
                <a:avLst/>
              </a:prstGeom>
              <a:solidFill>
                <a:srgbClr val="000000">
                  <a:lumMod val="75000"/>
                  <a:lumOff val="25000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799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DB5A8F2B-C018-4380-8F09-691788B3265E}"/>
                  </a:ext>
                </a:extLst>
              </p:cNvPr>
              <p:cNvSpPr/>
              <p:nvPr/>
            </p:nvSpPr>
            <p:spPr bwMode="auto">
              <a:xfrm>
                <a:off x="4334830" y="5108998"/>
                <a:ext cx="360040" cy="121398"/>
              </a:xfrm>
              <a:prstGeom prst="ellipse">
                <a:avLst/>
              </a:prstGeom>
              <a:solidFill>
                <a:srgbClr val="000000">
                  <a:lumMod val="65000"/>
                  <a:lumOff val="35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799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</p:grp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61466A77-488A-45AE-BC37-51555E71E19D}"/>
                </a:ext>
              </a:extLst>
            </p:cNvPr>
            <p:cNvGrpSpPr/>
            <p:nvPr/>
          </p:nvGrpSpPr>
          <p:grpSpPr>
            <a:xfrm>
              <a:off x="8350072" y="4665874"/>
              <a:ext cx="360039" cy="364712"/>
              <a:chOff x="4334830" y="5108998"/>
              <a:chExt cx="360040" cy="364712"/>
            </a:xfrm>
          </p:grpSpPr>
          <p:sp>
            <p:nvSpPr>
              <p:cNvPr id="53" name="Flowchart: Magnetic Disk 52">
                <a:extLst>
                  <a:ext uri="{FF2B5EF4-FFF2-40B4-BE49-F238E27FC236}">
                    <a16:creationId xmlns:a16="http://schemas.microsoft.com/office/drawing/2014/main" id="{40257A54-5312-4423-8065-07B518FAC8DB}"/>
                  </a:ext>
                </a:extLst>
              </p:cNvPr>
              <p:cNvSpPr/>
              <p:nvPr/>
            </p:nvSpPr>
            <p:spPr bwMode="auto">
              <a:xfrm>
                <a:off x="4334830" y="5115823"/>
                <a:ext cx="360040" cy="357887"/>
              </a:xfrm>
              <a:prstGeom prst="flowChartMagneticDisk">
                <a:avLst/>
              </a:prstGeom>
              <a:solidFill>
                <a:srgbClr val="333399">
                  <a:lumMod val="60000"/>
                  <a:lumOff val="40000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799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AA78FAF8-F80D-41DB-850A-86CD64E2A4C9}"/>
                  </a:ext>
                </a:extLst>
              </p:cNvPr>
              <p:cNvSpPr/>
              <p:nvPr/>
            </p:nvSpPr>
            <p:spPr bwMode="auto">
              <a:xfrm>
                <a:off x="4334830" y="5108998"/>
                <a:ext cx="360040" cy="121398"/>
              </a:xfrm>
              <a:prstGeom prst="ellipse">
                <a:avLst/>
              </a:prstGeom>
              <a:solidFill>
                <a:srgbClr val="333399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799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3C17702B-7FFF-4E2F-9E39-02A66E95470B}"/>
                </a:ext>
              </a:extLst>
            </p:cNvPr>
            <p:cNvGrpSpPr/>
            <p:nvPr/>
          </p:nvGrpSpPr>
          <p:grpSpPr>
            <a:xfrm>
              <a:off x="6770775" y="4544476"/>
              <a:ext cx="360039" cy="364712"/>
              <a:chOff x="4334830" y="5108998"/>
              <a:chExt cx="360040" cy="364712"/>
            </a:xfrm>
          </p:grpSpPr>
          <p:sp>
            <p:nvSpPr>
              <p:cNvPr id="51" name="Flowchart: Magnetic Disk 50">
                <a:extLst>
                  <a:ext uri="{FF2B5EF4-FFF2-40B4-BE49-F238E27FC236}">
                    <a16:creationId xmlns:a16="http://schemas.microsoft.com/office/drawing/2014/main" id="{3D00597D-D427-43EB-A26A-32053147A711}"/>
                  </a:ext>
                </a:extLst>
              </p:cNvPr>
              <p:cNvSpPr/>
              <p:nvPr/>
            </p:nvSpPr>
            <p:spPr bwMode="auto">
              <a:xfrm>
                <a:off x="4334830" y="5115823"/>
                <a:ext cx="360040" cy="357887"/>
              </a:xfrm>
              <a:prstGeom prst="flowChartMagneticDisk">
                <a:avLst/>
              </a:prstGeom>
              <a:solidFill>
                <a:srgbClr val="BBE0E3">
                  <a:lumMod val="60000"/>
                  <a:lumOff val="40000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799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" name="Oval 51">
                <a:extLst>
                  <a:ext uri="{FF2B5EF4-FFF2-40B4-BE49-F238E27FC236}">
                    <a16:creationId xmlns:a16="http://schemas.microsoft.com/office/drawing/2014/main" id="{87F2360A-1116-4E82-BFD8-424DB94AB353}"/>
                  </a:ext>
                </a:extLst>
              </p:cNvPr>
              <p:cNvSpPr/>
              <p:nvPr/>
            </p:nvSpPr>
            <p:spPr bwMode="auto">
              <a:xfrm>
                <a:off x="4334830" y="5108998"/>
                <a:ext cx="360040" cy="121398"/>
              </a:xfrm>
              <a:prstGeom prst="ellipse">
                <a:avLst/>
              </a:prstGeom>
              <a:solidFill>
                <a:srgbClr val="BBE0E3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799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936F445F-0605-475B-964F-4E87B9C6239F}"/>
                </a:ext>
              </a:extLst>
            </p:cNvPr>
            <p:cNvGrpSpPr/>
            <p:nvPr/>
          </p:nvGrpSpPr>
          <p:grpSpPr>
            <a:xfrm>
              <a:off x="7138444" y="3427825"/>
              <a:ext cx="360039" cy="364712"/>
              <a:chOff x="4334830" y="5108998"/>
              <a:chExt cx="360040" cy="364712"/>
            </a:xfrm>
          </p:grpSpPr>
          <p:sp>
            <p:nvSpPr>
              <p:cNvPr id="49" name="Flowchart: Magnetic Disk 48">
                <a:extLst>
                  <a:ext uri="{FF2B5EF4-FFF2-40B4-BE49-F238E27FC236}">
                    <a16:creationId xmlns:a16="http://schemas.microsoft.com/office/drawing/2014/main" id="{A270DC10-82BC-4E5D-96C0-F540673D7E0B}"/>
                  </a:ext>
                </a:extLst>
              </p:cNvPr>
              <p:cNvSpPr/>
              <p:nvPr/>
            </p:nvSpPr>
            <p:spPr bwMode="auto">
              <a:xfrm>
                <a:off x="4334830" y="5115823"/>
                <a:ext cx="360040" cy="357887"/>
              </a:xfrm>
              <a:prstGeom prst="flowChartMagneticDisk">
                <a:avLst/>
              </a:prstGeom>
              <a:solidFill>
                <a:srgbClr val="000000">
                  <a:lumMod val="60000"/>
                  <a:lumOff val="40000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799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F6153161-27D9-4905-83AB-B341D3283F14}"/>
                  </a:ext>
                </a:extLst>
              </p:cNvPr>
              <p:cNvSpPr/>
              <p:nvPr/>
            </p:nvSpPr>
            <p:spPr bwMode="auto">
              <a:xfrm>
                <a:off x="4334830" y="5108998"/>
                <a:ext cx="360040" cy="121398"/>
              </a:xfrm>
              <a:prstGeom prst="ellipse">
                <a:avLst/>
              </a:prstGeom>
              <a:solidFill>
                <a:srgbClr val="000000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799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60EC9F1D-1173-4537-A62C-81B55E147975}"/>
                </a:ext>
              </a:extLst>
            </p:cNvPr>
            <p:cNvGrpSpPr/>
            <p:nvPr/>
          </p:nvGrpSpPr>
          <p:grpSpPr>
            <a:xfrm>
              <a:off x="7657830" y="4510336"/>
              <a:ext cx="360039" cy="364712"/>
              <a:chOff x="4334830" y="5108998"/>
              <a:chExt cx="360040" cy="364712"/>
            </a:xfrm>
          </p:grpSpPr>
          <p:sp>
            <p:nvSpPr>
              <p:cNvPr id="47" name="Flowchart: Magnetic Disk 46">
                <a:extLst>
                  <a:ext uri="{FF2B5EF4-FFF2-40B4-BE49-F238E27FC236}">
                    <a16:creationId xmlns:a16="http://schemas.microsoft.com/office/drawing/2014/main" id="{06EA8B46-8AD8-4153-8592-B155F55AF414}"/>
                  </a:ext>
                </a:extLst>
              </p:cNvPr>
              <p:cNvSpPr/>
              <p:nvPr/>
            </p:nvSpPr>
            <p:spPr bwMode="auto">
              <a:xfrm>
                <a:off x="4334830" y="5115823"/>
                <a:ext cx="360040" cy="357887"/>
              </a:xfrm>
              <a:prstGeom prst="flowChartMagneticDisk">
                <a:avLst/>
              </a:prstGeom>
              <a:solidFill>
                <a:srgbClr val="FFFFFF">
                  <a:lumMod val="60000"/>
                  <a:lumOff val="40000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799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E9848B89-4493-4CFF-B157-4E069A1A09B3}"/>
                  </a:ext>
                </a:extLst>
              </p:cNvPr>
              <p:cNvSpPr/>
              <p:nvPr/>
            </p:nvSpPr>
            <p:spPr bwMode="auto">
              <a:xfrm>
                <a:off x="4334830" y="5108998"/>
                <a:ext cx="360040" cy="121398"/>
              </a:xfrm>
              <a:prstGeom prst="ellipse">
                <a:avLst/>
              </a:prstGeom>
              <a:solidFill>
                <a:srgbClr val="FFFFFF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799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1590FB0F-BC09-439A-8111-FB277AD57F8A}"/>
                </a:ext>
              </a:extLst>
            </p:cNvPr>
            <p:cNvGrpSpPr/>
            <p:nvPr/>
          </p:nvGrpSpPr>
          <p:grpSpPr>
            <a:xfrm>
              <a:off x="7282317" y="4865399"/>
              <a:ext cx="360039" cy="364712"/>
              <a:chOff x="4334830" y="5108998"/>
              <a:chExt cx="360040" cy="364712"/>
            </a:xfrm>
          </p:grpSpPr>
          <p:sp>
            <p:nvSpPr>
              <p:cNvPr id="45" name="Flowchart: Magnetic Disk 44">
                <a:extLst>
                  <a:ext uri="{FF2B5EF4-FFF2-40B4-BE49-F238E27FC236}">
                    <a16:creationId xmlns:a16="http://schemas.microsoft.com/office/drawing/2014/main" id="{F07E20EF-F75D-41CA-BA7E-CA686711AC3E}"/>
                  </a:ext>
                </a:extLst>
              </p:cNvPr>
              <p:cNvSpPr/>
              <p:nvPr/>
            </p:nvSpPr>
            <p:spPr bwMode="auto">
              <a:xfrm>
                <a:off x="4334830" y="5115823"/>
                <a:ext cx="360040" cy="357887"/>
              </a:xfrm>
              <a:prstGeom prst="flowChartMagneticDisk">
                <a:avLst/>
              </a:prstGeom>
              <a:solidFill>
                <a:srgbClr val="2D2D8A">
                  <a:lumMod val="60000"/>
                  <a:lumOff val="40000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799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859F1A2F-74C7-4A4D-90C7-2F1E11D1479C}"/>
                  </a:ext>
                </a:extLst>
              </p:cNvPr>
              <p:cNvSpPr/>
              <p:nvPr/>
            </p:nvSpPr>
            <p:spPr bwMode="auto">
              <a:xfrm>
                <a:off x="4334830" y="5108998"/>
                <a:ext cx="360040" cy="121398"/>
              </a:xfrm>
              <a:prstGeom prst="ellipse">
                <a:avLst/>
              </a:prstGeom>
              <a:solidFill>
                <a:srgbClr val="2D2D8A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799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96B10D4F-E5AA-4664-B556-167E750DD954}"/>
                </a:ext>
              </a:extLst>
            </p:cNvPr>
            <p:cNvGrpSpPr/>
            <p:nvPr/>
          </p:nvGrpSpPr>
          <p:grpSpPr>
            <a:xfrm>
              <a:off x="9002358" y="5013941"/>
              <a:ext cx="360039" cy="364712"/>
              <a:chOff x="4334830" y="5108998"/>
              <a:chExt cx="360040" cy="364712"/>
            </a:xfrm>
          </p:grpSpPr>
          <p:sp>
            <p:nvSpPr>
              <p:cNvPr id="43" name="Flowchart: Magnetic Disk 42">
                <a:extLst>
                  <a:ext uri="{FF2B5EF4-FFF2-40B4-BE49-F238E27FC236}">
                    <a16:creationId xmlns:a16="http://schemas.microsoft.com/office/drawing/2014/main" id="{5C33FC0F-5382-47B8-A12F-0C7D1AF0A809}"/>
                  </a:ext>
                </a:extLst>
              </p:cNvPr>
              <p:cNvSpPr/>
              <p:nvPr/>
            </p:nvSpPr>
            <p:spPr bwMode="auto">
              <a:xfrm>
                <a:off x="4334830" y="5115823"/>
                <a:ext cx="360040" cy="357887"/>
              </a:xfrm>
              <a:prstGeom prst="flowChartMagneticDisk">
                <a:avLst/>
              </a:prstGeom>
              <a:solidFill>
                <a:srgbClr val="DAEDEF">
                  <a:lumMod val="60000"/>
                  <a:lumOff val="40000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799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10F70062-B45A-41AF-8DD2-4A347FB0F4FA}"/>
                  </a:ext>
                </a:extLst>
              </p:cNvPr>
              <p:cNvSpPr/>
              <p:nvPr/>
            </p:nvSpPr>
            <p:spPr bwMode="auto">
              <a:xfrm>
                <a:off x="4334830" y="5108998"/>
                <a:ext cx="360040" cy="121398"/>
              </a:xfrm>
              <a:prstGeom prst="ellipse">
                <a:avLst/>
              </a:prstGeom>
              <a:solidFill>
                <a:srgbClr val="DAEDEF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wrap="square" lIns="107944" tIns="53972" rIns="107944" bIns="53972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799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</p:grpSp>
      </p:grpSp>
      <p:grpSp>
        <p:nvGrpSpPr>
          <p:cNvPr id="104" name="Gruppieren 90">
            <a:extLst>
              <a:ext uri="{FF2B5EF4-FFF2-40B4-BE49-F238E27FC236}">
                <a16:creationId xmlns:a16="http://schemas.microsoft.com/office/drawing/2014/main" id="{9F242CA0-A22B-4D7E-B55F-B0ECFD6FD130}"/>
              </a:ext>
            </a:extLst>
          </p:cNvPr>
          <p:cNvGrpSpPr/>
          <p:nvPr/>
        </p:nvGrpSpPr>
        <p:grpSpPr>
          <a:xfrm>
            <a:off x="5887905" y="2222381"/>
            <a:ext cx="345388" cy="620638"/>
            <a:chOff x="5939946" y="1782581"/>
            <a:chExt cx="345748" cy="620961"/>
          </a:xfrm>
        </p:grpSpPr>
        <p:sp>
          <p:nvSpPr>
            <p:cNvPr id="105" name="Rectangle 7">
              <a:extLst>
                <a:ext uri="{FF2B5EF4-FFF2-40B4-BE49-F238E27FC236}">
                  <a16:creationId xmlns:a16="http://schemas.microsoft.com/office/drawing/2014/main" id="{3CC01C3B-6530-4FC2-BF99-58E29C9E49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98677" y="2249654"/>
              <a:ext cx="228289" cy="153888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17991" tIns="0" rIns="0" bIns="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623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999" b="1" dirty="0">
                  <a:solidFill>
                    <a:srgbClr val="3C464B"/>
                  </a:solidFill>
                  <a:latin typeface="Siemens Sans" panose="02020500000000000000" pitchFamily="18" charset="0"/>
                  <a:ea typeface="+mn-ea"/>
                  <a:sym typeface="Avenir Next Medium"/>
                </a:rPr>
                <a:t>SAP</a:t>
              </a:r>
            </a:p>
          </p:txBody>
        </p:sp>
        <p:sp>
          <p:nvSpPr>
            <p:cNvPr id="106" name="Freihandform: Form 102">
              <a:extLst>
                <a:ext uri="{FF2B5EF4-FFF2-40B4-BE49-F238E27FC236}">
                  <a16:creationId xmlns:a16="http://schemas.microsoft.com/office/drawing/2014/main" id="{DA5D4B90-9DA4-4E03-AB05-6B47927D61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39946" y="1782581"/>
              <a:ext cx="345748" cy="418122"/>
            </a:xfrm>
            <a:custGeom>
              <a:avLst/>
              <a:gdLst>
                <a:gd name="connsiteX0" fmla="*/ 0 w 3200400"/>
                <a:gd name="connsiteY0" fmla="*/ 2746376 h 3870326"/>
                <a:gd name="connsiteX1" fmla="*/ 1609140 w 3200400"/>
                <a:gd name="connsiteY1" fmla="*/ 3121026 h 3870326"/>
                <a:gd name="connsiteX2" fmla="*/ 3200400 w 3200400"/>
                <a:gd name="connsiteY2" fmla="*/ 2746376 h 3870326"/>
                <a:gd name="connsiteX3" fmla="*/ 3200400 w 3200400"/>
                <a:gd name="connsiteY3" fmla="*/ 3495676 h 3870326"/>
                <a:gd name="connsiteX4" fmla="*/ 1609140 w 3200400"/>
                <a:gd name="connsiteY4" fmla="*/ 3870326 h 3870326"/>
                <a:gd name="connsiteX5" fmla="*/ 0 w 3200400"/>
                <a:gd name="connsiteY5" fmla="*/ 3495676 h 3870326"/>
                <a:gd name="connsiteX6" fmla="*/ 0 w 3200400"/>
                <a:gd name="connsiteY6" fmla="*/ 2746376 h 3870326"/>
                <a:gd name="connsiteX7" fmla="*/ 0 w 3200400"/>
                <a:gd name="connsiteY7" fmla="*/ 1717675 h 3870326"/>
                <a:gd name="connsiteX8" fmla="*/ 1609140 w 3200400"/>
                <a:gd name="connsiteY8" fmla="*/ 2092325 h 3870326"/>
                <a:gd name="connsiteX9" fmla="*/ 3200400 w 3200400"/>
                <a:gd name="connsiteY9" fmla="*/ 1717675 h 3870326"/>
                <a:gd name="connsiteX10" fmla="*/ 3200400 w 3200400"/>
                <a:gd name="connsiteY10" fmla="*/ 2466975 h 3870326"/>
                <a:gd name="connsiteX11" fmla="*/ 1609140 w 3200400"/>
                <a:gd name="connsiteY11" fmla="*/ 2841625 h 3870326"/>
                <a:gd name="connsiteX12" fmla="*/ 0 w 3200400"/>
                <a:gd name="connsiteY12" fmla="*/ 2466975 h 3870326"/>
                <a:gd name="connsiteX13" fmla="*/ 0 w 3200400"/>
                <a:gd name="connsiteY13" fmla="*/ 1717675 h 3870326"/>
                <a:gd name="connsiteX14" fmla="*/ 0 w 3200400"/>
                <a:gd name="connsiteY14" fmla="*/ 688975 h 3870326"/>
                <a:gd name="connsiteX15" fmla="*/ 1609140 w 3200400"/>
                <a:gd name="connsiteY15" fmla="*/ 1063625 h 3870326"/>
                <a:gd name="connsiteX16" fmla="*/ 3200400 w 3200400"/>
                <a:gd name="connsiteY16" fmla="*/ 688975 h 3870326"/>
                <a:gd name="connsiteX17" fmla="*/ 3200400 w 3200400"/>
                <a:gd name="connsiteY17" fmla="*/ 1438275 h 3870326"/>
                <a:gd name="connsiteX18" fmla="*/ 1609140 w 3200400"/>
                <a:gd name="connsiteY18" fmla="*/ 1812925 h 3870326"/>
                <a:gd name="connsiteX19" fmla="*/ 0 w 3200400"/>
                <a:gd name="connsiteY19" fmla="*/ 1438275 h 3870326"/>
                <a:gd name="connsiteX20" fmla="*/ 0 w 3200400"/>
                <a:gd name="connsiteY20" fmla="*/ 688975 h 3870326"/>
                <a:gd name="connsiteX21" fmla="*/ 1600200 w 3200400"/>
                <a:gd name="connsiteY21" fmla="*/ 0 h 3870326"/>
                <a:gd name="connsiteX22" fmla="*/ 3200400 w 3200400"/>
                <a:gd name="connsiteY22" fmla="*/ 392113 h 3870326"/>
                <a:gd name="connsiteX23" fmla="*/ 1600200 w 3200400"/>
                <a:gd name="connsiteY23" fmla="*/ 784226 h 3870326"/>
                <a:gd name="connsiteX24" fmla="*/ 0 w 3200400"/>
                <a:gd name="connsiteY24" fmla="*/ 392113 h 3870326"/>
                <a:gd name="connsiteX25" fmla="*/ 1600200 w 3200400"/>
                <a:gd name="connsiteY25" fmla="*/ 0 h 3870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200400" h="3870326">
                  <a:moveTo>
                    <a:pt x="0" y="2746376"/>
                  </a:moveTo>
                  <a:cubicBezTo>
                    <a:pt x="0" y="2960462"/>
                    <a:pt x="715173" y="3121026"/>
                    <a:pt x="1609140" y="3121026"/>
                  </a:cubicBezTo>
                  <a:cubicBezTo>
                    <a:pt x="2485227" y="3121026"/>
                    <a:pt x="3200400" y="2960462"/>
                    <a:pt x="3200400" y="2746376"/>
                  </a:cubicBezTo>
                  <a:cubicBezTo>
                    <a:pt x="3200400" y="2746376"/>
                    <a:pt x="3200400" y="2746376"/>
                    <a:pt x="3200400" y="3495676"/>
                  </a:cubicBezTo>
                  <a:cubicBezTo>
                    <a:pt x="3200400" y="3691921"/>
                    <a:pt x="2485227" y="3870326"/>
                    <a:pt x="1609140" y="3870326"/>
                  </a:cubicBezTo>
                  <a:cubicBezTo>
                    <a:pt x="715173" y="3870326"/>
                    <a:pt x="0" y="3691921"/>
                    <a:pt x="0" y="3495676"/>
                  </a:cubicBezTo>
                  <a:cubicBezTo>
                    <a:pt x="0" y="3495676"/>
                    <a:pt x="0" y="3495676"/>
                    <a:pt x="0" y="2746376"/>
                  </a:cubicBezTo>
                  <a:close/>
                  <a:moveTo>
                    <a:pt x="0" y="1717675"/>
                  </a:moveTo>
                  <a:cubicBezTo>
                    <a:pt x="0" y="1931761"/>
                    <a:pt x="715173" y="2092325"/>
                    <a:pt x="1609140" y="2092325"/>
                  </a:cubicBezTo>
                  <a:cubicBezTo>
                    <a:pt x="2485227" y="2092325"/>
                    <a:pt x="3200400" y="1931761"/>
                    <a:pt x="3200400" y="1717675"/>
                  </a:cubicBezTo>
                  <a:cubicBezTo>
                    <a:pt x="3200400" y="1717675"/>
                    <a:pt x="3200400" y="1717675"/>
                    <a:pt x="3200400" y="2466975"/>
                  </a:cubicBezTo>
                  <a:cubicBezTo>
                    <a:pt x="3200400" y="2663220"/>
                    <a:pt x="2485227" y="2841625"/>
                    <a:pt x="1609140" y="2841625"/>
                  </a:cubicBezTo>
                  <a:cubicBezTo>
                    <a:pt x="715173" y="2841625"/>
                    <a:pt x="0" y="2663220"/>
                    <a:pt x="0" y="2466975"/>
                  </a:cubicBezTo>
                  <a:cubicBezTo>
                    <a:pt x="0" y="2466975"/>
                    <a:pt x="0" y="2466975"/>
                    <a:pt x="0" y="1717675"/>
                  </a:cubicBezTo>
                  <a:close/>
                  <a:moveTo>
                    <a:pt x="0" y="688975"/>
                  </a:moveTo>
                  <a:cubicBezTo>
                    <a:pt x="0" y="903061"/>
                    <a:pt x="715173" y="1063625"/>
                    <a:pt x="1609140" y="1063625"/>
                  </a:cubicBezTo>
                  <a:cubicBezTo>
                    <a:pt x="2485227" y="1063625"/>
                    <a:pt x="3200400" y="903061"/>
                    <a:pt x="3200400" y="688975"/>
                  </a:cubicBezTo>
                  <a:cubicBezTo>
                    <a:pt x="3200400" y="688975"/>
                    <a:pt x="3200400" y="688975"/>
                    <a:pt x="3200400" y="1438275"/>
                  </a:cubicBezTo>
                  <a:cubicBezTo>
                    <a:pt x="3200400" y="1652361"/>
                    <a:pt x="2485227" y="1812925"/>
                    <a:pt x="1609140" y="1812925"/>
                  </a:cubicBezTo>
                  <a:cubicBezTo>
                    <a:pt x="715173" y="1812925"/>
                    <a:pt x="0" y="1652361"/>
                    <a:pt x="0" y="1438275"/>
                  </a:cubicBezTo>
                  <a:cubicBezTo>
                    <a:pt x="0" y="1438275"/>
                    <a:pt x="0" y="1438275"/>
                    <a:pt x="0" y="688975"/>
                  </a:cubicBezTo>
                  <a:close/>
                  <a:moveTo>
                    <a:pt x="1600200" y="0"/>
                  </a:moveTo>
                  <a:cubicBezTo>
                    <a:pt x="2483966" y="0"/>
                    <a:pt x="3200400" y="175555"/>
                    <a:pt x="3200400" y="392113"/>
                  </a:cubicBezTo>
                  <a:cubicBezTo>
                    <a:pt x="3200400" y="608671"/>
                    <a:pt x="2483966" y="784226"/>
                    <a:pt x="1600200" y="784226"/>
                  </a:cubicBezTo>
                  <a:cubicBezTo>
                    <a:pt x="716434" y="784226"/>
                    <a:pt x="0" y="608671"/>
                    <a:pt x="0" y="392113"/>
                  </a:cubicBezTo>
                  <a:cubicBezTo>
                    <a:pt x="0" y="175555"/>
                    <a:pt x="716434" y="0"/>
                    <a:pt x="1600200" y="0"/>
                  </a:cubicBezTo>
                  <a:close/>
                </a:path>
              </a:pathLst>
            </a:custGeom>
            <a:solidFill>
              <a:srgbClr val="AAB414"/>
            </a:solidFill>
            <a:ln>
              <a:noFill/>
            </a:ln>
          </p:spPr>
          <p:txBody>
            <a:bodyPr vert="horz" wrap="square" lIns="45696" tIns="22848" rIns="45696" bIns="22848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913623" fontAlgn="auto">
                <a:spcBef>
                  <a:spcPts val="0"/>
                </a:spcBef>
                <a:spcAft>
                  <a:spcPts val="0"/>
                </a:spcAft>
              </a:pPr>
              <a:endParaRPr lang="de-DE" sz="999">
                <a:solidFill>
                  <a:srgbClr val="ADBECB"/>
                </a:solidFill>
                <a:latin typeface="Arial"/>
                <a:ea typeface="+mn-ea"/>
                <a:sym typeface="Avenir Next Medium"/>
              </a:endParaRPr>
            </a:p>
          </p:txBody>
        </p:sp>
      </p:grpSp>
      <p:grpSp>
        <p:nvGrpSpPr>
          <p:cNvPr id="107" name="Gruppieren 105">
            <a:extLst>
              <a:ext uri="{FF2B5EF4-FFF2-40B4-BE49-F238E27FC236}">
                <a16:creationId xmlns:a16="http://schemas.microsoft.com/office/drawing/2014/main" id="{C12F773E-8E6D-4AAC-8F0D-86F2544A6234}"/>
              </a:ext>
            </a:extLst>
          </p:cNvPr>
          <p:cNvGrpSpPr/>
          <p:nvPr/>
        </p:nvGrpSpPr>
        <p:grpSpPr>
          <a:xfrm>
            <a:off x="6548342" y="2601504"/>
            <a:ext cx="732734" cy="758341"/>
            <a:chOff x="6481673" y="2323287"/>
            <a:chExt cx="733498" cy="758736"/>
          </a:xfrm>
        </p:grpSpPr>
        <p:sp>
          <p:nvSpPr>
            <p:cNvPr id="108" name="Rectangle 7">
              <a:extLst>
                <a:ext uri="{FF2B5EF4-FFF2-40B4-BE49-F238E27FC236}">
                  <a16:creationId xmlns:a16="http://schemas.microsoft.com/office/drawing/2014/main" id="{1F8B5922-148B-43DC-85EA-F735B2C038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81673" y="2774503"/>
              <a:ext cx="733498" cy="307520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17991" tIns="0" rIns="0" bIns="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623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999" b="1" dirty="0">
                  <a:solidFill>
                    <a:srgbClr val="3C464B"/>
                  </a:solidFill>
                  <a:latin typeface="Siemens Sans" panose="02020500000000000000" pitchFamily="18" charset="0"/>
                  <a:ea typeface="+mn-ea"/>
                  <a:sym typeface="Avenir Next Medium"/>
                </a:rPr>
                <a:t>Structured /</a:t>
              </a:r>
              <a:br>
                <a:rPr lang="de-DE" sz="999" b="1" dirty="0">
                  <a:solidFill>
                    <a:srgbClr val="3C464B"/>
                  </a:solidFill>
                  <a:latin typeface="Siemens Sans" panose="02020500000000000000" pitchFamily="18" charset="0"/>
                  <a:ea typeface="+mn-ea"/>
                  <a:sym typeface="Avenir Next Medium"/>
                </a:rPr>
              </a:br>
              <a:r>
                <a:rPr lang="de-DE" sz="999" b="1" dirty="0">
                  <a:solidFill>
                    <a:srgbClr val="3C464B"/>
                  </a:solidFill>
                  <a:latin typeface="Siemens Sans" panose="02020500000000000000" pitchFamily="18" charset="0"/>
                  <a:ea typeface="+mn-ea"/>
                  <a:sym typeface="Avenir Next Medium"/>
                </a:rPr>
                <a:t>Spreadsheets</a:t>
              </a:r>
            </a:p>
          </p:txBody>
        </p:sp>
        <p:sp>
          <p:nvSpPr>
            <p:cNvPr id="109" name="Freihandform: Form 125">
              <a:extLst>
                <a:ext uri="{FF2B5EF4-FFF2-40B4-BE49-F238E27FC236}">
                  <a16:creationId xmlns:a16="http://schemas.microsoft.com/office/drawing/2014/main" id="{A96648C5-B2B1-45B9-83D2-A9AEA914C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75548" y="2323287"/>
              <a:ext cx="345748" cy="418122"/>
            </a:xfrm>
            <a:custGeom>
              <a:avLst/>
              <a:gdLst>
                <a:gd name="connsiteX0" fmla="*/ 0 w 3200400"/>
                <a:gd name="connsiteY0" fmla="*/ 2746376 h 3870326"/>
                <a:gd name="connsiteX1" fmla="*/ 1609140 w 3200400"/>
                <a:gd name="connsiteY1" fmla="*/ 3121026 h 3870326"/>
                <a:gd name="connsiteX2" fmla="*/ 3200400 w 3200400"/>
                <a:gd name="connsiteY2" fmla="*/ 2746376 h 3870326"/>
                <a:gd name="connsiteX3" fmla="*/ 3200400 w 3200400"/>
                <a:gd name="connsiteY3" fmla="*/ 3495676 h 3870326"/>
                <a:gd name="connsiteX4" fmla="*/ 1609140 w 3200400"/>
                <a:gd name="connsiteY4" fmla="*/ 3870326 h 3870326"/>
                <a:gd name="connsiteX5" fmla="*/ 0 w 3200400"/>
                <a:gd name="connsiteY5" fmla="*/ 3495676 h 3870326"/>
                <a:gd name="connsiteX6" fmla="*/ 0 w 3200400"/>
                <a:gd name="connsiteY6" fmla="*/ 2746376 h 3870326"/>
                <a:gd name="connsiteX7" fmla="*/ 0 w 3200400"/>
                <a:gd name="connsiteY7" fmla="*/ 1717675 h 3870326"/>
                <a:gd name="connsiteX8" fmla="*/ 1609140 w 3200400"/>
                <a:gd name="connsiteY8" fmla="*/ 2092325 h 3870326"/>
                <a:gd name="connsiteX9" fmla="*/ 3200400 w 3200400"/>
                <a:gd name="connsiteY9" fmla="*/ 1717675 h 3870326"/>
                <a:gd name="connsiteX10" fmla="*/ 3200400 w 3200400"/>
                <a:gd name="connsiteY10" fmla="*/ 2466975 h 3870326"/>
                <a:gd name="connsiteX11" fmla="*/ 1609140 w 3200400"/>
                <a:gd name="connsiteY11" fmla="*/ 2841625 h 3870326"/>
                <a:gd name="connsiteX12" fmla="*/ 0 w 3200400"/>
                <a:gd name="connsiteY12" fmla="*/ 2466975 h 3870326"/>
                <a:gd name="connsiteX13" fmla="*/ 0 w 3200400"/>
                <a:gd name="connsiteY13" fmla="*/ 1717675 h 3870326"/>
                <a:gd name="connsiteX14" fmla="*/ 0 w 3200400"/>
                <a:gd name="connsiteY14" fmla="*/ 688975 h 3870326"/>
                <a:gd name="connsiteX15" fmla="*/ 1609140 w 3200400"/>
                <a:gd name="connsiteY15" fmla="*/ 1063625 h 3870326"/>
                <a:gd name="connsiteX16" fmla="*/ 3200400 w 3200400"/>
                <a:gd name="connsiteY16" fmla="*/ 688975 h 3870326"/>
                <a:gd name="connsiteX17" fmla="*/ 3200400 w 3200400"/>
                <a:gd name="connsiteY17" fmla="*/ 1438275 h 3870326"/>
                <a:gd name="connsiteX18" fmla="*/ 1609140 w 3200400"/>
                <a:gd name="connsiteY18" fmla="*/ 1812925 h 3870326"/>
                <a:gd name="connsiteX19" fmla="*/ 0 w 3200400"/>
                <a:gd name="connsiteY19" fmla="*/ 1438275 h 3870326"/>
                <a:gd name="connsiteX20" fmla="*/ 0 w 3200400"/>
                <a:gd name="connsiteY20" fmla="*/ 688975 h 3870326"/>
                <a:gd name="connsiteX21" fmla="*/ 1600200 w 3200400"/>
                <a:gd name="connsiteY21" fmla="*/ 0 h 3870326"/>
                <a:gd name="connsiteX22" fmla="*/ 3200400 w 3200400"/>
                <a:gd name="connsiteY22" fmla="*/ 392113 h 3870326"/>
                <a:gd name="connsiteX23" fmla="*/ 1600200 w 3200400"/>
                <a:gd name="connsiteY23" fmla="*/ 784226 h 3870326"/>
                <a:gd name="connsiteX24" fmla="*/ 0 w 3200400"/>
                <a:gd name="connsiteY24" fmla="*/ 392113 h 3870326"/>
                <a:gd name="connsiteX25" fmla="*/ 1600200 w 3200400"/>
                <a:gd name="connsiteY25" fmla="*/ 0 h 3870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200400" h="3870326">
                  <a:moveTo>
                    <a:pt x="0" y="2746376"/>
                  </a:moveTo>
                  <a:cubicBezTo>
                    <a:pt x="0" y="2960462"/>
                    <a:pt x="715173" y="3121026"/>
                    <a:pt x="1609140" y="3121026"/>
                  </a:cubicBezTo>
                  <a:cubicBezTo>
                    <a:pt x="2485227" y="3121026"/>
                    <a:pt x="3200400" y="2960462"/>
                    <a:pt x="3200400" y="2746376"/>
                  </a:cubicBezTo>
                  <a:cubicBezTo>
                    <a:pt x="3200400" y="2746376"/>
                    <a:pt x="3200400" y="2746376"/>
                    <a:pt x="3200400" y="3495676"/>
                  </a:cubicBezTo>
                  <a:cubicBezTo>
                    <a:pt x="3200400" y="3691921"/>
                    <a:pt x="2485227" y="3870326"/>
                    <a:pt x="1609140" y="3870326"/>
                  </a:cubicBezTo>
                  <a:cubicBezTo>
                    <a:pt x="715173" y="3870326"/>
                    <a:pt x="0" y="3691921"/>
                    <a:pt x="0" y="3495676"/>
                  </a:cubicBezTo>
                  <a:cubicBezTo>
                    <a:pt x="0" y="3495676"/>
                    <a:pt x="0" y="3495676"/>
                    <a:pt x="0" y="2746376"/>
                  </a:cubicBezTo>
                  <a:close/>
                  <a:moveTo>
                    <a:pt x="0" y="1717675"/>
                  </a:moveTo>
                  <a:cubicBezTo>
                    <a:pt x="0" y="1931761"/>
                    <a:pt x="715173" y="2092325"/>
                    <a:pt x="1609140" y="2092325"/>
                  </a:cubicBezTo>
                  <a:cubicBezTo>
                    <a:pt x="2485227" y="2092325"/>
                    <a:pt x="3200400" y="1931761"/>
                    <a:pt x="3200400" y="1717675"/>
                  </a:cubicBezTo>
                  <a:cubicBezTo>
                    <a:pt x="3200400" y="1717675"/>
                    <a:pt x="3200400" y="1717675"/>
                    <a:pt x="3200400" y="2466975"/>
                  </a:cubicBezTo>
                  <a:cubicBezTo>
                    <a:pt x="3200400" y="2663220"/>
                    <a:pt x="2485227" y="2841625"/>
                    <a:pt x="1609140" y="2841625"/>
                  </a:cubicBezTo>
                  <a:cubicBezTo>
                    <a:pt x="715173" y="2841625"/>
                    <a:pt x="0" y="2663220"/>
                    <a:pt x="0" y="2466975"/>
                  </a:cubicBezTo>
                  <a:cubicBezTo>
                    <a:pt x="0" y="2466975"/>
                    <a:pt x="0" y="2466975"/>
                    <a:pt x="0" y="1717675"/>
                  </a:cubicBezTo>
                  <a:close/>
                  <a:moveTo>
                    <a:pt x="0" y="688975"/>
                  </a:moveTo>
                  <a:cubicBezTo>
                    <a:pt x="0" y="903061"/>
                    <a:pt x="715173" y="1063625"/>
                    <a:pt x="1609140" y="1063625"/>
                  </a:cubicBezTo>
                  <a:cubicBezTo>
                    <a:pt x="2485227" y="1063625"/>
                    <a:pt x="3200400" y="903061"/>
                    <a:pt x="3200400" y="688975"/>
                  </a:cubicBezTo>
                  <a:cubicBezTo>
                    <a:pt x="3200400" y="688975"/>
                    <a:pt x="3200400" y="688975"/>
                    <a:pt x="3200400" y="1438275"/>
                  </a:cubicBezTo>
                  <a:cubicBezTo>
                    <a:pt x="3200400" y="1652361"/>
                    <a:pt x="2485227" y="1812925"/>
                    <a:pt x="1609140" y="1812925"/>
                  </a:cubicBezTo>
                  <a:cubicBezTo>
                    <a:pt x="715173" y="1812925"/>
                    <a:pt x="0" y="1652361"/>
                    <a:pt x="0" y="1438275"/>
                  </a:cubicBezTo>
                  <a:cubicBezTo>
                    <a:pt x="0" y="1438275"/>
                    <a:pt x="0" y="1438275"/>
                    <a:pt x="0" y="688975"/>
                  </a:cubicBezTo>
                  <a:close/>
                  <a:moveTo>
                    <a:pt x="1600200" y="0"/>
                  </a:moveTo>
                  <a:cubicBezTo>
                    <a:pt x="2483966" y="0"/>
                    <a:pt x="3200400" y="175555"/>
                    <a:pt x="3200400" y="392113"/>
                  </a:cubicBezTo>
                  <a:cubicBezTo>
                    <a:pt x="3200400" y="608671"/>
                    <a:pt x="2483966" y="784226"/>
                    <a:pt x="1600200" y="784226"/>
                  </a:cubicBezTo>
                  <a:cubicBezTo>
                    <a:pt x="716434" y="784226"/>
                    <a:pt x="0" y="608671"/>
                    <a:pt x="0" y="392113"/>
                  </a:cubicBezTo>
                  <a:cubicBezTo>
                    <a:pt x="0" y="175555"/>
                    <a:pt x="716434" y="0"/>
                    <a:pt x="1600200" y="0"/>
                  </a:cubicBezTo>
                  <a:close/>
                </a:path>
              </a:pathLst>
            </a:custGeom>
            <a:solidFill>
              <a:srgbClr val="3C464B"/>
            </a:solidFill>
            <a:ln>
              <a:noFill/>
            </a:ln>
          </p:spPr>
          <p:txBody>
            <a:bodyPr vert="horz" wrap="square" lIns="45696" tIns="22848" rIns="45696" bIns="22848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913623" fontAlgn="auto">
                <a:spcBef>
                  <a:spcPts val="0"/>
                </a:spcBef>
                <a:spcAft>
                  <a:spcPts val="0"/>
                </a:spcAft>
              </a:pPr>
              <a:endParaRPr lang="de-DE" sz="999">
                <a:solidFill>
                  <a:srgbClr val="ADBECB"/>
                </a:solidFill>
                <a:latin typeface="Arial"/>
                <a:ea typeface="+mn-ea"/>
                <a:sym typeface="Avenir Next Medium"/>
              </a:endParaRPr>
            </a:p>
          </p:txBody>
        </p:sp>
      </p:grpSp>
      <p:grpSp>
        <p:nvGrpSpPr>
          <p:cNvPr id="110" name="Gruppieren 126">
            <a:extLst>
              <a:ext uri="{FF2B5EF4-FFF2-40B4-BE49-F238E27FC236}">
                <a16:creationId xmlns:a16="http://schemas.microsoft.com/office/drawing/2014/main" id="{B48FD2C1-CA40-4F21-BF12-54A722BDF0BD}"/>
              </a:ext>
            </a:extLst>
          </p:cNvPr>
          <p:cNvGrpSpPr/>
          <p:nvPr/>
        </p:nvGrpSpPr>
        <p:grpSpPr>
          <a:xfrm>
            <a:off x="4992052" y="2587703"/>
            <a:ext cx="686272" cy="620574"/>
            <a:chOff x="7047088" y="1782581"/>
            <a:chExt cx="686987" cy="620897"/>
          </a:xfrm>
        </p:grpSpPr>
        <p:sp>
          <p:nvSpPr>
            <p:cNvPr id="111" name="Rectangle 7">
              <a:extLst>
                <a:ext uri="{FF2B5EF4-FFF2-40B4-BE49-F238E27FC236}">
                  <a16:creationId xmlns:a16="http://schemas.microsoft.com/office/drawing/2014/main" id="{925C02B3-8D3F-4733-A231-487D4C535C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47088" y="2249718"/>
              <a:ext cx="686987" cy="153760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17991" tIns="0" rIns="0" bIns="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623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999" b="1" dirty="0">
                  <a:solidFill>
                    <a:srgbClr val="3C464B"/>
                  </a:solidFill>
                  <a:latin typeface="Siemens Sans" panose="02020500000000000000" pitchFamily="18" charset="0"/>
                  <a:ea typeface="+mn-ea"/>
                  <a:sym typeface="Avenir Next Medium"/>
                </a:rPr>
                <a:t>Market Data</a:t>
              </a:r>
            </a:p>
          </p:txBody>
        </p:sp>
        <p:sp>
          <p:nvSpPr>
            <p:cNvPr id="112" name="Freihandform: Form 128">
              <a:extLst>
                <a:ext uri="{FF2B5EF4-FFF2-40B4-BE49-F238E27FC236}">
                  <a16:creationId xmlns:a16="http://schemas.microsoft.com/office/drawing/2014/main" id="{1068D82A-E141-43D0-AB90-0F39524DE6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17710" y="1782581"/>
              <a:ext cx="345748" cy="418122"/>
            </a:xfrm>
            <a:custGeom>
              <a:avLst/>
              <a:gdLst>
                <a:gd name="connsiteX0" fmla="*/ 0 w 3200400"/>
                <a:gd name="connsiteY0" fmla="*/ 2746376 h 3870326"/>
                <a:gd name="connsiteX1" fmla="*/ 1609140 w 3200400"/>
                <a:gd name="connsiteY1" fmla="*/ 3121026 h 3870326"/>
                <a:gd name="connsiteX2" fmla="*/ 3200400 w 3200400"/>
                <a:gd name="connsiteY2" fmla="*/ 2746376 h 3870326"/>
                <a:gd name="connsiteX3" fmla="*/ 3200400 w 3200400"/>
                <a:gd name="connsiteY3" fmla="*/ 3495676 h 3870326"/>
                <a:gd name="connsiteX4" fmla="*/ 1609140 w 3200400"/>
                <a:gd name="connsiteY4" fmla="*/ 3870326 h 3870326"/>
                <a:gd name="connsiteX5" fmla="*/ 0 w 3200400"/>
                <a:gd name="connsiteY5" fmla="*/ 3495676 h 3870326"/>
                <a:gd name="connsiteX6" fmla="*/ 0 w 3200400"/>
                <a:gd name="connsiteY6" fmla="*/ 2746376 h 3870326"/>
                <a:gd name="connsiteX7" fmla="*/ 0 w 3200400"/>
                <a:gd name="connsiteY7" fmla="*/ 1717675 h 3870326"/>
                <a:gd name="connsiteX8" fmla="*/ 1609140 w 3200400"/>
                <a:gd name="connsiteY8" fmla="*/ 2092325 h 3870326"/>
                <a:gd name="connsiteX9" fmla="*/ 3200400 w 3200400"/>
                <a:gd name="connsiteY9" fmla="*/ 1717675 h 3870326"/>
                <a:gd name="connsiteX10" fmla="*/ 3200400 w 3200400"/>
                <a:gd name="connsiteY10" fmla="*/ 2466975 h 3870326"/>
                <a:gd name="connsiteX11" fmla="*/ 1609140 w 3200400"/>
                <a:gd name="connsiteY11" fmla="*/ 2841625 h 3870326"/>
                <a:gd name="connsiteX12" fmla="*/ 0 w 3200400"/>
                <a:gd name="connsiteY12" fmla="*/ 2466975 h 3870326"/>
                <a:gd name="connsiteX13" fmla="*/ 0 w 3200400"/>
                <a:gd name="connsiteY13" fmla="*/ 1717675 h 3870326"/>
                <a:gd name="connsiteX14" fmla="*/ 0 w 3200400"/>
                <a:gd name="connsiteY14" fmla="*/ 688975 h 3870326"/>
                <a:gd name="connsiteX15" fmla="*/ 1609140 w 3200400"/>
                <a:gd name="connsiteY15" fmla="*/ 1063625 h 3870326"/>
                <a:gd name="connsiteX16" fmla="*/ 3200400 w 3200400"/>
                <a:gd name="connsiteY16" fmla="*/ 688975 h 3870326"/>
                <a:gd name="connsiteX17" fmla="*/ 3200400 w 3200400"/>
                <a:gd name="connsiteY17" fmla="*/ 1438275 h 3870326"/>
                <a:gd name="connsiteX18" fmla="*/ 1609140 w 3200400"/>
                <a:gd name="connsiteY18" fmla="*/ 1812925 h 3870326"/>
                <a:gd name="connsiteX19" fmla="*/ 0 w 3200400"/>
                <a:gd name="connsiteY19" fmla="*/ 1438275 h 3870326"/>
                <a:gd name="connsiteX20" fmla="*/ 0 w 3200400"/>
                <a:gd name="connsiteY20" fmla="*/ 688975 h 3870326"/>
                <a:gd name="connsiteX21" fmla="*/ 1600200 w 3200400"/>
                <a:gd name="connsiteY21" fmla="*/ 0 h 3870326"/>
                <a:gd name="connsiteX22" fmla="*/ 3200400 w 3200400"/>
                <a:gd name="connsiteY22" fmla="*/ 392113 h 3870326"/>
                <a:gd name="connsiteX23" fmla="*/ 1600200 w 3200400"/>
                <a:gd name="connsiteY23" fmla="*/ 784226 h 3870326"/>
                <a:gd name="connsiteX24" fmla="*/ 0 w 3200400"/>
                <a:gd name="connsiteY24" fmla="*/ 392113 h 3870326"/>
                <a:gd name="connsiteX25" fmla="*/ 1600200 w 3200400"/>
                <a:gd name="connsiteY25" fmla="*/ 0 h 3870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200400" h="3870326">
                  <a:moveTo>
                    <a:pt x="0" y="2746376"/>
                  </a:moveTo>
                  <a:cubicBezTo>
                    <a:pt x="0" y="2960462"/>
                    <a:pt x="715173" y="3121026"/>
                    <a:pt x="1609140" y="3121026"/>
                  </a:cubicBezTo>
                  <a:cubicBezTo>
                    <a:pt x="2485227" y="3121026"/>
                    <a:pt x="3200400" y="2960462"/>
                    <a:pt x="3200400" y="2746376"/>
                  </a:cubicBezTo>
                  <a:cubicBezTo>
                    <a:pt x="3200400" y="2746376"/>
                    <a:pt x="3200400" y="2746376"/>
                    <a:pt x="3200400" y="3495676"/>
                  </a:cubicBezTo>
                  <a:cubicBezTo>
                    <a:pt x="3200400" y="3691921"/>
                    <a:pt x="2485227" y="3870326"/>
                    <a:pt x="1609140" y="3870326"/>
                  </a:cubicBezTo>
                  <a:cubicBezTo>
                    <a:pt x="715173" y="3870326"/>
                    <a:pt x="0" y="3691921"/>
                    <a:pt x="0" y="3495676"/>
                  </a:cubicBezTo>
                  <a:cubicBezTo>
                    <a:pt x="0" y="3495676"/>
                    <a:pt x="0" y="3495676"/>
                    <a:pt x="0" y="2746376"/>
                  </a:cubicBezTo>
                  <a:close/>
                  <a:moveTo>
                    <a:pt x="0" y="1717675"/>
                  </a:moveTo>
                  <a:cubicBezTo>
                    <a:pt x="0" y="1931761"/>
                    <a:pt x="715173" y="2092325"/>
                    <a:pt x="1609140" y="2092325"/>
                  </a:cubicBezTo>
                  <a:cubicBezTo>
                    <a:pt x="2485227" y="2092325"/>
                    <a:pt x="3200400" y="1931761"/>
                    <a:pt x="3200400" y="1717675"/>
                  </a:cubicBezTo>
                  <a:cubicBezTo>
                    <a:pt x="3200400" y="1717675"/>
                    <a:pt x="3200400" y="1717675"/>
                    <a:pt x="3200400" y="2466975"/>
                  </a:cubicBezTo>
                  <a:cubicBezTo>
                    <a:pt x="3200400" y="2663220"/>
                    <a:pt x="2485227" y="2841625"/>
                    <a:pt x="1609140" y="2841625"/>
                  </a:cubicBezTo>
                  <a:cubicBezTo>
                    <a:pt x="715173" y="2841625"/>
                    <a:pt x="0" y="2663220"/>
                    <a:pt x="0" y="2466975"/>
                  </a:cubicBezTo>
                  <a:cubicBezTo>
                    <a:pt x="0" y="2466975"/>
                    <a:pt x="0" y="2466975"/>
                    <a:pt x="0" y="1717675"/>
                  </a:cubicBezTo>
                  <a:close/>
                  <a:moveTo>
                    <a:pt x="0" y="688975"/>
                  </a:moveTo>
                  <a:cubicBezTo>
                    <a:pt x="0" y="903061"/>
                    <a:pt x="715173" y="1063625"/>
                    <a:pt x="1609140" y="1063625"/>
                  </a:cubicBezTo>
                  <a:cubicBezTo>
                    <a:pt x="2485227" y="1063625"/>
                    <a:pt x="3200400" y="903061"/>
                    <a:pt x="3200400" y="688975"/>
                  </a:cubicBezTo>
                  <a:cubicBezTo>
                    <a:pt x="3200400" y="688975"/>
                    <a:pt x="3200400" y="688975"/>
                    <a:pt x="3200400" y="1438275"/>
                  </a:cubicBezTo>
                  <a:cubicBezTo>
                    <a:pt x="3200400" y="1652361"/>
                    <a:pt x="2485227" y="1812925"/>
                    <a:pt x="1609140" y="1812925"/>
                  </a:cubicBezTo>
                  <a:cubicBezTo>
                    <a:pt x="715173" y="1812925"/>
                    <a:pt x="0" y="1652361"/>
                    <a:pt x="0" y="1438275"/>
                  </a:cubicBezTo>
                  <a:cubicBezTo>
                    <a:pt x="0" y="1438275"/>
                    <a:pt x="0" y="1438275"/>
                    <a:pt x="0" y="688975"/>
                  </a:cubicBezTo>
                  <a:close/>
                  <a:moveTo>
                    <a:pt x="1600200" y="0"/>
                  </a:moveTo>
                  <a:cubicBezTo>
                    <a:pt x="2483966" y="0"/>
                    <a:pt x="3200400" y="175555"/>
                    <a:pt x="3200400" y="392113"/>
                  </a:cubicBezTo>
                  <a:cubicBezTo>
                    <a:pt x="3200400" y="608671"/>
                    <a:pt x="2483966" y="784226"/>
                    <a:pt x="1600200" y="784226"/>
                  </a:cubicBezTo>
                  <a:cubicBezTo>
                    <a:pt x="716434" y="784226"/>
                    <a:pt x="0" y="608671"/>
                    <a:pt x="0" y="392113"/>
                  </a:cubicBezTo>
                  <a:cubicBezTo>
                    <a:pt x="0" y="175555"/>
                    <a:pt x="716434" y="0"/>
                    <a:pt x="1600200" y="0"/>
                  </a:cubicBezTo>
                  <a:close/>
                </a:path>
              </a:pathLst>
            </a:custGeom>
            <a:solidFill>
              <a:srgbClr val="005F87"/>
            </a:solidFill>
            <a:ln>
              <a:noFill/>
            </a:ln>
          </p:spPr>
          <p:txBody>
            <a:bodyPr vert="horz" wrap="square" lIns="45696" tIns="22848" rIns="45696" bIns="22848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913623" fontAlgn="auto">
                <a:spcBef>
                  <a:spcPts val="0"/>
                </a:spcBef>
                <a:spcAft>
                  <a:spcPts val="0"/>
                </a:spcAft>
              </a:pPr>
              <a:endParaRPr lang="de-DE" sz="999">
                <a:solidFill>
                  <a:srgbClr val="ADBECB"/>
                </a:solidFill>
                <a:latin typeface="Arial"/>
                <a:ea typeface="+mn-ea"/>
                <a:sym typeface="Avenir Next Medium"/>
              </a:endParaRPr>
            </a:p>
          </p:txBody>
        </p:sp>
      </p:grpSp>
      <p:grpSp>
        <p:nvGrpSpPr>
          <p:cNvPr id="113" name="Gruppieren 129">
            <a:extLst>
              <a:ext uri="{FF2B5EF4-FFF2-40B4-BE49-F238E27FC236}">
                <a16:creationId xmlns:a16="http://schemas.microsoft.com/office/drawing/2014/main" id="{5413BB2D-0B32-4FC5-8A40-1CAA4B55A515}"/>
              </a:ext>
            </a:extLst>
          </p:cNvPr>
          <p:cNvGrpSpPr/>
          <p:nvPr/>
        </p:nvGrpSpPr>
        <p:grpSpPr>
          <a:xfrm>
            <a:off x="5747531" y="3292623"/>
            <a:ext cx="345388" cy="620574"/>
            <a:chOff x="5939946" y="3246958"/>
            <a:chExt cx="345748" cy="620897"/>
          </a:xfrm>
        </p:grpSpPr>
        <p:sp>
          <p:nvSpPr>
            <p:cNvPr id="114" name="Rectangle 7">
              <a:extLst>
                <a:ext uri="{FF2B5EF4-FFF2-40B4-BE49-F238E27FC236}">
                  <a16:creationId xmlns:a16="http://schemas.microsoft.com/office/drawing/2014/main" id="{A66FE2B4-E71F-440C-98A7-228E8111C6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77825" y="3714095"/>
              <a:ext cx="269989" cy="153760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17991" tIns="0" rIns="0" bIns="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99" b="1" i="0" u="none" strike="noStrike" kern="0" cap="none" spc="0" normalizeH="0" baseline="0" noProof="0" dirty="0">
                  <a:ln>
                    <a:noFill/>
                  </a:ln>
                  <a:solidFill>
                    <a:srgbClr val="3C464B"/>
                  </a:solidFill>
                  <a:effectLst/>
                  <a:uLnTx/>
                  <a:uFillTx/>
                  <a:latin typeface="Siemens Sans" panose="02020500000000000000" pitchFamily="18" charset="0"/>
                  <a:ea typeface="+mn-ea"/>
                  <a:sym typeface="Avenir Next Medium"/>
                </a:rPr>
                <a:t>CRM</a:t>
              </a:r>
            </a:p>
          </p:txBody>
        </p:sp>
        <p:sp>
          <p:nvSpPr>
            <p:cNvPr id="115" name="Freihandform: Form 131">
              <a:extLst>
                <a:ext uri="{FF2B5EF4-FFF2-40B4-BE49-F238E27FC236}">
                  <a16:creationId xmlns:a16="http://schemas.microsoft.com/office/drawing/2014/main" id="{55D4C6FA-F964-4AE9-A1C3-1FBE6C6E54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39946" y="3246958"/>
              <a:ext cx="345748" cy="418122"/>
            </a:xfrm>
            <a:custGeom>
              <a:avLst/>
              <a:gdLst>
                <a:gd name="connsiteX0" fmla="*/ 0 w 3200400"/>
                <a:gd name="connsiteY0" fmla="*/ 2746376 h 3870326"/>
                <a:gd name="connsiteX1" fmla="*/ 1609140 w 3200400"/>
                <a:gd name="connsiteY1" fmla="*/ 3121026 h 3870326"/>
                <a:gd name="connsiteX2" fmla="*/ 3200400 w 3200400"/>
                <a:gd name="connsiteY2" fmla="*/ 2746376 h 3870326"/>
                <a:gd name="connsiteX3" fmla="*/ 3200400 w 3200400"/>
                <a:gd name="connsiteY3" fmla="*/ 3495676 h 3870326"/>
                <a:gd name="connsiteX4" fmla="*/ 1609140 w 3200400"/>
                <a:gd name="connsiteY4" fmla="*/ 3870326 h 3870326"/>
                <a:gd name="connsiteX5" fmla="*/ 0 w 3200400"/>
                <a:gd name="connsiteY5" fmla="*/ 3495676 h 3870326"/>
                <a:gd name="connsiteX6" fmla="*/ 0 w 3200400"/>
                <a:gd name="connsiteY6" fmla="*/ 2746376 h 3870326"/>
                <a:gd name="connsiteX7" fmla="*/ 0 w 3200400"/>
                <a:gd name="connsiteY7" fmla="*/ 1717675 h 3870326"/>
                <a:gd name="connsiteX8" fmla="*/ 1609140 w 3200400"/>
                <a:gd name="connsiteY8" fmla="*/ 2092325 h 3870326"/>
                <a:gd name="connsiteX9" fmla="*/ 3200400 w 3200400"/>
                <a:gd name="connsiteY9" fmla="*/ 1717675 h 3870326"/>
                <a:gd name="connsiteX10" fmla="*/ 3200400 w 3200400"/>
                <a:gd name="connsiteY10" fmla="*/ 2466975 h 3870326"/>
                <a:gd name="connsiteX11" fmla="*/ 1609140 w 3200400"/>
                <a:gd name="connsiteY11" fmla="*/ 2841625 h 3870326"/>
                <a:gd name="connsiteX12" fmla="*/ 0 w 3200400"/>
                <a:gd name="connsiteY12" fmla="*/ 2466975 h 3870326"/>
                <a:gd name="connsiteX13" fmla="*/ 0 w 3200400"/>
                <a:gd name="connsiteY13" fmla="*/ 1717675 h 3870326"/>
                <a:gd name="connsiteX14" fmla="*/ 0 w 3200400"/>
                <a:gd name="connsiteY14" fmla="*/ 688975 h 3870326"/>
                <a:gd name="connsiteX15" fmla="*/ 1609140 w 3200400"/>
                <a:gd name="connsiteY15" fmla="*/ 1063625 h 3870326"/>
                <a:gd name="connsiteX16" fmla="*/ 3200400 w 3200400"/>
                <a:gd name="connsiteY16" fmla="*/ 688975 h 3870326"/>
                <a:gd name="connsiteX17" fmla="*/ 3200400 w 3200400"/>
                <a:gd name="connsiteY17" fmla="*/ 1438275 h 3870326"/>
                <a:gd name="connsiteX18" fmla="*/ 1609140 w 3200400"/>
                <a:gd name="connsiteY18" fmla="*/ 1812925 h 3870326"/>
                <a:gd name="connsiteX19" fmla="*/ 0 w 3200400"/>
                <a:gd name="connsiteY19" fmla="*/ 1438275 h 3870326"/>
                <a:gd name="connsiteX20" fmla="*/ 0 w 3200400"/>
                <a:gd name="connsiteY20" fmla="*/ 688975 h 3870326"/>
                <a:gd name="connsiteX21" fmla="*/ 1600200 w 3200400"/>
                <a:gd name="connsiteY21" fmla="*/ 0 h 3870326"/>
                <a:gd name="connsiteX22" fmla="*/ 3200400 w 3200400"/>
                <a:gd name="connsiteY22" fmla="*/ 392113 h 3870326"/>
                <a:gd name="connsiteX23" fmla="*/ 1600200 w 3200400"/>
                <a:gd name="connsiteY23" fmla="*/ 784226 h 3870326"/>
                <a:gd name="connsiteX24" fmla="*/ 0 w 3200400"/>
                <a:gd name="connsiteY24" fmla="*/ 392113 h 3870326"/>
                <a:gd name="connsiteX25" fmla="*/ 1600200 w 3200400"/>
                <a:gd name="connsiteY25" fmla="*/ 0 h 3870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200400" h="3870326">
                  <a:moveTo>
                    <a:pt x="0" y="2746376"/>
                  </a:moveTo>
                  <a:cubicBezTo>
                    <a:pt x="0" y="2960462"/>
                    <a:pt x="715173" y="3121026"/>
                    <a:pt x="1609140" y="3121026"/>
                  </a:cubicBezTo>
                  <a:cubicBezTo>
                    <a:pt x="2485227" y="3121026"/>
                    <a:pt x="3200400" y="2960462"/>
                    <a:pt x="3200400" y="2746376"/>
                  </a:cubicBezTo>
                  <a:cubicBezTo>
                    <a:pt x="3200400" y="2746376"/>
                    <a:pt x="3200400" y="2746376"/>
                    <a:pt x="3200400" y="3495676"/>
                  </a:cubicBezTo>
                  <a:cubicBezTo>
                    <a:pt x="3200400" y="3691921"/>
                    <a:pt x="2485227" y="3870326"/>
                    <a:pt x="1609140" y="3870326"/>
                  </a:cubicBezTo>
                  <a:cubicBezTo>
                    <a:pt x="715173" y="3870326"/>
                    <a:pt x="0" y="3691921"/>
                    <a:pt x="0" y="3495676"/>
                  </a:cubicBezTo>
                  <a:cubicBezTo>
                    <a:pt x="0" y="3495676"/>
                    <a:pt x="0" y="3495676"/>
                    <a:pt x="0" y="2746376"/>
                  </a:cubicBezTo>
                  <a:close/>
                  <a:moveTo>
                    <a:pt x="0" y="1717675"/>
                  </a:moveTo>
                  <a:cubicBezTo>
                    <a:pt x="0" y="1931761"/>
                    <a:pt x="715173" y="2092325"/>
                    <a:pt x="1609140" y="2092325"/>
                  </a:cubicBezTo>
                  <a:cubicBezTo>
                    <a:pt x="2485227" y="2092325"/>
                    <a:pt x="3200400" y="1931761"/>
                    <a:pt x="3200400" y="1717675"/>
                  </a:cubicBezTo>
                  <a:cubicBezTo>
                    <a:pt x="3200400" y="1717675"/>
                    <a:pt x="3200400" y="1717675"/>
                    <a:pt x="3200400" y="2466975"/>
                  </a:cubicBezTo>
                  <a:cubicBezTo>
                    <a:pt x="3200400" y="2663220"/>
                    <a:pt x="2485227" y="2841625"/>
                    <a:pt x="1609140" y="2841625"/>
                  </a:cubicBezTo>
                  <a:cubicBezTo>
                    <a:pt x="715173" y="2841625"/>
                    <a:pt x="0" y="2663220"/>
                    <a:pt x="0" y="2466975"/>
                  </a:cubicBezTo>
                  <a:cubicBezTo>
                    <a:pt x="0" y="2466975"/>
                    <a:pt x="0" y="2466975"/>
                    <a:pt x="0" y="1717675"/>
                  </a:cubicBezTo>
                  <a:close/>
                  <a:moveTo>
                    <a:pt x="0" y="688975"/>
                  </a:moveTo>
                  <a:cubicBezTo>
                    <a:pt x="0" y="903061"/>
                    <a:pt x="715173" y="1063625"/>
                    <a:pt x="1609140" y="1063625"/>
                  </a:cubicBezTo>
                  <a:cubicBezTo>
                    <a:pt x="2485227" y="1063625"/>
                    <a:pt x="3200400" y="903061"/>
                    <a:pt x="3200400" y="688975"/>
                  </a:cubicBezTo>
                  <a:cubicBezTo>
                    <a:pt x="3200400" y="688975"/>
                    <a:pt x="3200400" y="688975"/>
                    <a:pt x="3200400" y="1438275"/>
                  </a:cubicBezTo>
                  <a:cubicBezTo>
                    <a:pt x="3200400" y="1652361"/>
                    <a:pt x="2485227" y="1812925"/>
                    <a:pt x="1609140" y="1812925"/>
                  </a:cubicBezTo>
                  <a:cubicBezTo>
                    <a:pt x="715173" y="1812925"/>
                    <a:pt x="0" y="1652361"/>
                    <a:pt x="0" y="1438275"/>
                  </a:cubicBezTo>
                  <a:cubicBezTo>
                    <a:pt x="0" y="1438275"/>
                    <a:pt x="0" y="1438275"/>
                    <a:pt x="0" y="688975"/>
                  </a:cubicBezTo>
                  <a:close/>
                  <a:moveTo>
                    <a:pt x="1600200" y="0"/>
                  </a:moveTo>
                  <a:cubicBezTo>
                    <a:pt x="2483966" y="0"/>
                    <a:pt x="3200400" y="175555"/>
                    <a:pt x="3200400" y="392113"/>
                  </a:cubicBezTo>
                  <a:cubicBezTo>
                    <a:pt x="3200400" y="608671"/>
                    <a:pt x="2483966" y="784226"/>
                    <a:pt x="1600200" y="784226"/>
                  </a:cubicBezTo>
                  <a:cubicBezTo>
                    <a:pt x="716434" y="784226"/>
                    <a:pt x="0" y="608671"/>
                    <a:pt x="0" y="392113"/>
                  </a:cubicBezTo>
                  <a:cubicBezTo>
                    <a:pt x="0" y="175555"/>
                    <a:pt x="716434" y="0"/>
                    <a:pt x="160020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45696" tIns="22848" rIns="45696" bIns="22848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999" b="0" i="0" u="none" strike="noStrike" kern="0" cap="none" spc="0" normalizeH="0" baseline="0" noProof="0">
                <a:ln>
                  <a:noFill/>
                </a:ln>
                <a:solidFill>
                  <a:srgbClr val="ADBECB"/>
                </a:solidFill>
                <a:effectLst/>
                <a:uLnTx/>
                <a:uFillTx/>
                <a:latin typeface="Arial"/>
                <a:ea typeface="+mn-ea"/>
                <a:sym typeface="Avenir Next Medium"/>
              </a:endParaRPr>
            </a:p>
          </p:txBody>
        </p:sp>
      </p:grpSp>
      <p:grpSp>
        <p:nvGrpSpPr>
          <p:cNvPr id="116" name="Gruppieren 132">
            <a:extLst>
              <a:ext uri="{FF2B5EF4-FFF2-40B4-BE49-F238E27FC236}">
                <a16:creationId xmlns:a16="http://schemas.microsoft.com/office/drawing/2014/main" id="{08D9B3C8-BBA3-4B89-AD3F-174EEF2C01C7}"/>
              </a:ext>
            </a:extLst>
          </p:cNvPr>
          <p:cNvGrpSpPr/>
          <p:nvPr/>
        </p:nvGrpSpPr>
        <p:grpSpPr>
          <a:xfrm>
            <a:off x="6294714" y="3853594"/>
            <a:ext cx="516440" cy="784625"/>
            <a:chOff x="6436385" y="3880632"/>
            <a:chExt cx="516978" cy="785034"/>
          </a:xfrm>
        </p:grpSpPr>
        <p:sp>
          <p:nvSpPr>
            <p:cNvPr id="117" name="Rectangle 7">
              <a:extLst>
                <a:ext uri="{FF2B5EF4-FFF2-40B4-BE49-F238E27FC236}">
                  <a16:creationId xmlns:a16="http://schemas.microsoft.com/office/drawing/2014/main" id="{1A6B89B5-E3EC-4D98-A3D1-458D3CE6C6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36385" y="4358146"/>
              <a:ext cx="516978" cy="307520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17991" tIns="0" rIns="0" bIns="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623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999" b="1" dirty="0">
                  <a:solidFill>
                    <a:srgbClr val="3C464B"/>
                  </a:solidFill>
                  <a:latin typeface="Siemens Sans" panose="02020500000000000000" pitchFamily="18" charset="0"/>
                  <a:ea typeface="+mn-ea"/>
                  <a:sym typeface="Avenir Next Medium"/>
                </a:rPr>
                <a:t>MS-SQL /</a:t>
              </a:r>
              <a:br>
                <a:rPr lang="de-DE" sz="999" b="1" dirty="0">
                  <a:solidFill>
                    <a:srgbClr val="3C464B"/>
                  </a:solidFill>
                  <a:latin typeface="Siemens Sans" panose="02020500000000000000" pitchFamily="18" charset="0"/>
                  <a:ea typeface="+mn-ea"/>
                  <a:sym typeface="Avenir Next Medium"/>
                </a:rPr>
              </a:br>
              <a:r>
                <a:rPr lang="de-DE" sz="999" b="1" dirty="0">
                  <a:solidFill>
                    <a:srgbClr val="3C464B"/>
                  </a:solidFill>
                  <a:latin typeface="Siemens Sans" panose="02020500000000000000" pitchFamily="18" charset="0"/>
                  <a:ea typeface="+mn-ea"/>
                  <a:sym typeface="Avenir Next Medium"/>
                </a:rPr>
                <a:t>Oracle</a:t>
              </a:r>
            </a:p>
          </p:txBody>
        </p:sp>
        <p:sp>
          <p:nvSpPr>
            <p:cNvPr id="118" name="Freihandform: Form 134">
              <a:extLst>
                <a:ext uri="{FF2B5EF4-FFF2-40B4-BE49-F238E27FC236}">
                  <a16:creationId xmlns:a16="http://schemas.microsoft.com/office/drawing/2014/main" id="{5D234609-3B55-464B-B717-67D38018CF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22002" y="3880632"/>
              <a:ext cx="345748" cy="418122"/>
            </a:xfrm>
            <a:custGeom>
              <a:avLst/>
              <a:gdLst>
                <a:gd name="connsiteX0" fmla="*/ 0 w 3200400"/>
                <a:gd name="connsiteY0" fmla="*/ 2746376 h 3870326"/>
                <a:gd name="connsiteX1" fmla="*/ 1609140 w 3200400"/>
                <a:gd name="connsiteY1" fmla="*/ 3121026 h 3870326"/>
                <a:gd name="connsiteX2" fmla="*/ 3200400 w 3200400"/>
                <a:gd name="connsiteY2" fmla="*/ 2746376 h 3870326"/>
                <a:gd name="connsiteX3" fmla="*/ 3200400 w 3200400"/>
                <a:gd name="connsiteY3" fmla="*/ 3495676 h 3870326"/>
                <a:gd name="connsiteX4" fmla="*/ 1609140 w 3200400"/>
                <a:gd name="connsiteY4" fmla="*/ 3870326 h 3870326"/>
                <a:gd name="connsiteX5" fmla="*/ 0 w 3200400"/>
                <a:gd name="connsiteY5" fmla="*/ 3495676 h 3870326"/>
                <a:gd name="connsiteX6" fmla="*/ 0 w 3200400"/>
                <a:gd name="connsiteY6" fmla="*/ 2746376 h 3870326"/>
                <a:gd name="connsiteX7" fmla="*/ 0 w 3200400"/>
                <a:gd name="connsiteY7" fmla="*/ 1717675 h 3870326"/>
                <a:gd name="connsiteX8" fmla="*/ 1609140 w 3200400"/>
                <a:gd name="connsiteY8" fmla="*/ 2092325 h 3870326"/>
                <a:gd name="connsiteX9" fmla="*/ 3200400 w 3200400"/>
                <a:gd name="connsiteY9" fmla="*/ 1717675 h 3870326"/>
                <a:gd name="connsiteX10" fmla="*/ 3200400 w 3200400"/>
                <a:gd name="connsiteY10" fmla="*/ 2466975 h 3870326"/>
                <a:gd name="connsiteX11" fmla="*/ 1609140 w 3200400"/>
                <a:gd name="connsiteY11" fmla="*/ 2841625 h 3870326"/>
                <a:gd name="connsiteX12" fmla="*/ 0 w 3200400"/>
                <a:gd name="connsiteY12" fmla="*/ 2466975 h 3870326"/>
                <a:gd name="connsiteX13" fmla="*/ 0 w 3200400"/>
                <a:gd name="connsiteY13" fmla="*/ 1717675 h 3870326"/>
                <a:gd name="connsiteX14" fmla="*/ 0 w 3200400"/>
                <a:gd name="connsiteY14" fmla="*/ 688975 h 3870326"/>
                <a:gd name="connsiteX15" fmla="*/ 1609140 w 3200400"/>
                <a:gd name="connsiteY15" fmla="*/ 1063625 h 3870326"/>
                <a:gd name="connsiteX16" fmla="*/ 3200400 w 3200400"/>
                <a:gd name="connsiteY16" fmla="*/ 688975 h 3870326"/>
                <a:gd name="connsiteX17" fmla="*/ 3200400 w 3200400"/>
                <a:gd name="connsiteY17" fmla="*/ 1438275 h 3870326"/>
                <a:gd name="connsiteX18" fmla="*/ 1609140 w 3200400"/>
                <a:gd name="connsiteY18" fmla="*/ 1812925 h 3870326"/>
                <a:gd name="connsiteX19" fmla="*/ 0 w 3200400"/>
                <a:gd name="connsiteY19" fmla="*/ 1438275 h 3870326"/>
                <a:gd name="connsiteX20" fmla="*/ 0 w 3200400"/>
                <a:gd name="connsiteY20" fmla="*/ 688975 h 3870326"/>
                <a:gd name="connsiteX21" fmla="*/ 1600200 w 3200400"/>
                <a:gd name="connsiteY21" fmla="*/ 0 h 3870326"/>
                <a:gd name="connsiteX22" fmla="*/ 3200400 w 3200400"/>
                <a:gd name="connsiteY22" fmla="*/ 392113 h 3870326"/>
                <a:gd name="connsiteX23" fmla="*/ 1600200 w 3200400"/>
                <a:gd name="connsiteY23" fmla="*/ 784226 h 3870326"/>
                <a:gd name="connsiteX24" fmla="*/ 0 w 3200400"/>
                <a:gd name="connsiteY24" fmla="*/ 392113 h 3870326"/>
                <a:gd name="connsiteX25" fmla="*/ 1600200 w 3200400"/>
                <a:gd name="connsiteY25" fmla="*/ 0 h 3870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200400" h="3870326">
                  <a:moveTo>
                    <a:pt x="0" y="2746376"/>
                  </a:moveTo>
                  <a:cubicBezTo>
                    <a:pt x="0" y="2960462"/>
                    <a:pt x="715173" y="3121026"/>
                    <a:pt x="1609140" y="3121026"/>
                  </a:cubicBezTo>
                  <a:cubicBezTo>
                    <a:pt x="2485227" y="3121026"/>
                    <a:pt x="3200400" y="2960462"/>
                    <a:pt x="3200400" y="2746376"/>
                  </a:cubicBezTo>
                  <a:cubicBezTo>
                    <a:pt x="3200400" y="2746376"/>
                    <a:pt x="3200400" y="2746376"/>
                    <a:pt x="3200400" y="3495676"/>
                  </a:cubicBezTo>
                  <a:cubicBezTo>
                    <a:pt x="3200400" y="3691921"/>
                    <a:pt x="2485227" y="3870326"/>
                    <a:pt x="1609140" y="3870326"/>
                  </a:cubicBezTo>
                  <a:cubicBezTo>
                    <a:pt x="715173" y="3870326"/>
                    <a:pt x="0" y="3691921"/>
                    <a:pt x="0" y="3495676"/>
                  </a:cubicBezTo>
                  <a:cubicBezTo>
                    <a:pt x="0" y="3495676"/>
                    <a:pt x="0" y="3495676"/>
                    <a:pt x="0" y="2746376"/>
                  </a:cubicBezTo>
                  <a:close/>
                  <a:moveTo>
                    <a:pt x="0" y="1717675"/>
                  </a:moveTo>
                  <a:cubicBezTo>
                    <a:pt x="0" y="1931761"/>
                    <a:pt x="715173" y="2092325"/>
                    <a:pt x="1609140" y="2092325"/>
                  </a:cubicBezTo>
                  <a:cubicBezTo>
                    <a:pt x="2485227" y="2092325"/>
                    <a:pt x="3200400" y="1931761"/>
                    <a:pt x="3200400" y="1717675"/>
                  </a:cubicBezTo>
                  <a:cubicBezTo>
                    <a:pt x="3200400" y="1717675"/>
                    <a:pt x="3200400" y="1717675"/>
                    <a:pt x="3200400" y="2466975"/>
                  </a:cubicBezTo>
                  <a:cubicBezTo>
                    <a:pt x="3200400" y="2663220"/>
                    <a:pt x="2485227" y="2841625"/>
                    <a:pt x="1609140" y="2841625"/>
                  </a:cubicBezTo>
                  <a:cubicBezTo>
                    <a:pt x="715173" y="2841625"/>
                    <a:pt x="0" y="2663220"/>
                    <a:pt x="0" y="2466975"/>
                  </a:cubicBezTo>
                  <a:cubicBezTo>
                    <a:pt x="0" y="2466975"/>
                    <a:pt x="0" y="2466975"/>
                    <a:pt x="0" y="1717675"/>
                  </a:cubicBezTo>
                  <a:close/>
                  <a:moveTo>
                    <a:pt x="0" y="688975"/>
                  </a:moveTo>
                  <a:cubicBezTo>
                    <a:pt x="0" y="903061"/>
                    <a:pt x="715173" y="1063625"/>
                    <a:pt x="1609140" y="1063625"/>
                  </a:cubicBezTo>
                  <a:cubicBezTo>
                    <a:pt x="2485227" y="1063625"/>
                    <a:pt x="3200400" y="903061"/>
                    <a:pt x="3200400" y="688975"/>
                  </a:cubicBezTo>
                  <a:cubicBezTo>
                    <a:pt x="3200400" y="688975"/>
                    <a:pt x="3200400" y="688975"/>
                    <a:pt x="3200400" y="1438275"/>
                  </a:cubicBezTo>
                  <a:cubicBezTo>
                    <a:pt x="3200400" y="1652361"/>
                    <a:pt x="2485227" y="1812925"/>
                    <a:pt x="1609140" y="1812925"/>
                  </a:cubicBezTo>
                  <a:cubicBezTo>
                    <a:pt x="715173" y="1812925"/>
                    <a:pt x="0" y="1652361"/>
                    <a:pt x="0" y="1438275"/>
                  </a:cubicBezTo>
                  <a:cubicBezTo>
                    <a:pt x="0" y="1438275"/>
                    <a:pt x="0" y="1438275"/>
                    <a:pt x="0" y="688975"/>
                  </a:cubicBezTo>
                  <a:close/>
                  <a:moveTo>
                    <a:pt x="1600200" y="0"/>
                  </a:moveTo>
                  <a:cubicBezTo>
                    <a:pt x="2483966" y="0"/>
                    <a:pt x="3200400" y="175555"/>
                    <a:pt x="3200400" y="392113"/>
                  </a:cubicBezTo>
                  <a:cubicBezTo>
                    <a:pt x="3200400" y="608671"/>
                    <a:pt x="2483966" y="784226"/>
                    <a:pt x="1600200" y="784226"/>
                  </a:cubicBezTo>
                  <a:cubicBezTo>
                    <a:pt x="716434" y="784226"/>
                    <a:pt x="0" y="608671"/>
                    <a:pt x="0" y="392113"/>
                  </a:cubicBezTo>
                  <a:cubicBezTo>
                    <a:pt x="0" y="175555"/>
                    <a:pt x="716434" y="0"/>
                    <a:pt x="1600200" y="0"/>
                  </a:cubicBezTo>
                  <a:close/>
                </a:path>
              </a:pathLst>
            </a:custGeom>
            <a:solidFill>
              <a:srgbClr val="50BED7"/>
            </a:solidFill>
            <a:ln>
              <a:noFill/>
            </a:ln>
          </p:spPr>
          <p:txBody>
            <a:bodyPr vert="horz" wrap="square" lIns="45696" tIns="22848" rIns="45696" bIns="22848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913623" fontAlgn="auto">
                <a:spcBef>
                  <a:spcPts val="0"/>
                </a:spcBef>
                <a:spcAft>
                  <a:spcPts val="0"/>
                </a:spcAft>
              </a:pPr>
              <a:endParaRPr lang="de-DE" sz="999">
                <a:solidFill>
                  <a:srgbClr val="ADBECB"/>
                </a:solidFill>
                <a:latin typeface="Arial"/>
                <a:ea typeface="+mn-ea"/>
                <a:sym typeface="Avenir Next Medium"/>
              </a:endParaRPr>
            </a:p>
          </p:txBody>
        </p:sp>
      </p:grpSp>
      <p:grpSp>
        <p:nvGrpSpPr>
          <p:cNvPr id="119" name="Gruppieren 135">
            <a:extLst>
              <a:ext uri="{FF2B5EF4-FFF2-40B4-BE49-F238E27FC236}">
                <a16:creationId xmlns:a16="http://schemas.microsoft.com/office/drawing/2014/main" id="{11D8ED3B-2C2B-49A3-BE72-E77ECF1C6EFB}"/>
              </a:ext>
            </a:extLst>
          </p:cNvPr>
          <p:cNvGrpSpPr/>
          <p:nvPr/>
        </p:nvGrpSpPr>
        <p:grpSpPr>
          <a:xfrm>
            <a:off x="5987442" y="4793804"/>
            <a:ext cx="345388" cy="620574"/>
            <a:chOff x="5939946" y="4564402"/>
            <a:chExt cx="345748" cy="620897"/>
          </a:xfrm>
        </p:grpSpPr>
        <p:sp>
          <p:nvSpPr>
            <p:cNvPr id="120" name="Rectangle 7">
              <a:extLst>
                <a:ext uri="{FF2B5EF4-FFF2-40B4-BE49-F238E27FC236}">
                  <a16:creationId xmlns:a16="http://schemas.microsoft.com/office/drawing/2014/main" id="{F805DFEB-A8A6-430A-91E3-BE4CC01B9D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85845" y="5031539"/>
              <a:ext cx="253950" cy="153760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17991" tIns="0" rIns="0" bIns="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99" b="1" i="0" u="none" strike="noStrike" kern="0" cap="none" spc="0" normalizeH="0" baseline="0" noProof="0" dirty="0">
                  <a:ln>
                    <a:noFill/>
                  </a:ln>
                  <a:solidFill>
                    <a:srgbClr val="3C464B"/>
                  </a:solidFill>
                  <a:effectLst/>
                  <a:uLnTx/>
                  <a:uFillTx/>
                  <a:latin typeface="Siemens Sans" panose="02020500000000000000" pitchFamily="18" charset="0"/>
                  <a:ea typeface="+mn-ea"/>
                  <a:sym typeface="Avenir Next Medium"/>
                </a:rPr>
                <a:t>PLM</a:t>
              </a:r>
            </a:p>
          </p:txBody>
        </p:sp>
        <p:sp>
          <p:nvSpPr>
            <p:cNvPr id="121" name="Freihandform: Form 137">
              <a:extLst>
                <a:ext uri="{FF2B5EF4-FFF2-40B4-BE49-F238E27FC236}">
                  <a16:creationId xmlns:a16="http://schemas.microsoft.com/office/drawing/2014/main" id="{88DD071D-5A8E-47ED-BE19-36D175A8AB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39946" y="4564402"/>
              <a:ext cx="345748" cy="418122"/>
            </a:xfrm>
            <a:custGeom>
              <a:avLst/>
              <a:gdLst>
                <a:gd name="connsiteX0" fmla="*/ 0 w 3200400"/>
                <a:gd name="connsiteY0" fmla="*/ 2746376 h 3870326"/>
                <a:gd name="connsiteX1" fmla="*/ 1609140 w 3200400"/>
                <a:gd name="connsiteY1" fmla="*/ 3121026 h 3870326"/>
                <a:gd name="connsiteX2" fmla="*/ 3200400 w 3200400"/>
                <a:gd name="connsiteY2" fmla="*/ 2746376 h 3870326"/>
                <a:gd name="connsiteX3" fmla="*/ 3200400 w 3200400"/>
                <a:gd name="connsiteY3" fmla="*/ 3495676 h 3870326"/>
                <a:gd name="connsiteX4" fmla="*/ 1609140 w 3200400"/>
                <a:gd name="connsiteY4" fmla="*/ 3870326 h 3870326"/>
                <a:gd name="connsiteX5" fmla="*/ 0 w 3200400"/>
                <a:gd name="connsiteY5" fmla="*/ 3495676 h 3870326"/>
                <a:gd name="connsiteX6" fmla="*/ 0 w 3200400"/>
                <a:gd name="connsiteY6" fmla="*/ 2746376 h 3870326"/>
                <a:gd name="connsiteX7" fmla="*/ 0 w 3200400"/>
                <a:gd name="connsiteY7" fmla="*/ 1717675 h 3870326"/>
                <a:gd name="connsiteX8" fmla="*/ 1609140 w 3200400"/>
                <a:gd name="connsiteY8" fmla="*/ 2092325 h 3870326"/>
                <a:gd name="connsiteX9" fmla="*/ 3200400 w 3200400"/>
                <a:gd name="connsiteY9" fmla="*/ 1717675 h 3870326"/>
                <a:gd name="connsiteX10" fmla="*/ 3200400 w 3200400"/>
                <a:gd name="connsiteY10" fmla="*/ 2466975 h 3870326"/>
                <a:gd name="connsiteX11" fmla="*/ 1609140 w 3200400"/>
                <a:gd name="connsiteY11" fmla="*/ 2841625 h 3870326"/>
                <a:gd name="connsiteX12" fmla="*/ 0 w 3200400"/>
                <a:gd name="connsiteY12" fmla="*/ 2466975 h 3870326"/>
                <a:gd name="connsiteX13" fmla="*/ 0 w 3200400"/>
                <a:gd name="connsiteY13" fmla="*/ 1717675 h 3870326"/>
                <a:gd name="connsiteX14" fmla="*/ 0 w 3200400"/>
                <a:gd name="connsiteY14" fmla="*/ 688975 h 3870326"/>
                <a:gd name="connsiteX15" fmla="*/ 1609140 w 3200400"/>
                <a:gd name="connsiteY15" fmla="*/ 1063625 h 3870326"/>
                <a:gd name="connsiteX16" fmla="*/ 3200400 w 3200400"/>
                <a:gd name="connsiteY16" fmla="*/ 688975 h 3870326"/>
                <a:gd name="connsiteX17" fmla="*/ 3200400 w 3200400"/>
                <a:gd name="connsiteY17" fmla="*/ 1438275 h 3870326"/>
                <a:gd name="connsiteX18" fmla="*/ 1609140 w 3200400"/>
                <a:gd name="connsiteY18" fmla="*/ 1812925 h 3870326"/>
                <a:gd name="connsiteX19" fmla="*/ 0 w 3200400"/>
                <a:gd name="connsiteY19" fmla="*/ 1438275 h 3870326"/>
                <a:gd name="connsiteX20" fmla="*/ 0 w 3200400"/>
                <a:gd name="connsiteY20" fmla="*/ 688975 h 3870326"/>
                <a:gd name="connsiteX21" fmla="*/ 1600200 w 3200400"/>
                <a:gd name="connsiteY21" fmla="*/ 0 h 3870326"/>
                <a:gd name="connsiteX22" fmla="*/ 3200400 w 3200400"/>
                <a:gd name="connsiteY22" fmla="*/ 392113 h 3870326"/>
                <a:gd name="connsiteX23" fmla="*/ 1600200 w 3200400"/>
                <a:gd name="connsiteY23" fmla="*/ 784226 h 3870326"/>
                <a:gd name="connsiteX24" fmla="*/ 0 w 3200400"/>
                <a:gd name="connsiteY24" fmla="*/ 392113 h 3870326"/>
                <a:gd name="connsiteX25" fmla="*/ 1600200 w 3200400"/>
                <a:gd name="connsiteY25" fmla="*/ 0 h 3870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200400" h="3870326">
                  <a:moveTo>
                    <a:pt x="0" y="2746376"/>
                  </a:moveTo>
                  <a:cubicBezTo>
                    <a:pt x="0" y="2960462"/>
                    <a:pt x="715173" y="3121026"/>
                    <a:pt x="1609140" y="3121026"/>
                  </a:cubicBezTo>
                  <a:cubicBezTo>
                    <a:pt x="2485227" y="3121026"/>
                    <a:pt x="3200400" y="2960462"/>
                    <a:pt x="3200400" y="2746376"/>
                  </a:cubicBezTo>
                  <a:cubicBezTo>
                    <a:pt x="3200400" y="2746376"/>
                    <a:pt x="3200400" y="2746376"/>
                    <a:pt x="3200400" y="3495676"/>
                  </a:cubicBezTo>
                  <a:cubicBezTo>
                    <a:pt x="3200400" y="3691921"/>
                    <a:pt x="2485227" y="3870326"/>
                    <a:pt x="1609140" y="3870326"/>
                  </a:cubicBezTo>
                  <a:cubicBezTo>
                    <a:pt x="715173" y="3870326"/>
                    <a:pt x="0" y="3691921"/>
                    <a:pt x="0" y="3495676"/>
                  </a:cubicBezTo>
                  <a:cubicBezTo>
                    <a:pt x="0" y="3495676"/>
                    <a:pt x="0" y="3495676"/>
                    <a:pt x="0" y="2746376"/>
                  </a:cubicBezTo>
                  <a:close/>
                  <a:moveTo>
                    <a:pt x="0" y="1717675"/>
                  </a:moveTo>
                  <a:cubicBezTo>
                    <a:pt x="0" y="1931761"/>
                    <a:pt x="715173" y="2092325"/>
                    <a:pt x="1609140" y="2092325"/>
                  </a:cubicBezTo>
                  <a:cubicBezTo>
                    <a:pt x="2485227" y="2092325"/>
                    <a:pt x="3200400" y="1931761"/>
                    <a:pt x="3200400" y="1717675"/>
                  </a:cubicBezTo>
                  <a:cubicBezTo>
                    <a:pt x="3200400" y="1717675"/>
                    <a:pt x="3200400" y="1717675"/>
                    <a:pt x="3200400" y="2466975"/>
                  </a:cubicBezTo>
                  <a:cubicBezTo>
                    <a:pt x="3200400" y="2663220"/>
                    <a:pt x="2485227" y="2841625"/>
                    <a:pt x="1609140" y="2841625"/>
                  </a:cubicBezTo>
                  <a:cubicBezTo>
                    <a:pt x="715173" y="2841625"/>
                    <a:pt x="0" y="2663220"/>
                    <a:pt x="0" y="2466975"/>
                  </a:cubicBezTo>
                  <a:cubicBezTo>
                    <a:pt x="0" y="2466975"/>
                    <a:pt x="0" y="2466975"/>
                    <a:pt x="0" y="1717675"/>
                  </a:cubicBezTo>
                  <a:close/>
                  <a:moveTo>
                    <a:pt x="0" y="688975"/>
                  </a:moveTo>
                  <a:cubicBezTo>
                    <a:pt x="0" y="903061"/>
                    <a:pt x="715173" y="1063625"/>
                    <a:pt x="1609140" y="1063625"/>
                  </a:cubicBezTo>
                  <a:cubicBezTo>
                    <a:pt x="2485227" y="1063625"/>
                    <a:pt x="3200400" y="903061"/>
                    <a:pt x="3200400" y="688975"/>
                  </a:cubicBezTo>
                  <a:cubicBezTo>
                    <a:pt x="3200400" y="688975"/>
                    <a:pt x="3200400" y="688975"/>
                    <a:pt x="3200400" y="1438275"/>
                  </a:cubicBezTo>
                  <a:cubicBezTo>
                    <a:pt x="3200400" y="1652361"/>
                    <a:pt x="2485227" y="1812925"/>
                    <a:pt x="1609140" y="1812925"/>
                  </a:cubicBezTo>
                  <a:cubicBezTo>
                    <a:pt x="715173" y="1812925"/>
                    <a:pt x="0" y="1652361"/>
                    <a:pt x="0" y="1438275"/>
                  </a:cubicBezTo>
                  <a:cubicBezTo>
                    <a:pt x="0" y="1438275"/>
                    <a:pt x="0" y="1438275"/>
                    <a:pt x="0" y="688975"/>
                  </a:cubicBezTo>
                  <a:close/>
                  <a:moveTo>
                    <a:pt x="1600200" y="0"/>
                  </a:moveTo>
                  <a:cubicBezTo>
                    <a:pt x="2483966" y="0"/>
                    <a:pt x="3200400" y="175555"/>
                    <a:pt x="3200400" y="392113"/>
                  </a:cubicBezTo>
                  <a:cubicBezTo>
                    <a:pt x="3200400" y="608671"/>
                    <a:pt x="2483966" y="784226"/>
                    <a:pt x="1600200" y="784226"/>
                  </a:cubicBezTo>
                  <a:cubicBezTo>
                    <a:pt x="716434" y="784226"/>
                    <a:pt x="0" y="608671"/>
                    <a:pt x="0" y="392113"/>
                  </a:cubicBezTo>
                  <a:cubicBezTo>
                    <a:pt x="0" y="175555"/>
                    <a:pt x="716434" y="0"/>
                    <a:pt x="1600200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45696" tIns="22848" rIns="45696" bIns="22848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999" b="0" i="0" u="none" strike="noStrike" kern="0" cap="none" spc="0" normalizeH="0" baseline="0" noProof="0">
                <a:ln>
                  <a:noFill/>
                </a:ln>
                <a:solidFill>
                  <a:srgbClr val="ADBECB"/>
                </a:solidFill>
                <a:effectLst/>
                <a:uLnTx/>
                <a:uFillTx/>
                <a:latin typeface="Arial"/>
                <a:ea typeface="+mn-ea"/>
                <a:sym typeface="Avenir Next Medium"/>
              </a:endParaRPr>
            </a:p>
          </p:txBody>
        </p:sp>
      </p:grpSp>
      <p:grpSp>
        <p:nvGrpSpPr>
          <p:cNvPr id="122" name="Gruppieren 138">
            <a:extLst>
              <a:ext uri="{FF2B5EF4-FFF2-40B4-BE49-F238E27FC236}">
                <a16:creationId xmlns:a16="http://schemas.microsoft.com/office/drawing/2014/main" id="{50C6D70D-2675-4709-ABA5-375F30325484}"/>
              </a:ext>
            </a:extLst>
          </p:cNvPr>
          <p:cNvGrpSpPr/>
          <p:nvPr/>
        </p:nvGrpSpPr>
        <p:grpSpPr>
          <a:xfrm>
            <a:off x="5127931" y="4076552"/>
            <a:ext cx="809638" cy="628393"/>
            <a:chOff x="6289633" y="5128112"/>
            <a:chExt cx="810481" cy="628720"/>
          </a:xfrm>
        </p:grpSpPr>
        <p:sp>
          <p:nvSpPr>
            <p:cNvPr id="123" name="Rectangle 7">
              <a:extLst>
                <a:ext uri="{FF2B5EF4-FFF2-40B4-BE49-F238E27FC236}">
                  <a16:creationId xmlns:a16="http://schemas.microsoft.com/office/drawing/2014/main" id="{D154C3E0-4A62-4944-BBB8-8D5A09A2B3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89633" y="5603072"/>
              <a:ext cx="810481" cy="153760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17991" tIns="0" rIns="0" bIns="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623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999" b="1" dirty="0">
                  <a:solidFill>
                    <a:srgbClr val="3C464B"/>
                  </a:solidFill>
                  <a:latin typeface="Siemens Sans" panose="02020500000000000000" pitchFamily="18" charset="0"/>
                  <a:ea typeface="+mn-ea"/>
                  <a:sym typeface="Avenir Next Medium"/>
                </a:rPr>
                <a:t>Project System</a:t>
              </a:r>
            </a:p>
          </p:txBody>
        </p:sp>
        <p:sp>
          <p:nvSpPr>
            <p:cNvPr id="124" name="Freihandform: Form 140">
              <a:extLst>
                <a:ext uri="{FF2B5EF4-FFF2-40B4-BE49-F238E27FC236}">
                  <a16:creationId xmlns:a16="http://schemas.microsoft.com/office/drawing/2014/main" id="{1F8BFE07-76EF-42DB-BC7E-A89C414F6F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22002" y="5128112"/>
              <a:ext cx="345748" cy="418122"/>
            </a:xfrm>
            <a:custGeom>
              <a:avLst/>
              <a:gdLst>
                <a:gd name="connsiteX0" fmla="*/ 0 w 3200400"/>
                <a:gd name="connsiteY0" fmla="*/ 2746376 h 3870326"/>
                <a:gd name="connsiteX1" fmla="*/ 1609140 w 3200400"/>
                <a:gd name="connsiteY1" fmla="*/ 3121026 h 3870326"/>
                <a:gd name="connsiteX2" fmla="*/ 3200400 w 3200400"/>
                <a:gd name="connsiteY2" fmla="*/ 2746376 h 3870326"/>
                <a:gd name="connsiteX3" fmla="*/ 3200400 w 3200400"/>
                <a:gd name="connsiteY3" fmla="*/ 3495676 h 3870326"/>
                <a:gd name="connsiteX4" fmla="*/ 1609140 w 3200400"/>
                <a:gd name="connsiteY4" fmla="*/ 3870326 h 3870326"/>
                <a:gd name="connsiteX5" fmla="*/ 0 w 3200400"/>
                <a:gd name="connsiteY5" fmla="*/ 3495676 h 3870326"/>
                <a:gd name="connsiteX6" fmla="*/ 0 w 3200400"/>
                <a:gd name="connsiteY6" fmla="*/ 2746376 h 3870326"/>
                <a:gd name="connsiteX7" fmla="*/ 0 w 3200400"/>
                <a:gd name="connsiteY7" fmla="*/ 1717675 h 3870326"/>
                <a:gd name="connsiteX8" fmla="*/ 1609140 w 3200400"/>
                <a:gd name="connsiteY8" fmla="*/ 2092325 h 3870326"/>
                <a:gd name="connsiteX9" fmla="*/ 3200400 w 3200400"/>
                <a:gd name="connsiteY9" fmla="*/ 1717675 h 3870326"/>
                <a:gd name="connsiteX10" fmla="*/ 3200400 w 3200400"/>
                <a:gd name="connsiteY10" fmla="*/ 2466975 h 3870326"/>
                <a:gd name="connsiteX11" fmla="*/ 1609140 w 3200400"/>
                <a:gd name="connsiteY11" fmla="*/ 2841625 h 3870326"/>
                <a:gd name="connsiteX12" fmla="*/ 0 w 3200400"/>
                <a:gd name="connsiteY12" fmla="*/ 2466975 h 3870326"/>
                <a:gd name="connsiteX13" fmla="*/ 0 w 3200400"/>
                <a:gd name="connsiteY13" fmla="*/ 1717675 h 3870326"/>
                <a:gd name="connsiteX14" fmla="*/ 0 w 3200400"/>
                <a:gd name="connsiteY14" fmla="*/ 688975 h 3870326"/>
                <a:gd name="connsiteX15" fmla="*/ 1609140 w 3200400"/>
                <a:gd name="connsiteY15" fmla="*/ 1063625 h 3870326"/>
                <a:gd name="connsiteX16" fmla="*/ 3200400 w 3200400"/>
                <a:gd name="connsiteY16" fmla="*/ 688975 h 3870326"/>
                <a:gd name="connsiteX17" fmla="*/ 3200400 w 3200400"/>
                <a:gd name="connsiteY17" fmla="*/ 1438275 h 3870326"/>
                <a:gd name="connsiteX18" fmla="*/ 1609140 w 3200400"/>
                <a:gd name="connsiteY18" fmla="*/ 1812925 h 3870326"/>
                <a:gd name="connsiteX19" fmla="*/ 0 w 3200400"/>
                <a:gd name="connsiteY19" fmla="*/ 1438275 h 3870326"/>
                <a:gd name="connsiteX20" fmla="*/ 0 w 3200400"/>
                <a:gd name="connsiteY20" fmla="*/ 688975 h 3870326"/>
                <a:gd name="connsiteX21" fmla="*/ 1600200 w 3200400"/>
                <a:gd name="connsiteY21" fmla="*/ 0 h 3870326"/>
                <a:gd name="connsiteX22" fmla="*/ 3200400 w 3200400"/>
                <a:gd name="connsiteY22" fmla="*/ 392113 h 3870326"/>
                <a:gd name="connsiteX23" fmla="*/ 1600200 w 3200400"/>
                <a:gd name="connsiteY23" fmla="*/ 784226 h 3870326"/>
                <a:gd name="connsiteX24" fmla="*/ 0 w 3200400"/>
                <a:gd name="connsiteY24" fmla="*/ 392113 h 3870326"/>
                <a:gd name="connsiteX25" fmla="*/ 1600200 w 3200400"/>
                <a:gd name="connsiteY25" fmla="*/ 0 h 3870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200400" h="3870326">
                  <a:moveTo>
                    <a:pt x="0" y="2746376"/>
                  </a:moveTo>
                  <a:cubicBezTo>
                    <a:pt x="0" y="2960462"/>
                    <a:pt x="715173" y="3121026"/>
                    <a:pt x="1609140" y="3121026"/>
                  </a:cubicBezTo>
                  <a:cubicBezTo>
                    <a:pt x="2485227" y="3121026"/>
                    <a:pt x="3200400" y="2960462"/>
                    <a:pt x="3200400" y="2746376"/>
                  </a:cubicBezTo>
                  <a:cubicBezTo>
                    <a:pt x="3200400" y="2746376"/>
                    <a:pt x="3200400" y="2746376"/>
                    <a:pt x="3200400" y="3495676"/>
                  </a:cubicBezTo>
                  <a:cubicBezTo>
                    <a:pt x="3200400" y="3691921"/>
                    <a:pt x="2485227" y="3870326"/>
                    <a:pt x="1609140" y="3870326"/>
                  </a:cubicBezTo>
                  <a:cubicBezTo>
                    <a:pt x="715173" y="3870326"/>
                    <a:pt x="0" y="3691921"/>
                    <a:pt x="0" y="3495676"/>
                  </a:cubicBezTo>
                  <a:cubicBezTo>
                    <a:pt x="0" y="3495676"/>
                    <a:pt x="0" y="3495676"/>
                    <a:pt x="0" y="2746376"/>
                  </a:cubicBezTo>
                  <a:close/>
                  <a:moveTo>
                    <a:pt x="0" y="1717675"/>
                  </a:moveTo>
                  <a:cubicBezTo>
                    <a:pt x="0" y="1931761"/>
                    <a:pt x="715173" y="2092325"/>
                    <a:pt x="1609140" y="2092325"/>
                  </a:cubicBezTo>
                  <a:cubicBezTo>
                    <a:pt x="2485227" y="2092325"/>
                    <a:pt x="3200400" y="1931761"/>
                    <a:pt x="3200400" y="1717675"/>
                  </a:cubicBezTo>
                  <a:cubicBezTo>
                    <a:pt x="3200400" y="1717675"/>
                    <a:pt x="3200400" y="1717675"/>
                    <a:pt x="3200400" y="2466975"/>
                  </a:cubicBezTo>
                  <a:cubicBezTo>
                    <a:pt x="3200400" y="2663220"/>
                    <a:pt x="2485227" y="2841625"/>
                    <a:pt x="1609140" y="2841625"/>
                  </a:cubicBezTo>
                  <a:cubicBezTo>
                    <a:pt x="715173" y="2841625"/>
                    <a:pt x="0" y="2663220"/>
                    <a:pt x="0" y="2466975"/>
                  </a:cubicBezTo>
                  <a:cubicBezTo>
                    <a:pt x="0" y="2466975"/>
                    <a:pt x="0" y="2466975"/>
                    <a:pt x="0" y="1717675"/>
                  </a:cubicBezTo>
                  <a:close/>
                  <a:moveTo>
                    <a:pt x="0" y="688975"/>
                  </a:moveTo>
                  <a:cubicBezTo>
                    <a:pt x="0" y="903061"/>
                    <a:pt x="715173" y="1063625"/>
                    <a:pt x="1609140" y="1063625"/>
                  </a:cubicBezTo>
                  <a:cubicBezTo>
                    <a:pt x="2485227" y="1063625"/>
                    <a:pt x="3200400" y="903061"/>
                    <a:pt x="3200400" y="688975"/>
                  </a:cubicBezTo>
                  <a:cubicBezTo>
                    <a:pt x="3200400" y="688975"/>
                    <a:pt x="3200400" y="688975"/>
                    <a:pt x="3200400" y="1438275"/>
                  </a:cubicBezTo>
                  <a:cubicBezTo>
                    <a:pt x="3200400" y="1652361"/>
                    <a:pt x="2485227" y="1812925"/>
                    <a:pt x="1609140" y="1812925"/>
                  </a:cubicBezTo>
                  <a:cubicBezTo>
                    <a:pt x="715173" y="1812925"/>
                    <a:pt x="0" y="1652361"/>
                    <a:pt x="0" y="1438275"/>
                  </a:cubicBezTo>
                  <a:cubicBezTo>
                    <a:pt x="0" y="1438275"/>
                    <a:pt x="0" y="1438275"/>
                    <a:pt x="0" y="688975"/>
                  </a:cubicBezTo>
                  <a:close/>
                  <a:moveTo>
                    <a:pt x="1600200" y="0"/>
                  </a:moveTo>
                  <a:cubicBezTo>
                    <a:pt x="2483966" y="0"/>
                    <a:pt x="3200400" y="175555"/>
                    <a:pt x="3200400" y="392113"/>
                  </a:cubicBezTo>
                  <a:cubicBezTo>
                    <a:pt x="3200400" y="608671"/>
                    <a:pt x="2483966" y="784226"/>
                    <a:pt x="1600200" y="784226"/>
                  </a:cubicBezTo>
                  <a:cubicBezTo>
                    <a:pt x="716434" y="784226"/>
                    <a:pt x="0" y="608671"/>
                    <a:pt x="0" y="392113"/>
                  </a:cubicBezTo>
                  <a:cubicBezTo>
                    <a:pt x="0" y="175555"/>
                    <a:pt x="716434" y="0"/>
                    <a:pt x="1600200" y="0"/>
                  </a:cubicBezTo>
                  <a:close/>
                </a:path>
              </a:pathLst>
            </a:custGeom>
            <a:solidFill>
              <a:srgbClr val="3C464B"/>
            </a:solidFill>
            <a:ln>
              <a:noFill/>
            </a:ln>
          </p:spPr>
          <p:txBody>
            <a:bodyPr vert="horz" wrap="square" lIns="45696" tIns="22848" rIns="45696" bIns="22848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913623" fontAlgn="auto">
                <a:spcBef>
                  <a:spcPts val="0"/>
                </a:spcBef>
                <a:spcAft>
                  <a:spcPts val="0"/>
                </a:spcAft>
              </a:pPr>
              <a:endParaRPr lang="de-DE" sz="999">
                <a:solidFill>
                  <a:srgbClr val="ADBECB"/>
                </a:solidFill>
                <a:latin typeface="Arial"/>
                <a:ea typeface="+mn-ea"/>
                <a:sym typeface="Avenir Next Medium"/>
              </a:endParaRPr>
            </a:p>
          </p:txBody>
        </p:sp>
      </p:grpSp>
      <p:grpSp>
        <p:nvGrpSpPr>
          <p:cNvPr id="125" name="Gruppieren 141">
            <a:extLst>
              <a:ext uri="{FF2B5EF4-FFF2-40B4-BE49-F238E27FC236}">
                <a16:creationId xmlns:a16="http://schemas.microsoft.com/office/drawing/2014/main" id="{D6262C46-046A-4CD6-AF32-BBB88B2DDC4B}"/>
              </a:ext>
            </a:extLst>
          </p:cNvPr>
          <p:cNvGrpSpPr/>
          <p:nvPr/>
        </p:nvGrpSpPr>
        <p:grpSpPr>
          <a:xfrm>
            <a:off x="10610794" y="5206788"/>
            <a:ext cx="345388" cy="620638"/>
            <a:chOff x="5939946" y="3246958"/>
            <a:chExt cx="345748" cy="620961"/>
          </a:xfrm>
        </p:grpSpPr>
        <p:sp>
          <p:nvSpPr>
            <p:cNvPr id="126" name="Rectangle 7">
              <a:extLst>
                <a:ext uri="{FF2B5EF4-FFF2-40B4-BE49-F238E27FC236}">
                  <a16:creationId xmlns:a16="http://schemas.microsoft.com/office/drawing/2014/main" id="{CC307496-5664-4FCC-88B0-F64BC9C9D2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92259" y="3714031"/>
              <a:ext cx="241120" cy="153888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17991" tIns="0" rIns="0" bIns="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99" b="1" i="0" u="none" strike="noStrike" kern="0" cap="none" spc="0" normalizeH="0" baseline="0" noProof="0" dirty="0">
                  <a:ln>
                    <a:noFill/>
                  </a:ln>
                  <a:solidFill>
                    <a:srgbClr val="3C464B"/>
                  </a:solidFill>
                  <a:effectLst/>
                  <a:uLnTx/>
                  <a:uFillTx/>
                  <a:latin typeface="Siemens Sans" panose="02020500000000000000" pitchFamily="18" charset="0"/>
                  <a:ea typeface="+mn-ea"/>
                  <a:sym typeface="Avenir Next Medium"/>
                </a:rPr>
                <a:t>OPC</a:t>
              </a:r>
            </a:p>
          </p:txBody>
        </p:sp>
        <p:sp>
          <p:nvSpPr>
            <p:cNvPr id="127" name="Freihandform: Form 143">
              <a:extLst>
                <a:ext uri="{FF2B5EF4-FFF2-40B4-BE49-F238E27FC236}">
                  <a16:creationId xmlns:a16="http://schemas.microsoft.com/office/drawing/2014/main" id="{A0F6079F-2E7A-4E1F-88C4-30741D2BE2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39946" y="3246958"/>
              <a:ext cx="345748" cy="418122"/>
            </a:xfrm>
            <a:custGeom>
              <a:avLst/>
              <a:gdLst>
                <a:gd name="connsiteX0" fmla="*/ 0 w 3200400"/>
                <a:gd name="connsiteY0" fmla="*/ 2746376 h 3870326"/>
                <a:gd name="connsiteX1" fmla="*/ 1609140 w 3200400"/>
                <a:gd name="connsiteY1" fmla="*/ 3121026 h 3870326"/>
                <a:gd name="connsiteX2" fmla="*/ 3200400 w 3200400"/>
                <a:gd name="connsiteY2" fmla="*/ 2746376 h 3870326"/>
                <a:gd name="connsiteX3" fmla="*/ 3200400 w 3200400"/>
                <a:gd name="connsiteY3" fmla="*/ 3495676 h 3870326"/>
                <a:gd name="connsiteX4" fmla="*/ 1609140 w 3200400"/>
                <a:gd name="connsiteY4" fmla="*/ 3870326 h 3870326"/>
                <a:gd name="connsiteX5" fmla="*/ 0 w 3200400"/>
                <a:gd name="connsiteY5" fmla="*/ 3495676 h 3870326"/>
                <a:gd name="connsiteX6" fmla="*/ 0 w 3200400"/>
                <a:gd name="connsiteY6" fmla="*/ 2746376 h 3870326"/>
                <a:gd name="connsiteX7" fmla="*/ 0 w 3200400"/>
                <a:gd name="connsiteY7" fmla="*/ 1717675 h 3870326"/>
                <a:gd name="connsiteX8" fmla="*/ 1609140 w 3200400"/>
                <a:gd name="connsiteY8" fmla="*/ 2092325 h 3870326"/>
                <a:gd name="connsiteX9" fmla="*/ 3200400 w 3200400"/>
                <a:gd name="connsiteY9" fmla="*/ 1717675 h 3870326"/>
                <a:gd name="connsiteX10" fmla="*/ 3200400 w 3200400"/>
                <a:gd name="connsiteY10" fmla="*/ 2466975 h 3870326"/>
                <a:gd name="connsiteX11" fmla="*/ 1609140 w 3200400"/>
                <a:gd name="connsiteY11" fmla="*/ 2841625 h 3870326"/>
                <a:gd name="connsiteX12" fmla="*/ 0 w 3200400"/>
                <a:gd name="connsiteY12" fmla="*/ 2466975 h 3870326"/>
                <a:gd name="connsiteX13" fmla="*/ 0 w 3200400"/>
                <a:gd name="connsiteY13" fmla="*/ 1717675 h 3870326"/>
                <a:gd name="connsiteX14" fmla="*/ 0 w 3200400"/>
                <a:gd name="connsiteY14" fmla="*/ 688975 h 3870326"/>
                <a:gd name="connsiteX15" fmla="*/ 1609140 w 3200400"/>
                <a:gd name="connsiteY15" fmla="*/ 1063625 h 3870326"/>
                <a:gd name="connsiteX16" fmla="*/ 3200400 w 3200400"/>
                <a:gd name="connsiteY16" fmla="*/ 688975 h 3870326"/>
                <a:gd name="connsiteX17" fmla="*/ 3200400 w 3200400"/>
                <a:gd name="connsiteY17" fmla="*/ 1438275 h 3870326"/>
                <a:gd name="connsiteX18" fmla="*/ 1609140 w 3200400"/>
                <a:gd name="connsiteY18" fmla="*/ 1812925 h 3870326"/>
                <a:gd name="connsiteX19" fmla="*/ 0 w 3200400"/>
                <a:gd name="connsiteY19" fmla="*/ 1438275 h 3870326"/>
                <a:gd name="connsiteX20" fmla="*/ 0 w 3200400"/>
                <a:gd name="connsiteY20" fmla="*/ 688975 h 3870326"/>
                <a:gd name="connsiteX21" fmla="*/ 1600200 w 3200400"/>
                <a:gd name="connsiteY21" fmla="*/ 0 h 3870326"/>
                <a:gd name="connsiteX22" fmla="*/ 3200400 w 3200400"/>
                <a:gd name="connsiteY22" fmla="*/ 392113 h 3870326"/>
                <a:gd name="connsiteX23" fmla="*/ 1600200 w 3200400"/>
                <a:gd name="connsiteY23" fmla="*/ 784226 h 3870326"/>
                <a:gd name="connsiteX24" fmla="*/ 0 w 3200400"/>
                <a:gd name="connsiteY24" fmla="*/ 392113 h 3870326"/>
                <a:gd name="connsiteX25" fmla="*/ 1600200 w 3200400"/>
                <a:gd name="connsiteY25" fmla="*/ 0 h 3870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200400" h="3870326">
                  <a:moveTo>
                    <a:pt x="0" y="2746376"/>
                  </a:moveTo>
                  <a:cubicBezTo>
                    <a:pt x="0" y="2960462"/>
                    <a:pt x="715173" y="3121026"/>
                    <a:pt x="1609140" y="3121026"/>
                  </a:cubicBezTo>
                  <a:cubicBezTo>
                    <a:pt x="2485227" y="3121026"/>
                    <a:pt x="3200400" y="2960462"/>
                    <a:pt x="3200400" y="2746376"/>
                  </a:cubicBezTo>
                  <a:cubicBezTo>
                    <a:pt x="3200400" y="2746376"/>
                    <a:pt x="3200400" y="2746376"/>
                    <a:pt x="3200400" y="3495676"/>
                  </a:cubicBezTo>
                  <a:cubicBezTo>
                    <a:pt x="3200400" y="3691921"/>
                    <a:pt x="2485227" y="3870326"/>
                    <a:pt x="1609140" y="3870326"/>
                  </a:cubicBezTo>
                  <a:cubicBezTo>
                    <a:pt x="715173" y="3870326"/>
                    <a:pt x="0" y="3691921"/>
                    <a:pt x="0" y="3495676"/>
                  </a:cubicBezTo>
                  <a:cubicBezTo>
                    <a:pt x="0" y="3495676"/>
                    <a:pt x="0" y="3495676"/>
                    <a:pt x="0" y="2746376"/>
                  </a:cubicBezTo>
                  <a:close/>
                  <a:moveTo>
                    <a:pt x="0" y="1717675"/>
                  </a:moveTo>
                  <a:cubicBezTo>
                    <a:pt x="0" y="1931761"/>
                    <a:pt x="715173" y="2092325"/>
                    <a:pt x="1609140" y="2092325"/>
                  </a:cubicBezTo>
                  <a:cubicBezTo>
                    <a:pt x="2485227" y="2092325"/>
                    <a:pt x="3200400" y="1931761"/>
                    <a:pt x="3200400" y="1717675"/>
                  </a:cubicBezTo>
                  <a:cubicBezTo>
                    <a:pt x="3200400" y="1717675"/>
                    <a:pt x="3200400" y="1717675"/>
                    <a:pt x="3200400" y="2466975"/>
                  </a:cubicBezTo>
                  <a:cubicBezTo>
                    <a:pt x="3200400" y="2663220"/>
                    <a:pt x="2485227" y="2841625"/>
                    <a:pt x="1609140" y="2841625"/>
                  </a:cubicBezTo>
                  <a:cubicBezTo>
                    <a:pt x="715173" y="2841625"/>
                    <a:pt x="0" y="2663220"/>
                    <a:pt x="0" y="2466975"/>
                  </a:cubicBezTo>
                  <a:cubicBezTo>
                    <a:pt x="0" y="2466975"/>
                    <a:pt x="0" y="2466975"/>
                    <a:pt x="0" y="1717675"/>
                  </a:cubicBezTo>
                  <a:close/>
                  <a:moveTo>
                    <a:pt x="0" y="688975"/>
                  </a:moveTo>
                  <a:cubicBezTo>
                    <a:pt x="0" y="903061"/>
                    <a:pt x="715173" y="1063625"/>
                    <a:pt x="1609140" y="1063625"/>
                  </a:cubicBezTo>
                  <a:cubicBezTo>
                    <a:pt x="2485227" y="1063625"/>
                    <a:pt x="3200400" y="903061"/>
                    <a:pt x="3200400" y="688975"/>
                  </a:cubicBezTo>
                  <a:cubicBezTo>
                    <a:pt x="3200400" y="688975"/>
                    <a:pt x="3200400" y="688975"/>
                    <a:pt x="3200400" y="1438275"/>
                  </a:cubicBezTo>
                  <a:cubicBezTo>
                    <a:pt x="3200400" y="1652361"/>
                    <a:pt x="2485227" y="1812925"/>
                    <a:pt x="1609140" y="1812925"/>
                  </a:cubicBezTo>
                  <a:cubicBezTo>
                    <a:pt x="715173" y="1812925"/>
                    <a:pt x="0" y="1652361"/>
                    <a:pt x="0" y="1438275"/>
                  </a:cubicBezTo>
                  <a:cubicBezTo>
                    <a:pt x="0" y="1438275"/>
                    <a:pt x="0" y="1438275"/>
                    <a:pt x="0" y="688975"/>
                  </a:cubicBezTo>
                  <a:close/>
                  <a:moveTo>
                    <a:pt x="1600200" y="0"/>
                  </a:moveTo>
                  <a:cubicBezTo>
                    <a:pt x="2483966" y="0"/>
                    <a:pt x="3200400" y="175555"/>
                    <a:pt x="3200400" y="392113"/>
                  </a:cubicBezTo>
                  <a:cubicBezTo>
                    <a:pt x="3200400" y="608671"/>
                    <a:pt x="2483966" y="784226"/>
                    <a:pt x="1600200" y="784226"/>
                  </a:cubicBezTo>
                  <a:cubicBezTo>
                    <a:pt x="716434" y="784226"/>
                    <a:pt x="0" y="608671"/>
                    <a:pt x="0" y="392113"/>
                  </a:cubicBezTo>
                  <a:cubicBezTo>
                    <a:pt x="0" y="175555"/>
                    <a:pt x="716434" y="0"/>
                    <a:pt x="160020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45696" tIns="22848" rIns="45696" bIns="22848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999" b="0" i="0" u="none" strike="noStrike" kern="0" cap="none" spc="0" normalizeH="0" baseline="0" noProof="0">
                <a:ln>
                  <a:noFill/>
                </a:ln>
                <a:solidFill>
                  <a:srgbClr val="ADBECB"/>
                </a:solidFill>
                <a:effectLst/>
                <a:uLnTx/>
                <a:uFillTx/>
                <a:latin typeface="Arial"/>
                <a:ea typeface="+mn-ea"/>
                <a:sym typeface="Avenir Next Medium"/>
              </a:endParaRPr>
            </a:p>
          </p:txBody>
        </p:sp>
      </p:grpSp>
      <p:grpSp>
        <p:nvGrpSpPr>
          <p:cNvPr id="128" name="Gruppieren 144">
            <a:extLst>
              <a:ext uri="{FF2B5EF4-FFF2-40B4-BE49-F238E27FC236}">
                <a16:creationId xmlns:a16="http://schemas.microsoft.com/office/drawing/2014/main" id="{45552A3F-9D10-43FE-8C5A-3F1F42879B9B}"/>
              </a:ext>
            </a:extLst>
          </p:cNvPr>
          <p:cNvGrpSpPr/>
          <p:nvPr/>
        </p:nvGrpSpPr>
        <p:grpSpPr>
          <a:xfrm>
            <a:off x="11628558" y="4880234"/>
            <a:ext cx="380256" cy="620574"/>
            <a:chOff x="7200259" y="1782581"/>
            <a:chExt cx="380652" cy="620897"/>
          </a:xfrm>
        </p:grpSpPr>
        <p:sp>
          <p:nvSpPr>
            <p:cNvPr id="129" name="Rectangle 7">
              <a:extLst>
                <a:ext uri="{FF2B5EF4-FFF2-40B4-BE49-F238E27FC236}">
                  <a16:creationId xmlns:a16="http://schemas.microsoft.com/office/drawing/2014/main" id="{37BDEAC6-F910-431C-9E29-5B91FFD420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00259" y="2249718"/>
              <a:ext cx="380652" cy="153760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17991" tIns="0" rIns="0" bIns="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623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999" b="1" dirty="0">
                  <a:solidFill>
                    <a:srgbClr val="3C464B"/>
                  </a:solidFill>
                  <a:latin typeface="Siemens Sans" panose="02020500000000000000" pitchFamily="18" charset="0"/>
                  <a:ea typeface="+mn-ea"/>
                  <a:sym typeface="Avenir Next Medium"/>
                </a:rPr>
                <a:t>SCADA</a:t>
              </a:r>
            </a:p>
          </p:txBody>
        </p:sp>
        <p:sp>
          <p:nvSpPr>
            <p:cNvPr id="130" name="Freihandform: Form 146">
              <a:extLst>
                <a:ext uri="{FF2B5EF4-FFF2-40B4-BE49-F238E27FC236}">
                  <a16:creationId xmlns:a16="http://schemas.microsoft.com/office/drawing/2014/main" id="{4D33C573-46E3-4AB4-94A2-BA167A862A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17710" y="1782581"/>
              <a:ext cx="345748" cy="418122"/>
            </a:xfrm>
            <a:custGeom>
              <a:avLst/>
              <a:gdLst>
                <a:gd name="connsiteX0" fmla="*/ 0 w 3200400"/>
                <a:gd name="connsiteY0" fmla="*/ 2746376 h 3870326"/>
                <a:gd name="connsiteX1" fmla="*/ 1609140 w 3200400"/>
                <a:gd name="connsiteY1" fmla="*/ 3121026 h 3870326"/>
                <a:gd name="connsiteX2" fmla="*/ 3200400 w 3200400"/>
                <a:gd name="connsiteY2" fmla="*/ 2746376 h 3870326"/>
                <a:gd name="connsiteX3" fmla="*/ 3200400 w 3200400"/>
                <a:gd name="connsiteY3" fmla="*/ 3495676 h 3870326"/>
                <a:gd name="connsiteX4" fmla="*/ 1609140 w 3200400"/>
                <a:gd name="connsiteY4" fmla="*/ 3870326 h 3870326"/>
                <a:gd name="connsiteX5" fmla="*/ 0 w 3200400"/>
                <a:gd name="connsiteY5" fmla="*/ 3495676 h 3870326"/>
                <a:gd name="connsiteX6" fmla="*/ 0 w 3200400"/>
                <a:gd name="connsiteY6" fmla="*/ 2746376 h 3870326"/>
                <a:gd name="connsiteX7" fmla="*/ 0 w 3200400"/>
                <a:gd name="connsiteY7" fmla="*/ 1717675 h 3870326"/>
                <a:gd name="connsiteX8" fmla="*/ 1609140 w 3200400"/>
                <a:gd name="connsiteY8" fmla="*/ 2092325 h 3870326"/>
                <a:gd name="connsiteX9" fmla="*/ 3200400 w 3200400"/>
                <a:gd name="connsiteY9" fmla="*/ 1717675 h 3870326"/>
                <a:gd name="connsiteX10" fmla="*/ 3200400 w 3200400"/>
                <a:gd name="connsiteY10" fmla="*/ 2466975 h 3870326"/>
                <a:gd name="connsiteX11" fmla="*/ 1609140 w 3200400"/>
                <a:gd name="connsiteY11" fmla="*/ 2841625 h 3870326"/>
                <a:gd name="connsiteX12" fmla="*/ 0 w 3200400"/>
                <a:gd name="connsiteY12" fmla="*/ 2466975 h 3870326"/>
                <a:gd name="connsiteX13" fmla="*/ 0 w 3200400"/>
                <a:gd name="connsiteY13" fmla="*/ 1717675 h 3870326"/>
                <a:gd name="connsiteX14" fmla="*/ 0 w 3200400"/>
                <a:gd name="connsiteY14" fmla="*/ 688975 h 3870326"/>
                <a:gd name="connsiteX15" fmla="*/ 1609140 w 3200400"/>
                <a:gd name="connsiteY15" fmla="*/ 1063625 h 3870326"/>
                <a:gd name="connsiteX16" fmla="*/ 3200400 w 3200400"/>
                <a:gd name="connsiteY16" fmla="*/ 688975 h 3870326"/>
                <a:gd name="connsiteX17" fmla="*/ 3200400 w 3200400"/>
                <a:gd name="connsiteY17" fmla="*/ 1438275 h 3870326"/>
                <a:gd name="connsiteX18" fmla="*/ 1609140 w 3200400"/>
                <a:gd name="connsiteY18" fmla="*/ 1812925 h 3870326"/>
                <a:gd name="connsiteX19" fmla="*/ 0 w 3200400"/>
                <a:gd name="connsiteY19" fmla="*/ 1438275 h 3870326"/>
                <a:gd name="connsiteX20" fmla="*/ 0 w 3200400"/>
                <a:gd name="connsiteY20" fmla="*/ 688975 h 3870326"/>
                <a:gd name="connsiteX21" fmla="*/ 1600200 w 3200400"/>
                <a:gd name="connsiteY21" fmla="*/ 0 h 3870326"/>
                <a:gd name="connsiteX22" fmla="*/ 3200400 w 3200400"/>
                <a:gd name="connsiteY22" fmla="*/ 392113 h 3870326"/>
                <a:gd name="connsiteX23" fmla="*/ 1600200 w 3200400"/>
                <a:gd name="connsiteY23" fmla="*/ 784226 h 3870326"/>
                <a:gd name="connsiteX24" fmla="*/ 0 w 3200400"/>
                <a:gd name="connsiteY24" fmla="*/ 392113 h 3870326"/>
                <a:gd name="connsiteX25" fmla="*/ 1600200 w 3200400"/>
                <a:gd name="connsiteY25" fmla="*/ 0 h 3870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200400" h="3870326">
                  <a:moveTo>
                    <a:pt x="0" y="2746376"/>
                  </a:moveTo>
                  <a:cubicBezTo>
                    <a:pt x="0" y="2960462"/>
                    <a:pt x="715173" y="3121026"/>
                    <a:pt x="1609140" y="3121026"/>
                  </a:cubicBezTo>
                  <a:cubicBezTo>
                    <a:pt x="2485227" y="3121026"/>
                    <a:pt x="3200400" y="2960462"/>
                    <a:pt x="3200400" y="2746376"/>
                  </a:cubicBezTo>
                  <a:cubicBezTo>
                    <a:pt x="3200400" y="2746376"/>
                    <a:pt x="3200400" y="2746376"/>
                    <a:pt x="3200400" y="3495676"/>
                  </a:cubicBezTo>
                  <a:cubicBezTo>
                    <a:pt x="3200400" y="3691921"/>
                    <a:pt x="2485227" y="3870326"/>
                    <a:pt x="1609140" y="3870326"/>
                  </a:cubicBezTo>
                  <a:cubicBezTo>
                    <a:pt x="715173" y="3870326"/>
                    <a:pt x="0" y="3691921"/>
                    <a:pt x="0" y="3495676"/>
                  </a:cubicBezTo>
                  <a:cubicBezTo>
                    <a:pt x="0" y="3495676"/>
                    <a:pt x="0" y="3495676"/>
                    <a:pt x="0" y="2746376"/>
                  </a:cubicBezTo>
                  <a:close/>
                  <a:moveTo>
                    <a:pt x="0" y="1717675"/>
                  </a:moveTo>
                  <a:cubicBezTo>
                    <a:pt x="0" y="1931761"/>
                    <a:pt x="715173" y="2092325"/>
                    <a:pt x="1609140" y="2092325"/>
                  </a:cubicBezTo>
                  <a:cubicBezTo>
                    <a:pt x="2485227" y="2092325"/>
                    <a:pt x="3200400" y="1931761"/>
                    <a:pt x="3200400" y="1717675"/>
                  </a:cubicBezTo>
                  <a:cubicBezTo>
                    <a:pt x="3200400" y="1717675"/>
                    <a:pt x="3200400" y="1717675"/>
                    <a:pt x="3200400" y="2466975"/>
                  </a:cubicBezTo>
                  <a:cubicBezTo>
                    <a:pt x="3200400" y="2663220"/>
                    <a:pt x="2485227" y="2841625"/>
                    <a:pt x="1609140" y="2841625"/>
                  </a:cubicBezTo>
                  <a:cubicBezTo>
                    <a:pt x="715173" y="2841625"/>
                    <a:pt x="0" y="2663220"/>
                    <a:pt x="0" y="2466975"/>
                  </a:cubicBezTo>
                  <a:cubicBezTo>
                    <a:pt x="0" y="2466975"/>
                    <a:pt x="0" y="2466975"/>
                    <a:pt x="0" y="1717675"/>
                  </a:cubicBezTo>
                  <a:close/>
                  <a:moveTo>
                    <a:pt x="0" y="688975"/>
                  </a:moveTo>
                  <a:cubicBezTo>
                    <a:pt x="0" y="903061"/>
                    <a:pt x="715173" y="1063625"/>
                    <a:pt x="1609140" y="1063625"/>
                  </a:cubicBezTo>
                  <a:cubicBezTo>
                    <a:pt x="2485227" y="1063625"/>
                    <a:pt x="3200400" y="903061"/>
                    <a:pt x="3200400" y="688975"/>
                  </a:cubicBezTo>
                  <a:cubicBezTo>
                    <a:pt x="3200400" y="688975"/>
                    <a:pt x="3200400" y="688975"/>
                    <a:pt x="3200400" y="1438275"/>
                  </a:cubicBezTo>
                  <a:cubicBezTo>
                    <a:pt x="3200400" y="1652361"/>
                    <a:pt x="2485227" y="1812925"/>
                    <a:pt x="1609140" y="1812925"/>
                  </a:cubicBezTo>
                  <a:cubicBezTo>
                    <a:pt x="715173" y="1812925"/>
                    <a:pt x="0" y="1652361"/>
                    <a:pt x="0" y="1438275"/>
                  </a:cubicBezTo>
                  <a:cubicBezTo>
                    <a:pt x="0" y="1438275"/>
                    <a:pt x="0" y="1438275"/>
                    <a:pt x="0" y="688975"/>
                  </a:cubicBezTo>
                  <a:close/>
                  <a:moveTo>
                    <a:pt x="1600200" y="0"/>
                  </a:moveTo>
                  <a:cubicBezTo>
                    <a:pt x="2483966" y="0"/>
                    <a:pt x="3200400" y="175555"/>
                    <a:pt x="3200400" y="392113"/>
                  </a:cubicBezTo>
                  <a:cubicBezTo>
                    <a:pt x="3200400" y="608671"/>
                    <a:pt x="2483966" y="784226"/>
                    <a:pt x="1600200" y="784226"/>
                  </a:cubicBezTo>
                  <a:cubicBezTo>
                    <a:pt x="716434" y="784226"/>
                    <a:pt x="0" y="608671"/>
                    <a:pt x="0" y="392113"/>
                  </a:cubicBezTo>
                  <a:cubicBezTo>
                    <a:pt x="0" y="175555"/>
                    <a:pt x="716434" y="0"/>
                    <a:pt x="1600200" y="0"/>
                  </a:cubicBezTo>
                  <a:close/>
                </a:path>
              </a:pathLst>
            </a:custGeom>
            <a:solidFill>
              <a:srgbClr val="005F87"/>
            </a:solidFill>
            <a:ln>
              <a:noFill/>
            </a:ln>
          </p:spPr>
          <p:txBody>
            <a:bodyPr vert="horz" wrap="square" lIns="45696" tIns="22848" rIns="45696" bIns="22848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913623" fontAlgn="auto">
                <a:spcBef>
                  <a:spcPts val="0"/>
                </a:spcBef>
                <a:spcAft>
                  <a:spcPts val="0"/>
                </a:spcAft>
              </a:pPr>
              <a:endParaRPr lang="de-DE" sz="999">
                <a:solidFill>
                  <a:srgbClr val="ADBECB"/>
                </a:solidFill>
                <a:latin typeface="Arial"/>
                <a:ea typeface="+mn-ea"/>
                <a:sym typeface="Avenir Next Medium"/>
              </a:endParaRPr>
            </a:p>
          </p:txBody>
        </p:sp>
      </p:grpSp>
      <p:grpSp>
        <p:nvGrpSpPr>
          <p:cNvPr id="131" name="Gruppieren 147">
            <a:extLst>
              <a:ext uri="{FF2B5EF4-FFF2-40B4-BE49-F238E27FC236}">
                <a16:creationId xmlns:a16="http://schemas.microsoft.com/office/drawing/2014/main" id="{5449887B-ECA3-4151-B3AD-5FEF6C2CABE5}"/>
              </a:ext>
            </a:extLst>
          </p:cNvPr>
          <p:cNvGrpSpPr/>
          <p:nvPr/>
        </p:nvGrpSpPr>
        <p:grpSpPr>
          <a:xfrm>
            <a:off x="10339705" y="4223624"/>
            <a:ext cx="732734" cy="758341"/>
            <a:chOff x="10376248" y="4067701"/>
            <a:chExt cx="733498" cy="758736"/>
          </a:xfrm>
        </p:grpSpPr>
        <p:sp>
          <p:nvSpPr>
            <p:cNvPr id="132" name="Rectangle 7">
              <a:extLst>
                <a:ext uri="{FF2B5EF4-FFF2-40B4-BE49-F238E27FC236}">
                  <a16:creationId xmlns:a16="http://schemas.microsoft.com/office/drawing/2014/main" id="{B3A35BBA-085D-44EE-9245-9462490A2E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76248" y="4518917"/>
              <a:ext cx="733498" cy="307520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17991" tIns="0" rIns="0" bIns="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623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999" b="1" dirty="0">
                  <a:solidFill>
                    <a:srgbClr val="3C464B"/>
                  </a:solidFill>
                  <a:latin typeface="Siemens Sans" panose="02020500000000000000" pitchFamily="18" charset="0"/>
                  <a:ea typeface="+mn-ea"/>
                  <a:sym typeface="Avenir Next Medium"/>
                </a:rPr>
                <a:t>Structured /</a:t>
              </a:r>
              <a:br>
                <a:rPr lang="de-DE" sz="999" b="1" dirty="0">
                  <a:solidFill>
                    <a:srgbClr val="3C464B"/>
                  </a:solidFill>
                  <a:latin typeface="Siemens Sans" panose="02020500000000000000" pitchFamily="18" charset="0"/>
                  <a:ea typeface="+mn-ea"/>
                  <a:sym typeface="Avenir Next Medium"/>
                </a:rPr>
              </a:br>
              <a:r>
                <a:rPr lang="de-DE" sz="999" b="1" dirty="0">
                  <a:solidFill>
                    <a:srgbClr val="3C464B"/>
                  </a:solidFill>
                  <a:latin typeface="Siemens Sans" panose="02020500000000000000" pitchFamily="18" charset="0"/>
                  <a:ea typeface="+mn-ea"/>
                  <a:sym typeface="Avenir Next Medium"/>
                </a:rPr>
                <a:t>Spreadsheets</a:t>
              </a:r>
            </a:p>
          </p:txBody>
        </p:sp>
        <p:sp>
          <p:nvSpPr>
            <p:cNvPr id="133" name="Freihandform: Form 149">
              <a:extLst>
                <a:ext uri="{FF2B5EF4-FFF2-40B4-BE49-F238E27FC236}">
                  <a16:creationId xmlns:a16="http://schemas.microsoft.com/office/drawing/2014/main" id="{86D9C8B9-DE5E-4736-8E43-7E7643ADA2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70123" y="4067701"/>
              <a:ext cx="345748" cy="418122"/>
            </a:xfrm>
            <a:custGeom>
              <a:avLst/>
              <a:gdLst>
                <a:gd name="connsiteX0" fmla="*/ 0 w 3200400"/>
                <a:gd name="connsiteY0" fmla="*/ 2746376 h 3870326"/>
                <a:gd name="connsiteX1" fmla="*/ 1609140 w 3200400"/>
                <a:gd name="connsiteY1" fmla="*/ 3121026 h 3870326"/>
                <a:gd name="connsiteX2" fmla="*/ 3200400 w 3200400"/>
                <a:gd name="connsiteY2" fmla="*/ 2746376 h 3870326"/>
                <a:gd name="connsiteX3" fmla="*/ 3200400 w 3200400"/>
                <a:gd name="connsiteY3" fmla="*/ 3495676 h 3870326"/>
                <a:gd name="connsiteX4" fmla="*/ 1609140 w 3200400"/>
                <a:gd name="connsiteY4" fmla="*/ 3870326 h 3870326"/>
                <a:gd name="connsiteX5" fmla="*/ 0 w 3200400"/>
                <a:gd name="connsiteY5" fmla="*/ 3495676 h 3870326"/>
                <a:gd name="connsiteX6" fmla="*/ 0 w 3200400"/>
                <a:gd name="connsiteY6" fmla="*/ 2746376 h 3870326"/>
                <a:gd name="connsiteX7" fmla="*/ 0 w 3200400"/>
                <a:gd name="connsiteY7" fmla="*/ 1717675 h 3870326"/>
                <a:gd name="connsiteX8" fmla="*/ 1609140 w 3200400"/>
                <a:gd name="connsiteY8" fmla="*/ 2092325 h 3870326"/>
                <a:gd name="connsiteX9" fmla="*/ 3200400 w 3200400"/>
                <a:gd name="connsiteY9" fmla="*/ 1717675 h 3870326"/>
                <a:gd name="connsiteX10" fmla="*/ 3200400 w 3200400"/>
                <a:gd name="connsiteY10" fmla="*/ 2466975 h 3870326"/>
                <a:gd name="connsiteX11" fmla="*/ 1609140 w 3200400"/>
                <a:gd name="connsiteY11" fmla="*/ 2841625 h 3870326"/>
                <a:gd name="connsiteX12" fmla="*/ 0 w 3200400"/>
                <a:gd name="connsiteY12" fmla="*/ 2466975 h 3870326"/>
                <a:gd name="connsiteX13" fmla="*/ 0 w 3200400"/>
                <a:gd name="connsiteY13" fmla="*/ 1717675 h 3870326"/>
                <a:gd name="connsiteX14" fmla="*/ 0 w 3200400"/>
                <a:gd name="connsiteY14" fmla="*/ 688975 h 3870326"/>
                <a:gd name="connsiteX15" fmla="*/ 1609140 w 3200400"/>
                <a:gd name="connsiteY15" fmla="*/ 1063625 h 3870326"/>
                <a:gd name="connsiteX16" fmla="*/ 3200400 w 3200400"/>
                <a:gd name="connsiteY16" fmla="*/ 688975 h 3870326"/>
                <a:gd name="connsiteX17" fmla="*/ 3200400 w 3200400"/>
                <a:gd name="connsiteY17" fmla="*/ 1438275 h 3870326"/>
                <a:gd name="connsiteX18" fmla="*/ 1609140 w 3200400"/>
                <a:gd name="connsiteY18" fmla="*/ 1812925 h 3870326"/>
                <a:gd name="connsiteX19" fmla="*/ 0 w 3200400"/>
                <a:gd name="connsiteY19" fmla="*/ 1438275 h 3870326"/>
                <a:gd name="connsiteX20" fmla="*/ 0 w 3200400"/>
                <a:gd name="connsiteY20" fmla="*/ 688975 h 3870326"/>
                <a:gd name="connsiteX21" fmla="*/ 1600200 w 3200400"/>
                <a:gd name="connsiteY21" fmla="*/ 0 h 3870326"/>
                <a:gd name="connsiteX22" fmla="*/ 3200400 w 3200400"/>
                <a:gd name="connsiteY22" fmla="*/ 392113 h 3870326"/>
                <a:gd name="connsiteX23" fmla="*/ 1600200 w 3200400"/>
                <a:gd name="connsiteY23" fmla="*/ 784226 h 3870326"/>
                <a:gd name="connsiteX24" fmla="*/ 0 w 3200400"/>
                <a:gd name="connsiteY24" fmla="*/ 392113 h 3870326"/>
                <a:gd name="connsiteX25" fmla="*/ 1600200 w 3200400"/>
                <a:gd name="connsiteY25" fmla="*/ 0 h 3870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200400" h="3870326">
                  <a:moveTo>
                    <a:pt x="0" y="2746376"/>
                  </a:moveTo>
                  <a:cubicBezTo>
                    <a:pt x="0" y="2960462"/>
                    <a:pt x="715173" y="3121026"/>
                    <a:pt x="1609140" y="3121026"/>
                  </a:cubicBezTo>
                  <a:cubicBezTo>
                    <a:pt x="2485227" y="3121026"/>
                    <a:pt x="3200400" y="2960462"/>
                    <a:pt x="3200400" y="2746376"/>
                  </a:cubicBezTo>
                  <a:cubicBezTo>
                    <a:pt x="3200400" y="2746376"/>
                    <a:pt x="3200400" y="2746376"/>
                    <a:pt x="3200400" y="3495676"/>
                  </a:cubicBezTo>
                  <a:cubicBezTo>
                    <a:pt x="3200400" y="3691921"/>
                    <a:pt x="2485227" y="3870326"/>
                    <a:pt x="1609140" y="3870326"/>
                  </a:cubicBezTo>
                  <a:cubicBezTo>
                    <a:pt x="715173" y="3870326"/>
                    <a:pt x="0" y="3691921"/>
                    <a:pt x="0" y="3495676"/>
                  </a:cubicBezTo>
                  <a:cubicBezTo>
                    <a:pt x="0" y="3495676"/>
                    <a:pt x="0" y="3495676"/>
                    <a:pt x="0" y="2746376"/>
                  </a:cubicBezTo>
                  <a:close/>
                  <a:moveTo>
                    <a:pt x="0" y="1717675"/>
                  </a:moveTo>
                  <a:cubicBezTo>
                    <a:pt x="0" y="1931761"/>
                    <a:pt x="715173" y="2092325"/>
                    <a:pt x="1609140" y="2092325"/>
                  </a:cubicBezTo>
                  <a:cubicBezTo>
                    <a:pt x="2485227" y="2092325"/>
                    <a:pt x="3200400" y="1931761"/>
                    <a:pt x="3200400" y="1717675"/>
                  </a:cubicBezTo>
                  <a:cubicBezTo>
                    <a:pt x="3200400" y="1717675"/>
                    <a:pt x="3200400" y="1717675"/>
                    <a:pt x="3200400" y="2466975"/>
                  </a:cubicBezTo>
                  <a:cubicBezTo>
                    <a:pt x="3200400" y="2663220"/>
                    <a:pt x="2485227" y="2841625"/>
                    <a:pt x="1609140" y="2841625"/>
                  </a:cubicBezTo>
                  <a:cubicBezTo>
                    <a:pt x="715173" y="2841625"/>
                    <a:pt x="0" y="2663220"/>
                    <a:pt x="0" y="2466975"/>
                  </a:cubicBezTo>
                  <a:cubicBezTo>
                    <a:pt x="0" y="2466975"/>
                    <a:pt x="0" y="2466975"/>
                    <a:pt x="0" y="1717675"/>
                  </a:cubicBezTo>
                  <a:close/>
                  <a:moveTo>
                    <a:pt x="0" y="688975"/>
                  </a:moveTo>
                  <a:cubicBezTo>
                    <a:pt x="0" y="903061"/>
                    <a:pt x="715173" y="1063625"/>
                    <a:pt x="1609140" y="1063625"/>
                  </a:cubicBezTo>
                  <a:cubicBezTo>
                    <a:pt x="2485227" y="1063625"/>
                    <a:pt x="3200400" y="903061"/>
                    <a:pt x="3200400" y="688975"/>
                  </a:cubicBezTo>
                  <a:cubicBezTo>
                    <a:pt x="3200400" y="688975"/>
                    <a:pt x="3200400" y="688975"/>
                    <a:pt x="3200400" y="1438275"/>
                  </a:cubicBezTo>
                  <a:cubicBezTo>
                    <a:pt x="3200400" y="1652361"/>
                    <a:pt x="2485227" y="1812925"/>
                    <a:pt x="1609140" y="1812925"/>
                  </a:cubicBezTo>
                  <a:cubicBezTo>
                    <a:pt x="715173" y="1812925"/>
                    <a:pt x="0" y="1652361"/>
                    <a:pt x="0" y="1438275"/>
                  </a:cubicBezTo>
                  <a:cubicBezTo>
                    <a:pt x="0" y="1438275"/>
                    <a:pt x="0" y="1438275"/>
                    <a:pt x="0" y="688975"/>
                  </a:cubicBezTo>
                  <a:close/>
                  <a:moveTo>
                    <a:pt x="1600200" y="0"/>
                  </a:moveTo>
                  <a:cubicBezTo>
                    <a:pt x="2483966" y="0"/>
                    <a:pt x="3200400" y="175555"/>
                    <a:pt x="3200400" y="392113"/>
                  </a:cubicBezTo>
                  <a:cubicBezTo>
                    <a:pt x="3200400" y="608671"/>
                    <a:pt x="2483966" y="784226"/>
                    <a:pt x="1600200" y="784226"/>
                  </a:cubicBezTo>
                  <a:cubicBezTo>
                    <a:pt x="716434" y="784226"/>
                    <a:pt x="0" y="608671"/>
                    <a:pt x="0" y="392113"/>
                  </a:cubicBezTo>
                  <a:cubicBezTo>
                    <a:pt x="0" y="175555"/>
                    <a:pt x="716434" y="0"/>
                    <a:pt x="1600200" y="0"/>
                  </a:cubicBezTo>
                  <a:close/>
                </a:path>
              </a:pathLst>
            </a:custGeom>
            <a:solidFill>
              <a:srgbClr val="3C464B"/>
            </a:solidFill>
            <a:ln>
              <a:noFill/>
            </a:ln>
          </p:spPr>
          <p:txBody>
            <a:bodyPr vert="horz" wrap="square" lIns="45696" tIns="22848" rIns="45696" bIns="22848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913623" fontAlgn="auto">
                <a:spcBef>
                  <a:spcPts val="0"/>
                </a:spcBef>
                <a:spcAft>
                  <a:spcPts val="0"/>
                </a:spcAft>
              </a:pPr>
              <a:endParaRPr lang="de-DE" sz="999">
                <a:solidFill>
                  <a:srgbClr val="ADBECB"/>
                </a:solidFill>
                <a:latin typeface="Arial"/>
                <a:ea typeface="+mn-ea"/>
                <a:sym typeface="Avenir Next Medium"/>
              </a:endParaRPr>
            </a:p>
          </p:txBody>
        </p:sp>
      </p:grpSp>
      <p:grpSp>
        <p:nvGrpSpPr>
          <p:cNvPr id="134" name="Gruppieren 150">
            <a:extLst>
              <a:ext uri="{FF2B5EF4-FFF2-40B4-BE49-F238E27FC236}">
                <a16:creationId xmlns:a16="http://schemas.microsoft.com/office/drawing/2014/main" id="{B6C71466-C31E-435F-A46A-44AE31B64DAE}"/>
              </a:ext>
            </a:extLst>
          </p:cNvPr>
          <p:cNvGrpSpPr/>
          <p:nvPr/>
        </p:nvGrpSpPr>
        <p:grpSpPr>
          <a:xfrm>
            <a:off x="11265019" y="3918174"/>
            <a:ext cx="503624" cy="620573"/>
            <a:chOff x="5860747" y="1782581"/>
            <a:chExt cx="504148" cy="620896"/>
          </a:xfrm>
        </p:grpSpPr>
        <p:sp>
          <p:nvSpPr>
            <p:cNvPr id="135" name="Rectangle 7">
              <a:extLst>
                <a:ext uri="{FF2B5EF4-FFF2-40B4-BE49-F238E27FC236}">
                  <a16:creationId xmlns:a16="http://schemas.microsoft.com/office/drawing/2014/main" id="{7238907C-5A28-47C1-9547-45D248484C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60747" y="2249717"/>
              <a:ext cx="504148" cy="153760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17991" tIns="0" rIns="0" bIns="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623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999" b="1" dirty="0">
                  <a:solidFill>
                    <a:srgbClr val="3C464B"/>
                  </a:solidFill>
                  <a:latin typeface="Siemens Sans" panose="02020500000000000000" pitchFamily="18" charset="0"/>
                  <a:ea typeface="+mn-ea"/>
                  <a:sym typeface="Avenir Next Medium"/>
                </a:rPr>
                <a:t>Historian</a:t>
              </a:r>
            </a:p>
          </p:txBody>
        </p:sp>
        <p:sp>
          <p:nvSpPr>
            <p:cNvPr id="136" name="Freihandform: Form 152">
              <a:extLst>
                <a:ext uri="{FF2B5EF4-FFF2-40B4-BE49-F238E27FC236}">
                  <a16:creationId xmlns:a16="http://schemas.microsoft.com/office/drawing/2014/main" id="{8E4605F4-971D-4CF3-AAE5-F6C0BD9A08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39946" y="1782581"/>
              <a:ext cx="345748" cy="418122"/>
            </a:xfrm>
            <a:custGeom>
              <a:avLst/>
              <a:gdLst>
                <a:gd name="connsiteX0" fmla="*/ 0 w 3200400"/>
                <a:gd name="connsiteY0" fmla="*/ 2746376 h 3870326"/>
                <a:gd name="connsiteX1" fmla="*/ 1609140 w 3200400"/>
                <a:gd name="connsiteY1" fmla="*/ 3121026 h 3870326"/>
                <a:gd name="connsiteX2" fmla="*/ 3200400 w 3200400"/>
                <a:gd name="connsiteY2" fmla="*/ 2746376 h 3870326"/>
                <a:gd name="connsiteX3" fmla="*/ 3200400 w 3200400"/>
                <a:gd name="connsiteY3" fmla="*/ 3495676 h 3870326"/>
                <a:gd name="connsiteX4" fmla="*/ 1609140 w 3200400"/>
                <a:gd name="connsiteY4" fmla="*/ 3870326 h 3870326"/>
                <a:gd name="connsiteX5" fmla="*/ 0 w 3200400"/>
                <a:gd name="connsiteY5" fmla="*/ 3495676 h 3870326"/>
                <a:gd name="connsiteX6" fmla="*/ 0 w 3200400"/>
                <a:gd name="connsiteY6" fmla="*/ 2746376 h 3870326"/>
                <a:gd name="connsiteX7" fmla="*/ 0 w 3200400"/>
                <a:gd name="connsiteY7" fmla="*/ 1717675 h 3870326"/>
                <a:gd name="connsiteX8" fmla="*/ 1609140 w 3200400"/>
                <a:gd name="connsiteY8" fmla="*/ 2092325 h 3870326"/>
                <a:gd name="connsiteX9" fmla="*/ 3200400 w 3200400"/>
                <a:gd name="connsiteY9" fmla="*/ 1717675 h 3870326"/>
                <a:gd name="connsiteX10" fmla="*/ 3200400 w 3200400"/>
                <a:gd name="connsiteY10" fmla="*/ 2466975 h 3870326"/>
                <a:gd name="connsiteX11" fmla="*/ 1609140 w 3200400"/>
                <a:gd name="connsiteY11" fmla="*/ 2841625 h 3870326"/>
                <a:gd name="connsiteX12" fmla="*/ 0 w 3200400"/>
                <a:gd name="connsiteY12" fmla="*/ 2466975 h 3870326"/>
                <a:gd name="connsiteX13" fmla="*/ 0 w 3200400"/>
                <a:gd name="connsiteY13" fmla="*/ 1717675 h 3870326"/>
                <a:gd name="connsiteX14" fmla="*/ 0 w 3200400"/>
                <a:gd name="connsiteY14" fmla="*/ 688975 h 3870326"/>
                <a:gd name="connsiteX15" fmla="*/ 1609140 w 3200400"/>
                <a:gd name="connsiteY15" fmla="*/ 1063625 h 3870326"/>
                <a:gd name="connsiteX16" fmla="*/ 3200400 w 3200400"/>
                <a:gd name="connsiteY16" fmla="*/ 688975 h 3870326"/>
                <a:gd name="connsiteX17" fmla="*/ 3200400 w 3200400"/>
                <a:gd name="connsiteY17" fmla="*/ 1438275 h 3870326"/>
                <a:gd name="connsiteX18" fmla="*/ 1609140 w 3200400"/>
                <a:gd name="connsiteY18" fmla="*/ 1812925 h 3870326"/>
                <a:gd name="connsiteX19" fmla="*/ 0 w 3200400"/>
                <a:gd name="connsiteY19" fmla="*/ 1438275 h 3870326"/>
                <a:gd name="connsiteX20" fmla="*/ 0 w 3200400"/>
                <a:gd name="connsiteY20" fmla="*/ 688975 h 3870326"/>
                <a:gd name="connsiteX21" fmla="*/ 1600200 w 3200400"/>
                <a:gd name="connsiteY21" fmla="*/ 0 h 3870326"/>
                <a:gd name="connsiteX22" fmla="*/ 3200400 w 3200400"/>
                <a:gd name="connsiteY22" fmla="*/ 392113 h 3870326"/>
                <a:gd name="connsiteX23" fmla="*/ 1600200 w 3200400"/>
                <a:gd name="connsiteY23" fmla="*/ 784226 h 3870326"/>
                <a:gd name="connsiteX24" fmla="*/ 0 w 3200400"/>
                <a:gd name="connsiteY24" fmla="*/ 392113 h 3870326"/>
                <a:gd name="connsiteX25" fmla="*/ 1600200 w 3200400"/>
                <a:gd name="connsiteY25" fmla="*/ 0 h 3870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200400" h="3870326">
                  <a:moveTo>
                    <a:pt x="0" y="2746376"/>
                  </a:moveTo>
                  <a:cubicBezTo>
                    <a:pt x="0" y="2960462"/>
                    <a:pt x="715173" y="3121026"/>
                    <a:pt x="1609140" y="3121026"/>
                  </a:cubicBezTo>
                  <a:cubicBezTo>
                    <a:pt x="2485227" y="3121026"/>
                    <a:pt x="3200400" y="2960462"/>
                    <a:pt x="3200400" y="2746376"/>
                  </a:cubicBezTo>
                  <a:cubicBezTo>
                    <a:pt x="3200400" y="2746376"/>
                    <a:pt x="3200400" y="2746376"/>
                    <a:pt x="3200400" y="3495676"/>
                  </a:cubicBezTo>
                  <a:cubicBezTo>
                    <a:pt x="3200400" y="3691921"/>
                    <a:pt x="2485227" y="3870326"/>
                    <a:pt x="1609140" y="3870326"/>
                  </a:cubicBezTo>
                  <a:cubicBezTo>
                    <a:pt x="715173" y="3870326"/>
                    <a:pt x="0" y="3691921"/>
                    <a:pt x="0" y="3495676"/>
                  </a:cubicBezTo>
                  <a:cubicBezTo>
                    <a:pt x="0" y="3495676"/>
                    <a:pt x="0" y="3495676"/>
                    <a:pt x="0" y="2746376"/>
                  </a:cubicBezTo>
                  <a:close/>
                  <a:moveTo>
                    <a:pt x="0" y="1717675"/>
                  </a:moveTo>
                  <a:cubicBezTo>
                    <a:pt x="0" y="1931761"/>
                    <a:pt x="715173" y="2092325"/>
                    <a:pt x="1609140" y="2092325"/>
                  </a:cubicBezTo>
                  <a:cubicBezTo>
                    <a:pt x="2485227" y="2092325"/>
                    <a:pt x="3200400" y="1931761"/>
                    <a:pt x="3200400" y="1717675"/>
                  </a:cubicBezTo>
                  <a:cubicBezTo>
                    <a:pt x="3200400" y="1717675"/>
                    <a:pt x="3200400" y="1717675"/>
                    <a:pt x="3200400" y="2466975"/>
                  </a:cubicBezTo>
                  <a:cubicBezTo>
                    <a:pt x="3200400" y="2663220"/>
                    <a:pt x="2485227" y="2841625"/>
                    <a:pt x="1609140" y="2841625"/>
                  </a:cubicBezTo>
                  <a:cubicBezTo>
                    <a:pt x="715173" y="2841625"/>
                    <a:pt x="0" y="2663220"/>
                    <a:pt x="0" y="2466975"/>
                  </a:cubicBezTo>
                  <a:cubicBezTo>
                    <a:pt x="0" y="2466975"/>
                    <a:pt x="0" y="2466975"/>
                    <a:pt x="0" y="1717675"/>
                  </a:cubicBezTo>
                  <a:close/>
                  <a:moveTo>
                    <a:pt x="0" y="688975"/>
                  </a:moveTo>
                  <a:cubicBezTo>
                    <a:pt x="0" y="903061"/>
                    <a:pt x="715173" y="1063625"/>
                    <a:pt x="1609140" y="1063625"/>
                  </a:cubicBezTo>
                  <a:cubicBezTo>
                    <a:pt x="2485227" y="1063625"/>
                    <a:pt x="3200400" y="903061"/>
                    <a:pt x="3200400" y="688975"/>
                  </a:cubicBezTo>
                  <a:cubicBezTo>
                    <a:pt x="3200400" y="688975"/>
                    <a:pt x="3200400" y="688975"/>
                    <a:pt x="3200400" y="1438275"/>
                  </a:cubicBezTo>
                  <a:cubicBezTo>
                    <a:pt x="3200400" y="1652361"/>
                    <a:pt x="2485227" y="1812925"/>
                    <a:pt x="1609140" y="1812925"/>
                  </a:cubicBezTo>
                  <a:cubicBezTo>
                    <a:pt x="715173" y="1812925"/>
                    <a:pt x="0" y="1652361"/>
                    <a:pt x="0" y="1438275"/>
                  </a:cubicBezTo>
                  <a:cubicBezTo>
                    <a:pt x="0" y="1438275"/>
                    <a:pt x="0" y="1438275"/>
                    <a:pt x="0" y="688975"/>
                  </a:cubicBezTo>
                  <a:close/>
                  <a:moveTo>
                    <a:pt x="1600200" y="0"/>
                  </a:moveTo>
                  <a:cubicBezTo>
                    <a:pt x="2483966" y="0"/>
                    <a:pt x="3200400" y="175555"/>
                    <a:pt x="3200400" y="392113"/>
                  </a:cubicBezTo>
                  <a:cubicBezTo>
                    <a:pt x="3200400" y="608671"/>
                    <a:pt x="2483966" y="784226"/>
                    <a:pt x="1600200" y="784226"/>
                  </a:cubicBezTo>
                  <a:cubicBezTo>
                    <a:pt x="716434" y="784226"/>
                    <a:pt x="0" y="608671"/>
                    <a:pt x="0" y="392113"/>
                  </a:cubicBezTo>
                  <a:cubicBezTo>
                    <a:pt x="0" y="175555"/>
                    <a:pt x="716434" y="0"/>
                    <a:pt x="1600200" y="0"/>
                  </a:cubicBezTo>
                  <a:close/>
                </a:path>
              </a:pathLst>
            </a:custGeom>
            <a:solidFill>
              <a:srgbClr val="AAB414"/>
            </a:solidFill>
            <a:ln>
              <a:noFill/>
            </a:ln>
          </p:spPr>
          <p:txBody>
            <a:bodyPr vert="horz" wrap="square" lIns="45696" tIns="22848" rIns="45696" bIns="22848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913623" fontAlgn="auto">
                <a:spcBef>
                  <a:spcPts val="0"/>
                </a:spcBef>
                <a:spcAft>
                  <a:spcPts val="0"/>
                </a:spcAft>
              </a:pPr>
              <a:endParaRPr lang="de-DE" sz="999">
                <a:solidFill>
                  <a:srgbClr val="ADBECB"/>
                </a:solidFill>
                <a:latin typeface="Arial"/>
                <a:ea typeface="+mn-ea"/>
                <a:sym typeface="Avenir Next Medium"/>
              </a:endParaRPr>
            </a:p>
          </p:txBody>
        </p:sp>
      </p:grpSp>
      <p:grpSp>
        <p:nvGrpSpPr>
          <p:cNvPr id="137" name="Gruppieren 153">
            <a:extLst>
              <a:ext uri="{FF2B5EF4-FFF2-40B4-BE49-F238E27FC236}">
                <a16:creationId xmlns:a16="http://schemas.microsoft.com/office/drawing/2014/main" id="{999E5681-682A-4464-BD28-4A2AABA87F91}"/>
              </a:ext>
            </a:extLst>
          </p:cNvPr>
          <p:cNvGrpSpPr/>
          <p:nvPr/>
        </p:nvGrpSpPr>
        <p:grpSpPr>
          <a:xfrm>
            <a:off x="10555691" y="3151022"/>
            <a:ext cx="494011" cy="620573"/>
            <a:chOff x="7143321" y="1782581"/>
            <a:chExt cx="494526" cy="620896"/>
          </a:xfrm>
        </p:grpSpPr>
        <p:sp>
          <p:nvSpPr>
            <p:cNvPr id="138" name="Rectangle 7">
              <a:extLst>
                <a:ext uri="{FF2B5EF4-FFF2-40B4-BE49-F238E27FC236}">
                  <a16:creationId xmlns:a16="http://schemas.microsoft.com/office/drawing/2014/main" id="{1A6B4E5D-A97D-4A89-B00D-F84793DDF5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43321" y="2249717"/>
              <a:ext cx="494526" cy="153760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17991" tIns="0" rIns="0" bIns="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623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999" b="1" dirty="0">
                  <a:solidFill>
                    <a:srgbClr val="3C464B"/>
                  </a:solidFill>
                  <a:latin typeface="Siemens Sans" panose="02020500000000000000" pitchFamily="18" charset="0"/>
                  <a:ea typeface="+mn-ea"/>
                  <a:sym typeface="Avenir Next Medium"/>
                </a:rPr>
                <a:t>Realtime</a:t>
              </a:r>
            </a:p>
          </p:txBody>
        </p:sp>
        <p:sp>
          <p:nvSpPr>
            <p:cNvPr id="139" name="Freihandform: Form 155">
              <a:extLst>
                <a:ext uri="{FF2B5EF4-FFF2-40B4-BE49-F238E27FC236}">
                  <a16:creationId xmlns:a16="http://schemas.microsoft.com/office/drawing/2014/main" id="{A7064853-D635-4A3E-AB4E-B9ABE2309C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17710" y="1782581"/>
              <a:ext cx="345748" cy="418122"/>
            </a:xfrm>
            <a:custGeom>
              <a:avLst/>
              <a:gdLst>
                <a:gd name="connsiteX0" fmla="*/ 0 w 3200400"/>
                <a:gd name="connsiteY0" fmla="*/ 2746376 h 3870326"/>
                <a:gd name="connsiteX1" fmla="*/ 1609140 w 3200400"/>
                <a:gd name="connsiteY1" fmla="*/ 3121026 h 3870326"/>
                <a:gd name="connsiteX2" fmla="*/ 3200400 w 3200400"/>
                <a:gd name="connsiteY2" fmla="*/ 2746376 h 3870326"/>
                <a:gd name="connsiteX3" fmla="*/ 3200400 w 3200400"/>
                <a:gd name="connsiteY3" fmla="*/ 3495676 h 3870326"/>
                <a:gd name="connsiteX4" fmla="*/ 1609140 w 3200400"/>
                <a:gd name="connsiteY4" fmla="*/ 3870326 h 3870326"/>
                <a:gd name="connsiteX5" fmla="*/ 0 w 3200400"/>
                <a:gd name="connsiteY5" fmla="*/ 3495676 h 3870326"/>
                <a:gd name="connsiteX6" fmla="*/ 0 w 3200400"/>
                <a:gd name="connsiteY6" fmla="*/ 2746376 h 3870326"/>
                <a:gd name="connsiteX7" fmla="*/ 0 w 3200400"/>
                <a:gd name="connsiteY7" fmla="*/ 1717675 h 3870326"/>
                <a:gd name="connsiteX8" fmla="*/ 1609140 w 3200400"/>
                <a:gd name="connsiteY8" fmla="*/ 2092325 h 3870326"/>
                <a:gd name="connsiteX9" fmla="*/ 3200400 w 3200400"/>
                <a:gd name="connsiteY9" fmla="*/ 1717675 h 3870326"/>
                <a:gd name="connsiteX10" fmla="*/ 3200400 w 3200400"/>
                <a:gd name="connsiteY10" fmla="*/ 2466975 h 3870326"/>
                <a:gd name="connsiteX11" fmla="*/ 1609140 w 3200400"/>
                <a:gd name="connsiteY11" fmla="*/ 2841625 h 3870326"/>
                <a:gd name="connsiteX12" fmla="*/ 0 w 3200400"/>
                <a:gd name="connsiteY12" fmla="*/ 2466975 h 3870326"/>
                <a:gd name="connsiteX13" fmla="*/ 0 w 3200400"/>
                <a:gd name="connsiteY13" fmla="*/ 1717675 h 3870326"/>
                <a:gd name="connsiteX14" fmla="*/ 0 w 3200400"/>
                <a:gd name="connsiteY14" fmla="*/ 688975 h 3870326"/>
                <a:gd name="connsiteX15" fmla="*/ 1609140 w 3200400"/>
                <a:gd name="connsiteY15" fmla="*/ 1063625 h 3870326"/>
                <a:gd name="connsiteX16" fmla="*/ 3200400 w 3200400"/>
                <a:gd name="connsiteY16" fmla="*/ 688975 h 3870326"/>
                <a:gd name="connsiteX17" fmla="*/ 3200400 w 3200400"/>
                <a:gd name="connsiteY17" fmla="*/ 1438275 h 3870326"/>
                <a:gd name="connsiteX18" fmla="*/ 1609140 w 3200400"/>
                <a:gd name="connsiteY18" fmla="*/ 1812925 h 3870326"/>
                <a:gd name="connsiteX19" fmla="*/ 0 w 3200400"/>
                <a:gd name="connsiteY19" fmla="*/ 1438275 h 3870326"/>
                <a:gd name="connsiteX20" fmla="*/ 0 w 3200400"/>
                <a:gd name="connsiteY20" fmla="*/ 688975 h 3870326"/>
                <a:gd name="connsiteX21" fmla="*/ 1600200 w 3200400"/>
                <a:gd name="connsiteY21" fmla="*/ 0 h 3870326"/>
                <a:gd name="connsiteX22" fmla="*/ 3200400 w 3200400"/>
                <a:gd name="connsiteY22" fmla="*/ 392113 h 3870326"/>
                <a:gd name="connsiteX23" fmla="*/ 1600200 w 3200400"/>
                <a:gd name="connsiteY23" fmla="*/ 784226 h 3870326"/>
                <a:gd name="connsiteX24" fmla="*/ 0 w 3200400"/>
                <a:gd name="connsiteY24" fmla="*/ 392113 h 3870326"/>
                <a:gd name="connsiteX25" fmla="*/ 1600200 w 3200400"/>
                <a:gd name="connsiteY25" fmla="*/ 0 h 3870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200400" h="3870326">
                  <a:moveTo>
                    <a:pt x="0" y="2746376"/>
                  </a:moveTo>
                  <a:cubicBezTo>
                    <a:pt x="0" y="2960462"/>
                    <a:pt x="715173" y="3121026"/>
                    <a:pt x="1609140" y="3121026"/>
                  </a:cubicBezTo>
                  <a:cubicBezTo>
                    <a:pt x="2485227" y="3121026"/>
                    <a:pt x="3200400" y="2960462"/>
                    <a:pt x="3200400" y="2746376"/>
                  </a:cubicBezTo>
                  <a:cubicBezTo>
                    <a:pt x="3200400" y="2746376"/>
                    <a:pt x="3200400" y="2746376"/>
                    <a:pt x="3200400" y="3495676"/>
                  </a:cubicBezTo>
                  <a:cubicBezTo>
                    <a:pt x="3200400" y="3691921"/>
                    <a:pt x="2485227" y="3870326"/>
                    <a:pt x="1609140" y="3870326"/>
                  </a:cubicBezTo>
                  <a:cubicBezTo>
                    <a:pt x="715173" y="3870326"/>
                    <a:pt x="0" y="3691921"/>
                    <a:pt x="0" y="3495676"/>
                  </a:cubicBezTo>
                  <a:cubicBezTo>
                    <a:pt x="0" y="3495676"/>
                    <a:pt x="0" y="3495676"/>
                    <a:pt x="0" y="2746376"/>
                  </a:cubicBezTo>
                  <a:close/>
                  <a:moveTo>
                    <a:pt x="0" y="1717675"/>
                  </a:moveTo>
                  <a:cubicBezTo>
                    <a:pt x="0" y="1931761"/>
                    <a:pt x="715173" y="2092325"/>
                    <a:pt x="1609140" y="2092325"/>
                  </a:cubicBezTo>
                  <a:cubicBezTo>
                    <a:pt x="2485227" y="2092325"/>
                    <a:pt x="3200400" y="1931761"/>
                    <a:pt x="3200400" y="1717675"/>
                  </a:cubicBezTo>
                  <a:cubicBezTo>
                    <a:pt x="3200400" y="1717675"/>
                    <a:pt x="3200400" y="1717675"/>
                    <a:pt x="3200400" y="2466975"/>
                  </a:cubicBezTo>
                  <a:cubicBezTo>
                    <a:pt x="3200400" y="2663220"/>
                    <a:pt x="2485227" y="2841625"/>
                    <a:pt x="1609140" y="2841625"/>
                  </a:cubicBezTo>
                  <a:cubicBezTo>
                    <a:pt x="715173" y="2841625"/>
                    <a:pt x="0" y="2663220"/>
                    <a:pt x="0" y="2466975"/>
                  </a:cubicBezTo>
                  <a:cubicBezTo>
                    <a:pt x="0" y="2466975"/>
                    <a:pt x="0" y="2466975"/>
                    <a:pt x="0" y="1717675"/>
                  </a:cubicBezTo>
                  <a:close/>
                  <a:moveTo>
                    <a:pt x="0" y="688975"/>
                  </a:moveTo>
                  <a:cubicBezTo>
                    <a:pt x="0" y="903061"/>
                    <a:pt x="715173" y="1063625"/>
                    <a:pt x="1609140" y="1063625"/>
                  </a:cubicBezTo>
                  <a:cubicBezTo>
                    <a:pt x="2485227" y="1063625"/>
                    <a:pt x="3200400" y="903061"/>
                    <a:pt x="3200400" y="688975"/>
                  </a:cubicBezTo>
                  <a:cubicBezTo>
                    <a:pt x="3200400" y="688975"/>
                    <a:pt x="3200400" y="688975"/>
                    <a:pt x="3200400" y="1438275"/>
                  </a:cubicBezTo>
                  <a:cubicBezTo>
                    <a:pt x="3200400" y="1652361"/>
                    <a:pt x="2485227" y="1812925"/>
                    <a:pt x="1609140" y="1812925"/>
                  </a:cubicBezTo>
                  <a:cubicBezTo>
                    <a:pt x="715173" y="1812925"/>
                    <a:pt x="0" y="1652361"/>
                    <a:pt x="0" y="1438275"/>
                  </a:cubicBezTo>
                  <a:cubicBezTo>
                    <a:pt x="0" y="1438275"/>
                    <a:pt x="0" y="1438275"/>
                    <a:pt x="0" y="688975"/>
                  </a:cubicBezTo>
                  <a:close/>
                  <a:moveTo>
                    <a:pt x="1600200" y="0"/>
                  </a:moveTo>
                  <a:cubicBezTo>
                    <a:pt x="2483966" y="0"/>
                    <a:pt x="3200400" y="175555"/>
                    <a:pt x="3200400" y="392113"/>
                  </a:cubicBezTo>
                  <a:cubicBezTo>
                    <a:pt x="3200400" y="608671"/>
                    <a:pt x="2483966" y="784226"/>
                    <a:pt x="1600200" y="784226"/>
                  </a:cubicBezTo>
                  <a:cubicBezTo>
                    <a:pt x="716434" y="784226"/>
                    <a:pt x="0" y="608671"/>
                    <a:pt x="0" y="392113"/>
                  </a:cubicBezTo>
                  <a:cubicBezTo>
                    <a:pt x="0" y="175555"/>
                    <a:pt x="716434" y="0"/>
                    <a:pt x="1600200" y="0"/>
                  </a:cubicBezTo>
                  <a:close/>
                </a:path>
              </a:pathLst>
            </a:custGeom>
            <a:solidFill>
              <a:srgbClr val="005F87"/>
            </a:solidFill>
            <a:ln>
              <a:noFill/>
            </a:ln>
          </p:spPr>
          <p:txBody>
            <a:bodyPr vert="horz" wrap="square" lIns="45696" tIns="22848" rIns="45696" bIns="22848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913623" fontAlgn="auto">
                <a:spcBef>
                  <a:spcPts val="0"/>
                </a:spcBef>
                <a:spcAft>
                  <a:spcPts val="0"/>
                </a:spcAft>
              </a:pPr>
              <a:endParaRPr lang="de-DE" sz="999">
                <a:solidFill>
                  <a:srgbClr val="ADBECB"/>
                </a:solidFill>
                <a:latin typeface="Arial"/>
                <a:ea typeface="+mn-ea"/>
                <a:sym typeface="Avenir Next Medium"/>
              </a:endParaRPr>
            </a:p>
          </p:txBody>
        </p:sp>
      </p:grpSp>
      <p:grpSp>
        <p:nvGrpSpPr>
          <p:cNvPr id="140" name="Gruppieren 156">
            <a:extLst>
              <a:ext uri="{FF2B5EF4-FFF2-40B4-BE49-F238E27FC236}">
                <a16:creationId xmlns:a16="http://schemas.microsoft.com/office/drawing/2014/main" id="{1230BDAB-E2C5-41E3-A4B9-4BBCDC527F5F}"/>
              </a:ext>
            </a:extLst>
          </p:cNvPr>
          <p:cNvGrpSpPr/>
          <p:nvPr/>
        </p:nvGrpSpPr>
        <p:grpSpPr>
          <a:xfrm>
            <a:off x="11448841" y="2698538"/>
            <a:ext cx="345388" cy="681566"/>
            <a:chOff x="11309014" y="2188456"/>
            <a:chExt cx="345748" cy="681921"/>
          </a:xfrm>
        </p:grpSpPr>
        <p:sp>
          <p:nvSpPr>
            <p:cNvPr id="141" name="Rectangle 7">
              <a:extLst>
                <a:ext uri="{FF2B5EF4-FFF2-40B4-BE49-F238E27FC236}">
                  <a16:creationId xmlns:a16="http://schemas.microsoft.com/office/drawing/2014/main" id="{74724AB3-58E7-4C19-9C1B-57D78F4EAF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350103" y="2716489"/>
              <a:ext cx="263573" cy="153888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17991" tIns="0" rIns="0" bIns="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623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999" b="1" dirty="0">
                  <a:solidFill>
                    <a:srgbClr val="3C464B"/>
                  </a:solidFill>
                  <a:latin typeface="Siemens Sans" panose="02020500000000000000" pitchFamily="18" charset="0"/>
                  <a:ea typeface="+mn-ea"/>
                  <a:sym typeface="Avenir Next Medium"/>
                </a:rPr>
                <a:t>MES</a:t>
              </a:r>
            </a:p>
          </p:txBody>
        </p:sp>
        <p:sp>
          <p:nvSpPr>
            <p:cNvPr id="142" name="Freihandform: Form 158">
              <a:extLst>
                <a:ext uri="{FF2B5EF4-FFF2-40B4-BE49-F238E27FC236}">
                  <a16:creationId xmlns:a16="http://schemas.microsoft.com/office/drawing/2014/main" id="{FC7CB619-79F1-4B94-8CC5-5CF3191DB0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309014" y="2188456"/>
              <a:ext cx="345748" cy="418122"/>
            </a:xfrm>
            <a:custGeom>
              <a:avLst/>
              <a:gdLst>
                <a:gd name="connsiteX0" fmla="*/ 0 w 3200400"/>
                <a:gd name="connsiteY0" fmla="*/ 2746376 h 3870326"/>
                <a:gd name="connsiteX1" fmla="*/ 1609140 w 3200400"/>
                <a:gd name="connsiteY1" fmla="*/ 3121026 h 3870326"/>
                <a:gd name="connsiteX2" fmla="*/ 3200400 w 3200400"/>
                <a:gd name="connsiteY2" fmla="*/ 2746376 h 3870326"/>
                <a:gd name="connsiteX3" fmla="*/ 3200400 w 3200400"/>
                <a:gd name="connsiteY3" fmla="*/ 3495676 h 3870326"/>
                <a:gd name="connsiteX4" fmla="*/ 1609140 w 3200400"/>
                <a:gd name="connsiteY4" fmla="*/ 3870326 h 3870326"/>
                <a:gd name="connsiteX5" fmla="*/ 0 w 3200400"/>
                <a:gd name="connsiteY5" fmla="*/ 3495676 h 3870326"/>
                <a:gd name="connsiteX6" fmla="*/ 0 w 3200400"/>
                <a:gd name="connsiteY6" fmla="*/ 2746376 h 3870326"/>
                <a:gd name="connsiteX7" fmla="*/ 0 w 3200400"/>
                <a:gd name="connsiteY7" fmla="*/ 1717675 h 3870326"/>
                <a:gd name="connsiteX8" fmla="*/ 1609140 w 3200400"/>
                <a:gd name="connsiteY8" fmla="*/ 2092325 h 3870326"/>
                <a:gd name="connsiteX9" fmla="*/ 3200400 w 3200400"/>
                <a:gd name="connsiteY9" fmla="*/ 1717675 h 3870326"/>
                <a:gd name="connsiteX10" fmla="*/ 3200400 w 3200400"/>
                <a:gd name="connsiteY10" fmla="*/ 2466975 h 3870326"/>
                <a:gd name="connsiteX11" fmla="*/ 1609140 w 3200400"/>
                <a:gd name="connsiteY11" fmla="*/ 2841625 h 3870326"/>
                <a:gd name="connsiteX12" fmla="*/ 0 w 3200400"/>
                <a:gd name="connsiteY12" fmla="*/ 2466975 h 3870326"/>
                <a:gd name="connsiteX13" fmla="*/ 0 w 3200400"/>
                <a:gd name="connsiteY13" fmla="*/ 1717675 h 3870326"/>
                <a:gd name="connsiteX14" fmla="*/ 0 w 3200400"/>
                <a:gd name="connsiteY14" fmla="*/ 688975 h 3870326"/>
                <a:gd name="connsiteX15" fmla="*/ 1609140 w 3200400"/>
                <a:gd name="connsiteY15" fmla="*/ 1063625 h 3870326"/>
                <a:gd name="connsiteX16" fmla="*/ 3200400 w 3200400"/>
                <a:gd name="connsiteY16" fmla="*/ 688975 h 3870326"/>
                <a:gd name="connsiteX17" fmla="*/ 3200400 w 3200400"/>
                <a:gd name="connsiteY17" fmla="*/ 1438275 h 3870326"/>
                <a:gd name="connsiteX18" fmla="*/ 1609140 w 3200400"/>
                <a:gd name="connsiteY18" fmla="*/ 1812925 h 3870326"/>
                <a:gd name="connsiteX19" fmla="*/ 0 w 3200400"/>
                <a:gd name="connsiteY19" fmla="*/ 1438275 h 3870326"/>
                <a:gd name="connsiteX20" fmla="*/ 0 w 3200400"/>
                <a:gd name="connsiteY20" fmla="*/ 688975 h 3870326"/>
                <a:gd name="connsiteX21" fmla="*/ 1600200 w 3200400"/>
                <a:gd name="connsiteY21" fmla="*/ 0 h 3870326"/>
                <a:gd name="connsiteX22" fmla="*/ 3200400 w 3200400"/>
                <a:gd name="connsiteY22" fmla="*/ 392113 h 3870326"/>
                <a:gd name="connsiteX23" fmla="*/ 1600200 w 3200400"/>
                <a:gd name="connsiteY23" fmla="*/ 784226 h 3870326"/>
                <a:gd name="connsiteX24" fmla="*/ 0 w 3200400"/>
                <a:gd name="connsiteY24" fmla="*/ 392113 h 3870326"/>
                <a:gd name="connsiteX25" fmla="*/ 1600200 w 3200400"/>
                <a:gd name="connsiteY25" fmla="*/ 0 h 3870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200400" h="3870326">
                  <a:moveTo>
                    <a:pt x="0" y="2746376"/>
                  </a:moveTo>
                  <a:cubicBezTo>
                    <a:pt x="0" y="2960462"/>
                    <a:pt x="715173" y="3121026"/>
                    <a:pt x="1609140" y="3121026"/>
                  </a:cubicBezTo>
                  <a:cubicBezTo>
                    <a:pt x="2485227" y="3121026"/>
                    <a:pt x="3200400" y="2960462"/>
                    <a:pt x="3200400" y="2746376"/>
                  </a:cubicBezTo>
                  <a:cubicBezTo>
                    <a:pt x="3200400" y="2746376"/>
                    <a:pt x="3200400" y="2746376"/>
                    <a:pt x="3200400" y="3495676"/>
                  </a:cubicBezTo>
                  <a:cubicBezTo>
                    <a:pt x="3200400" y="3691921"/>
                    <a:pt x="2485227" y="3870326"/>
                    <a:pt x="1609140" y="3870326"/>
                  </a:cubicBezTo>
                  <a:cubicBezTo>
                    <a:pt x="715173" y="3870326"/>
                    <a:pt x="0" y="3691921"/>
                    <a:pt x="0" y="3495676"/>
                  </a:cubicBezTo>
                  <a:cubicBezTo>
                    <a:pt x="0" y="3495676"/>
                    <a:pt x="0" y="3495676"/>
                    <a:pt x="0" y="2746376"/>
                  </a:cubicBezTo>
                  <a:close/>
                  <a:moveTo>
                    <a:pt x="0" y="1717675"/>
                  </a:moveTo>
                  <a:cubicBezTo>
                    <a:pt x="0" y="1931761"/>
                    <a:pt x="715173" y="2092325"/>
                    <a:pt x="1609140" y="2092325"/>
                  </a:cubicBezTo>
                  <a:cubicBezTo>
                    <a:pt x="2485227" y="2092325"/>
                    <a:pt x="3200400" y="1931761"/>
                    <a:pt x="3200400" y="1717675"/>
                  </a:cubicBezTo>
                  <a:cubicBezTo>
                    <a:pt x="3200400" y="1717675"/>
                    <a:pt x="3200400" y="1717675"/>
                    <a:pt x="3200400" y="2466975"/>
                  </a:cubicBezTo>
                  <a:cubicBezTo>
                    <a:pt x="3200400" y="2663220"/>
                    <a:pt x="2485227" y="2841625"/>
                    <a:pt x="1609140" y="2841625"/>
                  </a:cubicBezTo>
                  <a:cubicBezTo>
                    <a:pt x="715173" y="2841625"/>
                    <a:pt x="0" y="2663220"/>
                    <a:pt x="0" y="2466975"/>
                  </a:cubicBezTo>
                  <a:cubicBezTo>
                    <a:pt x="0" y="2466975"/>
                    <a:pt x="0" y="2466975"/>
                    <a:pt x="0" y="1717675"/>
                  </a:cubicBezTo>
                  <a:close/>
                  <a:moveTo>
                    <a:pt x="0" y="688975"/>
                  </a:moveTo>
                  <a:cubicBezTo>
                    <a:pt x="0" y="903061"/>
                    <a:pt x="715173" y="1063625"/>
                    <a:pt x="1609140" y="1063625"/>
                  </a:cubicBezTo>
                  <a:cubicBezTo>
                    <a:pt x="2485227" y="1063625"/>
                    <a:pt x="3200400" y="903061"/>
                    <a:pt x="3200400" y="688975"/>
                  </a:cubicBezTo>
                  <a:cubicBezTo>
                    <a:pt x="3200400" y="688975"/>
                    <a:pt x="3200400" y="688975"/>
                    <a:pt x="3200400" y="1438275"/>
                  </a:cubicBezTo>
                  <a:cubicBezTo>
                    <a:pt x="3200400" y="1652361"/>
                    <a:pt x="2485227" y="1812925"/>
                    <a:pt x="1609140" y="1812925"/>
                  </a:cubicBezTo>
                  <a:cubicBezTo>
                    <a:pt x="715173" y="1812925"/>
                    <a:pt x="0" y="1652361"/>
                    <a:pt x="0" y="1438275"/>
                  </a:cubicBezTo>
                  <a:cubicBezTo>
                    <a:pt x="0" y="1438275"/>
                    <a:pt x="0" y="1438275"/>
                    <a:pt x="0" y="688975"/>
                  </a:cubicBezTo>
                  <a:close/>
                  <a:moveTo>
                    <a:pt x="1600200" y="0"/>
                  </a:moveTo>
                  <a:cubicBezTo>
                    <a:pt x="2483966" y="0"/>
                    <a:pt x="3200400" y="175555"/>
                    <a:pt x="3200400" y="392113"/>
                  </a:cubicBezTo>
                  <a:cubicBezTo>
                    <a:pt x="3200400" y="608671"/>
                    <a:pt x="2483966" y="784226"/>
                    <a:pt x="1600200" y="784226"/>
                  </a:cubicBezTo>
                  <a:cubicBezTo>
                    <a:pt x="716434" y="784226"/>
                    <a:pt x="0" y="608671"/>
                    <a:pt x="0" y="392113"/>
                  </a:cubicBezTo>
                  <a:cubicBezTo>
                    <a:pt x="0" y="175555"/>
                    <a:pt x="716434" y="0"/>
                    <a:pt x="1600200" y="0"/>
                  </a:cubicBezTo>
                  <a:close/>
                </a:path>
              </a:pathLst>
            </a:custGeom>
            <a:solidFill>
              <a:srgbClr val="3C464B"/>
            </a:solidFill>
            <a:ln>
              <a:noFill/>
            </a:ln>
          </p:spPr>
          <p:txBody>
            <a:bodyPr vert="horz" wrap="square" lIns="45696" tIns="22848" rIns="45696" bIns="22848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913623" fontAlgn="auto">
                <a:spcBef>
                  <a:spcPts val="0"/>
                </a:spcBef>
                <a:spcAft>
                  <a:spcPts val="0"/>
                </a:spcAft>
              </a:pPr>
              <a:endParaRPr lang="de-DE" sz="999">
                <a:solidFill>
                  <a:srgbClr val="ADBECB"/>
                </a:solidFill>
                <a:latin typeface="Arial"/>
                <a:ea typeface="+mn-ea"/>
                <a:sym typeface="Avenir Next Medium"/>
              </a:endParaRPr>
            </a:p>
          </p:txBody>
        </p:sp>
      </p:grpSp>
      <p:grpSp>
        <p:nvGrpSpPr>
          <p:cNvPr id="143" name="Gruppieren 159">
            <a:extLst>
              <a:ext uri="{FF2B5EF4-FFF2-40B4-BE49-F238E27FC236}">
                <a16:creationId xmlns:a16="http://schemas.microsoft.com/office/drawing/2014/main" id="{D861761F-42EF-4214-86CE-474F1D623572}"/>
              </a:ext>
            </a:extLst>
          </p:cNvPr>
          <p:cNvGrpSpPr/>
          <p:nvPr/>
        </p:nvGrpSpPr>
        <p:grpSpPr>
          <a:xfrm>
            <a:off x="10593801" y="2258711"/>
            <a:ext cx="345388" cy="620574"/>
            <a:chOff x="5939946" y="3246958"/>
            <a:chExt cx="345748" cy="620897"/>
          </a:xfrm>
        </p:grpSpPr>
        <p:sp>
          <p:nvSpPr>
            <p:cNvPr id="144" name="Rectangle 7">
              <a:extLst>
                <a:ext uri="{FF2B5EF4-FFF2-40B4-BE49-F238E27FC236}">
                  <a16:creationId xmlns:a16="http://schemas.microsoft.com/office/drawing/2014/main" id="{CC54FB18-5B91-4AE7-8AB4-EF5A6851A9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90655" y="3714095"/>
              <a:ext cx="244327" cy="153760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17991" tIns="0" rIns="0" bIns="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99" b="1" i="0" u="none" strike="noStrike" kern="0" cap="none" spc="0" normalizeH="0" baseline="0" noProof="0" dirty="0">
                  <a:ln>
                    <a:noFill/>
                  </a:ln>
                  <a:solidFill>
                    <a:srgbClr val="3C464B"/>
                  </a:solidFill>
                  <a:effectLst/>
                  <a:uLnTx/>
                  <a:uFillTx/>
                  <a:latin typeface="Siemens Sans" panose="02020500000000000000" pitchFamily="18" charset="0"/>
                  <a:ea typeface="+mn-ea"/>
                  <a:sym typeface="Avenir Next Medium"/>
                </a:rPr>
                <a:t>QAS</a:t>
              </a:r>
            </a:p>
          </p:txBody>
        </p:sp>
        <p:sp>
          <p:nvSpPr>
            <p:cNvPr id="145" name="Freihandform: Form 161">
              <a:extLst>
                <a:ext uri="{FF2B5EF4-FFF2-40B4-BE49-F238E27FC236}">
                  <a16:creationId xmlns:a16="http://schemas.microsoft.com/office/drawing/2014/main" id="{2346DE58-3274-4BAB-AC48-551DB49B8C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39946" y="3246958"/>
              <a:ext cx="345748" cy="418122"/>
            </a:xfrm>
            <a:custGeom>
              <a:avLst/>
              <a:gdLst>
                <a:gd name="connsiteX0" fmla="*/ 0 w 3200400"/>
                <a:gd name="connsiteY0" fmla="*/ 2746376 h 3870326"/>
                <a:gd name="connsiteX1" fmla="*/ 1609140 w 3200400"/>
                <a:gd name="connsiteY1" fmla="*/ 3121026 h 3870326"/>
                <a:gd name="connsiteX2" fmla="*/ 3200400 w 3200400"/>
                <a:gd name="connsiteY2" fmla="*/ 2746376 h 3870326"/>
                <a:gd name="connsiteX3" fmla="*/ 3200400 w 3200400"/>
                <a:gd name="connsiteY3" fmla="*/ 3495676 h 3870326"/>
                <a:gd name="connsiteX4" fmla="*/ 1609140 w 3200400"/>
                <a:gd name="connsiteY4" fmla="*/ 3870326 h 3870326"/>
                <a:gd name="connsiteX5" fmla="*/ 0 w 3200400"/>
                <a:gd name="connsiteY5" fmla="*/ 3495676 h 3870326"/>
                <a:gd name="connsiteX6" fmla="*/ 0 w 3200400"/>
                <a:gd name="connsiteY6" fmla="*/ 2746376 h 3870326"/>
                <a:gd name="connsiteX7" fmla="*/ 0 w 3200400"/>
                <a:gd name="connsiteY7" fmla="*/ 1717675 h 3870326"/>
                <a:gd name="connsiteX8" fmla="*/ 1609140 w 3200400"/>
                <a:gd name="connsiteY8" fmla="*/ 2092325 h 3870326"/>
                <a:gd name="connsiteX9" fmla="*/ 3200400 w 3200400"/>
                <a:gd name="connsiteY9" fmla="*/ 1717675 h 3870326"/>
                <a:gd name="connsiteX10" fmla="*/ 3200400 w 3200400"/>
                <a:gd name="connsiteY10" fmla="*/ 2466975 h 3870326"/>
                <a:gd name="connsiteX11" fmla="*/ 1609140 w 3200400"/>
                <a:gd name="connsiteY11" fmla="*/ 2841625 h 3870326"/>
                <a:gd name="connsiteX12" fmla="*/ 0 w 3200400"/>
                <a:gd name="connsiteY12" fmla="*/ 2466975 h 3870326"/>
                <a:gd name="connsiteX13" fmla="*/ 0 w 3200400"/>
                <a:gd name="connsiteY13" fmla="*/ 1717675 h 3870326"/>
                <a:gd name="connsiteX14" fmla="*/ 0 w 3200400"/>
                <a:gd name="connsiteY14" fmla="*/ 688975 h 3870326"/>
                <a:gd name="connsiteX15" fmla="*/ 1609140 w 3200400"/>
                <a:gd name="connsiteY15" fmla="*/ 1063625 h 3870326"/>
                <a:gd name="connsiteX16" fmla="*/ 3200400 w 3200400"/>
                <a:gd name="connsiteY16" fmla="*/ 688975 h 3870326"/>
                <a:gd name="connsiteX17" fmla="*/ 3200400 w 3200400"/>
                <a:gd name="connsiteY17" fmla="*/ 1438275 h 3870326"/>
                <a:gd name="connsiteX18" fmla="*/ 1609140 w 3200400"/>
                <a:gd name="connsiteY18" fmla="*/ 1812925 h 3870326"/>
                <a:gd name="connsiteX19" fmla="*/ 0 w 3200400"/>
                <a:gd name="connsiteY19" fmla="*/ 1438275 h 3870326"/>
                <a:gd name="connsiteX20" fmla="*/ 0 w 3200400"/>
                <a:gd name="connsiteY20" fmla="*/ 688975 h 3870326"/>
                <a:gd name="connsiteX21" fmla="*/ 1600200 w 3200400"/>
                <a:gd name="connsiteY21" fmla="*/ 0 h 3870326"/>
                <a:gd name="connsiteX22" fmla="*/ 3200400 w 3200400"/>
                <a:gd name="connsiteY22" fmla="*/ 392113 h 3870326"/>
                <a:gd name="connsiteX23" fmla="*/ 1600200 w 3200400"/>
                <a:gd name="connsiteY23" fmla="*/ 784226 h 3870326"/>
                <a:gd name="connsiteX24" fmla="*/ 0 w 3200400"/>
                <a:gd name="connsiteY24" fmla="*/ 392113 h 3870326"/>
                <a:gd name="connsiteX25" fmla="*/ 1600200 w 3200400"/>
                <a:gd name="connsiteY25" fmla="*/ 0 h 3870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200400" h="3870326">
                  <a:moveTo>
                    <a:pt x="0" y="2746376"/>
                  </a:moveTo>
                  <a:cubicBezTo>
                    <a:pt x="0" y="2960462"/>
                    <a:pt x="715173" y="3121026"/>
                    <a:pt x="1609140" y="3121026"/>
                  </a:cubicBezTo>
                  <a:cubicBezTo>
                    <a:pt x="2485227" y="3121026"/>
                    <a:pt x="3200400" y="2960462"/>
                    <a:pt x="3200400" y="2746376"/>
                  </a:cubicBezTo>
                  <a:cubicBezTo>
                    <a:pt x="3200400" y="2746376"/>
                    <a:pt x="3200400" y="2746376"/>
                    <a:pt x="3200400" y="3495676"/>
                  </a:cubicBezTo>
                  <a:cubicBezTo>
                    <a:pt x="3200400" y="3691921"/>
                    <a:pt x="2485227" y="3870326"/>
                    <a:pt x="1609140" y="3870326"/>
                  </a:cubicBezTo>
                  <a:cubicBezTo>
                    <a:pt x="715173" y="3870326"/>
                    <a:pt x="0" y="3691921"/>
                    <a:pt x="0" y="3495676"/>
                  </a:cubicBezTo>
                  <a:cubicBezTo>
                    <a:pt x="0" y="3495676"/>
                    <a:pt x="0" y="3495676"/>
                    <a:pt x="0" y="2746376"/>
                  </a:cubicBezTo>
                  <a:close/>
                  <a:moveTo>
                    <a:pt x="0" y="1717675"/>
                  </a:moveTo>
                  <a:cubicBezTo>
                    <a:pt x="0" y="1931761"/>
                    <a:pt x="715173" y="2092325"/>
                    <a:pt x="1609140" y="2092325"/>
                  </a:cubicBezTo>
                  <a:cubicBezTo>
                    <a:pt x="2485227" y="2092325"/>
                    <a:pt x="3200400" y="1931761"/>
                    <a:pt x="3200400" y="1717675"/>
                  </a:cubicBezTo>
                  <a:cubicBezTo>
                    <a:pt x="3200400" y="1717675"/>
                    <a:pt x="3200400" y="1717675"/>
                    <a:pt x="3200400" y="2466975"/>
                  </a:cubicBezTo>
                  <a:cubicBezTo>
                    <a:pt x="3200400" y="2663220"/>
                    <a:pt x="2485227" y="2841625"/>
                    <a:pt x="1609140" y="2841625"/>
                  </a:cubicBezTo>
                  <a:cubicBezTo>
                    <a:pt x="715173" y="2841625"/>
                    <a:pt x="0" y="2663220"/>
                    <a:pt x="0" y="2466975"/>
                  </a:cubicBezTo>
                  <a:cubicBezTo>
                    <a:pt x="0" y="2466975"/>
                    <a:pt x="0" y="2466975"/>
                    <a:pt x="0" y="1717675"/>
                  </a:cubicBezTo>
                  <a:close/>
                  <a:moveTo>
                    <a:pt x="0" y="688975"/>
                  </a:moveTo>
                  <a:cubicBezTo>
                    <a:pt x="0" y="903061"/>
                    <a:pt x="715173" y="1063625"/>
                    <a:pt x="1609140" y="1063625"/>
                  </a:cubicBezTo>
                  <a:cubicBezTo>
                    <a:pt x="2485227" y="1063625"/>
                    <a:pt x="3200400" y="903061"/>
                    <a:pt x="3200400" y="688975"/>
                  </a:cubicBezTo>
                  <a:cubicBezTo>
                    <a:pt x="3200400" y="688975"/>
                    <a:pt x="3200400" y="688975"/>
                    <a:pt x="3200400" y="1438275"/>
                  </a:cubicBezTo>
                  <a:cubicBezTo>
                    <a:pt x="3200400" y="1652361"/>
                    <a:pt x="2485227" y="1812925"/>
                    <a:pt x="1609140" y="1812925"/>
                  </a:cubicBezTo>
                  <a:cubicBezTo>
                    <a:pt x="715173" y="1812925"/>
                    <a:pt x="0" y="1652361"/>
                    <a:pt x="0" y="1438275"/>
                  </a:cubicBezTo>
                  <a:cubicBezTo>
                    <a:pt x="0" y="1438275"/>
                    <a:pt x="0" y="1438275"/>
                    <a:pt x="0" y="688975"/>
                  </a:cubicBezTo>
                  <a:close/>
                  <a:moveTo>
                    <a:pt x="1600200" y="0"/>
                  </a:moveTo>
                  <a:cubicBezTo>
                    <a:pt x="2483966" y="0"/>
                    <a:pt x="3200400" y="175555"/>
                    <a:pt x="3200400" y="392113"/>
                  </a:cubicBezTo>
                  <a:cubicBezTo>
                    <a:pt x="3200400" y="608671"/>
                    <a:pt x="2483966" y="784226"/>
                    <a:pt x="1600200" y="784226"/>
                  </a:cubicBezTo>
                  <a:cubicBezTo>
                    <a:pt x="716434" y="784226"/>
                    <a:pt x="0" y="608671"/>
                    <a:pt x="0" y="392113"/>
                  </a:cubicBezTo>
                  <a:cubicBezTo>
                    <a:pt x="0" y="175555"/>
                    <a:pt x="716434" y="0"/>
                    <a:pt x="160020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45696" tIns="22848" rIns="45696" bIns="22848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999" b="0" i="0" u="none" strike="noStrike" kern="0" cap="none" spc="0" normalizeH="0" baseline="0" noProof="0">
                <a:ln>
                  <a:noFill/>
                </a:ln>
                <a:solidFill>
                  <a:srgbClr val="ADBECB"/>
                </a:solidFill>
                <a:effectLst/>
                <a:uLnTx/>
                <a:uFillTx/>
                <a:latin typeface="Arial"/>
                <a:ea typeface="+mn-ea"/>
                <a:sym typeface="Avenir Next Medium"/>
              </a:endParaRPr>
            </a:p>
          </p:txBody>
        </p:sp>
      </p:grp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ECC06236-1462-4B8C-B630-CA0DB8B664BF}"/>
              </a:ext>
            </a:extLst>
          </p:cNvPr>
          <p:cNvCxnSpPr/>
          <p:nvPr/>
        </p:nvCxnSpPr>
        <p:spPr bwMode="auto">
          <a:xfrm>
            <a:off x="4865266" y="1822732"/>
            <a:ext cx="13106" cy="4234560"/>
          </a:xfrm>
          <a:prstGeom prst="line">
            <a:avLst/>
          </a:prstGeom>
          <a:solidFill>
            <a:srgbClr val="0000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7" name="Rectangle 146">
            <a:extLst>
              <a:ext uri="{FF2B5EF4-FFF2-40B4-BE49-F238E27FC236}">
                <a16:creationId xmlns:a16="http://schemas.microsoft.com/office/drawing/2014/main" id="{CC001D8C-110B-4B26-99D2-A82FFA39E074}"/>
              </a:ext>
            </a:extLst>
          </p:cNvPr>
          <p:cNvSpPr/>
          <p:nvPr/>
        </p:nvSpPr>
        <p:spPr>
          <a:xfrm>
            <a:off x="410543" y="2731433"/>
            <a:ext cx="4328993" cy="11997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2399" dirty="0">
                <a:solidFill>
                  <a:srgbClr val="000000"/>
                </a:solidFill>
                <a:latin typeface="Arial"/>
                <a:ea typeface="+mn-ea"/>
              </a:rPr>
              <a:t>Data is everywhere but do you already make best use of that data?</a:t>
            </a:r>
          </a:p>
        </p:txBody>
      </p:sp>
      <p:sp>
        <p:nvSpPr>
          <p:cNvPr id="148" name="Rechteck 101">
            <a:extLst>
              <a:ext uri="{FF2B5EF4-FFF2-40B4-BE49-F238E27FC236}">
                <a16:creationId xmlns:a16="http://schemas.microsoft.com/office/drawing/2014/main" id="{3164A89D-59B3-4D81-9659-66B04E31C574}"/>
              </a:ext>
            </a:extLst>
          </p:cNvPr>
          <p:cNvSpPr/>
          <p:nvPr/>
        </p:nvSpPr>
        <p:spPr bwMode="auto">
          <a:xfrm>
            <a:off x="9303629" y="1690407"/>
            <a:ext cx="1135169" cy="553453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799" b="1" dirty="0">
                <a:solidFill>
                  <a:srgbClr val="AF235F"/>
                </a:solidFill>
                <a:latin typeface="Siemens Slab" panose="02020500000000000000" pitchFamily="18" charset="0"/>
                <a:ea typeface="+mn-ea"/>
              </a:rPr>
              <a:t>Operational</a:t>
            </a:r>
            <a:br>
              <a:rPr lang="de-DE" sz="1799" b="1" dirty="0">
                <a:solidFill>
                  <a:srgbClr val="AF235F"/>
                </a:solidFill>
                <a:latin typeface="Siemens Slab" panose="02020500000000000000" pitchFamily="18" charset="0"/>
                <a:ea typeface="+mn-ea"/>
              </a:rPr>
            </a:br>
            <a:r>
              <a:rPr lang="de-DE" sz="1799" b="1" dirty="0">
                <a:solidFill>
                  <a:srgbClr val="AF235F"/>
                </a:solidFill>
                <a:latin typeface="Siemens Slab" panose="02020500000000000000" pitchFamily="18" charset="0"/>
                <a:ea typeface="+mn-ea"/>
              </a:rPr>
              <a:t>Data</a:t>
            </a:r>
          </a:p>
        </p:txBody>
      </p:sp>
      <p:sp>
        <p:nvSpPr>
          <p:cNvPr id="149" name="Rechteck 99">
            <a:extLst>
              <a:ext uri="{FF2B5EF4-FFF2-40B4-BE49-F238E27FC236}">
                <a16:creationId xmlns:a16="http://schemas.microsoft.com/office/drawing/2014/main" id="{754C7E34-46D9-4A3D-80C4-3434264DE535}"/>
              </a:ext>
            </a:extLst>
          </p:cNvPr>
          <p:cNvSpPr/>
          <p:nvPr/>
        </p:nvSpPr>
        <p:spPr bwMode="auto">
          <a:xfrm>
            <a:off x="7050653" y="1690407"/>
            <a:ext cx="821913" cy="553453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799" b="1" dirty="0">
                <a:solidFill>
                  <a:srgbClr val="879628"/>
                </a:solidFill>
                <a:latin typeface="Siemens Slab" panose="02020500000000000000" pitchFamily="18" charset="0"/>
                <a:ea typeface="+mn-ea"/>
              </a:rPr>
              <a:t>Business</a:t>
            </a:r>
            <a:br>
              <a:rPr lang="de-DE" sz="1799" b="1" dirty="0">
                <a:solidFill>
                  <a:srgbClr val="879628"/>
                </a:solidFill>
                <a:latin typeface="Siemens Slab" panose="02020500000000000000" pitchFamily="18" charset="0"/>
                <a:ea typeface="+mn-ea"/>
              </a:rPr>
            </a:br>
            <a:r>
              <a:rPr lang="de-DE" sz="1799" b="1" dirty="0">
                <a:solidFill>
                  <a:srgbClr val="879628"/>
                </a:solidFill>
                <a:latin typeface="Siemens Slab" panose="02020500000000000000" pitchFamily="18" charset="0"/>
                <a:ea typeface="+mn-ea"/>
              </a:rPr>
              <a:t>Data</a:t>
            </a:r>
          </a:p>
        </p:txBody>
      </p:sp>
      <p:sp>
        <p:nvSpPr>
          <p:cNvPr id="150" name="Rechteck 100">
            <a:extLst>
              <a:ext uri="{FF2B5EF4-FFF2-40B4-BE49-F238E27FC236}">
                <a16:creationId xmlns:a16="http://schemas.microsoft.com/office/drawing/2014/main" id="{6A4C1F8C-56E0-4231-8EAD-259DE609433C}"/>
              </a:ext>
            </a:extLst>
          </p:cNvPr>
          <p:cNvSpPr/>
          <p:nvPr/>
        </p:nvSpPr>
        <p:spPr bwMode="auto">
          <a:xfrm>
            <a:off x="8379092" y="5353088"/>
            <a:ext cx="785447" cy="553453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799" b="1" dirty="0">
                <a:solidFill>
                  <a:srgbClr val="50BED7"/>
                </a:solidFill>
                <a:latin typeface="Siemens Slab" panose="02020500000000000000" pitchFamily="18" charset="0"/>
                <a:ea typeface="+mn-ea"/>
              </a:rPr>
              <a:t>External</a:t>
            </a:r>
            <a:br>
              <a:rPr lang="de-DE" sz="1799" b="1" dirty="0">
                <a:solidFill>
                  <a:srgbClr val="50BED7"/>
                </a:solidFill>
                <a:latin typeface="Siemens Slab" panose="02020500000000000000" pitchFamily="18" charset="0"/>
                <a:ea typeface="+mn-ea"/>
              </a:rPr>
            </a:br>
            <a:r>
              <a:rPr lang="de-DE" sz="1799" b="1" dirty="0">
                <a:solidFill>
                  <a:srgbClr val="50BED7"/>
                </a:solidFill>
                <a:latin typeface="Siemens Slab" panose="02020500000000000000" pitchFamily="18" charset="0"/>
                <a:ea typeface="+mn-ea"/>
              </a:rPr>
              <a:t>Data</a:t>
            </a:r>
          </a:p>
        </p:txBody>
      </p:sp>
    </p:spTree>
    <p:extLst>
      <p:ext uri="{BB962C8B-B14F-4D97-AF65-F5344CB8AC3E}">
        <p14:creationId xmlns:p14="http://schemas.microsoft.com/office/powerpoint/2010/main" val="257406659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CAB53-5F05-4488-89EB-F4F85713748E}"/>
              </a:ext>
            </a:extLst>
          </p:cNvPr>
          <p:cNvSpPr txBox="1">
            <a:spLocks/>
          </p:cNvSpPr>
          <p:nvPr/>
        </p:nvSpPr>
        <p:spPr>
          <a:xfrm>
            <a:off x="2336757" y="0"/>
            <a:ext cx="7524836" cy="108874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ướng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ẫn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ên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iao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ện</a:t>
            </a:r>
            <a:endParaRPr lang="vi-VN" sz="2800" b="1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D0D8DF0-9BDB-4DC4-A5D5-EAAEB527A6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38300" y="1411218"/>
            <a:ext cx="8915400" cy="501246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D3E64A5-0775-49CA-81C4-D355C711B09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6247" t="95859" r="12199" b="1378"/>
          <a:stretch/>
        </p:blipFill>
        <p:spPr>
          <a:xfrm>
            <a:off x="10991850" y="4343400"/>
            <a:ext cx="762000" cy="762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63C359C3-92B7-41FD-88F3-D24CD72028D5}"/>
              </a:ext>
            </a:extLst>
          </p:cNvPr>
          <p:cNvSpPr/>
          <p:nvPr/>
        </p:nvSpPr>
        <p:spPr bwMode="auto">
          <a:xfrm>
            <a:off x="9220200" y="6142383"/>
            <a:ext cx="381000" cy="251483"/>
          </a:xfrm>
          <a:prstGeom prst="rect">
            <a:avLst/>
          </a:prstGeom>
          <a:noFill/>
          <a:ln w="698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endParaRPr lang="en-US" sz="1399" b="1" i="1">
              <a:latin typeface="Times New Roman" pitchFamily="18" charset="0"/>
            </a:endParaRP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6C0194B3-46FA-4FDF-A09E-5BD604F92840}"/>
              </a:ext>
            </a:extLst>
          </p:cNvPr>
          <p:cNvCxnSpPr>
            <a:endCxn id="4" idx="1"/>
          </p:cNvCxnSpPr>
          <p:nvPr/>
        </p:nvCxnSpPr>
        <p:spPr bwMode="auto">
          <a:xfrm flipV="1">
            <a:off x="9601200" y="4724400"/>
            <a:ext cx="1390650" cy="1417983"/>
          </a:xfrm>
          <a:prstGeom prst="straightConnector1">
            <a:avLst/>
          </a:prstGeom>
          <a:solidFill>
            <a:srgbClr val="003399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236394478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CAB53-5F05-4488-89EB-F4F85713748E}"/>
              </a:ext>
            </a:extLst>
          </p:cNvPr>
          <p:cNvSpPr txBox="1">
            <a:spLocks/>
          </p:cNvSpPr>
          <p:nvPr/>
        </p:nvSpPr>
        <p:spPr>
          <a:xfrm>
            <a:off x="2336757" y="0"/>
            <a:ext cx="7524836" cy="108874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ướng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ẫn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ên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iao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ện</a:t>
            </a:r>
            <a:endParaRPr lang="vi-VN" sz="2800" b="1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9" name="Picture 98">
            <a:extLst>
              <a:ext uri="{FF2B5EF4-FFF2-40B4-BE49-F238E27FC236}">
                <a16:creationId xmlns:a16="http://schemas.microsoft.com/office/drawing/2014/main" id="{8ED72DBE-F323-470C-B186-5A3A66B9DC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38300" y="1411218"/>
            <a:ext cx="8915400" cy="5012465"/>
          </a:xfrm>
          <a:prstGeom prst="rect">
            <a:avLst/>
          </a:prstGeom>
        </p:spPr>
      </p:pic>
      <p:sp>
        <p:nvSpPr>
          <p:cNvPr id="100" name="Rectangle 99">
            <a:extLst>
              <a:ext uri="{FF2B5EF4-FFF2-40B4-BE49-F238E27FC236}">
                <a16:creationId xmlns:a16="http://schemas.microsoft.com/office/drawing/2014/main" id="{BDC5C3C5-259D-4DB5-B393-0A9A91410676}"/>
              </a:ext>
            </a:extLst>
          </p:cNvPr>
          <p:cNvSpPr/>
          <p:nvPr/>
        </p:nvSpPr>
        <p:spPr bwMode="auto">
          <a:xfrm>
            <a:off x="9220200" y="6142383"/>
            <a:ext cx="381000" cy="251483"/>
          </a:xfrm>
          <a:prstGeom prst="rect">
            <a:avLst/>
          </a:prstGeom>
          <a:noFill/>
          <a:ln w="698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fontAlgn="auto" hangingPunct="0">
              <a:spcBef>
                <a:spcPts val="0"/>
              </a:spcBef>
              <a:spcAft>
                <a:spcPts val="0"/>
              </a:spcAft>
            </a:pPr>
            <a:endParaRPr lang="en-US" sz="1399" b="1" i="1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cxnSp>
        <p:nvCxnSpPr>
          <p:cNvPr id="101" name="Straight Arrow Connector 100">
            <a:extLst>
              <a:ext uri="{FF2B5EF4-FFF2-40B4-BE49-F238E27FC236}">
                <a16:creationId xmlns:a16="http://schemas.microsoft.com/office/drawing/2014/main" id="{D56B2679-A477-4C5D-9AFC-5F8CA6B65D51}"/>
              </a:ext>
            </a:extLst>
          </p:cNvPr>
          <p:cNvCxnSpPr>
            <a:cxnSpLocks/>
          </p:cNvCxnSpPr>
          <p:nvPr/>
        </p:nvCxnSpPr>
        <p:spPr bwMode="auto">
          <a:xfrm flipV="1">
            <a:off x="9601200" y="4724400"/>
            <a:ext cx="1390650" cy="1417983"/>
          </a:xfrm>
          <a:prstGeom prst="straightConnector1">
            <a:avLst/>
          </a:prstGeom>
          <a:solidFill>
            <a:srgbClr val="003399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102" name="Picture 101">
            <a:extLst>
              <a:ext uri="{FF2B5EF4-FFF2-40B4-BE49-F238E27FC236}">
                <a16:creationId xmlns:a16="http://schemas.microsoft.com/office/drawing/2014/main" id="{DACDDF97-A9EC-4EE2-94DB-4F6AA765392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-437" b="12348"/>
          <a:stretch/>
        </p:blipFill>
        <p:spPr>
          <a:xfrm>
            <a:off x="9529762" y="3260034"/>
            <a:ext cx="2047875" cy="2835966"/>
          </a:xfrm>
          <a:prstGeom prst="rect">
            <a:avLst/>
          </a:prstGeom>
        </p:spPr>
      </p:pic>
      <p:sp>
        <p:nvSpPr>
          <p:cNvPr id="103" name="Rectangle 102">
            <a:extLst>
              <a:ext uri="{FF2B5EF4-FFF2-40B4-BE49-F238E27FC236}">
                <a16:creationId xmlns:a16="http://schemas.microsoft.com/office/drawing/2014/main" id="{E2342EF3-D0BD-4502-9656-39CEB596719E}"/>
              </a:ext>
            </a:extLst>
          </p:cNvPr>
          <p:cNvSpPr/>
          <p:nvPr/>
        </p:nvSpPr>
        <p:spPr bwMode="auto">
          <a:xfrm>
            <a:off x="5867400" y="3833704"/>
            <a:ext cx="3276600" cy="307599"/>
          </a:xfrm>
          <a:prstGeom prst="rect">
            <a:avLst/>
          </a:prstGeom>
          <a:solidFill>
            <a:srgbClr val="FFFFFF"/>
          </a:solidFill>
          <a:ln w="698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3943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9" b="1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</a:rPr>
              <a:t>Công</a:t>
            </a:r>
            <a:r>
              <a:rPr kumimoji="0" lang="en-US" sz="1399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</a:rPr>
              <a:t> </a:t>
            </a:r>
            <a:r>
              <a:rPr kumimoji="0" lang="en-US" sz="1399" b="1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</a:rPr>
              <a:t>cụ</a:t>
            </a:r>
            <a:r>
              <a:rPr kumimoji="0" lang="en-US" sz="1399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</a:rPr>
              <a:t> </a:t>
            </a:r>
            <a:r>
              <a:rPr kumimoji="0" lang="en-US" sz="1399" b="1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</a:rPr>
              <a:t>truy</a:t>
            </a:r>
            <a:r>
              <a:rPr kumimoji="0" lang="en-US" sz="1399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</a:rPr>
              <a:t> </a:t>
            </a:r>
            <a:r>
              <a:rPr kumimoji="0" lang="en-US" sz="1399" b="1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</a:rPr>
              <a:t>vấn</a:t>
            </a:r>
            <a:r>
              <a:rPr kumimoji="0" lang="en-US" sz="1399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</a:rPr>
              <a:t> </a:t>
            </a:r>
            <a:r>
              <a:rPr kumimoji="0" lang="en-US" sz="1399" b="1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</a:rPr>
              <a:t>dữ</a:t>
            </a:r>
            <a:r>
              <a:rPr kumimoji="0" lang="en-US" sz="1399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</a:rPr>
              <a:t> </a:t>
            </a:r>
            <a:r>
              <a:rPr kumimoji="0" lang="en-US" sz="1399" b="1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</a:rPr>
              <a:t>liệu</a:t>
            </a:r>
            <a:endParaRPr kumimoji="0" lang="en-US" sz="1399" b="1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B2579149-B652-431C-85E4-77DFABB4D55A}"/>
              </a:ext>
            </a:extLst>
          </p:cNvPr>
          <p:cNvSpPr/>
          <p:nvPr/>
        </p:nvSpPr>
        <p:spPr bwMode="auto">
          <a:xfrm>
            <a:off x="9529762" y="3848010"/>
            <a:ext cx="2047875" cy="266790"/>
          </a:xfrm>
          <a:prstGeom prst="rect">
            <a:avLst/>
          </a:prstGeom>
          <a:noFill/>
          <a:ln w="12700" cap="flat" cmpd="sng" algn="ctr">
            <a:solidFill>
              <a:srgbClr val="9933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fontAlgn="auto" hangingPunct="0">
              <a:spcBef>
                <a:spcPts val="0"/>
              </a:spcBef>
              <a:spcAft>
                <a:spcPts val="0"/>
              </a:spcAft>
            </a:pPr>
            <a:endParaRPr lang="en-US" sz="1399" b="1" i="1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8462CC6B-74E3-43D1-AFAC-0C63914D133F}"/>
              </a:ext>
            </a:extLst>
          </p:cNvPr>
          <p:cNvSpPr/>
          <p:nvPr/>
        </p:nvSpPr>
        <p:spPr bwMode="auto">
          <a:xfrm>
            <a:off x="9529762" y="4114800"/>
            <a:ext cx="2047875" cy="266790"/>
          </a:xfrm>
          <a:prstGeom prst="rect">
            <a:avLst/>
          </a:prstGeom>
          <a:noFill/>
          <a:ln w="12700" cap="flat" cmpd="sng" algn="ctr">
            <a:solidFill>
              <a:srgbClr val="9933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fontAlgn="auto" hangingPunct="0">
              <a:spcBef>
                <a:spcPts val="0"/>
              </a:spcBef>
              <a:spcAft>
                <a:spcPts val="0"/>
              </a:spcAft>
            </a:pPr>
            <a:endParaRPr lang="en-US" sz="1399" b="1" i="1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8D182751-DFB4-47F2-8DC7-F9EA8CDE027D}"/>
              </a:ext>
            </a:extLst>
          </p:cNvPr>
          <p:cNvSpPr/>
          <p:nvPr/>
        </p:nvSpPr>
        <p:spPr bwMode="auto">
          <a:xfrm>
            <a:off x="5867400" y="4142358"/>
            <a:ext cx="3276600" cy="307599"/>
          </a:xfrm>
          <a:prstGeom prst="rect">
            <a:avLst/>
          </a:prstGeom>
          <a:solidFill>
            <a:srgbClr val="FFFFFF"/>
          </a:solidFill>
          <a:ln w="698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3943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9" b="1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</a:rPr>
              <a:t>Công</a:t>
            </a:r>
            <a:r>
              <a:rPr kumimoji="0" lang="en-US" sz="1399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</a:rPr>
              <a:t> </a:t>
            </a:r>
            <a:r>
              <a:rPr kumimoji="0" lang="en-US" sz="1399" b="1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</a:rPr>
              <a:t>cụ</a:t>
            </a:r>
            <a:r>
              <a:rPr kumimoji="0" lang="en-US" sz="1399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</a:rPr>
              <a:t> </a:t>
            </a:r>
            <a:r>
              <a:rPr kumimoji="0" lang="en-US" sz="1399" b="1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</a:rPr>
              <a:t>thiết</a:t>
            </a:r>
            <a:r>
              <a:rPr kumimoji="0" lang="en-US" sz="1399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</a:rPr>
              <a:t> </a:t>
            </a:r>
            <a:r>
              <a:rPr kumimoji="0" lang="en-US" sz="1399" b="1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</a:rPr>
              <a:t>kế</a:t>
            </a:r>
            <a:r>
              <a:rPr kumimoji="0" lang="en-US" sz="1399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</a:rPr>
              <a:t> </a:t>
            </a:r>
            <a:r>
              <a:rPr kumimoji="0" lang="en-US" sz="1399" b="1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</a:rPr>
              <a:t>giao</a:t>
            </a:r>
            <a:r>
              <a:rPr kumimoji="0" lang="en-US" sz="1399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</a:rPr>
              <a:t> </a:t>
            </a:r>
            <a:r>
              <a:rPr kumimoji="0" lang="en-US" sz="1399" b="1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</a:rPr>
              <a:t>diện</a:t>
            </a:r>
            <a:endParaRPr kumimoji="0" lang="en-US" sz="1399" b="1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</a:endParaRPr>
          </a:p>
        </p:txBody>
      </p:sp>
      <p:sp>
        <p:nvSpPr>
          <p:cNvPr id="107" name="Arrow: Right 106">
            <a:extLst>
              <a:ext uri="{FF2B5EF4-FFF2-40B4-BE49-F238E27FC236}">
                <a16:creationId xmlns:a16="http://schemas.microsoft.com/office/drawing/2014/main" id="{98A098D8-905F-46DD-BCBB-B8939B7E442E}"/>
              </a:ext>
            </a:extLst>
          </p:cNvPr>
          <p:cNvSpPr/>
          <p:nvPr/>
        </p:nvSpPr>
        <p:spPr bwMode="auto">
          <a:xfrm rot="10800000">
            <a:off x="9144000" y="3915837"/>
            <a:ext cx="309562" cy="131136"/>
          </a:xfrm>
          <a:prstGeom prst="rightArrow">
            <a:avLst/>
          </a:prstGeom>
          <a:noFill/>
          <a:ln w="69850" cap="flat" cmpd="sng" algn="ctr">
            <a:solidFill>
              <a:srgbClr val="9933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fontAlgn="auto" hangingPunct="0">
              <a:spcBef>
                <a:spcPts val="0"/>
              </a:spcBef>
              <a:spcAft>
                <a:spcPts val="0"/>
              </a:spcAft>
            </a:pPr>
            <a:endParaRPr lang="en-US" sz="1399" b="1" i="1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108" name="Arrow: Right 107">
            <a:extLst>
              <a:ext uri="{FF2B5EF4-FFF2-40B4-BE49-F238E27FC236}">
                <a16:creationId xmlns:a16="http://schemas.microsoft.com/office/drawing/2014/main" id="{5214BC3B-721C-4435-80E0-280853C0A2C9}"/>
              </a:ext>
            </a:extLst>
          </p:cNvPr>
          <p:cNvSpPr/>
          <p:nvPr/>
        </p:nvSpPr>
        <p:spPr bwMode="auto">
          <a:xfrm rot="10800000">
            <a:off x="9170504" y="4230589"/>
            <a:ext cx="309562" cy="131136"/>
          </a:xfrm>
          <a:prstGeom prst="rightArrow">
            <a:avLst/>
          </a:prstGeom>
          <a:noFill/>
          <a:ln w="69850" cap="flat" cmpd="sng" algn="ctr">
            <a:solidFill>
              <a:srgbClr val="9933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fontAlgn="auto" hangingPunct="0">
              <a:spcBef>
                <a:spcPts val="0"/>
              </a:spcBef>
              <a:spcAft>
                <a:spcPts val="0"/>
              </a:spcAft>
            </a:pPr>
            <a:endParaRPr lang="en-US" sz="1399" b="1" i="1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8381624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CAB53-5F05-4488-89EB-F4F85713748E}"/>
              </a:ext>
            </a:extLst>
          </p:cNvPr>
          <p:cNvSpPr txBox="1">
            <a:spLocks/>
          </p:cNvSpPr>
          <p:nvPr/>
        </p:nvSpPr>
        <p:spPr>
          <a:xfrm>
            <a:off x="2336757" y="0"/>
            <a:ext cx="7524836" cy="108874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b="1" dirty="0" err="1">
                <a:solidFill>
                  <a:srgbClr val="1E1E5C"/>
                </a:solidFill>
                <a:cs typeface="Times New Roman" panose="02020603050405020304" pitchFamily="18" charset="0"/>
              </a:rPr>
              <a:t>Hướng</a:t>
            </a:r>
            <a:r>
              <a:rPr lang="en-US" sz="2800" b="1" dirty="0">
                <a:solidFill>
                  <a:srgbClr val="1E1E5C"/>
                </a:solidFill>
                <a:cs typeface="Times New Roman" panose="02020603050405020304" pitchFamily="18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cs typeface="Times New Roman" panose="02020603050405020304" pitchFamily="18" charset="0"/>
              </a:rPr>
              <a:t>dẫn</a:t>
            </a:r>
            <a:r>
              <a:rPr lang="en-US" sz="2800" b="1" dirty="0">
                <a:solidFill>
                  <a:srgbClr val="1E1E5C"/>
                </a:solidFill>
                <a:cs typeface="Times New Roman" panose="02020603050405020304" pitchFamily="18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cs typeface="Times New Roman" panose="02020603050405020304" pitchFamily="18" charset="0"/>
              </a:rPr>
              <a:t>trên</a:t>
            </a:r>
            <a:r>
              <a:rPr lang="en-US" sz="2800" b="1" dirty="0">
                <a:solidFill>
                  <a:srgbClr val="1E1E5C"/>
                </a:solidFill>
                <a:cs typeface="Times New Roman" panose="02020603050405020304" pitchFamily="18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cs typeface="Times New Roman" panose="02020603050405020304" pitchFamily="18" charset="0"/>
              </a:rPr>
              <a:t>giao</a:t>
            </a:r>
            <a:r>
              <a:rPr lang="en-US" sz="2800" b="1" dirty="0">
                <a:solidFill>
                  <a:srgbClr val="1E1E5C"/>
                </a:solidFill>
                <a:cs typeface="Times New Roman" panose="02020603050405020304" pitchFamily="18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cs typeface="Times New Roman" panose="02020603050405020304" pitchFamily="18" charset="0"/>
              </a:rPr>
              <a:t>diện</a:t>
            </a:r>
            <a:endParaRPr lang="vi-VN" sz="2800" b="1" dirty="0">
              <a:solidFill>
                <a:srgbClr val="1E1E5C"/>
              </a:solidFill>
              <a:cs typeface="Times New Roman" panose="02020603050405020304" pitchFamily="18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7206BA9C-D020-41CB-8C5B-2A85C25170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84562" y="1676400"/>
            <a:ext cx="8724900" cy="4649874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B1B88E03-5071-49C3-A0D9-37307B631A9E}"/>
              </a:ext>
            </a:extLst>
          </p:cNvPr>
          <p:cNvSpPr/>
          <p:nvPr/>
        </p:nvSpPr>
        <p:spPr bwMode="auto">
          <a:xfrm>
            <a:off x="3713362" y="2445825"/>
            <a:ext cx="4981141" cy="3127361"/>
          </a:xfrm>
          <a:prstGeom prst="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fontAlgn="auto" hangingPunct="0">
              <a:spcBef>
                <a:spcPts val="0"/>
              </a:spcBef>
              <a:spcAft>
                <a:spcPts val="0"/>
              </a:spcAft>
            </a:pPr>
            <a:endParaRPr lang="en-US" sz="1399" b="1" i="1">
              <a:solidFill>
                <a:srgbClr val="000000"/>
              </a:solidFill>
              <a:latin typeface="+mj-lt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5A62A32-5E9A-49AC-91C2-407441587D1B}"/>
              </a:ext>
            </a:extLst>
          </p:cNvPr>
          <p:cNvSpPr/>
          <p:nvPr/>
        </p:nvSpPr>
        <p:spPr bwMode="auto">
          <a:xfrm>
            <a:off x="2265562" y="4626495"/>
            <a:ext cx="1333499" cy="1502800"/>
          </a:xfrm>
          <a:prstGeom prst="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fontAlgn="auto" hangingPunct="0">
              <a:spcBef>
                <a:spcPts val="0"/>
              </a:spcBef>
              <a:spcAft>
                <a:spcPts val="0"/>
              </a:spcAft>
            </a:pPr>
            <a:endParaRPr lang="en-US" sz="1399" b="1" i="1">
              <a:solidFill>
                <a:srgbClr val="000000"/>
              </a:solidFill>
              <a:latin typeface="+mj-lt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58B7C27-6696-487B-BA6E-713818909F6A}"/>
              </a:ext>
            </a:extLst>
          </p:cNvPr>
          <p:cNvSpPr/>
          <p:nvPr/>
        </p:nvSpPr>
        <p:spPr bwMode="auto">
          <a:xfrm>
            <a:off x="1871310" y="1923906"/>
            <a:ext cx="8724900" cy="307600"/>
          </a:xfrm>
          <a:prstGeom prst="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fontAlgn="auto" hangingPunct="0">
              <a:spcBef>
                <a:spcPts val="0"/>
              </a:spcBef>
              <a:spcAft>
                <a:spcPts val="0"/>
              </a:spcAft>
            </a:pPr>
            <a:endParaRPr lang="en-US" sz="1399" b="1" i="1">
              <a:solidFill>
                <a:srgbClr val="000000"/>
              </a:solidFill>
              <a:latin typeface="+mj-lt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DE576E2-1FBA-4621-B658-C00CBC9CFFC2}"/>
              </a:ext>
            </a:extLst>
          </p:cNvPr>
          <p:cNvSpPr/>
          <p:nvPr/>
        </p:nvSpPr>
        <p:spPr bwMode="auto">
          <a:xfrm>
            <a:off x="1871310" y="2231505"/>
            <a:ext cx="311405" cy="4094767"/>
          </a:xfrm>
          <a:prstGeom prst="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fontAlgn="auto" hangingPunct="0">
              <a:spcBef>
                <a:spcPts val="0"/>
              </a:spcBef>
              <a:spcAft>
                <a:spcPts val="0"/>
              </a:spcAft>
            </a:pPr>
            <a:endParaRPr lang="en-US" sz="1399" b="1" i="1">
              <a:solidFill>
                <a:srgbClr val="000000"/>
              </a:solidFill>
              <a:latin typeface="+mj-lt"/>
              <a:ea typeface="+mn-ea"/>
              <a:cs typeface="Times New Roman" panose="02020603050405020304" pitchFamily="18" charset="0"/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23E454B7-80F8-455E-9A6A-17DA6C7C36A8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1268336" y="2875354"/>
            <a:ext cx="579782" cy="385448"/>
          </a:xfrm>
          <a:prstGeom prst="straightConnector1">
            <a:avLst/>
          </a:prstGeom>
          <a:solidFill>
            <a:srgbClr val="003399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FA7BD591-5336-4415-9961-0BC74B0434F4}"/>
              </a:ext>
            </a:extLst>
          </p:cNvPr>
          <p:cNvCxnSpPr>
            <a:cxnSpLocks/>
          </p:cNvCxnSpPr>
          <p:nvPr/>
        </p:nvCxnSpPr>
        <p:spPr bwMode="auto">
          <a:xfrm flipH="1">
            <a:off x="1268336" y="2057402"/>
            <a:ext cx="997226" cy="323164"/>
          </a:xfrm>
          <a:prstGeom prst="straightConnector1">
            <a:avLst/>
          </a:prstGeom>
          <a:solidFill>
            <a:srgbClr val="003399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AD640EA2-B9A2-4427-BB7D-E0E1DE327420}"/>
              </a:ext>
            </a:extLst>
          </p:cNvPr>
          <p:cNvSpPr txBox="1"/>
          <p:nvPr/>
        </p:nvSpPr>
        <p:spPr>
          <a:xfrm>
            <a:off x="490193" y="2445825"/>
            <a:ext cx="1089548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dirty="0">
                <a:solidFill>
                  <a:srgbClr val="000000"/>
                </a:solidFill>
                <a:latin typeface="+mj-lt"/>
                <a:ea typeface="+mn-ea"/>
                <a:cs typeface="Times New Roman" panose="02020603050405020304" pitchFamily="18" charset="0"/>
              </a:rPr>
              <a:t>Thanh </a:t>
            </a:r>
            <a:r>
              <a:rPr lang="en-US" sz="1100" b="1" dirty="0" err="1">
                <a:solidFill>
                  <a:srgbClr val="000000"/>
                </a:solidFill>
                <a:latin typeface="+mj-lt"/>
                <a:ea typeface="+mn-ea"/>
                <a:cs typeface="Times New Roman" panose="02020603050405020304" pitchFamily="18" charset="0"/>
              </a:rPr>
              <a:t>công</a:t>
            </a:r>
            <a:r>
              <a:rPr lang="en-US" sz="1100" b="1" dirty="0">
                <a:solidFill>
                  <a:srgbClr val="000000"/>
                </a:solidFill>
                <a:latin typeface="+mj-lt"/>
                <a:ea typeface="+mn-ea"/>
                <a:cs typeface="Times New Roman" panose="02020603050405020304" pitchFamily="18" charset="0"/>
              </a:rPr>
              <a:t> </a:t>
            </a:r>
            <a:r>
              <a:rPr lang="en-US" sz="1100" b="1" dirty="0" err="1">
                <a:solidFill>
                  <a:srgbClr val="000000"/>
                </a:solidFill>
                <a:latin typeface="+mj-lt"/>
                <a:ea typeface="+mn-ea"/>
                <a:cs typeface="Times New Roman" panose="02020603050405020304" pitchFamily="18" charset="0"/>
              </a:rPr>
              <a:t>cụ</a:t>
            </a:r>
            <a:endParaRPr lang="en-US" sz="1100" b="1" dirty="0">
              <a:solidFill>
                <a:srgbClr val="000000"/>
              </a:solidFill>
              <a:latin typeface="+mj-lt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673550C-5FC1-408D-A9CF-204E18EC0903}"/>
              </a:ext>
            </a:extLst>
          </p:cNvPr>
          <p:cNvSpPr/>
          <p:nvPr/>
        </p:nvSpPr>
        <p:spPr bwMode="auto">
          <a:xfrm>
            <a:off x="8971162" y="2653105"/>
            <a:ext cx="1524000" cy="1461132"/>
          </a:xfrm>
          <a:prstGeom prst="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fontAlgn="auto" hangingPunct="0">
              <a:spcBef>
                <a:spcPts val="0"/>
              </a:spcBef>
              <a:spcAft>
                <a:spcPts val="0"/>
              </a:spcAft>
            </a:pPr>
            <a:endParaRPr lang="en-US" sz="1399" b="1" i="1">
              <a:solidFill>
                <a:srgbClr val="000000"/>
              </a:solidFill>
              <a:latin typeface="+mj-lt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059B0D8-77E1-426C-BA61-AE8A6386B58F}"/>
              </a:ext>
            </a:extLst>
          </p:cNvPr>
          <p:cNvSpPr/>
          <p:nvPr/>
        </p:nvSpPr>
        <p:spPr bwMode="auto">
          <a:xfrm>
            <a:off x="8999324" y="4535836"/>
            <a:ext cx="1495838" cy="1722588"/>
          </a:xfrm>
          <a:prstGeom prst="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fontAlgn="auto" hangingPunct="0">
              <a:spcBef>
                <a:spcPts val="0"/>
              </a:spcBef>
              <a:spcAft>
                <a:spcPts val="0"/>
              </a:spcAft>
            </a:pPr>
            <a:endParaRPr lang="en-US" sz="1399" b="1" i="1">
              <a:solidFill>
                <a:srgbClr val="000000"/>
              </a:solidFill>
              <a:latin typeface="+mj-lt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B45D396-B54B-4A7A-AE93-604F21482AB8}"/>
              </a:ext>
            </a:extLst>
          </p:cNvPr>
          <p:cNvSpPr txBox="1"/>
          <p:nvPr/>
        </p:nvSpPr>
        <p:spPr>
          <a:xfrm>
            <a:off x="10609462" y="2782669"/>
            <a:ext cx="1394369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dirty="0" err="1">
                <a:solidFill>
                  <a:srgbClr val="000000"/>
                </a:solidFill>
                <a:latin typeface="+mj-lt"/>
                <a:ea typeface="+mn-ea"/>
                <a:cs typeface="Times New Roman" panose="02020603050405020304" pitchFamily="18" charset="0"/>
              </a:rPr>
              <a:t>Các</a:t>
            </a:r>
            <a:r>
              <a:rPr lang="en-US" sz="1100" b="1" dirty="0">
                <a:solidFill>
                  <a:srgbClr val="000000"/>
                </a:solidFill>
                <a:latin typeface="+mj-lt"/>
                <a:ea typeface="+mn-ea"/>
                <a:cs typeface="Times New Roman" panose="02020603050405020304" pitchFamily="18" charset="0"/>
              </a:rPr>
              <a:t> </a:t>
            </a:r>
            <a:r>
              <a:rPr lang="en-US" sz="1100" b="1" dirty="0" err="1">
                <a:solidFill>
                  <a:srgbClr val="000000"/>
                </a:solidFill>
                <a:latin typeface="+mj-lt"/>
                <a:ea typeface="+mn-ea"/>
                <a:cs typeface="Times New Roman" panose="02020603050405020304" pitchFamily="18" charset="0"/>
              </a:rPr>
              <a:t>đối</a:t>
            </a:r>
            <a:r>
              <a:rPr lang="en-US" sz="1100" b="1" dirty="0">
                <a:solidFill>
                  <a:srgbClr val="000000"/>
                </a:solidFill>
                <a:latin typeface="+mj-lt"/>
                <a:ea typeface="+mn-ea"/>
                <a:cs typeface="Times New Roman" panose="02020603050405020304" pitchFamily="18" charset="0"/>
              </a:rPr>
              <a:t> </a:t>
            </a:r>
            <a:r>
              <a:rPr lang="en-US" sz="1100" b="1" dirty="0" err="1">
                <a:solidFill>
                  <a:srgbClr val="000000"/>
                </a:solidFill>
                <a:latin typeface="+mj-lt"/>
                <a:ea typeface="+mn-ea"/>
                <a:cs typeface="Times New Roman" panose="02020603050405020304" pitchFamily="18" charset="0"/>
              </a:rPr>
              <a:t>tượng</a:t>
            </a:r>
            <a:r>
              <a:rPr lang="en-US" sz="1100" b="1" dirty="0">
                <a:solidFill>
                  <a:srgbClr val="000000"/>
                </a:solidFill>
                <a:latin typeface="+mj-lt"/>
                <a:ea typeface="+mn-ea"/>
                <a:cs typeface="Times New Roman" panose="02020603050405020304" pitchFamily="18" charset="0"/>
              </a:rPr>
              <a:t> </a:t>
            </a:r>
            <a:r>
              <a:rPr lang="en-US" sz="1100" b="1" dirty="0" err="1">
                <a:solidFill>
                  <a:srgbClr val="000000"/>
                </a:solidFill>
                <a:latin typeface="+mj-lt"/>
                <a:ea typeface="+mn-ea"/>
                <a:cs typeface="Times New Roman" panose="02020603050405020304" pitchFamily="18" charset="0"/>
              </a:rPr>
              <a:t>trong</a:t>
            </a:r>
            <a:r>
              <a:rPr lang="en-US" sz="1100" b="1" dirty="0">
                <a:solidFill>
                  <a:srgbClr val="000000"/>
                </a:solidFill>
                <a:latin typeface="+mj-lt"/>
                <a:ea typeface="+mn-ea"/>
                <a:cs typeface="Times New Roman" panose="02020603050405020304" pitchFamily="18" charset="0"/>
              </a:rPr>
              <a:t> View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64B2D23-EDA2-4BE7-8CDC-E246D0159959}"/>
              </a:ext>
            </a:extLst>
          </p:cNvPr>
          <p:cNvSpPr txBox="1"/>
          <p:nvPr/>
        </p:nvSpPr>
        <p:spPr>
          <a:xfrm>
            <a:off x="10723762" y="4712798"/>
            <a:ext cx="1394369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dirty="0" err="1">
                <a:solidFill>
                  <a:srgbClr val="000000"/>
                </a:solidFill>
                <a:latin typeface="+mj-lt"/>
                <a:ea typeface="+mn-ea"/>
                <a:cs typeface="Times New Roman" panose="02020603050405020304" pitchFamily="18" charset="0"/>
              </a:rPr>
              <a:t>Các</a:t>
            </a:r>
            <a:r>
              <a:rPr lang="en-US" sz="1100" b="1" dirty="0">
                <a:solidFill>
                  <a:srgbClr val="000000"/>
                </a:solidFill>
                <a:latin typeface="+mj-lt"/>
                <a:ea typeface="+mn-ea"/>
                <a:cs typeface="Times New Roman" panose="02020603050405020304" pitchFamily="18" charset="0"/>
              </a:rPr>
              <a:t> </a:t>
            </a:r>
            <a:r>
              <a:rPr lang="en-US" sz="1100" b="1" dirty="0" err="1">
                <a:solidFill>
                  <a:srgbClr val="000000"/>
                </a:solidFill>
                <a:latin typeface="+mj-lt"/>
                <a:ea typeface="+mn-ea"/>
                <a:cs typeface="Times New Roman" panose="02020603050405020304" pitchFamily="18" charset="0"/>
              </a:rPr>
              <a:t>thuộc</a:t>
            </a:r>
            <a:r>
              <a:rPr lang="en-US" sz="1100" b="1" dirty="0">
                <a:solidFill>
                  <a:srgbClr val="000000"/>
                </a:solidFill>
                <a:latin typeface="+mj-lt"/>
                <a:ea typeface="+mn-ea"/>
                <a:cs typeface="Times New Roman" panose="02020603050405020304" pitchFamily="18" charset="0"/>
              </a:rPr>
              <a:t> </a:t>
            </a:r>
            <a:r>
              <a:rPr lang="en-US" sz="1100" b="1" dirty="0" err="1">
                <a:solidFill>
                  <a:srgbClr val="000000"/>
                </a:solidFill>
                <a:latin typeface="+mj-lt"/>
                <a:ea typeface="+mn-ea"/>
                <a:cs typeface="Times New Roman" panose="02020603050405020304" pitchFamily="18" charset="0"/>
              </a:rPr>
              <a:t>tính</a:t>
            </a:r>
            <a:r>
              <a:rPr lang="en-US" sz="1100" b="1" dirty="0">
                <a:solidFill>
                  <a:srgbClr val="000000"/>
                </a:solidFill>
                <a:latin typeface="+mj-lt"/>
                <a:ea typeface="+mn-ea"/>
                <a:cs typeface="Times New Roman" panose="02020603050405020304" pitchFamily="18" charset="0"/>
              </a:rPr>
              <a:t> </a:t>
            </a:r>
            <a:r>
              <a:rPr lang="en-US" sz="1100" b="1" dirty="0" err="1">
                <a:solidFill>
                  <a:srgbClr val="000000"/>
                </a:solidFill>
                <a:latin typeface="+mj-lt"/>
                <a:ea typeface="+mn-ea"/>
                <a:cs typeface="Times New Roman" panose="02020603050405020304" pitchFamily="18" charset="0"/>
              </a:rPr>
              <a:t>của</a:t>
            </a:r>
            <a:r>
              <a:rPr lang="en-US" sz="1100" b="1" dirty="0">
                <a:solidFill>
                  <a:srgbClr val="000000"/>
                </a:solidFill>
                <a:latin typeface="+mj-lt"/>
                <a:ea typeface="+mn-ea"/>
                <a:cs typeface="Times New Roman" panose="02020603050405020304" pitchFamily="18" charset="0"/>
              </a:rPr>
              <a:t> </a:t>
            </a:r>
            <a:r>
              <a:rPr lang="en-US" sz="1100" b="1" dirty="0" err="1">
                <a:solidFill>
                  <a:srgbClr val="000000"/>
                </a:solidFill>
                <a:latin typeface="+mj-lt"/>
                <a:ea typeface="+mn-ea"/>
                <a:cs typeface="Times New Roman" panose="02020603050405020304" pitchFamily="18" charset="0"/>
              </a:rPr>
              <a:t>đối</a:t>
            </a:r>
            <a:r>
              <a:rPr lang="en-US" sz="1100" b="1" dirty="0">
                <a:solidFill>
                  <a:srgbClr val="000000"/>
                </a:solidFill>
                <a:latin typeface="+mj-lt"/>
                <a:ea typeface="+mn-ea"/>
                <a:cs typeface="Times New Roman" panose="02020603050405020304" pitchFamily="18" charset="0"/>
              </a:rPr>
              <a:t> </a:t>
            </a:r>
            <a:r>
              <a:rPr lang="en-US" sz="1100" b="1" dirty="0" err="1">
                <a:solidFill>
                  <a:srgbClr val="000000"/>
                </a:solidFill>
                <a:latin typeface="+mj-lt"/>
                <a:ea typeface="+mn-ea"/>
                <a:cs typeface="Times New Roman" panose="02020603050405020304" pitchFamily="18" charset="0"/>
              </a:rPr>
              <a:t>tượng</a:t>
            </a:r>
            <a:endParaRPr lang="en-US" sz="1100" b="1" dirty="0">
              <a:solidFill>
                <a:srgbClr val="000000"/>
              </a:solidFill>
              <a:latin typeface="+mj-lt"/>
              <a:ea typeface="+mn-ea"/>
              <a:cs typeface="Times New Roman" panose="02020603050405020304" pitchFamily="18" charset="0"/>
            </a:endParaRP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71DF33BC-52A6-4528-B969-2013EE1D16C5}"/>
              </a:ext>
            </a:extLst>
          </p:cNvPr>
          <p:cNvCxnSpPr>
            <a:cxnSpLocks/>
            <a:endCxn id="29" idx="1"/>
          </p:cNvCxnSpPr>
          <p:nvPr/>
        </p:nvCxnSpPr>
        <p:spPr bwMode="auto">
          <a:xfrm flipV="1">
            <a:off x="10531606" y="2998113"/>
            <a:ext cx="77856" cy="107722"/>
          </a:xfrm>
          <a:prstGeom prst="straightConnector1">
            <a:avLst/>
          </a:prstGeom>
          <a:solidFill>
            <a:srgbClr val="003399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685911DA-6770-49C5-BD3D-CFBB6BC034F4}"/>
              </a:ext>
            </a:extLst>
          </p:cNvPr>
          <p:cNvCxnSpPr>
            <a:cxnSpLocks/>
            <a:endCxn id="30" idx="1"/>
          </p:cNvCxnSpPr>
          <p:nvPr/>
        </p:nvCxnSpPr>
        <p:spPr bwMode="auto">
          <a:xfrm flipV="1">
            <a:off x="10495162" y="4928242"/>
            <a:ext cx="228600" cy="107721"/>
          </a:xfrm>
          <a:prstGeom prst="straightConnector1">
            <a:avLst/>
          </a:prstGeom>
          <a:solidFill>
            <a:srgbClr val="003399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6554AEE1-53CA-422E-B482-E10759DFE88F}"/>
              </a:ext>
            </a:extLst>
          </p:cNvPr>
          <p:cNvSpPr txBox="1"/>
          <p:nvPr/>
        </p:nvSpPr>
        <p:spPr>
          <a:xfrm>
            <a:off x="54606" y="1132976"/>
            <a:ext cx="12057238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rPr>
              <a:t>Giao </a:t>
            </a:r>
            <a:r>
              <a:rPr lang="en-US" b="1" dirty="0" err="1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rPr>
              <a:t>diện</a:t>
            </a:r>
            <a:r>
              <a:rPr lang="en-US" b="1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rPr>
              <a:t> </a:t>
            </a:r>
            <a:r>
              <a:rPr lang="en-US" b="1" dirty="0" err="1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rPr>
              <a:t>công</a:t>
            </a:r>
            <a:r>
              <a:rPr lang="en-US" b="1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rPr>
              <a:t> </a:t>
            </a:r>
            <a:r>
              <a:rPr lang="en-US" b="1" dirty="0" err="1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rPr>
              <a:t>cụ</a:t>
            </a:r>
            <a:r>
              <a:rPr lang="en-US" b="1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rPr>
              <a:t> Workbench: Công </a:t>
            </a:r>
            <a:r>
              <a:rPr lang="en-US" b="1" dirty="0" err="1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rPr>
              <a:t>cụ</a:t>
            </a:r>
            <a:r>
              <a:rPr lang="en-US" b="1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rPr>
              <a:t> </a:t>
            </a:r>
            <a:r>
              <a:rPr lang="en-US" b="1" dirty="0" err="1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rPr>
              <a:t>thiết</a:t>
            </a:r>
            <a:r>
              <a:rPr lang="en-US" b="1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rPr>
              <a:t> </a:t>
            </a:r>
            <a:r>
              <a:rPr lang="en-US" b="1" dirty="0" err="1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rPr>
              <a:t>kế</a:t>
            </a:r>
            <a:r>
              <a:rPr lang="en-US" b="1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rPr>
              <a:t> UI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E3A6FD5-131F-4BEB-8054-E4BB31333783}"/>
              </a:ext>
            </a:extLst>
          </p:cNvPr>
          <p:cNvSpPr txBox="1"/>
          <p:nvPr/>
        </p:nvSpPr>
        <p:spPr>
          <a:xfrm>
            <a:off x="707392" y="5311576"/>
            <a:ext cx="73855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dirty="0">
                <a:solidFill>
                  <a:srgbClr val="000000"/>
                </a:solidFill>
                <a:latin typeface="+mj-lt"/>
                <a:ea typeface="+mn-ea"/>
                <a:cs typeface="Times New Roman" panose="02020603050405020304" pitchFamily="18" charset="0"/>
              </a:rPr>
              <a:t>View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57F9D4E-CE32-4DFB-AF5F-4C342E8ADF54}"/>
              </a:ext>
            </a:extLst>
          </p:cNvPr>
          <p:cNvSpPr txBox="1"/>
          <p:nvPr/>
        </p:nvSpPr>
        <p:spPr>
          <a:xfrm>
            <a:off x="496114" y="3604712"/>
            <a:ext cx="124860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dirty="0">
                <a:solidFill>
                  <a:srgbClr val="000000"/>
                </a:solidFill>
                <a:latin typeface="+mj-lt"/>
                <a:ea typeface="+mn-ea"/>
                <a:cs typeface="Times New Roman" panose="02020603050405020304" pitchFamily="18" charset="0"/>
              </a:rPr>
              <a:t>Component</a:t>
            </a: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EB5B55A8-D8D2-4D93-8E74-35A498EFF8D0}"/>
              </a:ext>
            </a:extLst>
          </p:cNvPr>
          <p:cNvCxnSpPr>
            <a:cxnSpLocks/>
          </p:cNvCxnSpPr>
          <p:nvPr/>
        </p:nvCxnSpPr>
        <p:spPr bwMode="auto">
          <a:xfrm flipH="1">
            <a:off x="1709799" y="3735517"/>
            <a:ext cx="882926" cy="0"/>
          </a:xfrm>
          <a:prstGeom prst="straightConnector1">
            <a:avLst/>
          </a:prstGeom>
          <a:solidFill>
            <a:srgbClr val="003399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A034FC35-8F3E-4614-AAA1-C76EDEF983ED}"/>
              </a:ext>
            </a:extLst>
          </p:cNvPr>
          <p:cNvCxnSpPr>
            <a:cxnSpLocks/>
          </p:cNvCxnSpPr>
          <p:nvPr/>
        </p:nvCxnSpPr>
        <p:spPr bwMode="auto">
          <a:xfrm flipH="1">
            <a:off x="1429847" y="5496242"/>
            <a:ext cx="1191272" cy="0"/>
          </a:xfrm>
          <a:prstGeom prst="straightConnector1">
            <a:avLst/>
          </a:prstGeom>
          <a:solidFill>
            <a:srgbClr val="003399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6930DE28-CEF4-4D2A-B0AB-A6CC80D0BD23}"/>
              </a:ext>
            </a:extLst>
          </p:cNvPr>
          <p:cNvSpPr txBox="1"/>
          <p:nvPr/>
        </p:nvSpPr>
        <p:spPr>
          <a:xfrm>
            <a:off x="4772382" y="5889092"/>
            <a:ext cx="301531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>
                <a:solidFill>
                  <a:srgbClr val="000000"/>
                </a:solidFill>
                <a:latin typeface="+mj-lt"/>
                <a:ea typeface="+mn-ea"/>
                <a:cs typeface="Times New Roman" panose="02020603050405020304" pitchFamily="18" charset="0"/>
              </a:rPr>
              <a:t>Không </a:t>
            </a:r>
            <a:r>
              <a:rPr lang="en-US" b="1" dirty="0" err="1">
                <a:solidFill>
                  <a:srgbClr val="000000"/>
                </a:solidFill>
                <a:latin typeface="+mj-lt"/>
                <a:ea typeface="+mn-ea"/>
                <a:cs typeface="Times New Roman" panose="02020603050405020304" pitchFamily="18" charset="0"/>
              </a:rPr>
              <a:t>gian</a:t>
            </a:r>
            <a:r>
              <a:rPr lang="en-US" b="1" dirty="0">
                <a:solidFill>
                  <a:srgbClr val="000000"/>
                </a:solidFill>
                <a:latin typeface="+mj-lt"/>
                <a:ea typeface="+mn-ea"/>
                <a:cs typeface="Times New Roman" panose="02020603050405020304" pitchFamily="18" charset="0"/>
              </a:rPr>
              <a:t> </a:t>
            </a:r>
            <a:r>
              <a:rPr lang="en-US" b="1" dirty="0" err="1">
                <a:solidFill>
                  <a:srgbClr val="000000"/>
                </a:solidFill>
                <a:latin typeface="+mj-lt"/>
                <a:ea typeface="+mn-ea"/>
                <a:cs typeface="Times New Roman" panose="02020603050405020304" pitchFamily="18" charset="0"/>
              </a:rPr>
              <a:t>vẽ</a:t>
            </a:r>
            <a:r>
              <a:rPr lang="en-US" b="1" dirty="0">
                <a:solidFill>
                  <a:srgbClr val="000000"/>
                </a:solidFill>
                <a:latin typeface="+mj-lt"/>
                <a:ea typeface="+mn-ea"/>
                <a:cs typeface="Times New Roman" panose="02020603050405020304" pitchFamily="18" charset="0"/>
              </a:rPr>
              <a:t> </a:t>
            </a:r>
            <a:r>
              <a:rPr lang="en-US" b="1" dirty="0" err="1">
                <a:solidFill>
                  <a:srgbClr val="000000"/>
                </a:solidFill>
                <a:latin typeface="+mj-lt"/>
                <a:ea typeface="+mn-ea"/>
                <a:cs typeface="Times New Roman" panose="02020603050405020304" pitchFamily="18" charset="0"/>
              </a:rPr>
              <a:t>giao</a:t>
            </a:r>
            <a:r>
              <a:rPr lang="en-US" b="1" dirty="0">
                <a:solidFill>
                  <a:srgbClr val="000000"/>
                </a:solidFill>
                <a:latin typeface="+mj-lt"/>
                <a:ea typeface="+mn-ea"/>
                <a:cs typeface="Times New Roman" panose="02020603050405020304" pitchFamily="18" charset="0"/>
              </a:rPr>
              <a:t> </a:t>
            </a:r>
            <a:r>
              <a:rPr lang="en-US" b="1" dirty="0" err="1">
                <a:solidFill>
                  <a:srgbClr val="000000"/>
                </a:solidFill>
                <a:latin typeface="+mj-lt"/>
                <a:ea typeface="+mn-ea"/>
                <a:cs typeface="Times New Roman" panose="02020603050405020304" pitchFamily="18" charset="0"/>
              </a:rPr>
              <a:t>diện</a:t>
            </a:r>
            <a:endParaRPr lang="en-US" b="1" dirty="0">
              <a:solidFill>
                <a:srgbClr val="000000"/>
              </a:solidFill>
              <a:latin typeface="+mj-lt"/>
              <a:ea typeface="+mn-ea"/>
              <a:cs typeface="Times New Roman" panose="02020603050405020304" pitchFamily="18" charset="0"/>
            </a:endParaRP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CEBACAFF-BECB-44E9-A033-F0CC9A70FE05}"/>
              </a:ext>
            </a:extLst>
          </p:cNvPr>
          <p:cNvCxnSpPr>
            <a:cxnSpLocks/>
            <a:stCxn id="39" idx="0"/>
          </p:cNvCxnSpPr>
          <p:nvPr/>
        </p:nvCxnSpPr>
        <p:spPr bwMode="auto">
          <a:xfrm flipV="1">
            <a:off x="6280038" y="5181600"/>
            <a:ext cx="0" cy="707492"/>
          </a:xfrm>
          <a:prstGeom prst="straightConnector1">
            <a:avLst/>
          </a:prstGeom>
          <a:solidFill>
            <a:srgbClr val="003399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283429714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CAB53-5F05-4488-89EB-F4F85713748E}"/>
              </a:ext>
            </a:extLst>
          </p:cNvPr>
          <p:cNvSpPr txBox="1">
            <a:spLocks/>
          </p:cNvSpPr>
          <p:nvPr/>
        </p:nvSpPr>
        <p:spPr>
          <a:xfrm>
            <a:off x="2336757" y="0"/>
            <a:ext cx="7524836" cy="108874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ướng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ẫn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ên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iao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ện</a:t>
            </a:r>
            <a:endParaRPr lang="vi-VN" sz="2800" b="1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2068FC9-D7F9-4362-8669-EC392F83F9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2611" y="1750736"/>
            <a:ext cx="8569844" cy="4567238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D8D1213B-09D7-41D5-8731-A51E850756EB}"/>
              </a:ext>
            </a:extLst>
          </p:cNvPr>
          <p:cNvSpPr/>
          <p:nvPr/>
        </p:nvSpPr>
        <p:spPr bwMode="auto">
          <a:xfrm>
            <a:off x="2819400" y="4678064"/>
            <a:ext cx="7018768" cy="1075036"/>
          </a:xfrm>
          <a:prstGeom prst="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fontAlgn="auto" hangingPunct="0">
              <a:spcBef>
                <a:spcPts val="0"/>
              </a:spcBef>
              <a:spcAft>
                <a:spcPts val="0"/>
              </a:spcAft>
            </a:pPr>
            <a:endParaRPr lang="en-US" sz="1399" b="1" i="1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397899D-07EC-4A8F-8BDF-C8805C54D908}"/>
              </a:ext>
            </a:extLst>
          </p:cNvPr>
          <p:cNvSpPr/>
          <p:nvPr/>
        </p:nvSpPr>
        <p:spPr bwMode="auto">
          <a:xfrm>
            <a:off x="1342611" y="2005907"/>
            <a:ext cx="1324389" cy="2185093"/>
          </a:xfrm>
          <a:prstGeom prst="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fontAlgn="auto" hangingPunct="0">
              <a:spcBef>
                <a:spcPts val="0"/>
              </a:spcBef>
              <a:spcAft>
                <a:spcPts val="0"/>
              </a:spcAft>
            </a:pPr>
            <a:endParaRPr lang="en-US" sz="1399" b="1" i="1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782ADD7-E2DA-4049-A458-065751A5B994}"/>
              </a:ext>
            </a:extLst>
          </p:cNvPr>
          <p:cNvSpPr txBox="1"/>
          <p:nvPr/>
        </p:nvSpPr>
        <p:spPr>
          <a:xfrm>
            <a:off x="26831" y="2307111"/>
            <a:ext cx="157071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000000"/>
                </a:solidFill>
                <a:latin typeface="Arial"/>
                <a:ea typeface="+mn-ea"/>
              </a:rPr>
              <a:t>Componen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739CF1C-EC69-433D-984C-E763B21DF778}"/>
              </a:ext>
            </a:extLst>
          </p:cNvPr>
          <p:cNvSpPr txBox="1"/>
          <p:nvPr/>
        </p:nvSpPr>
        <p:spPr>
          <a:xfrm>
            <a:off x="10325100" y="2782669"/>
            <a:ext cx="157071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 err="1">
                <a:solidFill>
                  <a:srgbClr val="000000"/>
                </a:solidFill>
                <a:latin typeface="Arial"/>
                <a:ea typeface="+mn-ea"/>
              </a:rPr>
              <a:t>Liên</a:t>
            </a:r>
            <a:r>
              <a:rPr lang="en-US" sz="1200" b="1" dirty="0">
                <a:solidFill>
                  <a:srgbClr val="000000"/>
                </a:solidFill>
                <a:latin typeface="Arial"/>
                <a:ea typeface="+mn-ea"/>
              </a:rPr>
              <a:t> </a:t>
            </a:r>
            <a:r>
              <a:rPr lang="en-US" sz="1200" b="1" dirty="0" err="1">
                <a:solidFill>
                  <a:srgbClr val="000000"/>
                </a:solidFill>
                <a:latin typeface="Arial"/>
                <a:ea typeface="+mn-ea"/>
              </a:rPr>
              <a:t>kết</a:t>
            </a:r>
            <a:r>
              <a:rPr lang="en-US" sz="1200" b="1" dirty="0">
                <a:solidFill>
                  <a:srgbClr val="000000"/>
                </a:solidFill>
                <a:latin typeface="Arial"/>
                <a:ea typeface="+mn-ea"/>
              </a:rPr>
              <a:t> </a:t>
            </a:r>
            <a:r>
              <a:rPr lang="en-US" sz="1200" b="1" dirty="0" err="1">
                <a:solidFill>
                  <a:srgbClr val="000000"/>
                </a:solidFill>
                <a:latin typeface="Arial"/>
                <a:ea typeface="+mn-ea"/>
              </a:rPr>
              <a:t>dữ</a:t>
            </a:r>
            <a:r>
              <a:rPr lang="en-US" sz="1200" b="1" dirty="0">
                <a:solidFill>
                  <a:srgbClr val="000000"/>
                </a:solidFill>
                <a:latin typeface="Arial"/>
                <a:ea typeface="+mn-ea"/>
              </a:rPr>
              <a:t> </a:t>
            </a:r>
            <a:r>
              <a:rPr lang="en-US" sz="1200" b="1" dirty="0" err="1">
                <a:solidFill>
                  <a:srgbClr val="000000"/>
                </a:solidFill>
                <a:latin typeface="Arial"/>
                <a:ea typeface="+mn-ea"/>
              </a:rPr>
              <a:t>liệu</a:t>
            </a:r>
            <a:endParaRPr lang="en-US" sz="1200" b="1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64DFF17-1094-4128-85BB-1AB4D1950644}"/>
              </a:ext>
            </a:extLst>
          </p:cNvPr>
          <p:cNvSpPr txBox="1"/>
          <p:nvPr/>
        </p:nvSpPr>
        <p:spPr>
          <a:xfrm>
            <a:off x="10402871" y="4928657"/>
            <a:ext cx="157071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000000"/>
                </a:solidFill>
                <a:latin typeface="Arial"/>
                <a:ea typeface="+mn-ea"/>
              </a:rPr>
              <a:t>Collection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000000"/>
                </a:solidFill>
                <a:latin typeface="Arial"/>
                <a:ea typeface="+mn-ea"/>
              </a:rPr>
              <a:t>(in Workbench)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631D61D-EAF0-4707-8B21-B737E461E471}"/>
              </a:ext>
            </a:extLst>
          </p:cNvPr>
          <p:cNvSpPr/>
          <p:nvPr/>
        </p:nvSpPr>
        <p:spPr bwMode="auto">
          <a:xfrm>
            <a:off x="1342611" y="4225370"/>
            <a:ext cx="1324389" cy="2092603"/>
          </a:xfrm>
          <a:prstGeom prst="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fontAlgn="auto" hangingPunct="0">
              <a:spcBef>
                <a:spcPts val="0"/>
              </a:spcBef>
              <a:spcAft>
                <a:spcPts val="0"/>
              </a:spcAft>
            </a:pPr>
            <a:endParaRPr lang="en-US" sz="1399" b="1" i="1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CE208E2-4E22-4DF7-ABD5-06877D0EFCDC}"/>
              </a:ext>
            </a:extLst>
          </p:cNvPr>
          <p:cNvSpPr/>
          <p:nvPr/>
        </p:nvSpPr>
        <p:spPr bwMode="auto">
          <a:xfrm>
            <a:off x="2811031" y="2067182"/>
            <a:ext cx="7018769" cy="2504818"/>
          </a:xfrm>
          <a:prstGeom prst="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fontAlgn="auto" hangingPunct="0">
              <a:spcBef>
                <a:spcPts val="0"/>
              </a:spcBef>
              <a:spcAft>
                <a:spcPts val="0"/>
              </a:spcAft>
            </a:pPr>
            <a:endParaRPr lang="en-US" sz="1399" b="1" i="1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9700D840-8A75-4EAC-8750-7370447F7ABC}"/>
              </a:ext>
            </a:extLst>
          </p:cNvPr>
          <p:cNvCxnSpPr>
            <a:cxnSpLocks/>
            <a:endCxn id="19" idx="2"/>
          </p:cNvCxnSpPr>
          <p:nvPr/>
        </p:nvCxnSpPr>
        <p:spPr bwMode="auto">
          <a:xfrm flipH="1" flipV="1">
            <a:off x="812191" y="2584110"/>
            <a:ext cx="447766" cy="393537"/>
          </a:xfrm>
          <a:prstGeom prst="straightConnector1">
            <a:avLst/>
          </a:prstGeom>
          <a:solidFill>
            <a:srgbClr val="003399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70817EEF-B655-43A2-BDD4-6C89F28C40A6}"/>
              </a:ext>
            </a:extLst>
          </p:cNvPr>
          <p:cNvSpPr txBox="1"/>
          <p:nvPr/>
        </p:nvSpPr>
        <p:spPr>
          <a:xfrm>
            <a:off x="-75872" y="5390322"/>
            <a:ext cx="157071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000000"/>
                </a:solidFill>
                <a:latin typeface="Arial"/>
                <a:ea typeface="+mn-ea"/>
              </a:rPr>
              <a:t>Collection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D4F5466C-68C2-40D3-B9E3-0C12BCDAB3ED}"/>
              </a:ext>
            </a:extLst>
          </p:cNvPr>
          <p:cNvCxnSpPr>
            <a:stCxn id="22" idx="1"/>
          </p:cNvCxnSpPr>
          <p:nvPr/>
        </p:nvCxnSpPr>
        <p:spPr bwMode="auto">
          <a:xfrm flipH="1">
            <a:off x="533400" y="5271672"/>
            <a:ext cx="809211" cy="118650"/>
          </a:xfrm>
          <a:prstGeom prst="straightConnector1">
            <a:avLst/>
          </a:prstGeom>
          <a:solidFill>
            <a:srgbClr val="003399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0FD5DEAB-E298-4011-B49C-EEFF00E8428C}"/>
              </a:ext>
            </a:extLst>
          </p:cNvPr>
          <p:cNvCxnSpPr>
            <a:cxnSpLocks/>
            <a:endCxn id="20" idx="1"/>
          </p:cNvCxnSpPr>
          <p:nvPr/>
        </p:nvCxnSpPr>
        <p:spPr bwMode="auto">
          <a:xfrm flipV="1">
            <a:off x="9829800" y="2921169"/>
            <a:ext cx="495300" cy="398422"/>
          </a:xfrm>
          <a:prstGeom prst="straightConnector1">
            <a:avLst/>
          </a:prstGeom>
          <a:solidFill>
            <a:srgbClr val="003399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121F5228-409D-4796-8D1E-EE2E564D9B7B}"/>
              </a:ext>
            </a:extLst>
          </p:cNvPr>
          <p:cNvCxnSpPr>
            <a:cxnSpLocks/>
            <a:endCxn id="21" idx="1"/>
          </p:cNvCxnSpPr>
          <p:nvPr/>
        </p:nvCxnSpPr>
        <p:spPr bwMode="auto">
          <a:xfrm flipV="1">
            <a:off x="9910013" y="5159490"/>
            <a:ext cx="492858" cy="92332"/>
          </a:xfrm>
          <a:prstGeom prst="straightConnector1">
            <a:avLst/>
          </a:prstGeom>
          <a:solidFill>
            <a:srgbClr val="003399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30700F76-E566-417D-81F0-0C591865D6D0}"/>
              </a:ext>
            </a:extLst>
          </p:cNvPr>
          <p:cNvSpPr txBox="1"/>
          <p:nvPr/>
        </p:nvSpPr>
        <p:spPr>
          <a:xfrm>
            <a:off x="26831" y="1132976"/>
            <a:ext cx="12049008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tx1"/>
                </a:solidFill>
              </a:rPr>
              <a:t>Giao </a:t>
            </a:r>
            <a:r>
              <a:rPr lang="en-US" b="1" dirty="0" err="1">
                <a:solidFill>
                  <a:schemeClr val="tx1"/>
                </a:solidFill>
              </a:rPr>
              <a:t>diện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dirty="0" err="1">
                <a:solidFill>
                  <a:schemeClr val="tx1"/>
                </a:solidFill>
              </a:rPr>
              <a:t>công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dirty="0" err="1">
                <a:solidFill>
                  <a:schemeClr val="tx1"/>
                </a:solidFill>
              </a:rPr>
              <a:t>cụ</a:t>
            </a:r>
            <a:r>
              <a:rPr lang="en-US" b="1" dirty="0">
                <a:solidFill>
                  <a:schemeClr val="tx1"/>
                </a:solidFill>
              </a:rPr>
              <a:t> Solution Builder: Công </a:t>
            </a:r>
            <a:r>
              <a:rPr lang="en-US" b="1" dirty="0" err="1">
                <a:solidFill>
                  <a:schemeClr val="tx1"/>
                </a:solidFill>
              </a:rPr>
              <a:t>cụ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dirty="0" err="1">
                <a:solidFill>
                  <a:schemeClr val="tx1"/>
                </a:solidFill>
              </a:rPr>
              <a:t>kết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dirty="0" err="1">
                <a:solidFill>
                  <a:schemeClr val="tx1"/>
                </a:solidFill>
              </a:rPr>
              <a:t>nối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dirty="0" err="1">
                <a:solidFill>
                  <a:schemeClr val="tx1"/>
                </a:solidFill>
              </a:rPr>
              <a:t>và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dirty="0" err="1">
                <a:solidFill>
                  <a:schemeClr val="tx1"/>
                </a:solidFill>
              </a:rPr>
              <a:t>truy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dirty="0" err="1">
                <a:solidFill>
                  <a:schemeClr val="tx1"/>
                </a:solidFill>
              </a:rPr>
              <a:t>xuất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dirty="0" err="1">
                <a:solidFill>
                  <a:schemeClr val="tx1"/>
                </a:solidFill>
              </a:rPr>
              <a:t>dữ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dirty="0" err="1">
                <a:solidFill>
                  <a:schemeClr val="tx1"/>
                </a:solidFill>
              </a:rPr>
              <a:t>liệu</a:t>
            </a:r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240377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CAB53-5F05-4488-89EB-F4F85713748E}"/>
              </a:ext>
            </a:extLst>
          </p:cNvPr>
          <p:cNvSpPr txBox="1">
            <a:spLocks/>
          </p:cNvSpPr>
          <p:nvPr/>
        </p:nvSpPr>
        <p:spPr>
          <a:xfrm>
            <a:off x="2336757" y="0"/>
            <a:ext cx="7524836" cy="108874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ướng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ẫn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ên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iao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ện</a:t>
            </a:r>
            <a:endParaRPr lang="vi-VN" sz="2800" b="1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FE35A6C-2F8A-4C92-AA8A-41F83EFF2B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8532" r="1235" b="2570"/>
          <a:stretch/>
        </p:blipFill>
        <p:spPr>
          <a:xfrm>
            <a:off x="449606" y="1700808"/>
            <a:ext cx="11291791" cy="4807365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FAB6B069-0ECE-49C1-9082-98A6BF5B9894}"/>
              </a:ext>
            </a:extLst>
          </p:cNvPr>
          <p:cNvSpPr/>
          <p:nvPr/>
        </p:nvSpPr>
        <p:spPr bwMode="auto">
          <a:xfrm>
            <a:off x="4770284" y="2656760"/>
            <a:ext cx="1447800" cy="228600"/>
          </a:xfrm>
          <a:prstGeom prst="rect">
            <a:avLst/>
          </a:prstGeom>
          <a:noFill/>
          <a:ln w="698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endParaRPr lang="en-US" sz="1399" b="1" i="1">
              <a:latin typeface="Times New Roman" pitchFamily="18" charset="0"/>
            </a:endParaRPr>
          </a:p>
        </p:txBody>
      </p:sp>
      <p:sp>
        <p:nvSpPr>
          <p:cNvPr id="5" name="Arrow: Curved Up 4">
            <a:extLst>
              <a:ext uri="{FF2B5EF4-FFF2-40B4-BE49-F238E27FC236}">
                <a16:creationId xmlns:a16="http://schemas.microsoft.com/office/drawing/2014/main" id="{3E50210D-6F01-4967-83E7-11FA65AF6B1B}"/>
              </a:ext>
            </a:extLst>
          </p:cNvPr>
          <p:cNvSpPr/>
          <p:nvPr/>
        </p:nvSpPr>
        <p:spPr bwMode="auto">
          <a:xfrm rot="13163089">
            <a:off x="6262109" y="2411974"/>
            <a:ext cx="980185" cy="489573"/>
          </a:xfrm>
          <a:prstGeom prst="curvedUpArrow">
            <a:avLst/>
          </a:prstGeom>
          <a:solidFill>
            <a:srgbClr val="FF000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endParaRPr lang="en-US" sz="1399" b="1" i="1">
              <a:latin typeface="Times New Roman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2C5DBBA-0974-4A17-8BA7-F8F15E3120F2}"/>
              </a:ext>
            </a:extLst>
          </p:cNvPr>
          <p:cNvSpPr txBox="1"/>
          <p:nvPr/>
        </p:nvSpPr>
        <p:spPr>
          <a:xfrm>
            <a:off x="456952" y="1095302"/>
            <a:ext cx="11291792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b="1" dirty="0" err="1">
                <a:solidFill>
                  <a:schemeClr val="tx1"/>
                </a:solidFill>
              </a:rPr>
              <a:t>Tạo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dirty="0" err="1">
                <a:solidFill>
                  <a:schemeClr val="tx1"/>
                </a:solidFill>
              </a:rPr>
              <a:t>và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dirty="0" err="1">
                <a:solidFill>
                  <a:schemeClr val="tx1"/>
                </a:solidFill>
              </a:rPr>
              <a:t>hiển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dirty="0" err="1">
                <a:solidFill>
                  <a:schemeClr val="tx1"/>
                </a:solidFill>
              </a:rPr>
              <a:t>thị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dirty="0" err="1">
                <a:solidFill>
                  <a:schemeClr val="tx1"/>
                </a:solidFill>
              </a:rPr>
              <a:t>một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dirty="0" err="1">
                <a:solidFill>
                  <a:schemeClr val="tx1"/>
                </a:solidFill>
              </a:rPr>
              <a:t>tín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dirty="0" err="1">
                <a:solidFill>
                  <a:schemeClr val="tx1"/>
                </a:solidFill>
              </a:rPr>
              <a:t>hiệu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dirty="0" err="1">
                <a:solidFill>
                  <a:schemeClr val="tx1"/>
                </a:solidFill>
              </a:rPr>
              <a:t>mới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dirty="0" err="1">
                <a:solidFill>
                  <a:schemeClr val="tx1"/>
                </a:solidFill>
              </a:rPr>
              <a:t>trên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dirty="0" err="1">
                <a:solidFill>
                  <a:schemeClr val="tx1"/>
                </a:solidFill>
              </a:rPr>
              <a:t>giao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dirty="0" err="1">
                <a:solidFill>
                  <a:schemeClr val="tx1"/>
                </a:solidFill>
              </a:rPr>
              <a:t>diện</a:t>
            </a:r>
            <a:r>
              <a:rPr lang="en-US" b="1" dirty="0">
                <a:solidFill>
                  <a:schemeClr val="tx1"/>
                </a:solidFill>
              </a:rPr>
              <a:t> XHQ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Giao </a:t>
            </a:r>
            <a:r>
              <a:rPr lang="en-US" dirty="0" err="1">
                <a:solidFill>
                  <a:schemeClr val="tx1"/>
                </a:solidFill>
              </a:rPr>
              <a:t>diện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RunTime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 </a:t>
            </a:r>
            <a:r>
              <a:rPr lang="en-US" dirty="0" err="1">
                <a:solidFill>
                  <a:schemeClr val="tx1"/>
                </a:solidFill>
                <a:sym typeface="Wingdings" panose="05000000000000000000" pitchFamily="2" charset="2"/>
              </a:rPr>
              <a:t>Xác</a:t>
            </a:r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  <a:r>
              <a:rPr lang="en-US" dirty="0" err="1">
                <a:solidFill>
                  <a:schemeClr val="tx1"/>
                </a:solidFill>
                <a:sym typeface="Wingdings" panose="05000000000000000000" pitchFamily="2" charset="2"/>
              </a:rPr>
              <a:t>định</a:t>
            </a:r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  <a:r>
              <a:rPr lang="en-US" dirty="0" err="1">
                <a:solidFill>
                  <a:schemeClr val="tx1"/>
                </a:solidFill>
                <a:sym typeface="Wingdings" panose="05000000000000000000" pitchFamily="2" charset="2"/>
              </a:rPr>
              <a:t>vị</a:t>
            </a:r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  <a:r>
              <a:rPr lang="en-US" dirty="0" err="1">
                <a:solidFill>
                  <a:schemeClr val="tx1"/>
                </a:solidFill>
                <a:sym typeface="Wingdings" panose="05000000000000000000" pitchFamily="2" charset="2"/>
              </a:rPr>
              <a:t>trí</a:t>
            </a:r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  <a:r>
              <a:rPr lang="en-US" dirty="0" err="1">
                <a:solidFill>
                  <a:schemeClr val="tx1"/>
                </a:solidFill>
                <a:sym typeface="Wingdings" panose="05000000000000000000" pitchFamily="2" charset="2"/>
              </a:rPr>
              <a:t>cần</a:t>
            </a:r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  <a:r>
              <a:rPr lang="en-US" dirty="0" err="1">
                <a:solidFill>
                  <a:schemeClr val="tx1"/>
                </a:solidFill>
                <a:sym typeface="Wingdings" panose="05000000000000000000" pitchFamily="2" charset="2"/>
              </a:rPr>
              <a:t>hiển</a:t>
            </a:r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  <a:r>
              <a:rPr lang="en-US" dirty="0" err="1">
                <a:solidFill>
                  <a:schemeClr val="tx1"/>
                </a:solidFill>
                <a:sym typeface="Wingdings" panose="05000000000000000000" pitchFamily="2" charset="2"/>
              </a:rPr>
              <a:t>thị</a:t>
            </a:r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  <a:r>
              <a:rPr lang="en-US" dirty="0" err="1">
                <a:solidFill>
                  <a:schemeClr val="tx1"/>
                </a:solidFill>
                <a:sym typeface="Wingdings" panose="05000000000000000000" pitchFamily="2" charset="2"/>
              </a:rPr>
              <a:t>và</a:t>
            </a:r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  <a:r>
              <a:rPr lang="en-US" dirty="0" err="1">
                <a:solidFill>
                  <a:schemeClr val="tx1"/>
                </a:solidFill>
                <a:sym typeface="Wingdings" panose="05000000000000000000" pitchFamily="2" charset="2"/>
              </a:rPr>
              <a:t>tên</a:t>
            </a:r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 Tag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943969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CAB53-5F05-4488-89EB-F4F85713748E}"/>
              </a:ext>
            </a:extLst>
          </p:cNvPr>
          <p:cNvSpPr txBox="1">
            <a:spLocks/>
          </p:cNvSpPr>
          <p:nvPr/>
        </p:nvSpPr>
        <p:spPr>
          <a:xfrm>
            <a:off x="2336757" y="0"/>
            <a:ext cx="7524836" cy="108874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ướng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ẫn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ên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iao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ện</a:t>
            </a:r>
            <a:endParaRPr lang="vi-VN" sz="2800" b="1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184430-9226-496A-95FB-DBE0233D26EB}"/>
              </a:ext>
            </a:extLst>
          </p:cNvPr>
          <p:cNvGrpSpPr/>
          <p:nvPr/>
        </p:nvGrpSpPr>
        <p:grpSpPr>
          <a:xfrm>
            <a:off x="590563" y="1741633"/>
            <a:ext cx="10466040" cy="4654950"/>
            <a:chOff x="667345" y="1506328"/>
            <a:chExt cx="10857310" cy="4896817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249D581-B870-4672-9797-C36F83B667A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10451" b="4922"/>
            <a:stretch/>
          </p:blipFill>
          <p:spPr>
            <a:xfrm>
              <a:off x="667345" y="1506328"/>
              <a:ext cx="10857310" cy="4896817"/>
            </a:xfrm>
            <a:prstGeom prst="rect">
              <a:avLst/>
            </a:pr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9DCAC70-22EC-4668-865F-279D4A5A1723}"/>
                </a:ext>
              </a:extLst>
            </p:cNvPr>
            <p:cNvSpPr/>
            <p:nvPr/>
          </p:nvSpPr>
          <p:spPr bwMode="auto">
            <a:xfrm>
              <a:off x="4923182" y="2631245"/>
              <a:ext cx="1447800" cy="228600"/>
            </a:xfrm>
            <a:prstGeom prst="rect">
              <a:avLst/>
            </a:prstGeom>
            <a:noFill/>
            <a:ln w="698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943" eaLnBrk="0" hangingPunct="0"/>
              <a:endParaRPr lang="en-US" sz="1399" b="1" i="1">
                <a:latin typeface="Times New Roman" pitchFamily="18" charset="0"/>
              </a:endParaRPr>
            </a:p>
          </p:txBody>
        </p:sp>
        <p:sp>
          <p:nvSpPr>
            <p:cNvPr id="5" name="Arrow: Curved Up 4">
              <a:extLst>
                <a:ext uri="{FF2B5EF4-FFF2-40B4-BE49-F238E27FC236}">
                  <a16:creationId xmlns:a16="http://schemas.microsoft.com/office/drawing/2014/main" id="{ECC6C05F-0C28-4114-BA39-3AD4E8204AF9}"/>
                </a:ext>
              </a:extLst>
            </p:cNvPr>
            <p:cNvSpPr/>
            <p:nvPr/>
          </p:nvSpPr>
          <p:spPr bwMode="auto">
            <a:xfrm rot="13163089">
              <a:off x="6415007" y="2386459"/>
              <a:ext cx="980185" cy="489573"/>
            </a:xfrm>
            <a:prstGeom prst="curvedUpArrow">
              <a:avLst/>
            </a:prstGeom>
            <a:solidFill>
              <a:srgbClr val="FF0000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943" eaLnBrk="0" hangingPunct="0"/>
              <a:endParaRPr lang="en-US" sz="1399" b="1" i="1">
                <a:latin typeface="Times New Roman" pitchFamily="18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E73F7709-5813-4F4D-B617-DF56E732E926}"/>
                </a:ext>
              </a:extLst>
            </p:cNvPr>
            <p:cNvSpPr/>
            <p:nvPr/>
          </p:nvSpPr>
          <p:spPr bwMode="auto">
            <a:xfrm>
              <a:off x="7179295" y="3200400"/>
              <a:ext cx="1447800" cy="228600"/>
            </a:xfrm>
            <a:prstGeom prst="rect">
              <a:avLst/>
            </a:prstGeom>
            <a:noFill/>
            <a:ln w="698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392" tIns="45696" rIns="91392" bIns="45696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3943" eaLnBrk="0" hangingPunct="0"/>
              <a:endParaRPr lang="en-US" sz="1399" b="1" i="1">
                <a:latin typeface="Times New Roman" pitchFamily="18" charset="0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960168CA-BD42-48AA-82FC-54543EDAADDA}"/>
              </a:ext>
            </a:extLst>
          </p:cNvPr>
          <p:cNvSpPr txBox="1"/>
          <p:nvPr/>
        </p:nvSpPr>
        <p:spPr>
          <a:xfrm>
            <a:off x="590562" y="1095302"/>
            <a:ext cx="11501893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b="1" dirty="0" err="1">
                <a:solidFill>
                  <a:schemeClr val="tx1"/>
                </a:solidFill>
              </a:rPr>
              <a:t>Tạo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dirty="0" err="1">
                <a:solidFill>
                  <a:schemeClr val="tx1"/>
                </a:solidFill>
              </a:rPr>
              <a:t>và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dirty="0" err="1">
                <a:solidFill>
                  <a:schemeClr val="tx1"/>
                </a:solidFill>
              </a:rPr>
              <a:t>hiển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dirty="0" err="1">
                <a:solidFill>
                  <a:schemeClr val="tx1"/>
                </a:solidFill>
              </a:rPr>
              <a:t>thị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dirty="0" err="1">
                <a:solidFill>
                  <a:schemeClr val="tx1"/>
                </a:solidFill>
              </a:rPr>
              <a:t>một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dirty="0" err="1">
                <a:solidFill>
                  <a:schemeClr val="tx1"/>
                </a:solidFill>
              </a:rPr>
              <a:t>tín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dirty="0" err="1">
                <a:solidFill>
                  <a:schemeClr val="tx1"/>
                </a:solidFill>
              </a:rPr>
              <a:t>hiệu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dirty="0" err="1">
                <a:solidFill>
                  <a:schemeClr val="tx1"/>
                </a:solidFill>
              </a:rPr>
              <a:t>mới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dirty="0" err="1">
                <a:solidFill>
                  <a:schemeClr val="tx1"/>
                </a:solidFill>
              </a:rPr>
              <a:t>trên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dirty="0" err="1">
                <a:solidFill>
                  <a:schemeClr val="tx1"/>
                </a:solidFill>
              </a:rPr>
              <a:t>giao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dirty="0" err="1">
                <a:solidFill>
                  <a:schemeClr val="tx1"/>
                </a:solidFill>
              </a:rPr>
              <a:t>diện</a:t>
            </a:r>
            <a:r>
              <a:rPr lang="en-US" b="1" dirty="0">
                <a:solidFill>
                  <a:schemeClr val="tx1"/>
                </a:solidFill>
              </a:rPr>
              <a:t> XHQ</a:t>
            </a:r>
            <a:br>
              <a:rPr lang="en-US" b="1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Giao </a:t>
            </a:r>
            <a:r>
              <a:rPr lang="en-US" dirty="0" err="1">
                <a:solidFill>
                  <a:schemeClr val="tx1"/>
                </a:solidFill>
              </a:rPr>
              <a:t>diện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thiết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kế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 </a:t>
            </a:r>
            <a:r>
              <a:rPr lang="en-US" dirty="0" err="1">
                <a:solidFill>
                  <a:schemeClr val="tx1"/>
                </a:solidFill>
              </a:rPr>
              <a:t>Coppy</a:t>
            </a:r>
            <a:r>
              <a:rPr lang="en-US" dirty="0">
                <a:solidFill>
                  <a:schemeClr val="tx1"/>
                </a:solidFill>
              </a:rPr>
              <a:t> Template </a:t>
            </a:r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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Gán</a:t>
            </a:r>
            <a:r>
              <a:rPr lang="en-US" dirty="0">
                <a:solidFill>
                  <a:schemeClr val="tx1"/>
                </a:solidFill>
              </a:rPr>
              <a:t> Tag</a:t>
            </a:r>
          </a:p>
        </p:txBody>
      </p:sp>
    </p:spTree>
    <p:extLst>
      <p:ext uri="{BB962C8B-B14F-4D97-AF65-F5344CB8AC3E}">
        <p14:creationId xmlns:p14="http://schemas.microsoft.com/office/powerpoint/2010/main" val="177821188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CAB53-5F05-4488-89EB-F4F85713748E}"/>
              </a:ext>
            </a:extLst>
          </p:cNvPr>
          <p:cNvSpPr txBox="1">
            <a:spLocks/>
          </p:cNvSpPr>
          <p:nvPr/>
        </p:nvSpPr>
        <p:spPr>
          <a:xfrm>
            <a:off x="2336757" y="0"/>
            <a:ext cx="7524836" cy="108874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ướng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ẫn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ên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iao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ện</a:t>
            </a:r>
            <a:endParaRPr lang="vi-VN" sz="2800" b="1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F144D8E-AB43-4963-815A-C618EC694E51}"/>
              </a:ext>
            </a:extLst>
          </p:cNvPr>
          <p:cNvSpPr/>
          <p:nvPr/>
        </p:nvSpPr>
        <p:spPr bwMode="auto">
          <a:xfrm>
            <a:off x="4923182" y="2704403"/>
            <a:ext cx="1447800" cy="228600"/>
          </a:xfrm>
          <a:prstGeom prst="rect">
            <a:avLst/>
          </a:prstGeom>
          <a:noFill/>
          <a:ln w="698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endParaRPr lang="en-US" sz="1399" b="1" i="1">
              <a:latin typeface="Times New Roman" pitchFamily="18" charset="0"/>
            </a:endParaRPr>
          </a:p>
        </p:txBody>
      </p:sp>
      <p:sp>
        <p:nvSpPr>
          <p:cNvPr id="4" name="Arrow: Curved Up 3">
            <a:extLst>
              <a:ext uri="{FF2B5EF4-FFF2-40B4-BE49-F238E27FC236}">
                <a16:creationId xmlns:a16="http://schemas.microsoft.com/office/drawing/2014/main" id="{E730A151-694C-452E-8B39-382C15362E09}"/>
              </a:ext>
            </a:extLst>
          </p:cNvPr>
          <p:cNvSpPr/>
          <p:nvPr/>
        </p:nvSpPr>
        <p:spPr bwMode="auto">
          <a:xfrm rot="13163089">
            <a:off x="6415007" y="2459617"/>
            <a:ext cx="980185" cy="489573"/>
          </a:xfrm>
          <a:prstGeom prst="curvedUpArrow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endParaRPr lang="en-US" sz="1399" b="1" i="1">
              <a:latin typeface="Times New Roman" pitchFamily="18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6937480-A0AA-4571-9F33-9EDEF2637FB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5000" t="28816" r="14999"/>
          <a:stretch/>
        </p:blipFill>
        <p:spPr>
          <a:xfrm>
            <a:off x="1989482" y="1880828"/>
            <a:ext cx="7315200" cy="4625292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3960511-12F8-4F3F-B514-3C11D058989A}"/>
              </a:ext>
            </a:extLst>
          </p:cNvPr>
          <p:cNvSpPr/>
          <p:nvPr/>
        </p:nvSpPr>
        <p:spPr bwMode="auto">
          <a:xfrm>
            <a:off x="4343400" y="2168567"/>
            <a:ext cx="2484782" cy="385872"/>
          </a:xfrm>
          <a:prstGeom prst="rect">
            <a:avLst/>
          </a:prstGeom>
          <a:noFill/>
          <a:ln w="698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3943" eaLnBrk="0" hangingPunct="0"/>
            <a:endParaRPr lang="en-US" sz="1399" b="1" i="1">
              <a:latin typeface="Times New Roman" pitchFamily="18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75721D9-3250-46BC-BD86-B3A8F762BEF1}"/>
              </a:ext>
            </a:extLst>
          </p:cNvPr>
          <p:cNvSpPr txBox="1"/>
          <p:nvPr/>
        </p:nvSpPr>
        <p:spPr>
          <a:xfrm>
            <a:off x="449606" y="1095302"/>
            <a:ext cx="11642850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b="1" dirty="0" err="1">
                <a:solidFill>
                  <a:schemeClr val="tx1"/>
                </a:solidFill>
              </a:rPr>
              <a:t>Tạo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dirty="0" err="1">
                <a:solidFill>
                  <a:schemeClr val="tx1"/>
                </a:solidFill>
              </a:rPr>
              <a:t>và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dirty="0" err="1">
                <a:solidFill>
                  <a:schemeClr val="tx1"/>
                </a:solidFill>
              </a:rPr>
              <a:t>hiển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dirty="0" err="1">
                <a:solidFill>
                  <a:schemeClr val="tx1"/>
                </a:solidFill>
              </a:rPr>
              <a:t>thị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dirty="0" err="1">
                <a:solidFill>
                  <a:schemeClr val="tx1"/>
                </a:solidFill>
              </a:rPr>
              <a:t>một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dirty="0" err="1">
                <a:solidFill>
                  <a:schemeClr val="tx1"/>
                </a:solidFill>
              </a:rPr>
              <a:t>tín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dirty="0" err="1">
                <a:solidFill>
                  <a:schemeClr val="tx1"/>
                </a:solidFill>
              </a:rPr>
              <a:t>hiệu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dirty="0" err="1">
                <a:solidFill>
                  <a:schemeClr val="tx1"/>
                </a:solidFill>
              </a:rPr>
              <a:t>mới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dirty="0" err="1">
                <a:solidFill>
                  <a:schemeClr val="tx1"/>
                </a:solidFill>
              </a:rPr>
              <a:t>trên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dirty="0" err="1">
                <a:solidFill>
                  <a:schemeClr val="tx1"/>
                </a:solidFill>
              </a:rPr>
              <a:t>giao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dirty="0" err="1">
                <a:solidFill>
                  <a:schemeClr val="tx1"/>
                </a:solidFill>
              </a:rPr>
              <a:t>diện</a:t>
            </a:r>
            <a:r>
              <a:rPr lang="en-US" b="1" dirty="0">
                <a:solidFill>
                  <a:schemeClr val="tx1"/>
                </a:solidFill>
              </a:rPr>
              <a:t> XHQ</a:t>
            </a:r>
            <a:br>
              <a:rPr lang="en-US" b="1" dirty="0">
                <a:solidFill>
                  <a:schemeClr val="tx1"/>
                </a:solidFill>
              </a:rPr>
            </a:br>
            <a:r>
              <a:rPr lang="en-US" dirty="0" err="1">
                <a:solidFill>
                  <a:schemeClr val="tx1"/>
                </a:solidFill>
              </a:rPr>
              <a:t>Kết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quả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trên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giao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diện</a:t>
            </a:r>
            <a:r>
              <a:rPr lang="en-US" dirty="0">
                <a:solidFill>
                  <a:schemeClr val="tx1"/>
                </a:solidFill>
              </a:rPr>
              <a:t> Runtime </a:t>
            </a:r>
            <a:r>
              <a:rPr lang="en-US" dirty="0" err="1">
                <a:solidFill>
                  <a:schemeClr val="tx1"/>
                </a:solidFill>
              </a:rPr>
              <a:t>sau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khi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thêm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Arrow: Down 6">
            <a:extLst>
              <a:ext uri="{FF2B5EF4-FFF2-40B4-BE49-F238E27FC236}">
                <a16:creationId xmlns:a16="http://schemas.microsoft.com/office/drawing/2014/main" id="{7E9CA021-BBE7-2655-E71F-FA3CBD0E57A7}"/>
              </a:ext>
            </a:extLst>
          </p:cNvPr>
          <p:cNvSpPr/>
          <p:nvPr/>
        </p:nvSpPr>
        <p:spPr>
          <a:xfrm rot="3823908">
            <a:off x="6997558" y="1682308"/>
            <a:ext cx="432048" cy="64633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375333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CAB53-5F05-4488-89EB-F4F85713748E}"/>
              </a:ext>
            </a:extLst>
          </p:cNvPr>
          <p:cNvSpPr txBox="1">
            <a:spLocks/>
          </p:cNvSpPr>
          <p:nvPr/>
        </p:nvSpPr>
        <p:spPr>
          <a:xfrm>
            <a:off x="2336757" y="0"/>
            <a:ext cx="7524836" cy="108874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ướng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ẫn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ịch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ản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ực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ành</a:t>
            </a:r>
            <a:endParaRPr lang="vi-VN" sz="2800" b="1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A54FFDD-1490-40AC-95DC-52BB9E4951C5}"/>
              </a:ext>
            </a:extLst>
          </p:cNvPr>
          <p:cNvSpPr/>
          <p:nvPr/>
        </p:nvSpPr>
        <p:spPr bwMode="auto">
          <a:xfrm>
            <a:off x="1872078" y="2202151"/>
            <a:ext cx="1175921" cy="464850"/>
          </a:xfrm>
          <a:prstGeom prst="rect">
            <a:avLst/>
          </a:prstGeom>
          <a:solidFill>
            <a:srgbClr val="005F87"/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799" dirty="0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Training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28C53F3-A4B8-4952-B2D6-2BB4EEAF7A7D}"/>
              </a:ext>
            </a:extLst>
          </p:cNvPr>
          <p:cNvSpPr/>
          <p:nvPr/>
        </p:nvSpPr>
        <p:spPr bwMode="auto">
          <a:xfrm>
            <a:off x="2918669" y="2927816"/>
            <a:ext cx="1621478" cy="501184"/>
          </a:xfrm>
          <a:prstGeom prst="rect">
            <a:avLst/>
          </a:prstGeom>
          <a:solidFill>
            <a:srgbClr val="005F87"/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799" dirty="0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Plant 1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171D70B-7DA2-4EE5-91B4-014DE0EE13A7}"/>
              </a:ext>
            </a:extLst>
          </p:cNvPr>
          <p:cNvSpPr/>
          <p:nvPr/>
        </p:nvSpPr>
        <p:spPr bwMode="auto">
          <a:xfrm>
            <a:off x="2918668" y="3537416"/>
            <a:ext cx="1621479" cy="501184"/>
          </a:xfrm>
          <a:prstGeom prst="rect">
            <a:avLst/>
          </a:prstGeom>
          <a:solidFill>
            <a:srgbClr val="005F87"/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799" dirty="0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Plant 2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60436DC-A3A8-40F2-9BA9-507D83537885}"/>
              </a:ext>
            </a:extLst>
          </p:cNvPr>
          <p:cNvSpPr/>
          <p:nvPr/>
        </p:nvSpPr>
        <p:spPr bwMode="auto">
          <a:xfrm>
            <a:off x="2918669" y="4191000"/>
            <a:ext cx="1621479" cy="455622"/>
          </a:xfrm>
          <a:prstGeom prst="rect">
            <a:avLst/>
          </a:prstGeom>
          <a:solidFill>
            <a:srgbClr val="005F87"/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799" dirty="0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Plant 3</a:t>
            </a:r>
          </a:p>
        </p:txBody>
      </p:sp>
      <p:cxnSp>
        <p:nvCxnSpPr>
          <p:cNvPr id="7" name="Connector: Elbow 6">
            <a:extLst>
              <a:ext uri="{FF2B5EF4-FFF2-40B4-BE49-F238E27FC236}">
                <a16:creationId xmlns:a16="http://schemas.microsoft.com/office/drawing/2014/main" id="{46EDFAFC-F1C3-44AC-B253-C6F98685ACB9}"/>
              </a:ext>
            </a:extLst>
          </p:cNvPr>
          <p:cNvCxnSpPr>
            <a:cxnSpLocks/>
            <a:stCxn id="3" idx="2"/>
            <a:endCxn id="4" idx="1"/>
          </p:cNvCxnSpPr>
          <p:nvPr/>
        </p:nvCxnSpPr>
        <p:spPr bwMode="auto">
          <a:xfrm rot="16200000" flipH="1">
            <a:off x="2433651" y="2693389"/>
            <a:ext cx="511407" cy="458630"/>
          </a:xfrm>
          <a:prstGeom prst="bentConnector2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80388B83-4971-4CA8-B7A1-AC77C9B01102}"/>
              </a:ext>
            </a:extLst>
          </p:cNvPr>
          <p:cNvCxnSpPr>
            <a:cxnSpLocks/>
            <a:stCxn id="3" idx="2"/>
          </p:cNvCxnSpPr>
          <p:nvPr/>
        </p:nvCxnSpPr>
        <p:spPr bwMode="auto">
          <a:xfrm rot="16200000" flipH="1">
            <a:off x="2154791" y="2972249"/>
            <a:ext cx="1467124" cy="856628"/>
          </a:xfrm>
          <a:prstGeom prst="bentConnector3">
            <a:avLst/>
          </a:prstGeom>
          <a:solidFill>
            <a:srgbClr val="003399"/>
          </a:solidFill>
          <a:ln w="9525" cap="flat" cmpd="sng" algn="ctr">
            <a:noFill/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05860CF7-3992-4DEA-A166-7C89CFBBFCFB}"/>
              </a:ext>
            </a:extLst>
          </p:cNvPr>
          <p:cNvCxnSpPr>
            <a:cxnSpLocks/>
            <a:stCxn id="3" idx="2"/>
            <a:endCxn id="5" idx="1"/>
          </p:cNvCxnSpPr>
          <p:nvPr/>
        </p:nvCxnSpPr>
        <p:spPr bwMode="auto">
          <a:xfrm rot="16200000" flipH="1">
            <a:off x="2128850" y="2998189"/>
            <a:ext cx="1121007" cy="458629"/>
          </a:xfrm>
          <a:prstGeom prst="bentConnector2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D80721BA-DD8B-42A4-929C-4EF7C2925BF5}"/>
              </a:ext>
            </a:extLst>
          </p:cNvPr>
          <p:cNvCxnSpPr>
            <a:cxnSpLocks/>
            <a:stCxn id="3" idx="2"/>
            <a:endCxn id="6" idx="1"/>
          </p:cNvCxnSpPr>
          <p:nvPr/>
        </p:nvCxnSpPr>
        <p:spPr bwMode="auto">
          <a:xfrm rot="16200000" flipH="1">
            <a:off x="1813449" y="3313591"/>
            <a:ext cx="1751810" cy="458630"/>
          </a:xfrm>
          <a:prstGeom prst="bentConnector2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9690C07C-7B67-4956-A7F8-3E64C3CEA5D2}"/>
              </a:ext>
            </a:extLst>
          </p:cNvPr>
          <p:cNvSpPr/>
          <p:nvPr/>
        </p:nvSpPr>
        <p:spPr bwMode="auto">
          <a:xfrm>
            <a:off x="1872069" y="1785700"/>
            <a:ext cx="5671731" cy="4671839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99" dirty="0">
              <a:solidFill>
                <a:schemeClr val="bg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82A88A6-E4E5-4587-B93A-F10BF1D85C14}"/>
              </a:ext>
            </a:extLst>
          </p:cNvPr>
          <p:cNvSpPr/>
          <p:nvPr/>
        </p:nvSpPr>
        <p:spPr bwMode="auto">
          <a:xfrm>
            <a:off x="-16119" y="1785701"/>
            <a:ext cx="1646760" cy="4671840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99" dirty="0">
              <a:solidFill>
                <a:schemeClr val="bg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D4404AF-6D01-417F-A2D0-D222EF272A06}"/>
              </a:ext>
            </a:extLst>
          </p:cNvPr>
          <p:cNvSpPr txBox="1"/>
          <p:nvPr/>
        </p:nvSpPr>
        <p:spPr>
          <a:xfrm>
            <a:off x="3173" y="1364990"/>
            <a:ext cx="1690178" cy="3692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799" dirty="0">
                <a:solidFill>
                  <a:srgbClr val="FF0000"/>
                </a:solidFill>
              </a:rPr>
              <a:t>Data sourc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CAFEEB1-D22B-47EC-9D57-9613CAB2C9B9}"/>
              </a:ext>
            </a:extLst>
          </p:cNvPr>
          <p:cNvSpPr txBox="1"/>
          <p:nvPr/>
        </p:nvSpPr>
        <p:spPr>
          <a:xfrm>
            <a:off x="2521980" y="1341530"/>
            <a:ext cx="2165566" cy="3691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799" dirty="0">
                <a:solidFill>
                  <a:srgbClr val="FF0000"/>
                </a:solidFill>
              </a:rPr>
              <a:t>Information Model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675D181-94F0-45C1-8A33-441E3A8A0914}"/>
              </a:ext>
            </a:extLst>
          </p:cNvPr>
          <p:cNvSpPr/>
          <p:nvPr/>
        </p:nvSpPr>
        <p:spPr bwMode="auto">
          <a:xfrm>
            <a:off x="5007921" y="2470616"/>
            <a:ext cx="1621479" cy="435146"/>
          </a:xfrm>
          <a:prstGeom prst="rect">
            <a:avLst/>
          </a:prstGeom>
          <a:solidFill>
            <a:srgbClr val="005F87"/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799" dirty="0" err="1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Sản</a:t>
            </a:r>
            <a:r>
              <a:rPr lang="en-US" sz="1799" dirty="0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799" dirty="0" err="1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xuất</a:t>
            </a:r>
            <a:endParaRPr lang="en-US" sz="1799" dirty="0">
              <a:solidFill>
                <a:schemeClr val="bg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B044170-C820-4AE2-A136-A5B18A09FD40}"/>
              </a:ext>
            </a:extLst>
          </p:cNvPr>
          <p:cNvSpPr/>
          <p:nvPr/>
        </p:nvSpPr>
        <p:spPr bwMode="auto">
          <a:xfrm>
            <a:off x="2918668" y="4780343"/>
            <a:ext cx="1621479" cy="455622"/>
          </a:xfrm>
          <a:prstGeom prst="rect">
            <a:avLst/>
          </a:prstGeom>
          <a:solidFill>
            <a:srgbClr val="005F87"/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799" dirty="0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…</a:t>
            </a:r>
          </a:p>
        </p:txBody>
      </p: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C422D3C5-34DA-4C82-9DBB-14463ECEF76E}"/>
              </a:ext>
            </a:extLst>
          </p:cNvPr>
          <p:cNvCxnSpPr>
            <a:cxnSpLocks/>
            <a:stCxn id="3" idx="2"/>
            <a:endCxn id="16" idx="1"/>
          </p:cNvCxnSpPr>
          <p:nvPr/>
        </p:nvCxnSpPr>
        <p:spPr bwMode="auto">
          <a:xfrm rot="16200000" flipH="1">
            <a:off x="1518777" y="3608262"/>
            <a:ext cx="2341153" cy="458629"/>
          </a:xfrm>
          <a:prstGeom prst="bentConnector2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BDFA6F27-7039-48F6-82A6-75BB48FC99A9}"/>
              </a:ext>
            </a:extLst>
          </p:cNvPr>
          <p:cNvSpPr/>
          <p:nvPr/>
        </p:nvSpPr>
        <p:spPr bwMode="auto">
          <a:xfrm>
            <a:off x="5007921" y="3811864"/>
            <a:ext cx="1621479" cy="435146"/>
          </a:xfrm>
          <a:prstGeom prst="rect">
            <a:avLst/>
          </a:prstGeom>
          <a:solidFill>
            <a:srgbClr val="005F87"/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799" dirty="0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Kho</a:t>
            </a:r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A8FEFD28-EA05-4D85-AB35-A5FFC81A0FC2}"/>
              </a:ext>
            </a:extLst>
          </p:cNvPr>
          <p:cNvCxnSpPr>
            <a:cxnSpLocks/>
            <a:stCxn id="4" idx="3"/>
            <a:endCxn id="15" idx="1"/>
          </p:cNvCxnSpPr>
          <p:nvPr/>
        </p:nvCxnSpPr>
        <p:spPr bwMode="auto">
          <a:xfrm flipV="1">
            <a:off x="4540147" y="2688189"/>
            <a:ext cx="467774" cy="490219"/>
          </a:xfrm>
          <a:prstGeom prst="bentConnector3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15B3CF01-C7C8-4DFE-99C3-4F944CB1033F}"/>
              </a:ext>
            </a:extLst>
          </p:cNvPr>
          <p:cNvCxnSpPr>
            <a:cxnSpLocks/>
            <a:stCxn id="4" idx="3"/>
            <a:endCxn id="18" idx="1"/>
          </p:cNvCxnSpPr>
          <p:nvPr/>
        </p:nvCxnSpPr>
        <p:spPr bwMode="auto">
          <a:xfrm>
            <a:off x="4540147" y="3178408"/>
            <a:ext cx="467774" cy="851029"/>
          </a:xfrm>
          <a:prstGeom prst="bentConnector3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9545A246-D1BC-4D72-8FBE-B59D6EE3670C}"/>
              </a:ext>
            </a:extLst>
          </p:cNvPr>
          <p:cNvSpPr/>
          <p:nvPr/>
        </p:nvSpPr>
        <p:spPr bwMode="auto">
          <a:xfrm>
            <a:off x="7543800" y="1785699"/>
            <a:ext cx="4645027" cy="4671837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99" dirty="0">
              <a:solidFill>
                <a:schemeClr val="bg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7581C70-3EFF-4209-88F2-D6919D88BD56}"/>
              </a:ext>
            </a:extLst>
          </p:cNvPr>
          <p:cNvSpPr/>
          <p:nvPr/>
        </p:nvSpPr>
        <p:spPr bwMode="auto">
          <a:xfrm>
            <a:off x="3520352" y="5625244"/>
            <a:ext cx="1464165" cy="395247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400" dirty="0" err="1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colProduction</a:t>
            </a:r>
            <a:endParaRPr lang="en-US" sz="1400" dirty="0">
              <a:solidFill>
                <a:schemeClr val="bg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12A4986-A522-4439-8EEA-1AB118F78E1C}"/>
              </a:ext>
            </a:extLst>
          </p:cNvPr>
          <p:cNvSpPr/>
          <p:nvPr/>
        </p:nvSpPr>
        <p:spPr bwMode="auto">
          <a:xfrm>
            <a:off x="195521" y="5739733"/>
            <a:ext cx="1223479" cy="71780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799" dirty="0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Database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6CFA7B76-7ADF-429E-B8FA-0EEFE7A99E6B}"/>
              </a:ext>
            </a:extLst>
          </p:cNvPr>
          <p:cNvCxnSpPr>
            <a:cxnSpLocks/>
            <a:endCxn id="24" idx="1"/>
          </p:cNvCxnSpPr>
          <p:nvPr/>
        </p:nvCxnSpPr>
        <p:spPr bwMode="auto">
          <a:xfrm>
            <a:off x="1630640" y="5822868"/>
            <a:ext cx="1889712" cy="0"/>
          </a:xfrm>
          <a:prstGeom prst="straightConnector1">
            <a:avLst/>
          </a:prstGeom>
          <a:ln w="38100">
            <a:solidFill>
              <a:schemeClr val="accent1"/>
            </a:solidFill>
            <a:headEnd type="none" w="med" len="med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8" name="Picture 27">
            <a:extLst>
              <a:ext uri="{FF2B5EF4-FFF2-40B4-BE49-F238E27FC236}">
                <a16:creationId xmlns:a16="http://schemas.microsoft.com/office/drawing/2014/main" id="{0DA4CDCE-C70B-403B-AFD0-0DB3E380DD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52223" y="1913864"/>
            <a:ext cx="3065419" cy="1609653"/>
          </a:xfrm>
          <a:prstGeom prst="rect">
            <a:avLst/>
          </a:prstGeom>
          <a:ln>
            <a:solidFill>
              <a:schemeClr val="accent1">
                <a:lumMod val="75000"/>
              </a:schemeClr>
            </a:solidFill>
          </a:ln>
        </p:spPr>
      </p:pic>
      <p:cxnSp>
        <p:nvCxnSpPr>
          <p:cNvPr id="29" name="Connector: Elbow 28">
            <a:extLst>
              <a:ext uri="{FF2B5EF4-FFF2-40B4-BE49-F238E27FC236}">
                <a16:creationId xmlns:a16="http://schemas.microsoft.com/office/drawing/2014/main" id="{7E196562-02F3-4F12-BE0B-B272F97CCDE8}"/>
              </a:ext>
            </a:extLst>
          </p:cNvPr>
          <p:cNvCxnSpPr/>
          <p:nvPr/>
        </p:nvCxnSpPr>
        <p:spPr bwMode="auto">
          <a:xfrm>
            <a:off x="9284501" y="2677417"/>
            <a:ext cx="609599" cy="7113"/>
          </a:xfrm>
          <a:prstGeom prst="bentConnector3">
            <a:avLst/>
          </a:prstGeom>
          <a:solidFill>
            <a:srgbClr val="003399"/>
          </a:solidFill>
          <a:ln w="9525" cap="flat" cmpd="sng" algn="ctr">
            <a:noFill/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94F03CB4-B077-499E-BA5C-6D20064E68DE}"/>
              </a:ext>
            </a:extLst>
          </p:cNvPr>
          <p:cNvSpPr/>
          <p:nvPr/>
        </p:nvSpPr>
        <p:spPr bwMode="auto">
          <a:xfrm>
            <a:off x="195521" y="1984383"/>
            <a:ext cx="1223479" cy="71780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799" dirty="0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DC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CD19C7F-9B97-4463-BEB1-C82A864B0FFF}"/>
              </a:ext>
            </a:extLst>
          </p:cNvPr>
          <p:cNvSpPr/>
          <p:nvPr/>
        </p:nvSpPr>
        <p:spPr bwMode="auto">
          <a:xfrm>
            <a:off x="195521" y="3201258"/>
            <a:ext cx="1223479" cy="717808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799" dirty="0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PMI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4754ECE-6585-4D0C-BD43-46D5A1BD705A}"/>
              </a:ext>
            </a:extLst>
          </p:cNvPr>
          <p:cNvSpPr/>
          <p:nvPr/>
        </p:nvSpPr>
        <p:spPr bwMode="auto">
          <a:xfrm>
            <a:off x="195521" y="4483569"/>
            <a:ext cx="1223479" cy="717808"/>
          </a:xfrm>
          <a:prstGeom prst="rect">
            <a:avLst/>
          </a:prstGeom>
          <a:solidFill>
            <a:schemeClr val="accent1">
              <a:lumMod val="25000"/>
            </a:schemeClr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799" dirty="0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Web</a:t>
            </a:r>
          </a:p>
        </p:txBody>
      </p:sp>
      <p:cxnSp>
        <p:nvCxnSpPr>
          <p:cNvPr id="35" name="Connector: Elbow 34">
            <a:extLst>
              <a:ext uri="{FF2B5EF4-FFF2-40B4-BE49-F238E27FC236}">
                <a16:creationId xmlns:a16="http://schemas.microsoft.com/office/drawing/2014/main" id="{310626DF-19AA-410D-860E-8AFBECDC2544}"/>
              </a:ext>
            </a:extLst>
          </p:cNvPr>
          <p:cNvCxnSpPr>
            <a:cxnSpLocks/>
            <a:stCxn id="24" idx="3"/>
            <a:endCxn id="43" idx="2"/>
          </p:cNvCxnSpPr>
          <p:nvPr/>
        </p:nvCxnSpPr>
        <p:spPr bwMode="auto">
          <a:xfrm flipV="1">
            <a:off x="4984517" y="4247010"/>
            <a:ext cx="2748661" cy="1575858"/>
          </a:xfrm>
          <a:prstGeom prst="bentConnector2">
            <a:avLst/>
          </a:prstGeom>
          <a:ln w="38100">
            <a:solidFill>
              <a:schemeClr val="accent1"/>
            </a:solidFill>
            <a:prstDash val="sysDot"/>
            <a:headEnd type="none" w="med" len="med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50D60BBB-CE1F-4350-B5D4-4B1B60A58915}"/>
              </a:ext>
            </a:extLst>
          </p:cNvPr>
          <p:cNvCxnSpPr/>
          <p:nvPr/>
        </p:nvCxnSpPr>
        <p:spPr bwMode="auto">
          <a:xfrm>
            <a:off x="1851680" y="5257800"/>
            <a:ext cx="5671731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22FBAF6A-9D80-4190-8C50-E7B296D36DE2}"/>
              </a:ext>
            </a:extLst>
          </p:cNvPr>
          <p:cNvSpPr/>
          <p:nvPr/>
        </p:nvSpPr>
        <p:spPr bwMode="auto">
          <a:xfrm>
            <a:off x="1897059" y="5271961"/>
            <a:ext cx="1047369" cy="28492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400" dirty="0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Collection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67EB3202-3B99-4761-B52D-46AA674AC2F4}"/>
              </a:ext>
            </a:extLst>
          </p:cNvPr>
          <p:cNvSpPr/>
          <p:nvPr/>
        </p:nvSpPr>
        <p:spPr bwMode="auto">
          <a:xfrm>
            <a:off x="1887956" y="1794569"/>
            <a:ext cx="1806942" cy="299166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400" dirty="0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Information Model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C7E8CE9-DA24-4543-BA86-0359E49F5E67}"/>
              </a:ext>
            </a:extLst>
          </p:cNvPr>
          <p:cNvSpPr txBox="1"/>
          <p:nvPr/>
        </p:nvSpPr>
        <p:spPr>
          <a:xfrm>
            <a:off x="9051503" y="1382406"/>
            <a:ext cx="2165566" cy="3691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799" dirty="0">
                <a:solidFill>
                  <a:srgbClr val="FF0000"/>
                </a:solidFill>
              </a:rPr>
              <a:t>View/ Dashboard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00761179-FABC-491A-BECA-3206306D6C77}"/>
              </a:ext>
            </a:extLst>
          </p:cNvPr>
          <p:cNvSpPr/>
          <p:nvPr/>
        </p:nvSpPr>
        <p:spPr bwMode="auto">
          <a:xfrm>
            <a:off x="5442447" y="3073904"/>
            <a:ext cx="1464165" cy="435146"/>
          </a:xfrm>
          <a:prstGeom prst="rect">
            <a:avLst/>
          </a:prstGeom>
          <a:solidFill>
            <a:srgbClr val="005F87"/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799" dirty="0" err="1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Quy</a:t>
            </a:r>
            <a:r>
              <a:rPr lang="en-US" sz="1799" dirty="0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799" dirty="0" err="1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trình</a:t>
            </a:r>
            <a:endParaRPr lang="en-US" sz="1799" dirty="0">
              <a:solidFill>
                <a:schemeClr val="bg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CAE1D730-A686-408B-AB74-87704AAB3224}"/>
              </a:ext>
            </a:extLst>
          </p:cNvPr>
          <p:cNvCxnSpPr>
            <a:cxnSpLocks/>
            <a:endCxn id="42" idx="1"/>
          </p:cNvCxnSpPr>
          <p:nvPr/>
        </p:nvCxnSpPr>
        <p:spPr bwMode="auto">
          <a:xfrm rot="16200000" flipH="1">
            <a:off x="5165606" y="3014636"/>
            <a:ext cx="379136" cy="174545"/>
          </a:xfrm>
          <a:prstGeom prst="bentConnector2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0" name="Rectangle 49">
            <a:extLst>
              <a:ext uri="{FF2B5EF4-FFF2-40B4-BE49-F238E27FC236}">
                <a16:creationId xmlns:a16="http://schemas.microsoft.com/office/drawing/2014/main" id="{38BB5DAF-6255-4377-9CDE-3C86D7CD95C9}"/>
              </a:ext>
            </a:extLst>
          </p:cNvPr>
          <p:cNvSpPr/>
          <p:nvPr/>
        </p:nvSpPr>
        <p:spPr bwMode="auto">
          <a:xfrm>
            <a:off x="7076026" y="3095837"/>
            <a:ext cx="1483717" cy="427681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400" dirty="0" err="1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colProcessData</a:t>
            </a:r>
            <a:endParaRPr lang="en-US" sz="1400" dirty="0">
              <a:solidFill>
                <a:schemeClr val="bg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cxnSp>
        <p:nvCxnSpPr>
          <p:cNvPr id="51" name="Connector: Elbow 50">
            <a:extLst>
              <a:ext uri="{FF2B5EF4-FFF2-40B4-BE49-F238E27FC236}">
                <a16:creationId xmlns:a16="http://schemas.microsoft.com/office/drawing/2014/main" id="{8CF46D9B-761D-45C0-A652-8724D572E59F}"/>
              </a:ext>
            </a:extLst>
          </p:cNvPr>
          <p:cNvCxnSpPr>
            <a:cxnSpLocks/>
            <a:stCxn id="50" idx="3"/>
            <a:endCxn id="28" idx="1"/>
          </p:cNvCxnSpPr>
          <p:nvPr/>
        </p:nvCxnSpPr>
        <p:spPr bwMode="auto">
          <a:xfrm flipV="1">
            <a:off x="8559743" y="2718691"/>
            <a:ext cx="392480" cy="590987"/>
          </a:xfrm>
          <a:prstGeom prst="bentConnector3">
            <a:avLst>
              <a:gd name="adj1" fmla="val 50000"/>
            </a:avLst>
          </a:prstGeom>
          <a:solidFill>
            <a:srgbClr val="003399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0B9A238C-DC5E-4B52-B2F8-DE824CD9AD98}"/>
              </a:ext>
            </a:extLst>
          </p:cNvPr>
          <p:cNvCxnSpPr>
            <a:cxnSpLocks/>
            <a:stCxn id="42" idx="3"/>
            <a:endCxn id="50" idx="1"/>
          </p:cNvCxnSpPr>
          <p:nvPr/>
        </p:nvCxnSpPr>
        <p:spPr bwMode="auto">
          <a:xfrm>
            <a:off x="6906612" y="3291477"/>
            <a:ext cx="169414" cy="18201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2" name="Rectangle 61">
            <a:extLst>
              <a:ext uri="{FF2B5EF4-FFF2-40B4-BE49-F238E27FC236}">
                <a16:creationId xmlns:a16="http://schemas.microsoft.com/office/drawing/2014/main" id="{8A17DB95-8938-492C-934B-95E03CA0A7CB}"/>
              </a:ext>
            </a:extLst>
          </p:cNvPr>
          <p:cNvSpPr/>
          <p:nvPr/>
        </p:nvSpPr>
        <p:spPr bwMode="auto">
          <a:xfrm>
            <a:off x="3520351" y="6062294"/>
            <a:ext cx="1464165" cy="395247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400" dirty="0" err="1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colInventory</a:t>
            </a:r>
            <a:endParaRPr lang="en-US" sz="1400" dirty="0">
              <a:solidFill>
                <a:schemeClr val="bg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CF456EFB-9F41-4B74-AB63-F71E43564C8E}"/>
              </a:ext>
            </a:extLst>
          </p:cNvPr>
          <p:cNvCxnSpPr>
            <a:cxnSpLocks/>
            <a:endCxn id="62" idx="1"/>
          </p:cNvCxnSpPr>
          <p:nvPr/>
        </p:nvCxnSpPr>
        <p:spPr bwMode="auto">
          <a:xfrm>
            <a:off x="1630641" y="6259918"/>
            <a:ext cx="1889710" cy="0"/>
          </a:xfrm>
          <a:prstGeom prst="straightConnector1">
            <a:avLst/>
          </a:prstGeom>
          <a:ln w="38100">
            <a:solidFill>
              <a:schemeClr val="accent1"/>
            </a:solidFill>
            <a:headEnd type="none" w="med" len="med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75" name="Connector: Elbow 74">
            <a:extLst>
              <a:ext uri="{FF2B5EF4-FFF2-40B4-BE49-F238E27FC236}">
                <a16:creationId xmlns:a16="http://schemas.microsoft.com/office/drawing/2014/main" id="{9208D8A8-0A9E-40ED-A4A4-5F7580EF06A2}"/>
              </a:ext>
            </a:extLst>
          </p:cNvPr>
          <p:cNvCxnSpPr>
            <a:cxnSpLocks/>
            <a:stCxn id="62" idx="3"/>
          </p:cNvCxnSpPr>
          <p:nvPr/>
        </p:nvCxnSpPr>
        <p:spPr bwMode="auto">
          <a:xfrm flipV="1">
            <a:off x="4984516" y="3530097"/>
            <a:ext cx="2347643" cy="2729821"/>
          </a:xfrm>
          <a:prstGeom prst="bentConnector2">
            <a:avLst/>
          </a:prstGeom>
          <a:ln w="38100">
            <a:solidFill>
              <a:schemeClr val="accent1"/>
            </a:solidFill>
            <a:prstDash val="sysDot"/>
            <a:headEnd type="none" w="med" len="med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3" name="Rectangle 42">
            <a:extLst>
              <a:ext uri="{FF2B5EF4-FFF2-40B4-BE49-F238E27FC236}">
                <a16:creationId xmlns:a16="http://schemas.microsoft.com/office/drawing/2014/main" id="{7BE2AB73-93BA-E962-9768-0C0F145922DF}"/>
              </a:ext>
            </a:extLst>
          </p:cNvPr>
          <p:cNvSpPr/>
          <p:nvPr/>
        </p:nvSpPr>
        <p:spPr bwMode="auto">
          <a:xfrm>
            <a:off x="6991319" y="3819329"/>
            <a:ext cx="1483717" cy="427681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400" dirty="0" err="1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colInventory</a:t>
            </a:r>
            <a:endParaRPr lang="en-US" sz="1400" dirty="0">
              <a:solidFill>
                <a:schemeClr val="bg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780CDD94-BD82-B05D-9446-936C5204558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10" t="13363" r="2529" b="1860"/>
          <a:stretch/>
        </p:blipFill>
        <p:spPr>
          <a:xfrm>
            <a:off x="8860783" y="4022890"/>
            <a:ext cx="3185045" cy="1938773"/>
          </a:xfrm>
          <a:prstGeom prst="rect">
            <a:avLst/>
          </a:prstGeom>
          <a:ln>
            <a:solidFill>
              <a:srgbClr val="005F87"/>
            </a:solidFill>
          </a:ln>
        </p:spPr>
      </p:pic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6EA54B7B-93AA-9864-CEB5-004E816F1788}"/>
              </a:ext>
            </a:extLst>
          </p:cNvPr>
          <p:cNvCxnSpPr>
            <a:cxnSpLocks/>
            <a:stCxn id="18" idx="3"/>
            <a:endCxn id="43" idx="1"/>
          </p:cNvCxnSpPr>
          <p:nvPr/>
        </p:nvCxnSpPr>
        <p:spPr bwMode="auto">
          <a:xfrm>
            <a:off x="6629400" y="4029437"/>
            <a:ext cx="361919" cy="3733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57" name="Connector: Elbow 56">
            <a:extLst>
              <a:ext uri="{FF2B5EF4-FFF2-40B4-BE49-F238E27FC236}">
                <a16:creationId xmlns:a16="http://schemas.microsoft.com/office/drawing/2014/main" id="{2AE727FD-E693-E034-6AC8-4643A165913B}"/>
              </a:ext>
            </a:extLst>
          </p:cNvPr>
          <p:cNvCxnSpPr>
            <a:cxnSpLocks/>
            <a:stCxn id="43" idx="3"/>
            <a:endCxn id="47" idx="1"/>
          </p:cNvCxnSpPr>
          <p:nvPr/>
        </p:nvCxnSpPr>
        <p:spPr bwMode="auto">
          <a:xfrm>
            <a:off x="8475036" y="4033170"/>
            <a:ext cx="385747" cy="959107"/>
          </a:xfrm>
          <a:prstGeom prst="bentConnector3">
            <a:avLst>
              <a:gd name="adj1" fmla="val 50000"/>
            </a:avLst>
          </a:prstGeom>
          <a:solidFill>
            <a:srgbClr val="003399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245686536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CAB53-5F05-4488-89EB-F4F85713748E}"/>
              </a:ext>
            </a:extLst>
          </p:cNvPr>
          <p:cNvSpPr txBox="1">
            <a:spLocks/>
          </p:cNvSpPr>
          <p:nvPr/>
        </p:nvSpPr>
        <p:spPr>
          <a:xfrm>
            <a:off x="2336757" y="0"/>
            <a:ext cx="7524836" cy="108874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ướng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ẫn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ịch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ản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ực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ành</a:t>
            </a:r>
            <a:endParaRPr lang="vi-VN" sz="2800" b="1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A54FFDD-1490-40AC-95DC-52BB9E4951C5}"/>
              </a:ext>
            </a:extLst>
          </p:cNvPr>
          <p:cNvSpPr/>
          <p:nvPr/>
        </p:nvSpPr>
        <p:spPr bwMode="auto">
          <a:xfrm>
            <a:off x="212142" y="2119131"/>
            <a:ext cx="1175921" cy="464850"/>
          </a:xfrm>
          <a:prstGeom prst="rect">
            <a:avLst/>
          </a:prstGeom>
          <a:solidFill>
            <a:srgbClr val="005F87"/>
          </a:solidFill>
          <a:ln>
            <a:noFill/>
          </a:ln>
          <a:effectLst/>
          <a:scene3d>
            <a:camera prst="orthographicFront"/>
            <a:lightRig rig="threePt" dir="t"/>
          </a:scene3d>
          <a:sp3d>
            <a:bevelT w="152400" h="50800" prst="softRound"/>
          </a:sp3d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799" dirty="0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Training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28C53F3-A4B8-4952-B2D6-2BB4EEAF7A7D}"/>
              </a:ext>
            </a:extLst>
          </p:cNvPr>
          <p:cNvSpPr/>
          <p:nvPr/>
        </p:nvSpPr>
        <p:spPr bwMode="auto">
          <a:xfrm>
            <a:off x="1258733" y="2844796"/>
            <a:ext cx="1621478" cy="50118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  <a:scene3d>
            <a:camera prst="orthographicFront"/>
            <a:lightRig rig="threePt" dir="t"/>
          </a:scene3d>
          <a:sp3d>
            <a:bevelT w="152400" h="50800" prst="softRound"/>
          </a:sp3d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799" dirty="0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Plant 1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171D70B-7DA2-4EE5-91B4-014DE0EE13A7}"/>
              </a:ext>
            </a:extLst>
          </p:cNvPr>
          <p:cNvSpPr/>
          <p:nvPr/>
        </p:nvSpPr>
        <p:spPr bwMode="auto">
          <a:xfrm>
            <a:off x="1258732" y="3454396"/>
            <a:ext cx="1621479" cy="50118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  <a:scene3d>
            <a:camera prst="orthographicFront"/>
            <a:lightRig rig="threePt" dir="t"/>
          </a:scene3d>
          <a:sp3d>
            <a:bevelT w="152400" h="50800" prst="softRound"/>
          </a:sp3d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799" dirty="0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Plant 2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60436DC-A3A8-40F2-9BA9-507D83537885}"/>
              </a:ext>
            </a:extLst>
          </p:cNvPr>
          <p:cNvSpPr/>
          <p:nvPr/>
        </p:nvSpPr>
        <p:spPr bwMode="auto">
          <a:xfrm>
            <a:off x="1258733" y="4107980"/>
            <a:ext cx="1621479" cy="45562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  <a:scene3d>
            <a:camera prst="orthographicFront"/>
            <a:lightRig rig="threePt" dir="t"/>
          </a:scene3d>
          <a:sp3d>
            <a:bevelT w="152400" h="50800" prst="softRound"/>
          </a:sp3d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799" dirty="0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Plant 3</a:t>
            </a:r>
          </a:p>
        </p:txBody>
      </p:sp>
      <p:cxnSp>
        <p:nvCxnSpPr>
          <p:cNvPr id="7" name="Connector: Elbow 6">
            <a:extLst>
              <a:ext uri="{FF2B5EF4-FFF2-40B4-BE49-F238E27FC236}">
                <a16:creationId xmlns:a16="http://schemas.microsoft.com/office/drawing/2014/main" id="{46EDFAFC-F1C3-44AC-B253-C6F98685ACB9}"/>
              </a:ext>
            </a:extLst>
          </p:cNvPr>
          <p:cNvCxnSpPr>
            <a:cxnSpLocks/>
            <a:stCxn id="3" idx="2"/>
            <a:endCxn id="4" idx="1"/>
          </p:cNvCxnSpPr>
          <p:nvPr/>
        </p:nvCxnSpPr>
        <p:spPr bwMode="auto">
          <a:xfrm rot="16200000" flipH="1">
            <a:off x="773715" y="2610369"/>
            <a:ext cx="511407" cy="458630"/>
          </a:xfrm>
          <a:prstGeom prst="bentConnector2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80388B83-4971-4CA8-B7A1-AC77C9B01102}"/>
              </a:ext>
            </a:extLst>
          </p:cNvPr>
          <p:cNvCxnSpPr>
            <a:cxnSpLocks/>
            <a:stCxn id="3" idx="2"/>
          </p:cNvCxnSpPr>
          <p:nvPr/>
        </p:nvCxnSpPr>
        <p:spPr bwMode="auto">
          <a:xfrm rot="16200000" flipH="1">
            <a:off x="494855" y="2889229"/>
            <a:ext cx="1467124" cy="856628"/>
          </a:xfrm>
          <a:prstGeom prst="bentConnector3">
            <a:avLst/>
          </a:prstGeom>
          <a:solidFill>
            <a:srgbClr val="003399"/>
          </a:solidFill>
          <a:ln w="9525" cap="flat" cmpd="sng" algn="ctr">
            <a:noFill/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05860CF7-3992-4DEA-A166-7C89CFBBFCFB}"/>
              </a:ext>
            </a:extLst>
          </p:cNvPr>
          <p:cNvCxnSpPr>
            <a:cxnSpLocks/>
            <a:stCxn id="3" idx="2"/>
            <a:endCxn id="5" idx="1"/>
          </p:cNvCxnSpPr>
          <p:nvPr/>
        </p:nvCxnSpPr>
        <p:spPr bwMode="auto">
          <a:xfrm rot="16200000" flipH="1">
            <a:off x="468914" y="2915169"/>
            <a:ext cx="1121007" cy="458629"/>
          </a:xfrm>
          <a:prstGeom prst="bentConnector2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D80721BA-DD8B-42A4-929C-4EF7C2925BF5}"/>
              </a:ext>
            </a:extLst>
          </p:cNvPr>
          <p:cNvCxnSpPr>
            <a:cxnSpLocks/>
            <a:stCxn id="3" idx="2"/>
            <a:endCxn id="6" idx="1"/>
          </p:cNvCxnSpPr>
          <p:nvPr/>
        </p:nvCxnSpPr>
        <p:spPr bwMode="auto">
          <a:xfrm rot="16200000" flipH="1">
            <a:off x="153513" y="3230571"/>
            <a:ext cx="1751810" cy="458630"/>
          </a:xfrm>
          <a:prstGeom prst="bentConnector2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9690C07C-7B67-4956-A7F8-3E64C3CEA5D2}"/>
              </a:ext>
            </a:extLst>
          </p:cNvPr>
          <p:cNvSpPr/>
          <p:nvPr/>
        </p:nvSpPr>
        <p:spPr bwMode="auto">
          <a:xfrm>
            <a:off x="212133" y="1702680"/>
            <a:ext cx="7818754" cy="4671839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99" dirty="0">
              <a:solidFill>
                <a:schemeClr val="bg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CAFEEB1-D22B-47EC-9D57-9613CAB2C9B9}"/>
              </a:ext>
            </a:extLst>
          </p:cNvPr>
          <p:cNvSpPr txBox="1"/>
          <p:nvPr/>
        </p:nvSpPr>
        <p:spPr>
          <a:xfrm>
            <a:off x="175949" y="1275549"/>
            <a:ext cx="2165566" cy="3691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799" dirty="0">
                <a:solidFill>
                  <a:srgbClr val="FF0000"/>
                </a:solidFill>
              </a:rPr>
              <a:t>Information Model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675D181-94F0-45C1-8A33-441E3A8A0914}"/>
              </a:ext>
            </a:extLst>
          </p:cNvPr>
          <p:cNvSpPr/>
          <p:nvPr/>
        </p:nvSpPr>
        <p:spPr bwMode="auto">
          <a:xfrm>
            <a:off x="3240289" y="2438879"/>
            <a:ext cx="1621479" cy="43514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  <a:scene3d>
            <a:camera prst="orthographicFront"/>
            <a:lightRig rig="threePt" dir="t"/>
          </a:scene3d>
          <a:sp3d>
            <a:bevelT w="152400" h="50800" prst="softRound"/>
          </a:sp3d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799" dirty="0" err="1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Sản</a:t>
            </a:r>
            <a:r>
              <a:rPr lang="en-US" sz="1799" dirty="0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799" dirty="0" err="1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xuất</a:t>
            </a:r>
            <a:endParaRPr lang="en-US" sz="1799" dirty="0">
              <a:solidFill>
                <a:schemeClr val="bg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B044170-C820-4AE2-A136-A5B18A09FD40}"/>
              </a:ext>
            </a:extLst>
          </p:cNvPr>
          <p:cNvSpPr/>
          <p:nvPr/>
        </p:nvSpPr>
        <p:spPr bwMode="auto">
          <a:xfrm>
            <a:off x="1258732" y="4697323"/>
            <a:ext cx="1621479" cy="45562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  <a:scene3d>
            <a:camera prst="orthographicFront"/>
            <a:lightRig rig="threePt" dir="t"/>
          </a:scene3d>
          <a:sp3d>
            <a:bevelT w="152400" h="50800" prst="softRound"/>
          </a:sp3d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799" dirty="0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…</a:t>
            </a:r>
          </a:p>
        </p:txBody>
      </p: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C422D3C5-34DA-4C82-9DBB-14463ECEF76E}"/>
              </a:ext>
            </a:extLst>
          </p:cNvPr>
          <p:cNvCxnSpPr>
            <a:cxnSpLocks/>
            <a:stCxn id="3" idx="2"/>
            <a:endCxn id="16" idx="1"/>
          </p:cNvCxnSpPr>
          <p:nvPr/>
        </p:nvCxnSpPr>
        <p:spPr bwMode="auto">
          <a:xfrm rot="16200000" flipH="1">
            <a:off x="-141159" y="3525242"/>
            <a:ext cx="2341153" cy="458629"/>
          </a:xfrm>
          <a:prstGeom prst="bentConnector2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A8FEFD28-EA05-4D85-AB35-A5FFC81A0FC2}"/>
              </a:ext>
            </a:extLst>
          </p:cNvPr>
          <p:cNvCxnSpPr>
            <a:cxnSpLocks/>
            <a:stCxn id="4" idx="3"/>
            <a:endCxn id="15" idx="1"/>
          </p:cNvCxnSpPr>
          <p:nvPr/>
        </p:nvCxnSpPr>
        <p:spPr bwMode="auto">
          <a:xfrm flipV="1">
            <a:off x="2880211" y="2656452"/>
            <a:ext cx="360078" cy="438936"/>
          </a:xfrm>
          <a:prstGeom prst="bentConnector3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67EB3202-3B99-4761-B52D-46AA674AC2F4}"/>
              </a:ext>
            </a:extLst>
          </p:cNvPr>
          <p:cNvSpPr/>
          <p:nvPr/>
        </p:nvSpPr>
        <p:spPr bwMode="auto">
          <a:xfrm>
            <a:off x="228020" y="1711549"/>
            <a:ext cx="1806942" cy="299166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400" dirty="0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Information Model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71734624-45D6-438B-8BF3-57576CA19CDE}"/>
              </a:ext>
            </a:extLst>
          </p:cNvPr>
          <p:cNvSpPr/>
          <p:nvPr/>
        </p:nvSpPr>
        <p:spPr bwMode="auto">
          <a:xfrm>
            <a:off x="8889903" y="1897450"/>
            <a:ext cx="3055351" cy="392880"/>
          </a:xfrm>
          <a:prstGeom prst="rect">
            <a:avLst/>
          </a:prstGeom>
          <a:solidFill>
            <a:srgbClr val="005F87"/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400" dirty="0" err="1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Tạo</a:t>
            </a:r>
            <a:r>
              <a:rPr lang="en-US" sz="1400" dirty="0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Page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B0B23D79-3CA1-44E9-B47E-F9A4DFC075B9}"/>
              </a:ext>
            </a:extLst>
          </p:cNvPr>
          <p:cNvSpPr/>
          <p:nvPr/>
        </p:nvSpPr>
        <p:spPr bwMode="auto">
          <a:xfrm>
            <a:off x="8770635" y="2368666"/>
            <a:ext cx="3174619" cy="392880"/>
          </a:xfrm>
          <a:prstGeom prst="rect">
            <a:avLst/>
          </a:prstGeom>
          <a:solidFill>
            <a:srgbClr val="005F87"/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400" dirty="0" err="1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Tạo</a:t>
            </a:r>
            <a:r>
              <a:rPr lang="en-US" sz="1400" dirty="0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400" dirty="0" err="1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S_Component</a:t>
            </a:r>
            <a:endParaRPr lang="en-US" sz="1400" dirty="0">
              <a:solidFill>
                <a:schemeClr val="bg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81865CBC-6D0E-4316-939F-A5415EE39849}"/>
              </a:ext>
            </a:extLst>
          </p:cNvPr>
          <p:cNvSpPr/>
          <p:nvPr/>
        </p:nvSpPr>
        <p:spPr bwMode="auto">
          <a:xfrm>
            <a:off x="8770635" y="2841866"/>
            <a:ext cx="3174619" cy="392880"/>
          </a:xfrm>
          <a:prstGeom prst="rect">
            <a:avLst/>
          </a:prstGeom>
          <a:solidFill>
            <a:srgbClr val="005F87"/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400" dirty="0" err="1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Tạo</a:t>
            </a:r>
            <a:r>
              <a:rPr lang="en-US" sz="1400" dirty="0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400" dirty="0" err="1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C_Component</a:t>
            </a:r>
            <a:endParaRPr lang="en-US" sz="1400" dirty="0">
              <a:solidFill>
                <a:schemeClr val="bg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CC80ED37-ADC6-4D7B-AF6F-2100CAA11D71}"/>
              </a:ext>
            </a:extLst>
          </p:cNvPr>
          <p:cNvSpPr/>
          <p:nvPr/>
        </p:nvSpPr>
        <p:spPr bwMode="auto">
          <a:xfrm>
            <a:off x="8504756" y="3301606"/>
            <a:ext cx="3440498" cy="392880"/>
          </a:xfrm>
          <a:prstGeom prst="rect">
            <a:avLst/>
          </a:prstGeom>
          <a:solidFill>
            <a:srgbClr val="005F87"/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400" dirty="0" err="1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Tạo</a:t>
            </a:r>
            <a:r>
              <a:rPr lang="en-US" sz="1400" dirty="0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Connection Process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4834F8F3-ADFA-4C57-BCE1-A7E8292A16A2}"/>
              </a:ext>
            </a:extLst>
          </p:cNvPr>
          <p:cNvSpPr/>
          <p:nvPr/>
        </p:nvSpPr>
        <p:spPr bwMode="auto">
          <a:xfrm>
            <a:off x="8504756" y="3809232"/>
            <a:ext cx="3440498" cy="392880"/>
          </a:xfrm>
          <a:prstGeom prst="rect">
            <a:avLst/>
          </a:prstGeom>
          <a:solidFill>
            <a:srgbClr val="005F87"/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400" dirty="0" err="1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Tạo</a:t>
            </a:r>
            <a:r>
              <a:rPr lang="en-US" sz="1400" dirty="0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Connection Group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54AED9FA-6947-46EC-8209-21AA00CC6329}"/>
              </a:ext>
            </a:extLst>
          </p:cNvPr>
          <p:cNvSpPr/>
          <p:nvPr/>
        </p:nvSpPr>
        <p:spPr bwMode="auto">
          <a:xfrm>
            <a:off x="8567436" y="4297110"/>
            <a:ext cx="3377818" cy="392880"/>
          </a:xfrm>
          <a:prstGeom prst="rect">
            <a:avLst/>
          </a:prstGeom>
          <a:solidFill>
            <a:srgbClr val="005F87"/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400" dirty="0" err="1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Tạo</a:t>
            </a:r>
            <a:r>
              <a:rPr lang="en-US" sz="1400" dirty="0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Collection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6B4415D-673B-4536-A69D-F2741D5C11AF}"/>
              </a:ext>
            </a:extLst>
          </p:cNvPr>
          <p:cNvSpPr/>
          <p:nvPr/>
        </p:nvSpPr>
        <p:spPr bwMode="auto">
          <a:xfrm>
            <a:off x="8556390" y="4816938"/>
            <a:ext cx="3388864" cy="392880"/>
          </a:xfrm>
          <a:prstGeom prst="rect">
            <a:avLst/>
          </a:prstGeom>
          <a:solidFill>
            <a:srgbClr val="005F87"/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400" dirty="0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Link Collection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2D571863-E49F-43BC-97A9-008B82BF55CF}"/>
              </a:ext>
            </a:extLst>
          </p:cNvPr>
          <p:cNvSpPr/>
          <p:nvPr/>
        </p:nvSpPr>
        <p:spPr bwMode="auto">
          <a:xfrm>
            <a:off x="8556390" y="5320994"/>
            <a:ext cx="3388864" cy="392880"/>
          </a:xfrm>
          <a:prstGeom prst="rect">
            <a:avLst/>
          </a:prstGeom>
          <a:solidFill>
            <a:srgbClr val="005F87"/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en-US" sz="1400" dirty="0" err="1">
                <a:solidFill>
                  <a:schemeClr val="bg1"/>
                </a:solidFill>
                <a:ea typeface="Arial Unicode MS" panose="020B0604020202020204" pitchFamily="34" charset="-128"/>
              </a:rPr>
              <a:t>Vẽ</a:t>
            </a:r>
            <a:r>
              <a:rPr lang="en-US" sz="1400" dirty="0">
                <a:solidFill>
                  <a:schemeClr val="bg1"/>
                </a:solidFill>
                <a:ea typeface="Arial Unicode MS" panose="020B0604020202020204" pitchFamily="34" charset="-128"/>
              </a:rPr>
              <a:t> </a:t>
            </a:r>
            <a:r>
              <a:rPr lang="en-US" sz="1400" dirty="0" err="1">
                <a:solidFill>
                  <a:schemeClr val="bg1"/>
                </a:solidFill>
                <a:ea typeface="Arial Unicode MS" panose="020B0604020202020204" pitchFamily="34" charset="-128"/>
              </a:rPr>
              <a:t>giao</a:t>
            </a:r>
            <a:r>
              <a:rPr lang="en-US" sz="1400" dirty="0">
                <a:solidFill>
                  <a:schemeClr val="bg1"/>
                </a:solidFill>
                <a:ea typeface="Arial Unicode MS" panose="020B0604020202020204" pitchFamily="34" charset="-128"/>
              </a:rPr>
              <a:t> </a:t>
            </a:r>
            <a:r>
              <a:rPr lang="en-US" sz="1400" dirty="0" err="1">
                <a:solidFill>
                  <a:schemeClr val="bg1"/>
                </a:solidFill>
                <a:ea typeface="Arial Unicode MS" panose="020B0604020202020204" pitchFamily="34" charset="-128"/>
              </a:rPr>
              <a:t>diện</a:t>
            </a:r>
            <a:endParaRPr lang="en-US" sz="1400" dirty="0">
              <a:solidFill>
                <a:schemeClr val="bg1"/>
              </a:solidFill>
              <a:ea typeface="Arial Unicode MS" panose="020B0604020202020204" pitchFamily="34" charset="-128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3A5FA79-0AD8-4D00-86FC-898467536076}"/>
              </a:ext>
            </a:extLst>
          </p:cNvPr>
          <p:cNvSpPr/>
          <p:nvPr/>
        </p:nvSpPr>
        <p:spPr bwMode="auto">
          <a:xfrm>
            <a:off x="8556392" y="5861054"/>
            <a:ext cx="3388862" cy="392880"/>
          </a:xfrm>
          <a:prstGeom prst="rect">
            <a:avLst/>
          </a:prstGeom>
          <a:solidFill>
            <a:srgbClr val="005F87"/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en-US" sz="1400" dirty="0" err="1">
                <a:solidFill>
                  <a:schemeClr val="bg1"/>
                </a:solidFill>
                <a:ea typeface="Arial Unicode MS" panose="020B0604020202020204" pitchFamily="34" charset="-128"/>
              </a:rPr>
              <a:t>Hiển</a:t>
            </a:r>
            <a:r>
              <a:rPr lang="en-US" sz="1400" dirty="0">
                <a:solidFill>
                  <a:schemeClr val="bg1"/>
                </a:solidFill>
                <a:ea typeface="Arial Unicode MS" panose="020B0604020202020204" pitchFamily="34" charset="-128"/>
              </a:rPr>
              <a:t> </a:t>
            </a:r>
            <a:r>
              <a:rPr lang="en-US" sz="1400" dirty="0" err="1">
                <a:solidFill>
                  <a:schemeClr val="bg1"/>
                </a:solidFill>
                <a:ea typeface="Arial Unicode MS" panose="020B0604020202020204" pitchFamily="34" charset="-128"/>
              </a:rPr>
              <a:t>thị</a:t>
            </a:r>
            <a:r>
              <a:rPr lang="en-US" sz="1400" dirty="0">
                <a:solidFill>
                  <a:schemeClr val="bg1"/>
                </a:solidFill>
                <a:ea typeface="Arial Unicode MS" panose="020B0604020202020204" pitchFamily="34" charset="-128"/>
              </a:rPr>
              <a:t> </a:t>
            </a:r>
            <a:r>
              <a:rPr lang="en-US" sz="1400" dirty="0" err="1">
                <a:solidFill>
                  <a:schemeClr val="bg1"/>
                </a:solidFill>
                <a:ea typeface="Arial Unicode MS" panose="020B0604020202020204" pitchFamily="34" charset="-128"/>
              </a:rPr>
              <a:t>lên</a:t>
            </a:r>
            <a:r>
              <a:rPr lang="en-US" sz="1400" dirty="0">
                <a:solidFill>
                  <a:schemeClr val="bg1"/>
                </a:solidFill>
                <a:ea typeface="Arial Unicode MS" panose="020B0604020202020204" pitchFamily="34" charset="-128"/>
              </a:rPr>
              <a:t> </a:t>
            </a:r>
            <a:r>
              <a:rPr lang="en-US" sz="1400" dirty="0" err="1">
                <a:solidFill>
                  <a:schemeClr val="bg1"/>
                </a:solidFill>
                <a:ea typeface="Arial Unicode MS" panose="020B0604020202020204" pitchFamily="34" charset="-128"/>
              </a:rPr>
              <a:t>trình</a:t>
            </a:r>
            <a:r>
              <a:rPr lang="en-US" sz="1400" dirty="0">
                <a:solidFill>
                  <a:schemeClr val="bg1"/>
                </a:solidFill>
                <a:ea typeface="Arial Unicode MS" panose="020B0604020202020204" pitchFamily="34" charset="-128"/>
              </a:rPr>
              <a:t> </a:t>
            </a:r>
            <a:r>
              <a:rPr lang="en-US" sz="1400" dirty="0" err="1">
                <a:solidFill>
                  <a:schemeClr val="bg1"/>
                </a:solidFill>
                <a:ea typeface="Arial Unicode MS" panose="020B0604020202020204" pitchFamily="34" charset="-128"/>
              </a:rPr>
              <a:t>duyệt</a:t>
            </a:r>
            <a:r>
              <a:rPr lang="en-US" sz="1400" dirty="0">
                <a:solidFill>
                  <a:schemeClr val="bg1"/>
                </a:solidFill>
                <a:ea typeface="Arial Unicode MS" panose="020B0604020202020204" pitchFamily="34" charset="-128"/>
              </a:rPr>
              <a:t> web</a:t>
            </a: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2CA53050-298D-4388-BF0E-A927CD3BE8AA}"/>
              </a:ext>
            </a:extLst>
          </p:cNvPr>
          <p:cNvSpPr/>
          <p:nvPr/>
        </p:nvSpPr>
        <p:spPr>
          <a:xfrm>
            <a:off x="8483990" y="1909166"/>
            <a:ext cx="520856" cy="392880"/>
          </a:xfrm>
          <a:prstGeom prst="roundRect">
            <a:avLst/>
          </a:prstGeom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7E53E1CD-599A-4504-9395-BDC5FB4538D3}"/>
              </a:ext>
            </a:extLst>
          </p:cNvPr>
          <p:cNvSpPr/>
          <p:nvPr/>
        </p:nvSpPr>
        <p:spPr>
          <a:xfrm>
            <a:off x="8504756" y="2361914"/>
            <a:ext cx="520856" cy="392880"/>
          </a:xfrm>
          <a:prstGeom prst="roundRect">
            <a:avLst/>
          </a:prstGeom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1A4B0905-AFEC-4EF6-B856-88C589D23D49}"/>
              </a:ext>
            </a:extLst>
          </p:cNvPr>
          <p:cNvSpPr/>
          <p:nvPr/>
        </p:nvSpPr>
        <p:spPr>
          <a:xfrm>
            <a:off x="8504756" y="2841173"/>
            <a:ext cx="520856" cy="392880"/>
          </a:xfrm>
          <a:prstGeom prst="roundRect">
            <a:avLst/>
          </a:prstGeom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CB20EF15-51AA-4F34-91AD-609610202E60}"/>
              </a:ext>
            </a:extLst>
          </p:cNvPr>
          <p:cNvSpPr/>
          <p:nvPr/>
        </p:nvSpPr>
        <p:spPr>
          <a:xfrm>
            <a:off x="8504756" y="3295907"/>
            <a:ext cx="520856" cy="392880"/>
          </a:xfrm>
          <a:prstGeom prst="roundRect">
            <a:avLst/>
          </a:prstGeom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4</a:t>
            </a: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CE679D2C-19AE-46D6-BB7D-8C2F5B98F2A2}"/>
              </a:ext>
            </a:extLst>
          </p:cNvPr>
          <p:cNvSpPr/>
          <p:nvPr/>
        </p:nvSpPr>
        <p:spPr>
          <a:xfrm>
            <a:off x="8504756" y="3828547"/>
            <a:ext cx="520856" cy="357995"/>
          </a:xfrm>
          <a:prstGeom prst="roundRect">
            <a:avLst/>
          </a:prstGeom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5</a:t>
            </a: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67D86120-9FB8-487C-9DD4-5004FF51A5B9}"/>
              </a:ext>
            </a:extLst>
          </p:cNvPr>
          <p:cNvSpPr/>
          <p:nvPr/>
        </p:nvSpPr>
        <p:spPr>
          <a:xfrm>
            <a:off x="8504756" y="4312486"/>
            <a:ext cx="520856" cy="357995"/>
          </a:xfrm>
          <a:prstGeom prst="roundRect">
            <a:avLst/>
          </a:prstGeom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6</a:t>
            </a: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2651FFD8-75F8-4AC7-AB47-E38650B9D7F8}"/>
              </a:ext>
            </a:extLst>
          </p:cNvPr>
          <p:cNvSpPr/>
          <p:nvPr/>
        </p:nvSpPr>
        <p:spPr>
          <a:xfrm>
            <a:off x="8504756" y="4835726"/>
            <a:ext cx="520856" cy="357995"/>
          </a:xfrm>
          <a:prstGeom prst="roundRect">
            <a:avLst/>
          </a:prstGeom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7</a:t>
            </a:r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84823924-3832-4B26-A551-89830272BDFE}"/>
              </a:ext>
            </a:extLst>
          </p:cNvPr>
          <p:cNvSpPr/>
          <p:nvPr/>
        </p:nvSpPr>
        <p:spPr>
          <a:xfrm>
            <a:off x="8504756" y="5323300"/>
            <a:ext cx="520856" cy="357995"/>
          </a:xfrm>
          <a:prstGeom prst="roundRect">
            <a:avLst/>
          </a:prstGeom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8</a:t>
            </a: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87B39E57-3056-419C-9C11-5A3F75448A13}"/>
              </a:ext>
            </a:extLst>
          </p:cNvPr>
          <p:cNvSpPr/>
          <p:nvPr/>
        </p:nvSpPr>
        <p:spPr>
          <a:xfrm>
            <a:off x="8504756" y="5895939"/>
            <a:ext cx="520856" cy="357995"/>
          </a:xfrm>
          <a:prstGeom prst="roundRect">
            <a:avLst/>
          </a:prstGeom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9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C57DDD3E-64F4-44E7-BDC4-25868C725DC5}"/>
              </a:ext>
            </a:extLst>
          </p:cNvPr>
          <p:cNvSpPr txBox="1"/>
          <p:nvPr/>
        </p:nvSpPr>
        <p:spPr>
          <a:xfrm>
            <a:off x="8030887" y="1451332"/>
            <a:ext cx="2883354" cy="3692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799" dirty="0">
                <a:solidFill>
                  <a:srgbClr val="FF0000"/>
                </a:solidFill>
              </a:rPr>
              <a:t>Development Process 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D33F1423-0D44-42C6-AE46-1675DA5AAA35}"/>
              </a:ext>
            </a:extLst>
          </p:cNvPr>
          <p:cNvSpPr/>
          <p:nvPr/>
        </p:nvSpPr>
        <p:spPr bwMode="auto">
          <a:xfrm>
            <a:off x="4229598" y="3027161"/>
            <a:ext cx="1621478" cy="5761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  <a:scene3d>
            <a:camera prst="orthographicFront"/>
            <a:lightRig rig="threePt" dir="t"/>
          </a:scene3d>
          <a:sp3d>
            <a:bevelT w="152400" h="50800" prst="softRound"/>
          </a:sp3d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 err="1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Quy</a:t>
            </a:r>
            <a:r>
              <a:rPr lang="en-US" sz="1200" dirty="0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200" dirty="0" err="1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trình</a:t>
            </a:r>
            <a:r>
              <a:rPr lang="en-US" sz="1200" dirty="0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200" dirty="0" err="1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công</a:t>
            </a:r>
            <a:r>
              <a:rPr lang="en-US" sz="1200" dirty="0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200" dirty="0" err="1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nghệ</a:t>
            </a:r>
            <a:endParaRPr lang="en-US" sz="1200" dirty="0">
              <a:solidFill>
                <a:schemeClr val="bg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cxnSp>
        <p:nvCxnSpPr>
          <p:cNvPr id="64" name="Connector: Elbow 63">
            <a:extLst>
              <a:ext uri="{FF2B5EF4-FFF2-40B4-BE49-F238E27FC236}">
                <a16:creationId xmlns:a16="http://schemas.microsoft.com/office/drawing/2014/main" id="{9AEEEE18-CA65-45CE-86F4-52AF09729E42}"/>
              </a:ext>
            </a:extLst>
          </p:cNvPr>
          <p:cNvCxnSpPr>
            <a:cxnSpLocks/>
            <a:stCxn id="15" idx="2"/>
            <a:endCxn id="62" idx="1"/>
          </p:cNvCxnSpPr>
          <p:nvPr/>
        </p:nvCxnSpPr>
        <p:spPr bwMode="auto">
          <a:xfrm rot="16200000" flipH="1">
            <a:off x="3919715" y="3005338"/>
            <a:ext cx="441196" cy="178569"/>
          </a:xfrm>
          <a:prstGeom prst="bentConnector2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39" name="Picture 38">
            <a:extLst>
              <a:ext uri="{FF2B5EF4-FFF2-40B4-BE49-F238E27FC236}">
                <a16:creationId xmlns:a16="http://schemas.microsoft.com/office/drawing/2014/main" id="{F16300F8-515F-41B5-A590-EB14606A79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21012" y="1745513"/>
            <a:ext cx="2347742" cy="1232801"/>
          </a:xfrm>
          <a:prstGeom prst="rect">
            <a:avLst/>
          </a:prstGeom>
          <a:ln>
            <a:solidFill>
              <a:schemeClr val="accent1">
                <a:lumMod val="75000"/>
              </a:schemeClr>
            </a:solidFill>
          </a:ln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067A304E-EFFE-0CBF-83F1-6B82127A31AD}"/>
              </a:ext>
            </a:extLst>
          </p:cNvPr>
          <p:cNvSpPr/>
          <p:nvPr/>
        </p:nvSpPr>
        <p:spPr bwMode="auto">
          <a:xfrm>
            <a:off x="3222329" y="3788099"/>
            <a:ext cx="1621479" cy="43514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  <a:scene3d>
            <a:camera prst="orthographicFront"/>
            <a:lightRig rig="threePt" dir="t"/>
          </a:scene3d>
          <a:sp3d>
            <a:bevelT w="152400" h="50800" prst="softRound"/>
          </a:sp3d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799" dirty="0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Kho</a:t>
            </a:r>
          </a:p>
        </p:txBody>
      </p: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E8E5D76C-A8A5-8312-F9EF-81511D2E1708}"/>
              </a:ext>
            </a:extLst>
          </p:cNvPr>
          <p:cNvCxnSpPr>
            <a:cxnSpLocks/>
            <a:stCxn id="4" idx="3"/>
            <a:endCxn id="20" idx="1"/>
          </p:cNvCxnSpPr>
          <p:nvPr/>
        </p:nvCxnSpPr>
        <p:spPr bwMode="auto">
          <a:xfrm>
            <a:off x="2880211" y="3095388"/>
            <a:ext cx="342118" cy="910284"/>
          </a:xfrm>
          <a:prstGeom prst="bentConnector3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5" name="Picture 24">
            <a:extLst>
              <a:ext uri="{FF2B5EF4-FFF2-40B4-BE49-F238E27FC236}">
                <a16:creationId xmlns:a16="http://schemas.microsoft.com/office/drawing/2014/main" id="{D27F7320-C26B-32EA-AA99-6D4496C76D5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10" t="13363" r="2529" b="1860"/>
          <a:stretch/>
        </p:blipFill>
        <p:spPr>
          <a:xfrm>
            <a:off x="5627124" y="4335790"/>
            <a:ext cx="2345859" cy="1427951"/>
          </a:xfrm>
          <a:prstGeom prst="rect">
            <a:avLst/>
          </a:prstGeom>
          <a:ln>
            <a:solidFill>
              <a:srgbClr val="005F87"/>
            </a:solidFill>
          </a:ln>
        </p:spPr>
      </p:pic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A35AD96B-9BD5-74FE-8984-F243CAB9E3FE}"/>
              </a:ext>
            </a:extLst>
          </p:cNvPr>
          <p:cNvCxnSpPr>
            <a:cxnSpLocks/>
            <a:stCxn id="62" idx="3"/>
            <a:endCxn id="39" idx="2"/>
          </p:cNvCxnSpPr>
          <p:nvPr/>
        </p:nvCxnSpPr>
        <p:spPr bwMode="auto">
          <a:xfrm flipV="1">
            <a:off x="5851076" y="2978314"/>
            <a:ext cx="943807" cy="336907"/>
          </a:xfrm>
          <a:prstGeom prst="bentConnector2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68CF62DB-0712-40BC-8637-F78E97C2C8BC}"/>
              </a:ext>
            </a:extLst>
          </p:cNvPr>
          <p:cNvCxnSpPr>
            <a:cxnSpLocks/>
            <a:stCxn id="20" idx="3"/>
            <a:endCxn id="25" idx="0"/>
          </p:cNvCxnSpPr>
          <p:nvPr/>
        </p:nvCxnSpPr>
        <p:spPr bwMode="auto">
          <a:xfrm>
            <a:off x="4843808" y="4005672"/>
            <a:ext cx="1956246" cy="330118"/>
          </a:xfrm>
          <a:prstGeom prst="bentConnector2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42837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Picture 48">
            <a:extLst>
              <a:ext uri="{FF2B5EF4-FFF2-40B4-BE49-F238E27FC236}">
                <a16:creationId xmlns:a16="http://schemas.microsoft.com/office/drawing/2014/main" id="{E3021668-994F-4774-BAAA-4160C27F80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54858" y="1678227"/>
            <a:ext cx="7749691" cy="477019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4CAB53-5F05-4488-89EB-F4F85713748E}"/>
              </a:ext>
            </a:extLst>
          </p:cNvPr>
          <p:cNvSpPr txBox="1">
            <a:spLocks/>
          </p:cNvSpPr>
          <p:nvPr/>
        </p:nvSpPr>
        <p:spPr>
          <a:xfrm>
            <a:off x="2336757" y="0"/>
            <a:ext cx="7524836" cy="108874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ạo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age</a:t>
            </a:r>
            <a:endParaRPr lang="vi-VN" sz="2800" b="1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E3254AB9-6022-465B-B348-B83FA8A561BA}"/>
              </a:ext>
            </a:extLst>
          </p:cNvPr>
          <p:cNvSpPr/>
          <p:nvPr/>
        </p:nvSpPr>
        <p:spPr>
          <a:xfrm>
            <a:off x="0" y="1088740"/>
            <a:ext cx="2878821" cy="496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lvl="1" indent="-34290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2000" b="1" dirty="0" err="1">
                <a:solidFill>
                  <a:srgbClr val="212272"/>
                </a:solidFill>
                <a:latin typeface="Arial"/>
                <a:ea typeface="+mn-ea"/>
              </a:rPr>
              <a:t>Name</a:t>
            </a:r>
            <a:r>
              <a:rPr lang="en-US" sz="2000" b="1" dirty="0" err="1">
                <a:solidFill>
                  <a:srgbClr val="002060"/>
                </a:solidFill>
                <a:latin typeface="Arial"/>
                <a:ea typeface="+mn-ea"/>
              </a:rPr>
              <a:t>_PAGE</a:t>
            </a:r>
            <a:endParaRPr lang="en-US" sz="2000" b="1" dirty="0">
              <a:solidFill>
                <a:srgbClr val="002060"/>
              </a:solidFill>
              <a:latin typeface="Arial"/>
              <a:ea typeface="+mn-ea"/>
            </a:endParaRPr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CC8D6158-34C1-4714-82AD-2B35F74244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83151" y="2663630"/>
            <a:ext cx="3714750" cy="2743200"/>
          </a:xfrm>
          <a:prstGeom prst="rect">
            <a:avLst/>
          </a:prstGeom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5AD34322-662B-4950-810F-629B33795A70}"/>
              </a:ext>
            </a:extLst>
          </p:cNvPr>
          <p:cNvSpPr/>
          <p:nvPr/>
        </p:nvSpPr>
        <p:spPr>
          <a:xfrm>
            <a:off x="3258193" y="5733256"/>
            <a:ext cx="2624958" cy="23634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B3E5027B-1ED4-4D82-A149-F52DEBBBC152}"/>
              </a:ext>
            </a:extLst>
          </p:cNvPr>
          <p:cNvSpPr/>
          <p:nvPr/>
        </p:nvSpPr>
        <p:spPr>
          <a:xfrm>
            <a:off x="5928209" y="2744924"/>
            <a:ext cx="3555341" cy="255628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Arrow: Curved Down 50">
            <a:extLst>
              <a:ext uri="{FF2B5EF4-FFF2-40B4-BE49-F238E27FC236}">
                <a16:creationId xmlns:a16="http://schemas.microsoft.com/office/drawing/2014/main" id="{19A5EE41-D711-4459-A2E4-5BDA3E11D6D6}"/>
              </a:ext>
            </a:extLst>
          </p:cNvPr>
          <p:cNvSpPr/>
          <p:nvPr/>
        </p:nvSpPr>
        <p:spPr>
          <a:xfrm rot="16832810">
            <a:off x="5274935" y="5143876"/>
            <a:ext cx="720080" cy="370814"/>
          </a:xfrm>
          <a:prstGeom prst="curved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F543CCFC-B22E-42C0-8E62-78269E4B1714}"/>
              </a:ext>
            </a:extLst>
          </p:cNvPr>
          <p:cNvSpPr/>
          <p:nvPr/>
        </p:nvSpPr>
        <p:spPr>
          <a:xfrm>
            <a:off x="8619455" y="3120649"/>
            <a:ext cx="684076" cy="23634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05616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7295" y="14010"/>
            <a:ext cx="7223760" cy="1088740"/>
          </a:xfrm>
        </p:spPr>
        <p:txBody>
          <a:bodyPr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sz="2800" b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HQ OVERVIEW</a:t>
            </a:r>
            <a:endParaRPr lang="en-US" sz="2800" b="1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1" name="object 5">
            <a:extLst>
              <a:ext uri="{FF2B5EF4-FFF2-40B4-BE49-F238E27FC236}">
                <a16:creationId xmlns:a16="http://schemas.microsoft.com/office/drawing/2014/main" id="{872D1527-B838-4DDF-8439-5EAA71D54983}"/>
              </a:ext>
            </a:extLst>
          </p:cNvPr>
          <p:cNvSpPr/>
          <p:nvPr/>
        </p:nvSpPr>
        <p:spPr>
          <a:xfrm>
            <a:off x="4086162" y="2562298"/>
            <a:ext cx="1073150" cy="370840"/>
          </a:xfrm>
          <a:custGeom>
            <a:avLst/>
            <a:gdLst/>
            <a:ahLst/>
            <a:cxnLst/>
            <a:rect l="l" t="t" r="r" b="b"/>
            <a:pathLst>
              <a:path w="1073150" h="370839">
                <a:moveTo>
                  <a:pt x="0" y="370332"/>
                </a:moveTo>
                <a:lnTo>
                  <a:pt x="1072896" y="370332"/>
                </a:lnTo>
                <a:lnTo>
                  <a:pt x="1072896" y="0"/>
                </a:lnTo>
                <a:lnTo>
                  <a:pt x="0" y="0"/>
                </a:lnTo>
                <a:lnTo>
                  <a:pt x="0" y="37033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srgbClr val="000000"/>
              </a:solidFill>
              <a:latin typeface="Arial"/>
              <a:ea typeface="+mn-ea"/>
            </a:endParaRPr>
          </a:p>
        </p:txBody>
      </p:sp>
      <p:pic>
        <p:nvPicPr>
          <p:cNvPr id="152" name="Picture 151">
            <a:extLst>
              <a:ext uri="{FF2B5EF4-FFF2-40B4-BE49-F238E27FC236}">
                <a16:creationId xmlns:a16="http://schemas.microsoft.com/office/drawing/2014/main" id="{8EDD9925-517F-4F5C-B1B4-E41C1E3A92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77691" y="1287117"/>
            <a:ext cx="8314309" cy="5110897"/>
          </a:xfrm>
          <a:prstGeom prst="rect">
            <a:avLst/>
          </a:prstGeom>
        </p:spPr>
      </p:pic>
      <p:pic>
        <p:nvPicPr>
          <p:cNvPr id="153" name="Picture 152">
            <a:extLst>
              <a:ext uri="{FF2B5EF4-FFF2-40B4-BE49-F238E27FC236}">
                <a16:creationId xmlns:a16="http://schemas.microsoft.com/office/drawing/2014/main" id="{84DF9B8A-F5C5-4A21-B4A5-F0CC40EA1AB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030"/>
          <a:stretch/>
        </p:blipFill>
        <p:spPr>
          <a:xfrm>
            <a:off x="152400" y="2438400"/>
            <a:ext cx="3173853" cy="2438400"/>
          </a:xfrm>
          <a:prstGeom prst="rect">
            <a:avLst/>
          </a:prstGeom>
        </p:spPr>
      </p:pic>
      <p:cxnSp>
        <p:nvCxnSpPr>
          <p:cNvPr id="154" name="Straight Connector 153">
            <a:extLst>
              <a:ext uri="{FF2B5EF4-FFF2-40B4-BE49-F238E27FC236}">
                <a16:creationId xmlns:a16="http://schemas.microsoft.com/office/drawing/2014/main" id="{882F74BC-B37A-46D7-BA54-C9B5F6A18510}"/>
              </a:ext>
            </a:extLst>
          </p:cNvPr>
          <p:cNvCxnSpPr/>
          <p:nvPr/>
        </p:nvCxnSpPr>
        <p:spPr bwMode="auto">
          <a:xfrm>
            <a:off x="3657600" y="1287117"/>
            <a:ext cx="0" cy="5189883"/>
          </a:xfrm>
          <a:prstGeom prst="line">
            <a:avLst/>
          </a:prstGeom>
          <a:noFill/>
          <a:ln w="9525" cap="flat" cmpd="sng" algn="ctr">
            <a:solidFill>
              <a:srgbClr val="BBE0E3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97478891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CAB53-5F05-4488-89EB-F4F85713748E}"/>
              </a:ext>
            </a:extLst>
          </p:cNvPr>
          <p:cNvSpPr txBox="1">
            <a:spLocks/>
          </p:cNvSpPr>
          <p:nvPr/>
        </p:nvSpPr>
        <p:spPr>
          <a:xfrm>
            <a:off x="2336757" y="0"/>
            <a:ext cx="7524836" cy="108874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ạo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_Component</a:t>
            </a:r>
            <a:endParaRPr lang="vi-VN" sz="2800" b="1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E3254AB9-6022-465B-B348-B83FA8A561BA}"/>
              </a:ext>
            </a:extLst>
          </p:cNvPr>
          <p:cNvSpPr/>
          <p:nvPr/>
        </p:nvSpPr>
        <p:spPr>
          <a:xfrm>
            <a:off x="0" y="1088740"/>
            <a:ext cx="4551003" cy="23436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lvl="1" indent="-34290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2000" b="1" dirty="0" err="1">
                <a:solidFill>
                  <a:srgbClr val="002060"/>
                </a:solidFill>
                <a:latin typeface="Arial"/>
                <a:ea typeface="+mn-ea"/>
              </a:rPr>
              <a:t>Name_S_PLANT</a:t>
            </a:r>
            <a:endParaRPr lang="en-US" sz="2000" b="1" dirty="0">
              <a:solidFill>
                <a:srgbClr val="002060"/>
              </a:solidFill>
              <a:latin typeface="Arial"/>
              <a:ea typeface="+mn-ea"/>
            </a:endParaRPr>
          </a:p>
          <a:p>
            <a:pPr marL="800100" lvl="1" indent="-34290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2000" b="1" dirty="0" err="1">
                <a:solidFill>
                  <a:srgbClr val="002060"/>
                </a:solidFill>
                <a:latin typeface="Arial"/>
                <a:ea typeface="+mn-ea"/>
              </a:rPr>
              <a:t>Name_S_PRODUCTION</a:t>
            </a:r>
            <a:endParaRPr lang="en-US" sz="2000" b="1" dirty="0">
              <a:solidFill>
                <a:srgbClr val="002060"/>
              </a:solidFill>
              <a:latin typeface="Arial"/>
              <a:ea typeface="+mn-ea"/>
            </a:endParaRPr>
          </a:p>
          <a:p>
            <a:pPr marL="800100" lvl="1" indent="-34290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2000" b="1" dirty="0" err="1">
                <a:solidFill>
                  <a:srgbClr val="002060"/>
                </a:solidFill>
                <a:latin typeface="Arial"/>
                <a:ea typeface="+mn-ea"/>
              </a:rPr>
              <a:t>Name_S_PROCESS</a:t>
            </a:r>
            <a:r>
              <a:rPr lang="en-US" sz="2000" b="1" dirty="0">
                <a:solidFill>
                  <a:srgbClr val="002060"/>
                </a:solidFill>
                <a:latin typeface="Arial"/>
                <a:ea typeface="+mn-ea"/>
              </a:rPr>
              <a:t> </a:t>
            </a:r>
          </a:p>
          <a:p>
            <a:pPr marL="800100" lvl="1" indent="-34290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2000" b="1" dirty="0" err="1">
                <a:solidFill>
                  <a:srgbClr val="002060"/>
                </a:solidFill>
                <a:latin typeface="Arial"/>
                <a:ea typeface="+mn-ea"/>
              </a:rPr>
              <a:t>Name_S_INVENTORY</a:t>
            </a:r>
            <a:endParaRPr lang="en-US" sz="2000" b="1" dirty="0">
              <a:solidFill>
                <a:srgbClr val="002060"/>
              </a:solidFill>
              <a:latin typeface="Arial"/>
              <a:ea typeface="+mn-ea"/>
            </a:endParaRPr>
          </a:p>
          <a:p>
            <a:pPr lvl="1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endParaRPr lang="en-US" sz="2000" b="1" dirty="0">
              <a:solidFill>
                <a:srgbClr val="002060"/>
              </a:solidFill>
              <a:latin typeface="Arial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D78570D-DDC5-011B-5B35-664111C734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75496" y="1339560"/>
            <a:ext cx="6902692" cy="313355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2AC3377-EEB1-1F3F-B33C-929C09762851}"/>
              </a:ext>
            </a:extLst>
          </p:cNvPr>
          <p:cNvSpPr/>
          <p:nvPr/>
        </p:nvSpPr>
        <p:spPr>
          <a:xfrm>
            <a:off x="4875040" y="2938630"/>
            <a:ext cx="2556283" cy="124645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A9BD11B-F980-4943-BDA3-95D23333D6F1}"/>
              </a:ext>
            </a:extLst>
          </p:cNvPr>
          <p:cNvSpPr/>
          <p:nvPr/>
        </p:nvSpPr>
        <p:spPr>
          <a:xfrm>
            <a:off x="8116106" y="1872338"/>
            <a:ext cx="1745487" cy="36931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8262237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CAB53-5F05-4488-89EB-F4F85713748E}"/>
              </a:ext>
            </a:extLst>
          </p:cNvPr>
          <p:cNvSpPr txBox="1">
            <a:spLocks/>
          </p:cNvSpPr>
          <p:nvPr/>
        </p:nvSpPr>
        <p:spPr>
          <a:xfrm>
            <a:off x="2336757" y="0"/>
            <a:ext cx="7524836" cy="108874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ạo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_Component</a:t>
            </a:r>
            <a:endParaRPr lang="vi-VN" sz="2800" b="1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E3254AB9-6022-465B-B348-B83FA8A561BA}"/>
              </a:ext>
            </a:extLst>
          </p:cNvPr>
          <p:cNvSpPr/>
          <p:nvPr/>
        </p:nvSpPr>
        <p:spPr>
          <a:xfrm>
            <a:off x="0" y="1088740"/>
            <a:ext cx="3902931" cy="958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lvl="1" indent="-34290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b="1" dirty="0" err="1">
                <a:solidFill>
                  <a:srgbClr val="002060"/>
                </a:solidFill>
                <a:latin typeface="Arial"/>
                <a:ea typeface="+mn-ea"/>
              </a:rPr>
              <a:t>Name_C_INVENTORY</a:t>
            </a:r>
            <a:endParaRPr lang="en-US" sz="2000" b="1" dirty="0">
              <a:solidFill>
                <a:srgbClr val="002060"/>
              </a:solidFill>
              <a:latin typeface="Arial"/>
              <a:ea typeface="+mn-ea"/>
            </a:endParaRPr>
          </a:p>
          <a:p>
            <a:pPr marL="800100" lvl="1" indent="-34290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002060"/>
                </a:solidFill>
                <a:latin typeface="Arial"/>
                <a:ea typeface="+mn-ea"/>
              </a:rPr>
              <a:t>Name_ C_PROCES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1C29D63-1461-B399-DCFE-4AFAA85604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75496" y="1339560"/>
            <a:ext cx="6902692" cy="3133556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25E6B89-EECF-C546-9B6C-9237050073C9}"/>
              </a:ext>
            </a:extLst>
          </p:cNvPr>
          <p:cNvSpPr/>
          <p:nvPr/>
        </p:nvSpPr>
        <p:spPr>
          <a:xfrm>
            <a:off x="4947047" y="2315403"/>
            <a:ext cx="2556283" cy="57353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7E1A165-723E-981F-488C-AE560EBFE80A}"/>
              </a:ext>
            </a:extLst>
          </p:cNvPr>
          <p:cNvSpPr/>
          <p:nvPr/>
        </p:nvSpPr>
        <p:spPr>
          <a:xfrm>
            <a:off x="8116106" y="1872338"/>
            <a:ext cx="1745487" cy="36931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781722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CAB53-5F05-4488-89EB-F4F85713748E}"/>
              </a:ext>
            </a:extLst>
          </p:cNvPr>
          <p:cNvSpPr txBox="1">
            <a:spLocks/>
          </p:cNvSpPr>
          <p:nvPr/>
        </p:nvSpPr>
        <p:spPr>
          <a:xfrm>
            <a:off x="2336757" y="0"/>
            <a:ext cx="7524836" cy="108874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ạo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m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ố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_Component</a:t>
            </a:r>
            <a:endParaRPr lang="vi-VN" sz="2800" b="1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E3254AB9-6022-465B-B348-B83FA8A561BA}"/>
              </a:ext>
            </a:extLst>
          </p:cNvPr>
          <p:cNvSpPr/>
          <p:nvPr/>
        </p:nvSpPr>
        <p:spPr>
          <a:xfrm>
            <a:off x="0" y="1088740"/>
            <a:ext cx="3902931" cy="496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lvl="1" indent="-34290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b="1" dirty="0" err="1">
                <a:solidFill>
                  <a:srgbClr val="002060"/>
                </a:solidFill>
                <a:latin typeface="Arial"/>
                <a:ea typeface="+mn-ea"/>
              </a:rPr>
              <a:t>Name_C_INVENTORY</a:t>
            </a:r>
            <a:endParaRPr lang="en-US" sz="2000" b="1" dirty="0">
              <a:solidFill>
                <a:srgbClr val="002060"/>
              </a:solidFill>
              <a:latin typeface="Arial"/>
              <a:ea typeface="+mn-ea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77EF08B-B86E-369C-8D53-351B33CFEEA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386"/>
          <a:stretch/>
        </p:blipFill>
        <p:spPr>
          <a:xfrm>
            <a:off x="646540" y="1761500"/>
            <a:ext cx="2609850" cy="379173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39D907C-0BF2-EEFD-ED1A-42E9DD41A8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6517" y="5841425"/>
            <a:ext cx="11845316" cy="576064"/>
          </a:xfrm>
          <a:prstGeom prst="rect">
            <a:avLst/>
          </a:prstGeom>
          <a:ln>
            <a:solidFill>
              <a:srgbClr val="FF0000"/>
            </a:solidFill>
          </a:ln>
        </p:spPr>
      </p:pic>
      <p:sp>
        <p:nvSpPr>
          <p:cNvPr id="12" name="Arrow: Right 11">
            <a:extLst>
              <a:ext uri="{FF2B5EF4-FFF2-40B4-BE49-F238E27FC236}">
                <a16:creationId xmlns:a16="http://schemas.microsoft.com/office/drawing/2014/main" id="{701ADCAA-D48E-B622-4AE2-ECBA0FEA1287}"/>
              </a:ext>
            </a:extLst>
          </p:cNvPr>
          <p:cNvSpPr/>
          <p:nvPr/>
        </p:nvSpPr>
        <p:spPr>
          <a:xfrm>
            <a:off x="3436410" y="3356992"/>
            <a:ext cx="646541" cy="576064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Arrow: Down 12">
            <a:extLst>
              <a:ext uri="{FF2B5EF4-FFF2-40B4-BE49-F238E27FC236}">
                <a16:creationId xmlns:a16="http://schemas.microsoft.com/office/drawing/2014/main" id="{53966DDA-A94A-6C79-8559-F2579B6C0025}"/>
              </a:ext>
            </a:extLst>
          </p:cNvPr>
          <p:cNvSpPr/>
          <p:nvPr/>
        </p:nvSpPr>
        <p:spPr>
          <a:xfrm>
            <a:off x="1541779" y="5553236"/>
            <a:ext cx="576064" cy="288189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B985B7F-862F-B93A-0DB0-6F4C3DC4205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49854" y="1612426"/>
            <a:ext cx="5574268" cy="394081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25E6B89-EECF-C546-9B6C-9237050073C9}"/>
              </a:ext>
            </a:extLst>
          </p:cNvPr>
          <p:cNvSpPr/>
          <p:nvPr/>
        </p:nvSpPr>
        <p:spPr>
          <a:xfrm>
            <a:off x="4326623" y="2024452"/>
            <a:ext cx="1916568" cy="21641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7E1A165-723E-981F-488C-AE560EBFE80A}"/>
              </a:ext>
            </a:extLst>
          </p:cNvPr>
          <p:cNvSpPr/>
          <p:nvPr/>
        </p:nvSpPr>
        <p:spPr>
          <a:xfrm>
            <a:off x="6387207" y="2780928"/>
            <a:ext cx="3708412" cy="266752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7987543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CAB53-5F05-4488-89EB-F4F85713748E}"/>
              </a:ext>
            </a:extLst>
          </p:cNvPr>
          <p:cNvSpPr txBox="1">
            <a:spLocks/>
          </p:cNvSpPr>
          <p:nvPr/>
        </p:nvSpPr>
        <p:spPr>
          <a:xfrm>
            <a:off x="2336757" y="0"/>
            <a:ext cx="7524836" cy="108874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ạo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m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ố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_Component</a:t>
            </a:r>
            <a:endParaRPr lang="vi-VN" sz="2800" b="1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E3254AB9-6022-465B-B348-B83FA8A561BA}"/>
              </a:ext>
            </a:extLst>
          </p:cNvPr>
          <p:cNvSpPr/>
          <p:nvPr/>
        </p:nvSpPr>
        <p:spPr>
          <a:xfrm>
            <a:off x="0" y="1088740"/>
            <a:ext cx="3902931" cy="496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lvl="1" indent="-34290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b="1" dirty="0" err="1">
                <a:solidFill>
                  <a:srgbClr val="002060"/>
                </a:solidFill>
                <a:latin typeface="Arial"/>
                <a:ea typeface="+mn-ea"/>
              </a:rPr>
              <a:t>Name_C_PROCESS</a:t>
            </a:r>
            <a:endParaRPr lang="en-US" sz="2000" b="1" dirty="0">
              <a:solidFill>
                <a:srgbClr val="002060"/>
              </a:solidFill>
              <a:latin typeface="Arial"/>
              <a:ea typeface="+mn-ea"/>
            </a:endParaRPr>
          </a:p>
        </p:txBody>
      </p:sp>
      <p:sp>
        <p:nvSpPr>
          <p:cNvPr id="12" name="Arrow: Right 11">
            <a:extLst>
              <a:ext uri="{FF2B5EF4-FFF2-40B4-BE49-F238E27FC236}">
                <a16:creationId xmlns:a16="http://schemas.microsoft.com/office/drawing/2014/main" id="{701ADCAA-D48E-B622-4AE2-ECBA0FEA1287}"/>
              </a:ext>
            </a:extLst>
          </p:cNvPr>
          <p:cNvSpPr/>
          <p:nvPr/>
        </p:nvSpPr>
        <p:spPr>
          <a:xfrm>
            <a:off x="3436410" y="3356992"/>
            <a:ext cx="646541" cy="576064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1FAA370-6C9C-0779-0810-7127E37F85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8236" y="2519122"/>
            <a:ext cx="2343150" cy="206692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09A1F3B-CD3C-64DC-B842-1D6EB07D79F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66652"/>
          <a:stretch/>
        </p:blipFill>
        <p:spPr>
          <a:xfrm>
            <a:off x="554560" y="5602484"/>
            <a:ext cx="10693188" cy="736912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F1C9536-A92B-4053-402F-D4BEDA68B9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55453" y="1656717"/>
            <a:ext cx="7463968" cy="308747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7E1A165-723E-981F-488C-AE560EBFE80A}"/>
              </a:ext>
            </a:extLst>
          </p:cNvPr>
          <p:cNvSpPr/>
          <p:nvPr/>
        </p:nvSpPr>
        <p:spPr>
          <a:xfrm>
            <a:off x="7831702" y="2677924"/>
            <a:ext cx="3344037" cy="190812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25E6B89-EECF-C546-9B6C-9237050073C9}"/>
              </a:ext>
            </a:extLst>
          </p:cNvPr>
          <p:cNvSpPr/>
          <p:nvPr/>
        </p:nvSpPr>
        <p:spPr>
          <a:xfrm>
            <a:off x="4258541" y="2251546"/>
            <a:ext cx="3460814" cy="16934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Arrow: Down 14">
            <a:extLst>
              <a:ext uri="{FF2B5EF4-FFF2-40B4-BE49-F238E27FC236}">
                <a16:creationId xmlns:a16="http://schemas.microsoft.com/office/drawing/2014/main" id="{A8C19839-9AB7-8392-308C-9284095C52AD}"/>
              </a:ext>
            </a:extLst>
          </p:cNvPr>
          <p:cNvSpPr/>
          <p:nvPr/>
        </p:nvSpPr>
        <p:spPr>
          <a:xfrm>
            <a:off x="1541779" y="4822371"/>
            <a:ext cx="576064" cy="578265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925902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4962ED51-B407-C8F5-BCC5-BE1ECB5B8A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5453" y="1608559"/>
            <a:ext cx="7463968" cy="411775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4CAB53-5F05-4488-89EB-F4F85713748E}"/>
              </a:ext>
            </a:extLst>
          </p:cNvPr>
          <p:cNvSpPr txBox="1">
            <a:spLocks/>
          </p:cNvSpPr>
          <p:nvPr/>
        </p:nvSpPr>
        <p:spPr>
          <a:xfrm>
            <a:off x="2336757" y="0"/>
            <a:ext cx="7524836" cy="108874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ạo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XHQ_TAG Component</a:t>
            </a:r>
            <a:endParaRPr lang="vi-VN" sz="2800" b="1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E3254AB9-6022-465B-B348-B83FA8A561BA}"/>
              </a:ext>
            </a:extLst>
          </p:cNvPr>
          <p:cNvSpPr/>
          <p:nvPr/>
        </p:nvSpPr>
        <p:spPr>
          <a:xfrm>
            <a:off x="0" y="1088740"/>
            <a:ext cx="3902931" cy="496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lvl="1" indent="-34290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b="1" dirty="0" err="1">
                <a:solidFill>
                  <a:srgbClr val="002060"/>
                </a:solidFill>
                <a:latin typeface="Arial"/>
                <a:ea typeface="+mn-ea"/>
              </a:rPr>
              <a:t>XHQ_Tag</a:t>
            </a:r>
            <a:endParaRPr lang="en-US" sz="2000" b="1" dirty="0">
              <a:solidFill>
                <a:srgbClr val="002060"/>
              </a:solidFill>
              <a:latin typeface="Arial"/>
              <a:ea typeface="+mn-ea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7E1A165-723E-981F-488C-AE560EBFE80A}"/>
              </a:ext>
            </a:extLst>
          </p:cNvPr>
          <p:cNvSpPr/>
          <p:nvPr/>
        </p:nvSpPr>
        <p:spPr>
          <a:xfrm>
            <a:off x="6698513" y="2852936"/>
            <a:ext cx="4909274" cy="273630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25E6B89-EECF-C546-9B6C-9237050073C9}"/>
              </a:ext>
            </a:extLst>
          </p:cNvPr>
          <p:cNvSpPr/>
          <p:nvPr/>
        </p:nvSpPr>
        <p:spPr>
          <a:xfrm>
            <a:off x="4308394" y="3570456"/>
            <a:ext cx="2330841" cy="16934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8453718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CAB53-5F05-4488-89EB-F4F85713748E}"/>
              </a:ext>
            </a:extLst>
          </p:cNvPr>
          <p:cNvSpPr txBox="1">
            <a:spLocks/>
          </p:cNvSpPr>
          <p:nvPr/>
        </p:nvSpPr>
        <p:spPr>
          <a:xfrm>
            <a:off x="2336757" y="0"/>
            <a:ext cx="7524836" cy="108874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ạo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XHQ_TAG Component</a:t>
            </a:r>
            <a:endParaRPr lang="vi-VN" sz="2800" b="1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E3254AB9-6022-465B-B348-B83FA8A561BA}"/>
              </a:ext>
            </a:extLst>
          </p:cNvPr>
          <p:cNvSpPr/>
          <p:nvPr/>
        </p:nvSpPr>
        <p:spPr>
          <a:xfrm>
            <a:off x="0" y="1088740"/>
            <a:ext cx="3902931" cy="496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lvl="1" indent="-34290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b="1" dirty="0" err="1">
                <a:solidFill>
                  <a:srgbClr val="002060"/>
                </a:solidFill>
                <a:latin typeface="Arial"/>
                <a:ea typeface="+mn-ea"/>
              </a:rPr>
              <a:t>XHQ_Tag</a:t>
            </a:r>
            <a:endParaRPr lang="en-US" sz="2000" b="1" dirty="0">
              <a:solidFill>
                <a:srgbClr val="002060"/>
              </a:solidFill>
              <a:latin typeface="Arial"/>
              <a:ea typeface="+mn-ea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25E6B89-EECF-C546-9B6C-9237050073C9}"/>
              </a:ext>
            </a:extLst>
          </p:cNvPr>
          <p:cNvSpPr/>
          <p:nvPr/>
        </p:nvSpPr>
        <p:spPr>
          <a:xfrm>
            <a:off x="4308394" y="3570456"/>
            <a:ext cx="2330841" cy="169342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5FAF1B7-47A4-203D-2439-5B4C86A1AB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0603" y="1880828"/>
            <a:ext cx="10120395" cy="2920913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7E1A165-723E-981F-488C-AE560EBFE80A}"/>
              </a:ext>
            </a:extLst>
          </p:cNvPr>
          <p:cNvSpPr/>
          <p:nvPr/>
        </p:nvSpPr>
        <p:spPr>
          <a:xfrm>
            <a:off x="1127352" y="3318428"/>
            <a:ext cx="1767467" cy="182580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15E62A-93AD-0E00-E378-DA171BC8D844}"/>
              </a:ext>
            </a:extLst>
          </p:cNvPr>
          <p:cNvSpPr/>
          <p:nvPr/>
        </p:nvSpPr>
        <p:spPr>
          <a:xfrm>
            <a:off x="2907429" y="3048092"/>
            <a:ext cx="3263754" cy="182580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5909B2A-8AE5-4A43-2F2D-C4893B12A230}"/>
              </a:ext>
            </a:extLst>
          </p:cNvPr>
          <p:cNvSpPr/>
          <p:nvPr/>
        </p:nvSpPr>
        <p:spPr>
          <a:xfrm>
            <a:off x="8079395" y="2168860"/>
            <a:ext cx="2991603" cy="432048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4B78674-7B65-9A3B-7B6E-9134E7A20DF4}"/>
              </a:ext>
            </a:extLst>
          </p:cNvPr>
          <p:cNvSpPr/>
          <p:nvPr/>
        </p:nvSpPr>
        <p:spPr>
          <a:xfrm>
            <a:off x="2919809" y="3988292"/>
            <a:ext cx="3263754" cy="268800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1C75AF3-D4A9-3106-37E3-1D0699F17E82}"/>
              </a:ext>
            </a:extLst>
          </p:cNvPr>
          <p:cNvSpPr/>
          <p:nvPr/>
        </p:nvSpPr>
        <p:spPr>
          <a:xfrm>
            <a:off x="2931713" y="4328076"/>
            <a:ext cx="3263754" cy="169342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3090A70-6D9D-545F-9CAE-6736BCA43C73}"/>
              </a:ext>
            </a:extLst>
          </p:cNvPr>
          <p:cNvSpPr/>
          <p:nvPr/>
        </p:nvSpPr>
        <p:spPr>
          <a:xfrm>
            <a:off x="2931713" y="3627329"/>
            <a:ext cx="3263754" cy="182580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513026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CAB53-5F05-4488-89EB-F4F85713748E}"/>
              </a:ext>
            </a:extLst>
          </p:cNvPr>
          <p:cNvSpPr txBox="1">
            <a:spLocks/>
          </p:cNvSpPr>
          <p:nvPr/>
        </p:nvSpPr>
        <p:spPr>
          <a:xfrm>
            <a:off x="2336757" y="0"/>
            <a:ext cx="7524836" cy="108874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ạo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nnection Process</a:t>
            </a:r>
            <a:endParaRPr lang="vi-VN" sz="2800" b="1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E3254AB9-6022-465B-B348-B83FA8A561BA}"/>
              </a:ext>
            </a:extLst>
          </p:cNvPr>
          <p:cNvSpPr/>
          <p:nvPr/>
        </p:nvSpPr>
        <p:spPr>
          <a:xfrm>
            <a:off x="0" y="1088740"/>
            <a:ext cx="5595119" cy="496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lvl="1" indent="-34290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b="1" dirty="0" err="1">
                <a:solidFill>
                  <a:srgbClr val="002060"/>
                </a:solidFill>
                <a:latin typeface="Arial"/>
                <a:ea typeface="+mn-ea"/>
              </a:rPr>
              <a:t>Name_MS_SQLSERVER_Proccess</a:t>
            </a:r>
            <a:endParaRPr lang="en-US" sz="2000" b="1" dirty="0">
              <a:solidFill>
                <a:srgbClr val="002060"/>
              </a:solidFill>
              <a:latin typeface="Arial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96B8DC-18EB-4565-9620-2595983042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6587" y="1585736"/>
            <a:ext cx="4176105" cy="319953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DDD7ABD-21B2-4004-B05E-8C42B0B7A7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81807" y="1844824"/>
            <a:ext cx="6039906" cy="1930512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EC2D4514-4F27-4422-9752-EEB599F8792E}"/>
              </a:ext>
            </a:extLst>
          </p:cNvPr>
          <p:cNvSpPr/>
          <p:nvPr/>
        </p:nvSpPr>
        <p:spPr>
          <a:xfrm>
            <a:off x="1418655" y="2564904"/>
            <a:ext cx="2628292" cy="21602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7908BDA5-E6D0-44B2-B13E-594EE9CCCA2A}"/>
              </a:ext>
            </a:extLst>
          </p:cNvPr>
          <p:cNvSpPr/>
          <p:nvPr/>
        </p:nvSpPr>
        <p:spPr>
          <a:xfrm>
            <a:off x="4262971" y="2564904"/>
            <a:ext cx="1008112" cy="216024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61E80E7-0F90-4C31-91EE-74BB38D84789}"/>
              </a:ext>
            </a:extLst>
          </p:cNvPr>
          <p:cNvSpPr/>
          <p:nvPr/>
        </p:nvSpPr>
        <p:spPr>
          <a:xfrm>
            <a:off x="10311642" y="2312876"/>
            <a:ext cx="984175" cy="21602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1743A08-3C05-4C08-80AF-A391D11CCF6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35007" y="2810381"/>
            <a:ext cx="3358505" cy="3631308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DDA4B6D9-71B3-4662-AC43-9C5253B621F0}"/>
              </a:ext>
            </a:extLst>
          </p:cNvPr>
          <p:cNvSpPr/>
          <p:nvPr/>
        </p:nvSpPr>
        <p:spPr>
          <a:xfrm>
            <a:off x="8877418" y="3165808"/>
            <a:ext cx="1902277" cy="21602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F2CB310-DA60-4597-A487-F12243F7870E}"/>
              </a:ext>
            </a:extLst>
          </p:cNvPr>
          <p:cNvSpPr/>
          <p:nvPr/>
        </p:nvSpPr>
        <p:spPr>
          <a:xfrm>
            <a:off x="10282200" y="5229200"/>
            <a:ext cx="857535" cy="21602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Arrow: Curved Right 14">
            <a:extLst>
              <a:ext uri="{FF2B5EF4-FFF2-40B4-BE49-F238E27FC236}">
                <a16:creationId xmlns:a16="http://schemas.microsoft.com/office/drawing/2014/main" id="{26CD4170-942C-499E-B460-9714B8899078}"/>
              </a:ext>
            </a:extLst>
          </p:cNvPr>
          <p:cNvSpPr/>
          <p:nvPr/>
        </p:nvSpPr>
        <p:spPr>
          <a:xfrm rot="2782528">
            <a:off x="9458678" y="1915351"/>
            <a:ext cx="522354" cy="1137269"/>
          </a:xfrm>
          <a:prstGeom prst="curved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0897474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A88321A1-8B03-4290-9DB8-8E026981699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59939"/>
          <a:stretch/>
        </p:blipFill>
        <p:spPr>
          <a:xfrm>
            <a:off x="5281807" y="1828702"/>
            <a:ext cx="6475641" cy="155312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4CAB53-5F05-4488-89EB-F4F85713748E}"/>
              </a:ext>
            </a:extLst>
          </p:cNvPr>
          <p:cNvSpPr txBox="1">
            <a:spLocks/>
          </p:cNvSpPr>
          <p:nvPr/>
        </p:nvSpPr>
        <p:spPr>
          <a:xfrm>
            <a:off x="2336757" y="0"/>
            <a:ext cx="7524836" cy="108874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ạo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nnection Group</a:t>
            </a:r>
            <a:endParaRPr lang="vi-VN" sz="2800" b="1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E3254AB9-6022-465B-B348-B83FA8A561BA}"/>
              </a:ext>
            </a:extLst>
          </p:cNvPr>
          <p:cNvSpPr/>
          <p:nvPr/>
        </p:nvSpPr>
        <p:spPr>
          <a:xfrm>
            <a:off x="0" y="1088740"/>
            <a:ext cx="5595119" cy="496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lvl="1" indent="-34290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b="1" dirty="0" err="1">
                <a:solidFill>
                  <a:srgbClr val="002060"/>
                </a:solidFill>
                <a:latin typeface="Arial"/>
                <a:ea typeface="+mn-ea"/>
              </a:rPr>
              <a:t>Name_MS_SQLSERVER_Group</a:t>
            </a:r>
            <a:endParaRPr lang="en-US" sz="2000" b="1" dirty="0">
              <a:solidFill>
                <a:srgbClr val="002060"/>
              </a:solidFill>
              <a:latin typeface="Arial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96B8DC-18EB-4565-9620-2595983042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6587" y="1585736"/>
            <a:ext cx="4176105" cy="319953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EC2D4514-4F27-4422-9752-EEB599F8792E}"/>
              </a:ext>
            </a:extLst>
          </p:cNvPr>
          <p:cNvSpPr/>
          <p:nvPr/>
        </p:nvSpPr>
        <p:spPr>
          <a:xfrm>
            <a:off x="1418655" y="2240868"/>
            <a:ext cx="2628292" cy="21602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453F539-5BEB-4184-8E8B-0E9BEC8A4A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01869" y="2836074"/>
            <a:ext cx="3358275" cy="3564726"/>
          </a:xfrm>
          <a:prstGeom prst="rect">
            <a:avLst/>
          </a:prstGeom>
        </p:spPr>
      </p:pic>
      <p:sp>
        <p:nvSpPr>
          <p:cNvPr id="7" name="Arrow: Right 6">
            <a:extLst>
              <a:ext uri="{FF2B5EF4-FFF2-40B4-BE49-F238E27FC236}">
                <a16:creationId xmlns:a16="http://schemas.microsoft.com/office/drawing/2014/main" id="{7908BDA5-E6D0-44B2-B13E-594EE9CCCA2A}"/>
              </a:ext>
            </a:extLst>
          </p:cNvPr>
          <p:cNvSpPr/>
          <p:nvPr/>
        </p:nvSpPr>
        <p:spPr>
          <a:xfrm>
            <a:off x="4262971" y="2240868"/>
            <a:ext cx="1008112" cy="216024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61E80E7-0F90-4C31-91EE-74BB38D84789}"/>
              </a:ext>
            </a:extLst>
          </p:cNvPr>
          <p:cNvSpPr/>
          <p:nvPr/>
        </p:nvSpPr>
        <p:spPr>
          <a:xfrm>
            <a:off x="10647647" y="2224376"/>
            <a:ext cx="984175" cy="21602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DA4B6D9-71B3-4662-AC43-9C5253B621F0}"/>
              </a:ext>
            </a:extLst>
          </p:cNvPr>
          <p:cNvSpPr/>
          <p:nvPr/>
        </p:nvSpPr>
        <p:spPr>
          <a:xfrm>
            <a:off x="8813476" y="3320988"/>
            <a:ext cx="1902277" cy="21602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F2CB310-DA60-4597-A487-F12243F7870E}"/>
              </a:ext>
            </a:extLst>
          </p:cNvPr>
          <p:cNvSpPr/>
          <p:nvPr/>
        </p:nvSpPr>
        <p:spPr>
          <a:xfrm>
            <a:off x="10203632" y="5265204"/>
            <a:ext cx="1188132" cy="72008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Arrow: Curved Right 14">
            <a:extLst>
              <a:ext uri="{FF2B5EF4-FFF2-40B4-BE49-F238E27FC236}">
                <a16:creationId xmlns:a16="http://schemas.microsoft.com/office/drawing/2014/main" id="{26CD4170-942C-499E-B460-9714B8899078}"/>
              </a:ext>
            </a:extLst>
          </p:cNvPr>
          <p:cNvSpPr/>
          <p:nvPr/>
        </p:nvSpPr>
        <p:spPr>
          <a:xfrm rot="2782528">
            <a:off x="9743426" y="2015796"/>
            <a:ext cx="522354" cy="1137269"/>
          </a:xfrm>
          <a:prstGeom prst="curved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4612999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CAB53-5F05-4488-89EB-F4F85713748E}"/>
              </a:ext>
            </a:extLst>
          </p:cNvPr>
          <p:cNvSpPr txBox="1">
            <a:spLocks/>
          </p:cNvSpPr>
          <p:nvPr/>
        </p:nvSpPr>
        <p:spPr>
          <a:xfrm>
            <a:off x="2336757" y="0"/>
            <a:ext cx="7524836" cy="108874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ạo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lection</a:t>
            </a:r>
            <a:endParaRPr lang="vi-VN" sz="2800" b="1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E3254AB9-6022-465B-B348-B83FA8A561BA}"/>
              </a:ext>
            </a:extLst>
          </p:cNvPr>
          <p:cNvSpPr/>
          <p:nvPr/>
        </p:nvSpPr>
        <p:spPr>
          <a:xfrm>
            <a:off x="0" y="1088740"/>
            <a:ext cx="4767027" cy="23436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lvl="1" indent="-34290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b="1" dirty="0" err="1">
                <a:solidFill>
                  <a:srgbClr val="002060"/>
                </a:solidFill>
                <a:latin typeface="Arial"/>
                <a:ea typeface="+mn-ea"/>
              </a:rPr>
              <a:t>Name_colInventory</a:t>
            </a:r>
            <a:endParaRPr lang="en-US" sz="2000" b="1" dirty="0">
              <a:solidFill>
                <a:srgbClr val="002060"/>
              </a:solidFill>
              <a:latin typeface="Arial"/>
              <a:ea typeface="+mn-ea"/>
            </a:endParaRPr>
          </a:p>
          <a:p>
            <a:pPr marL="800100" lvl="1" indent="-34290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b="1" dirty="0" err="1">
                <a:solidFill>
                  <a:srgbClr val="002060"/>
                </a:solidFill>
                <a:latin typeface="Arial"/>
                <a:ea typeface="+mn-ea"/>
              </a:rPr>
              <a:t>Name_colProcess</a:t>
            </a:r>
            <a:endParaRPr lang="en-US" sz="2000" b="1" dirty="0">
              <a:solidFill>
                <a:srgbClr val="002060"/>
              </a:solidFill>
              <a:latin typeface="Arial"/>
              <a:ea typeface="+mn-ea"/>
            </a:endParaRPr>
          </a:p>
          <a:p>
            <a:pPr marL="800100" lvl="1" indent="-34290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b="1" dirty="0" err="1">
                <a:solidFill>
                  <a:schemeClr val="accent1">
                    <a:lumMod val="75000"/>
                  </a:schemeClr>
                </a:solidFill>
                <a:latin typeface="Arial"/>
                <a:ea typeface="+mn-ea"/>
              </a:rPr>
              <a:t>TagCache</a:t>
            </a:r>
            <a:endParaRPr lang="en-US" sz="2000" b="1" dirty="0">
              <a:solidFill>
                <a:schemeClr val="accent1">
                  <a:lumMod val="75000"/>
                </a:schemeClr>
              </a:solidFill>
              <a:latin typeface="Arial"/>
              <a:ea typeface="+mn-ea"/>
            </a:endParaRPr>
          </a:p>
          <a:p>
            <a:pPr marL="800100" lvl="1" indent="-34290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accent1">
                    <a:lumMod val="75000"/>
                  </a:schemeClr>
                </a:solidFill>
                <a:latin typeface="Arial"/>
                <a:ea typeface="+mn-ea"/>
              </a:rPr>
              <a:t>Tag</a:t>
            </a:r>
          </a:p>
          <a:p>
            <a:pPr marL="800100" lvl="1" indent="-34290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2000" b="1" dirty="0">
              <a:solidFill>
                <a:srgbClr val="002060"/>
              </a:solidFill>
              <a:latin typeface="Arial"/>
              <a:ea typeface="+mn-ea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5D9366A-8F92-4A18-93AB-5B782DC62A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5809" y="1305435"/>
            <a:ext cx="3675753" cy="312439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5FC5B1B-28DB-4DDC-832E-3F54D9ED33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15399" y="2096851"/>
            <a:ext cx="3675753" cy="429055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030E8A23-C47C-4135-9F60-0E86C5F9F863}"/>
              </a:ext>
            </a:extLst>
          </p:cNvPr>
          <p:cNvSpPr/>
          <p:nvPr/>
        </p:nvSpPr>
        <p:spPr>
          <a:xfrm>
            <a:off x="4770623" y="2759618"/>
            <a:ext cx="1902277" cy="21602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1AE7B9A-CA93-460E-98A8-9E4FBCC03E9B}"/>
              </a:ext>
            </a:extLst>
          </p:cNvPr>
          <p:cNvSpPr/>
          <p:nvPr/>
        </p:nvSpPr>
        <p:spPr>
          <a:xfrm>
            <a:off x="8295419" y="3825044"/>
            <a:ext cx="3312368" cy="32403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F37459-B177-40FD-944D-9B0618BEFFC6}"/>
              </a:ext>
            </a:extLst>
          </p:cNvPr>
          <p:cNvSpPr/>
          <p:nvPr/>
        </p:nvSpPr>
        <p:spPr>
          <a:xfrm>
            <a:off x="8691463" y="5913276"/>
            <a:ext cx="900100" cy="32403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Arrow: Curved Down 8">
            <a:extLst>
              <a:ext uri="{FF2B5EF4-FFF2-40B4-BE49-F238E27FC236}">
                <a16:creationId xmlns:a16="http://schemas.microsoft.com/office/drawing/2014/main" id="{D52E9F3C-5B33-4E56-9B49-E41C86DCD124}"/>
              </a:ext>
            </a:extLst>
          </p:cNvPr>
          <p:cNvSpPr/>
          <p:nvPr/>
        </p:nvSpPr>
        <p:spPr>
          <a:xfrm>
            <a:off x="6672900" y="2276872"/>
            <a:ext cx="1442500" cy="590758"/>
          </a:xfrm>
          <a:prstGeom prst="curved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3427589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CAB53-5F05-4488-89EB-F4F85713748E}"/>
              </a:ext>
            </a:extLst>
          </p:cNvPr>
          <p:cNvSpPr txBox="1">
            <a:spLocks/>
          </p:cNvSpPr>
          <p:nvPr/>
        </p:nvSpPr>
        <p:spPr>
          <a:xfrm>
            <a:off x="2336757" y="0"/>
            <a:ext cx="7524836" cy="108874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 Collection</a:t>
            </a:r>
            <a:endParaRPr lang="vi-VN" sz="2800" b="1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EC8554F-E3F8-FA02-125F-E93E21ED10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4111" y="1388368"/>
            <a:ext cx="9623556" cy="4787749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A9CA908E-CEE5-4812-A9E9-CC421371B234}"/>
              </a:ext>
            </a:extLst>
          </p:cNvPr>
          <p:cNvSpPr/>
          <p:nvPr/>
        </p:nvSpPr>
        <p:spPr>
          <a:xfrm>
            <a:off x="3182851" y="2024844"/>
            <a:ext cx="648072" cy="11568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EA5C947-FD89-42BF-8D66-F3AA098A51EB}"/>
              </a:ext>
            </a:extLst>
          </p:cNvPr>
          <p:cNvSpPr/>
          <p:nvPr/>
        </p:nvSpPr>
        <p:spPr>
          <a:xfrm>
            <a:off x="3074839" y="5990622"/>
            <a:ext cx="7452828" cy="205347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FF59AD8-16EA-41A6-89E1-3B3487E85D06}"/>
              </a:ext>
            </a:extLst>
          </p:cNvPr>
          <p:cNvSpPr/>
          <p:nvPr/>
        </p:nvSpPr>
        <p:spPr>
          <a:xfrm>
            <a:off x="1191907" y="2791399"/>
            <a:ext cx="866971" cy="133545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Arrow: Curved Right 13">
            <a:extLst>
              <a:ext uri="{FF2B5EF4-FFF2-40B4-BE49-F238E27FC236}">
                <a16:creationId xmlns:a16="http://schemas.microsoft.com/office/drawing/2014/main" id="{42B0B27D-DD3B-4429-AC0F-F752D1B96475}"/>
              </a:ext>
            </a:extLst>
          </p:cNvPr>
          <p:cNvSpPr/>
          <p:nvPr/>
        </p:nvSpPr>
        <p:spPr>
          <a:xfrm rot="12264966">
            <a:off x="2213449" y="2184476"/>
            <a:ext cx="392835" cy="832864"/>
          </a:xfrm>
          <a:prstGeom prst="curved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98011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7295" y="14010"/>
            <a:ext cx="7223760" cy="1088740"/>
          </a:xfrm>
        </p:spPr>
        <p:txBody>
          <a:bodyPr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sz="2800" b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HQ Solution Example</a:t>
            </a:r>
            <a:endParaRPr lang="en-US" sz="2800" b="1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2021E64-45AF-4CAD-B142-EE7FD08298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29571" y="1513490"/>
            <a:ext cx="3131865" cy="2045708"/>
          </a:xfrm>
          <a:prstGeom prst="rect">
            <a:avLst/>
          </a:prstGeom>
        </p:spPr>
      </p:pic>
      <p:sp>
        <p:nvSpPr>
          <p:cNvPr id="4" name="object 3">
            <a:extLst>
              <a:ext uri="{FF2B5EF4-FFF2-40B4-BE49-F238E27FC236}">
                <a16:creationId xmlns:a16="http://schemas.microsoft.com/office/drawing/2014/main" id="{1F0F6414-F318-44A4-8AAB-893E3FF0B727}"/>
              </a:ext>
            </a:extLst>
          </p:cNvPr>
          <p:cNvSpPr txBox="1"/>
          <p:nvPr/>
        </p:nvSpPr>
        <p:spPr>
          <a:xfrm>
            <a:off x="3084957" y="3291586"/>
            <a:ext cx="563880" cy="33083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fontAlgn="auto">
              <a:spcBef>
                <a:spcPts val="105"/>
              </a:spcBef>
              <a:spcAft>
                <a:spcPts val="0"/>
              </a:spcAft>
            </a:pPr>
            <a:r>
              <a:rPr sz="2000" spc="-220" dirty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T</a:t>
            </a:r>
            <a:r>
              <a:rPr sz="2000" dirty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ags</a:t>
            </a:r>
          </a:p>
        </p:txBody>
      </p:sp>
      <p:sp>
        <p:nvSpPr>
          <p:cNvPr id="5" name="object 4">
            <a:extLst>
              <a:ext uri="{FF2B5EF4-FFF2-40B4-BE49-F238E27FC236}">
                <a16:creationId xmlns:a16="http://schemas.microsoft.com/office/drawing/2014/main" id="{60665247-89F4-446C-A251-3C0736A7A1A4}"/>
              </a:ext>
            </a:extLst>
          </p:cNvPr>
          <p:cNvSpPr/>
          <p:nvPr/>
        </p:nvSpPr>
        <p:spPr>
          <a:xfrm>
            <a:off x="2167127" y="4637532"/>
            <a:ext cx="1981200" cy="154228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6" name="object 5">
            <a:extLst>
              <a:ext uri="{FF2B5EF4-FFF2-40B4-BE49-F238E27FC236}">
                <a16:creationId xmlns:a16="http://schemas.microsoft.com/office/drawing/2014/main" id="{F72E1A90-2F90-4E4F-9482-E58932548BDF}"/>
              </a:ext>
            </a:extLst>
          </p:cNvPr>
          <p:cNvSpPr/>
          <p:nvPr/>
        </p:nvSpPr>
        <p:spPr>
          <a:xfrm>
            <a:off x="1994311" y="4600956"/>
            <a:ext cx="2536537" cy="153923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7" name="object 6">
            <a:extLst>
              <a:ext uri="{FF2B5EF4-FFF2-40B4-BE49-F238E27FC236}">
                <a16:creationId xmlns:a16="http://schemas.microsoft.com/office/drawing/2014/main" id="{4A4F34B7-77BB-45D3-8B28-ACFD80058F9F}"/>
              </a:ext>
            </a:extLst>
          </p:cNvPr>
          <p:cNvSpPr txBox="1"/>
          <p:nvPr/>
        </p:nvSpPr>
        <p:spPr>
          <a:xfrm>
            <a:off x="2455266" y="4278630"/>
            <a:ext cx="1346835" cy="330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fontAlgn="auto">
              <a:spcBef>
                <a:spcPts val="100"/>
              </a:spcBef>
              <a:spcAft>
                <a:spcPts val="0"/>
              </a:spcAft>
            </a:pPr>
            <a:r>
              <a:rPr sz="2000" spc="-75" dirty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T</a:t>
            </a:r>
            <a:r>
              <a:rPr sz="2000" dirty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im</a:t>
            </a:r>
            <a:r>
              <a:rPr sz="2000" spc="-5" dirty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e</a:t>
            </a:r>
            <a:r>
              <a:rPr sz="2000" dirty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-s</a:t>
            </a:r>
            <a:r>
              <a:rPr sz="2000" spc="5" dirty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e</a:t>
            </a:r>
            <a:r>
              <a:rPr sz="2000" dirty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ries</a:t>
            </a:r>
            <a:endParaRPr sz="2000">
              <a:solidFill>
                <a:srgbClr val="000000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8" name="object 10">
            <a:extLst>
              <a:ext uri="{FF2B5EF4-FFF2-40B4-BE49-F238E27FC236}">
                <a16:creationId xmlns:a16="http://schemas.microsoft.com/office/drawing/2014/main" id="{4534C63A-4E53-41D9-BED2-2D74C6608BA1}"/>
              </a:ext>
            </a:extLst>
          </p:cNvPr>
          <p:cNvSpPr txBox="1"/>
          <p:nvPr/>
        </p:nvSpPr>
        <p:spPr>
          <a:xfrm>
            <a:off x="8049515" y="5993766"/>
            <a:ext cx="1313815" cy="330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fontAlgn="auto">
              <a:spcBef>
                <a:spcPts val="100"/>
              </a:spcBef>
              <a:spcAft>
                <a:spcPts val="0"/>
              </a:spcAft>
            </a:pPr>
            <a:r>
              <a:rPr sz="2000" dirty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Doc</a:t>
            </a:r>
            <a:r>
              <a:rPr sz="2000" spc="5" dirty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u</a:t>
            </a:r>
            <a:r>
              <a:rPr sz="2000" dirty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ments</a:t>
            </a:r>
          </a:p>
        </p:txBody>
      </p:sp>
      <p:sp>
        <p:nvSpPr>
          <p:cNvPr id="9" name="object 11">
            <a:extLst>
              <a:ext uri="{FF2B5EF4-FFF2-40B4-BE49-F238E27FC236}">
                <a16:creationId xmlns:a16="http://schemas.microsoft.com/office/drawing/2014/main" id="{151AA41F-8BE6-4337-A800-7F33E41316C2}"/>
              </a:ext>
            </a:extLst>
          </p:cNvPr>
          <p:cNvSpPr/>
          <p:nvPr/>
        </p:nvSpPr>
        <p:spPr>
          <a:xfrm>
            <a:off x="8246364" y="4021835"/>
            <a:ext cx="893064" cy="1143000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0" name="object 12">
            <a:extLst>
              <a:ext uri="{FF2B5EF4-FFF2-40B4-BE49-F238E27FC236}">
                <a16:creationId xmlns:a16="http://schemas.microsoft.com/office/drawing/2014/main" id="{C8A9C909-96E8-4EDB-8227-F0F4EF0BD1D4}"/>
              </a:ext>
            </a:extLst>
          </p:cNvPr>
          <p:cNvSpPr/>
          <p:nvPr/>
        </p:nvSpPr>
        <p:spPr>
          <a:xfrm>
            <a:off x="8226552" y="4002023"/>
            <a:ext cx="880872" cy="1130808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1" name="object 13">
            <a:extLst>
              <a:ext uri="{FF2B5EF4-FFF2-40B4-BE49-F238E27FC236}">
                <a16:creationId xmlns:a16="http://schemas.microsoft.com/office/drawing/2014/main" id="{07E515F0-D815-47D9-8820-5C9CB350698E}"/>
              </a:ext>
            </a:extLst>
          </p:cNvPr>
          <p:cNvSpPr/>
          <p:nvPr/>
        </p:nvSpPr>
        <p:spPr>
          <a:xfrm>
            <a:off x="8226552" y="4002024"/>
            <a:ext cx="881380" cy="1130935"/>
          </a:xfrm>
          <a:custGeom>
            <a:avLst/>
            <a:gdLst/>
            <a:ahLst/>
            <a:cxnLst/>
            <a:rect l="l" t="t" r="r" b="b"/>
            <a:pathLst>
              <a:path w="881379" h="1130935">
                <a:moveTo>
                  <a:pt x="770763" y="1130808"/>
                </a:moveTo>
                <a:lnTo>
                  <a:pt x="792733" y="1042669"/>
                </a:lnTo>
                <a:lnTo>
                  <a:pt x="880872" y="1020699"/>
                </a:lnTo>
                <a:lnTo>
                  <a:pt x="770763" y="1130808"/>
                </a:lnTo>
                <a:lnTo>
                  <a:pt x="0" y="1130808"/>
                </a:lnTo>
                <a:lnTo>
                  <a:pt x="0" y="0"/>
                </a:lnTo>
                <a:lnTo>
                  <a:pt x="880872" y="0"/>
                </a:lnTo>
                <a:lnTo>
                  <a:pt x="880872" y="1020699"/>
                </a:lnTo>
              </a:path>
            </a:pathLst>
          </a:custGeom>
          <a:ln w="9144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2" name="object 14">
            <a:extLst>
              <a:ext uri="{FF2B5EF4-FFF2-40B4-BE49-F238E27FC236}">
                <a16:creationId xmlns:a16="http://schemas.microsoft.com/office/drawing/2014/main" id="{F7918E15-1F32-4FA3-B86D-C34EEDCF1E1B}"/>
              </a:ext>
            </a:extLst>
          </p:cNvPr>
          <p:cNvSpPr/>
          <p:nvPr/>
        </p:nvSpPr>
        <p:spPr>
          <a:xfrm>
            <a:off x="7979665" y="4300728"/>
            <a:ext cx="957071" cy="120091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3" name="object 15">
            <a:extLst>
              <a:ext uri="{FF2B5EF4-FFF2-40B4-BE49-F238E27FC236}">
                <a16:creationId xmlns:a16="http://schemas.microsoft.com/office/drawing/2014/main" id="{A32F69EF-C4B8-4B71-A472-3FDAC2991EB1}"/>
              </a:ext>
            </a:extLst>
          </p:cNvPr>
          <p:cNvSpPr/>
          <p:nvPr/>
        </p:nvSpPr>
        <p:spPr>
          <a:xfrm>
            <a:off x="7959853" y="4280915"/>
            <a:ext cx="944879" cy="1188720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4" name="object 16">
            <a:extLst>
              <a:ext uri="{FF2B5EF4-FFF2-40B4-BE49-F238E27FC236}">
                <a16:creationId xmlns:a16="http://schemas.microsoft.com/office/drawing/2014/main" id="{AB34D861-C91C-4281-A65B-DD6EDDB5B168}"/>
              </a:ext>
            </a:extLst>
          </p:cNvPr>
          <p:cNvSpPr/>
          <p:nvPr/>
        </p:nvSpPr>
        <p:spPr>
          <a:xfrm>
            <a:off x="7959852" y="4280915"/>
            <a:ext cx="944880" cy="1188720"/>
          </a:xfrm>
          <a:custGeom>
            <a:avLst/>
            <a:gdLst/>
            <a:ahLst/>
            <a:cxnLst/>
            <a:rect l="l" t="t" r="r" b="b"/>
            <a:pathLst>
              <a:path w="944879" h="1188720">
                <a:moveTo>
                  <a:pt x="826770" y="1188719"/>
                </a:moveTo>
                <a:lnTo>
                  <a:pt x="850392" y="1094231"/>
                </a:lnTo>
                <a:lnTo>
                  <a:pt x="944879" y="1070609"/>
                </a:lnTo>
                <a:lnTo>
                  <a:pt x="826770" y="1188719"/>
                </a:lnTo>
                <a:lnTo>
                  <a:pt x="0" y="1188719"/>
                </a:lnTo>
                <a:lnTo>
                  <a:pt x="0" y="0"/>
                </a:lnTo>
                <a:lnTo>
                  <a:pt x="944879" y="0"/>
                </a:lnTo>
                <a:lnTo>
                  <a:pt x="944879" y="1070609"/>
                </a:lnTo>
              </a:path>
            </a:pathLst>
          </a:custGeom>
          <a:ln w="9144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5" name="object 17">
            <a:extLst>
              <a:ext uri="{FF2B5EF4-FFF2-40B4-BE49-F238E27FC236}">
                <a16:creationId xmlns:a16="http://schemas.microsoft.com/office/drawing/2014/main" id="{624722AB-1AD4-4349-A3FF-CA69A2E841F5}"/>
              </a:ext>
            </a:extLst>
          </p:cNvPr>
          <p:cNvSpPr/>
          <p:nvPr/>
        </p:nvSpPr>
        <p:spPr>
          <a:xfrm>
            <a:off x="8014715" y="4337303"/>
            <a:ext cx="787908" cy="1024128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6" name="object 18">
            <a:extLst>
              <a:ext uri="{FF2B5EF4-FFF2-40B4-BE49-F238E27FC236}">
                <a16:creationId xmlns:a16="http://schemas.microsoft.com/office/drawing/2014/main" id="{1BE3388A-C45B-433F-9108-3F0E9D6A558E}"/>
              </a:ext>
            </a:extLst>
          </p:cNvPr>
          <p:cNvSpPr/>
          <p:nvPr/>
        </p:nvSpPr>
        <p:spPr>
          <a:xfrm>
            <a:off x="7664197" y="4895088"/>
            <a:ext cx="1170431" cy="1001268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7" name="object 19">
            <a:extLst>
              <a:ext uri="{FF2B5EF4-FFF2-40B4-BE49-F238E27FC236}">
                <a16:creationId xmlns:a16="http://schemas.microsoft.com/office/drawing/2014/main" id="{8221F274-444A-40AD-8CFB-D6C610AF5D6B}"/>
              </a:ext>
            </a:extLst>
          </p:cNvPr>
          <p:cNvSpPr/>
          <p:nvPr/>
        </p:nvSpPr>
        <p:spPr>
          <a:xfrm>
            <a:off x="8301229" y="4584192"/>
            <a:ext cx="1325879" cy="955547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8" name="object 20">
            <a:extLst>
              <a:ext uri="{FF2B5EF4-FFF2-40B4-BE49-F238E27FC236}">
                <a16:creationId xmlns:a16="http://schemas.microsoft.com/office/drawing/2014/main" id="{385B6662-B5C5-4B0C-A541-EA119355223D}"/>
              </a:ext>
            </a:extLst>
          </p:cNvPr>
          <p:cNvSpPr/>
          <p:nvPr/>
        </p:nvSpPr>
        <p:spPr>
          <a:xfrm>
            <a:off x="8709659" y="5024629"/>
            <a:ext cx="1188720" cy="768095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9" name="object 22">
            <a:extLst>
              <a:ext uri="{FF2B5EF4-FFF2-40B4-BE49-F238E27FC236}">
                <a16:creationId xmlns:a16="http://schemas.microsoft.com/office/drawing/2014/main" id="{B3E5B53B-1E9E-48F4-AE10-77B7ADB9CD45}"/>
              </a:ext>
            </a:extLst>
          </p:cNvPr>
          <p:cNvSpPr/>
          <p:nvPr/>
        </p:nvSpPr>
        <p:spPr>
          <a:xfrm>
            <a:off x="5291325" y="1999489"/>
            <a:ext cx="1347218" cy="4125467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20" name="Content Placeholder 1">
            <a:extLst>
              <a:ext uri="{FF2B5EF4-FFF2-40B4-BE49-F238E27FC236}">
                <a16:creationId xmlns:a16="http://schemas.microsoft.com/office/drawing/2014/main" id="{A105D077-D0E2-41B4-B57B-61FC405A3528}"/>
              </a:ext>
            </a:extLst>
          </p:cNvPr>
          <p:cNvSpPr txBox="1">
            <a:spLocks/>
          </p:cNvSpPr>
          <p:nvPr/>
        </p:nvSpPr>
        <p:spPr>
          <a:xfrm>
            <a:off x="609600" y="1524000"/>
            <a:ext cx="11020697" cy="4648414"/>
          </a:xfrm>
          <a:prstGeom prst="rect">
            <a:avLst/>
          </a:prstGeom>
        </p:spPr>
        <p:txBody>
          <a:bodyPr/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None/>
              <a:defRPr sz="180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1pPr>
            <a:lvl2pPr marL="557213" indent="-214313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2100">
                <a:solidFill>
                  <a:srgbClr val="002060"/>
                </a:solidFill>
                <a:latin typeface="+mn-lt"/>
              </a:defRPr>
            </a:lvl2pPr>
            <a:lvl3pPr marL="857250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800">
                <a:solidFill>
                  <a:srgbClr val="002060"/>
                </a:solidFill>
                <a:latin typeface="+mn-lt"/>
              </a:defRPr>
            </a:lvl3pPr>
            <a:lvl4pPr marL="1200150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500">
                <a:solidFill>
                  <a:srgbClr val="002060"/>
                </a:solidFill>
                <a:latin typeface="+mn-lt"/>
              </a:defRPr>
            </a:lvl4pPr>
            <a:lvl5pPr marL="1543050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002060"/>
                </a:solidFill>
                <a:latin typeface="+mn-lt"/>
              </a:defRPr>
            </a:lvl5pPr>
            <a:lvl6pPr marL="1885950" indent="-17145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chemeClr val="tx1"/>
                </a:solidFill>
                <a:latin typeface="+mn-lt"/>
              </a:defRPr>
            </a:lvl6pPr>
            <a:lvl7pPr marL="2228850" indent="-17145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chemeClr val="tx1"/>
                </a:solidFill>
                <a:latin typeface="+mn-lt"/>
              </a:defRPr>
            </a:lvl7pPr>
            <a:lvl8pPr marL="2571750" indent="-17145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chemeClr val="tx1"/>
                </a:solidFill>
                <a:latin typeface="+mn-lt"/>
              </a:defRPr>
            </a:lvl8pPr>
            <a:lvl9pPr marL="2914650" indent="-17145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object 24">
            <a:extLst>
              <a:ext uri="{FF2B5EF4-FFF2-40B4-BE49-F238E27FC236}">
                <a16:creationId xmlns:a16="http://schemas.microsoft.com/office/drawing/2014/main" id="{62C3630F-6097-43F4-AD5D-8DD224D9AD0E}"/>
              </a:ext>
            </a:extLst>
          </p:cNvPr>
          <p:cNvSpPr txBox="1"/>
          <p:nvPr/>
        </p:nvSpPr>
        <p:spPr>
          <a:xfrm>
            <a:off x="5112243" y="1508905"/>
            <a:ext cx="1821814" cy="33083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fontAlgn="auto">
              <a:spcBef>
                <a:spcPts val="105"/>
              </a:spcBef>
              <a:spcAft>
                <a:spcPts val="0"/>
              </a:spcAft>
            </a:pPr>
            <a:r>
              <a:rPr sz="2000" i="1" dirty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XHQ </a:t>
            </a:r>
            <a:r>
              <a:rPr sz="2000" i="1" spc="-5" dirty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in</a:t>
            </a:r>
            <a:r>
              <a:rPr sz="2000" i="1" spc="-280" dirty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 </a:t>
            </a:r>
            <a:r>
              <a:rPr sz="2000" i="1" spc="-5" dirty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action…</a:t>
            </a:r>
            <a:endParaRPr sz="2000">
              <a:solidFill>
                <a:srgbClr val="000000"/>
              </a:solidFill>
              <a:latin typeface="Arial"/>
              <a:ea typeface="+mn-ea"/>
              <a:cs typeface="Arial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529395F7-4FE5-4AA4-B8D9-BF7526D55584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994311" y="1728546"/>
            <a:ext cx="2888583" cy="1587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8485379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EFC563A-FC02-271C-B48D-22BAA8223C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4131" y="1368516"/>
            <a:ext cx="9623536" cy="486049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4CAB53-5F05-4488-89EB-F4F85713748E}"/>
              </a:ext>
            </a:extLst>
          </p:cNvPr>
          <p:cNvSpPr txBox="1">
            <a:spLocks/>
          </p:cNvSpPr>
          <p:nvPr/>
        </p:nvSpPr>
        <p:spPr>
          <a:xfrm>
            <a:off x="2336757" y="0"/>
            <a:ext cx="7524836" cy="108874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 Collection</a:t>
            </a:r>
            <a:endParaRPr lang="vi-VN" sz="2800" b="1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9CA908E-CEE5-4812-A9E9-CC421371B234}"/>
              </a:ext>
            </a:extLst>
          </p:cNvPr>
          <p:cNvSpPr/>
          <p:nvPr/>
        </p:nvSpPr>
        <p:spPr>
          <a:xfrm>
            <a:off x="3182851" y="2024844"/>
            <a:ext cx="648072" cy="11568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EA5C947-FD89-42BF-8D66-F3AA098A51EB}"/>
              </a:ext>
            </a:extLst>
          </p:cNvPr>
          <p:cNvSpPr/>
          <p:nvPr/>
        </p:nvSpPr>
        <p:spPr>
          <a:xfrm>
            <a:off x="3074839" y="6023663"/>
            <a:ext cx="7452828" cy="205347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FF59AD8-16EA-41A6-89E1-3B3487E85D06}"/>
              </a:ext>
            </a:extLst>
          </p:cNvPr>
          <p:cNvSpPr/>
          <p:nvPr/>
        </p:nvSpPr>
        <p:spPr>
          <a:xfrm>
            <a:off x="1191907" y="2672916"/>
            <a:ext cx="866971" cy="133545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Arrow: Curved Right 13">
            <a:extLst>
              <a:ext uri="{FF2B5EF4-FFF2-40B4-BE49-F238E27FC236}">
                <a16:creationId xmlns:a16="http://schemas.microsoft.com/office/drawing/2014/main" id="{42B0B27D-DD3B-4429-AC0F-F752D1B96475}"/>
              </a:ext>
            </a:extLst>
          </p:cNvPr>
          <p:cNvSpPr/>
          <p:nvPr/>
        </p:nvSpPr>
        <p:spPr>
          <a:xfrm rot="12264966">
            <a:off x="2157680" y="2384401"/>
            <a:ext cx="392835" cy="563030"/>
          </a:xfrm>
          <a:prstGeom prst="curved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A1BF8C6-7C7F-44E2-C9BB-1A4109CA2A96}"/>
              </a:ext>
            </a:extLst>
          </p:cNvPr>
          <p:cNvSpPr/>
          <p:nvPr/>
        </p:nvSpPr>
        <p:spPr>
          <a:xfrm>
            <a:off x="1204376" y="2300334"/>
            <a:ext cx="866971" cy="133545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5102953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CAB53-5F05-4488-89EB-F4F85713748E}"/>
              </a:ext>
            </a:extLst>
          </p:cNvPr>
          <p:cNvSpPr txBox="1">
            <a:spLocks/>
          </p:cNvSpPr>
          <p:nvPr/>
        </p:nvSpPr>
        <p:spPr>
          <a:xfrm>
            <a:off x="2336757" y="0"/>
            <a:ext cx="7524836" cy="108874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ết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ế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ashboard/ Views</a:t>
            </a:r>
            <a:endParaRPr lang="vi-VN" sz="2800" b="1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0774665-5079-4FA0-BBD8-8339731CA3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95777" y="1511918"/>
            <a:ext cx="7986755" cy="499735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787AFE1-56E0-4450-BD59-6DBA092C73CF}"/>
              </a:ext>
            </a:extLst>
          </p:cNvPr>
          <p:cNvSpPr/>
          <p:nvPr/>
        </p:nvSpPr>
        <p:spPr>
          <a:xfrm>
            <a:off x="3686539" y="1699319"/>
            <a:ext cx="1350150" cy="61206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FAC7801-4C94-F150-5081-D0C4B6F4322C}"/>
              </a:ext>
            </a:extLst>
          </p:cNvPr>
          <p:cNvSpPr txBox="1"/>
          <p:nvPr/>
        </p:nvSpPr>
        <p:spPr>
          <a:xfrm>
            <a:off x="4528" y="1115452"/>
            <a:ext cx="612396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ss View Sample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B5171CC-8338-3120-CAEF-5A56E1F60DD1}"/>
              </a:ext>
            </a:extLst>
          </p:cNvPr>
          <p:cNvSpPr/>
          <p:nvPr/>
        </p:nvSpPr>
        <p:spPr>
          <a:xfrm>
            <a:off x="7755358" y="1696742"/>
            <a:ext cx="3917935" cy="1228201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7359645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CAB53-5F05-4488-89EB-F4F85713748E}"/>
              </a:ext>
            </a:extLst>
          </p:cNvPr>
          <p:cNvSpPr txBox="1">
            <a:spLocks/>
          </p:cNvSpPr>
          <p:nvPr/>
        </p:nvSpPr>
        <p:spPr>
          <a:xfrm>
            <a:off x="2336757" y="0"/>
            <a:ext cx="7524836" cy="108874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ết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ế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ashboard/ Views</a:t>
            </a:r>
            <a:endParaRPr lang="vi-VN" sz="2800" b="1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0774665-5079-4FA0-BBD8-8339731CA3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86539" y="1303275"/>
            <a:ext cx="7986755" cy="499735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787AFE1-56E0-4450-BD59-6DBA092C73CF}"/>
              </a:ext>
            </a:extLst>
          </p:cNvPr>
          <p:cNvSpPr/>
          <p:nvPr/>
        </p:nvSpPr>
        <p:spPr>
          <a:xfrm>
            <a:off x="3686539" y="1699319"/>
            <a:ext cx="1350150" cy="61206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FAC7801-4C94-F150-5081-D0C4B6F4322C}"/>
              </a:ext>
            </a:extLst>
          </p:cNvPr>
          <p:cNvSpPr txBox="1"/>
          <p:nvPr/>
        </p:nvSpPr>
        <p:spPr>
          <a:xfrm>
            <a:off x="4528" y="1115452"/>
            <a:ext cx="2494247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ple Dashboard</a:t>
            </a:r>
          </a:p>
          <a:p>
            <a:r>
              <a:rPr lang="en-US" b="1" dirty="0">
                <a:solidFill>
                  <a:srgbClr val="1E1E5C"/>
                </a:solidFill>
                <a:cs typeface="Arial" panose="020B0604020202020204" pitchFamily="34" charset="0"/>
              </a:rPr>
              <a:t>(</a:t>
            </a:r>
            <a:r>
              <a:rPr lang="en-US" b="1" dirty="0" err="1">
                <a:solidFill>
                  <a:srgbClr val="1E1E5C"/>
                </a:solidFill>
                <a:cs typeface="Arial" panose="020B0604020202020204" pitchFamily="34" charset="0"/>
              </a:rPr>
              <a:t>ProcessView</a:t>
            </a:r>
            <a:r>
              <a:rPr lang="en-US" b="1" dirty="0">
                <a:solidFill>
                  <a:srgbClr val="1E1E5C"/>
                </a:solidFill>
                <a:cs typeface="Arial" panose="020B0604020202020204" pitchFamily="34" charset="0"/>
              </a:rPr>
              <a:t>)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B5171CC-8338-3120-CAEF-5A56E1F60DD1}"/>
              </a:ext>
            </a:extLst>
          </p:cNvPr>
          <p:cNvSpPr/>
          <p:nvPr/>
        </p:nvSpPr>
        <p:spPr>
          <a:xfrm>
            <a:off x="7755358" y="1696742"/>
            <a:ext cx="3917935" cy="1228201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157139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DC309B4-5D29-D29B-7E5D-F042DB0469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10843" y="1186265"/>
            <a:ext cx="8899845" cy="520999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4CAB53-5F05-4488-89EB-F4F85713748E}"/>
              </a:ext>
            </a:extLst>
          </p:cNvPr>
          <p:cNvSpPr txBox="1">
            <a:spLocks/>
          </p:cNvSpPr>
          <p:nvPr/>
        </p:nvSpPr>
        <p:spPr>
          <a:xfrm>
            <a:off x="2336757" y="0"/>
            <a:ext cx="7524836" cy="108874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ết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ế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ashboard/ Views</a:t>
            </a:r>
            <a:endParaRPr lang="vi-VN" sz="2800" b="1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A14420F-AB0E-D9A0-1B69-DE7BFDC61AAC}"/>
              </a:ext>
            </a:extLst>
          </p:cNvPr>
          <p:cNvSpPr txBox="1"/>
          <p:nvPr/>
        </p:nvSpPr>
        <p:spPr>
          <a:xfrm>
            <a:off x="4528" y="1115452"/>
            <a:ext cx="2494247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ple Dashboard</a:t>
            </a:r>
          </a:p>
          <a:p>
            <a:r>
              <a:rPr lang="en-US" b="1" dirty="0">
                <a:solidFill>
                  <a:srgbClr val="1E1E5C"/>
                </a:solidFill>
                <a:cs typeface="Arial" panose="020B0604020202020204" pitchFamily="34" charset="0"/>
              </a:rPr>
              <a:t>(</a:t>
            </a:r>
            <a:r>
              <a:rPr lang="en-US" b="1" dirty="0" err="1">
                <a:solidFill>
                  <a:srgbClr val="1E1E5C"/>
                </a:solidFill>
                <a:cs typeface="Arial" panose="020B0604020202020204" pitchFamily="34" charset="0"/>
              </a:rPr>
              <a:t>ProcessView</a:t>
            </a:r>
            <a:r>
              <a:rPr lang="en-US" b="1" dirty="0">
                <a:solidFill>
                  <a:srgbClr val="1E1E5C"/>
                </a:solidFill>
                <a:cs typeface="Arial" panose="020B0604020202020204" pitchFamily="34" charset="0"/>
              </a:rPr>
              <a:t>)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621C30F-B4C2-1A25-1AC7-CA8861A8684C}"/>
              </a:ext>
            </a:extLst>
          </p:cNvPr>
          <p:cNvSpPr/>
          <p:nvPr/>
        </p:nvSpPr>
        <p:spPr>
          <a:xfrm>
            <a:off x="4154959" y="4185083"/>
            <a:ext cx="684076" cy="180021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162976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CAB53-5F05-4488-89EB-F4F85713748E}"/>
              </a:ext>
            </a:extLst>
          </p:cNvPr>
          <p:cNvSpPr txBox="1">
            <a:spLocks/>
          </p:cNvSpPr>
          <p:nvPr/>
        </p:nvSpPr>
        <p:spPr>
          <a:xfrm>
            <a:off x="2336757" y="0"/>
            <a:ext cx="7524836" cy="108874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ết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ế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low View</a:t>
            </a:r>
            <a:endParaRPr lang="vi-VN" sz="2800" b="1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F073CC64-4E12-79BA-F68F-8B8FDAF11E98}"/>
              </a:ext>
            </a:extLst>
          </p:cNvPr>
          <p:cNvSpPr/>
          <p:nvPr/>
        </p:nvSpPr>
        <p:spPr>
          <a:xfrm>
            <a:off x="2628951" y="3085704"/>
            <a:ext cx="1924050" cy="45720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solidFill>
                  <a:srgbClr val="FF0000"/>
                </a:solidFill>
                <a:latin typeface="Calibri" panose="020F0502020204030204"/>
                <a:ea typeface="+mn-ea"/>
              </a:rPr>
              <a:t>Value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0CF07841-0479-FD3D-8F43-DC1600A81BD6}"/>
              </a:ext>
            </a:extLst>
          </p:cNvPr>
          <p:cNvSpPr txBox="1"/>
          <p:nvPr/>
        </p:nvSpPr>
        <p:spPr>
          <a:xfrm>
            <a:off x="5029252" y="3081238"/>
            <a:ext cx="716864" cy="461665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solidFill>
                  <a:prstClr val="black"/>
                </a:solidFill>
                <a:latin typeface="Calibri" panose="020F0502020204030204"/>
                <a:ea typeface="+mn-ea"/>
              </a:rPr>
              <a:t>Unit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41E55B6-02C9-F0FA-C7AE-0D9990B51C85}"/>
              </a:ext>
            </a:extLst>
          </p:cNvPr>
          <p:cNvSpPr txBox="1"/>
          <p:nvPr/>
        </p:nvSpPr>
        <p:spPr>
          <a:xfrm>
            <a:off x="4553002" y="3081239"/>
            <a:ext cx="476250" cy="461665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endParaRPr lang="en-US" sz="2400" dirty="0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64C9AD36-1532-EE6F-6415-ED2FE953DC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72064" y="3183482"/>
            <a:ext cx="238125" cy="257175"/>
          </a:xfrm>
          <a:prstGeom prst="rect">
            <a:avLst/>
          </a:prstGeom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6F932220-9AF5-8AC1-19EA-FC7AA9C1921C}"/>
              </a:ext>
            </a:extLst>
          </p:cNvPr>
          <p:cNvSpPr/>
          <p:nvPr/>
        </p:nvSpPr>
        <p:spPr>
          <a:xfrm>
            <a:off x="2628951" y="3733404"/>
            <a:ext cx="1924050" cy="45720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solidFill>
                  <a:srgbClr val="0070C0"/>
                </a:solidFill>
                <a:latin typeface="Calibri" panose="020F0502020204030204"/>
                <a:ea typeface="+mn-ea"/>
              </a:rPr>
              <a:t>Value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EAA81BE-16B2-6032-D226-7EBC515143ED}"/>
              </a:ext>
            </a:extLst>
          </p:cNvPr>
          <p:cNvSpPr txBox="1"/>
          <p:nvPr/>
        </p:nvSpPr>
        <p:spPr>
          <a:xfrm>
            <a:off x="5029252" y="3728938"/>
            <a:ext cx="716864" cy="461665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solidFill>
                  <a:prstClr val="black"/>
                </a:solidFill>
                <a:latin typeface="Calibri" panose="020F0502020204030204"/>
                <a:ea typeface="+mn-ea"/>
              </a:rPr>
              <a:t>Unit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657B0966-1C3E-797F-A2F1-BF22A02C7744}"/>
              </a:ext>
            </a:extLst>
          </p:cNvPr>
          <p:cNvSpPr txBox="1"/>
          <p:nvPr/>
        </p:nvSpPr>
        <p:spPr>
          <a:xfrm>
            <a:off x="4553002" y="3728939"/>
            <a:ext cx="476250" cy="461665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endParaRPr lang="en-US" sz="2400" dirty="0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id="{D9098820-556A-FD70-D2DF-ACFD82FFE3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72064" y="3831182"/>
            <a:ext cx="238125" cy="257175"/>
          </a:xfrm>
          <a:prstGeom prst="rect">
            <a:avLst/>
          </a:prstGeom>
        </p:spPr>
      </p:pic>
      <p:sp>
        <p:nvSpPr>
          <p:cNvPr id="53" name="Rectangle 52">
            <a:extLst>
              <a:ext uri="{FF2B5EF4-FFF2-40B4-BE49-F238E27FC236}">
                <a16:creationId xmlns:a16="http://schemas.microsoft.com/office/drawing/2014/main" id="{ACFA753F-E22C-44BD-DF85-414A3E48CDBA}"/>
              </a:ext>
            </a:extLst>
          </p:cNvPr>
          <p:cNvSpPr/>
          <p:nvPr/>
        </p:nvSpPr>
        <p:spPr>
          <a:xfrm>
            <a:off x="2628951" y="4414736"/>
            <a:ext cx="1924050" cy="457200"/>
          </a:xfrm>
          <a:prstGeom prst="rect">
            <a:avLst/>
          </a:prstGeom>
          <a:solidFill>
            <a:srgbClr val="FFC000"/>
          </a:solidFill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solidFill>
                  <a:prstClr val="black"/>
                </a:solidFill>
                <a:latin typeface="Calibri" panose="020F0502020204030204"/>
                <a:ea typeface="+mn-ea"/>
              </a:rPr>
              <a:t>Value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9DFE43E8-FB50-6FB6-FFA4-04776A79377C}"/>
              </a:ext>
            </a:extLst>
          </p:cNvPr>
          <p:cNvSpPr txBox="1"/>
          <p:nvPr/>
        </p:nvSpPr>
        <p:spPr>
          <a:xfrm>
            <a:off x="5029252" y="4410270"/>
            <a:ext cx="716864" cy="461665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solidFill>
                  <a:prstClr val="black"/>
                </a:solidFill>
                <a:latin typeface="Calibri" panose="020F0502020204030204"/>
                <a:ea typeface="+mn-ea"/>
              </a:rPr>
              <a:t>Unit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935328B0-19B5-D28E-F319-A457FC8AD814}"/>
              </a:ext>
            </a:extLst>
          </p:cNvPr>
          <p:cNvSpPr txBox="1"/>
          <p:nvPr/>
        </p:nvSpPr>
        <p:spPr>
          <a:xfrm>
            <a:off x="4553002" y="4410271"/>
            <a:ext cx="476250" cy="461665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endParaRPr lang="en-US" sz="2400" dirty="0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id="{62EA6A28-ECF4-3F5C-062D-E9C4D35D91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72064" y="4512514"/>
            <a:ext cx="238125" cy="257175"/>
          </a:xfrm>
          <a:prstGeom prst="rect">
            <a:avLst/>
          </a:prstGeom>
        </p:spPr>
      </p:pic>
      <p:sp>
        <p:nvSpPr>
          <p:cNvPr id="58" name="Rectangle 57">
            <a:extLst>
              <a:ext uri="{FF2B5EF4-FFF2-40B4-BE49-F238E27FC236}">
                <a16:creationId xmlns:a16="http://schemas.microsoft.com/office/drawing/2014/main" id="{D7538887-5CFC-4047-8ED4-6C60D37ED69E}"/>
              </a:ext>
            </a:extLst>
          </p:cNvPr>
          <p:cNvSpPr/>
          <p:nvPr/>
        </p:nvSpPr>
        <p:spPr>
          <a:xfrm>
            <a:off x="2628952" y="1972873"/>
            <a:ext cx="1924050" cy="45720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solidFill>
                  <a:prstClr val="black"/>
                </a:solidFill>
                <a:latin typeface="Calibri" panose="020F0502020204030204"/>
                <a:ea typeface="+mn-ea"/>
              </a:rPr>
              <a:t>Value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A5B5242F-861A-B795-6E11-0D4001EDBC09}"/>
              </a:ext>
            </a:extLst>
          </p:cNvPr>
          <p:cNvSpPr txBox="1"/>
          <p:nvPr/>
        </p:nvSpPr>
        <p:spPr>
          <a:xfrm>
            <a:off x="5029253" y="1972873"/>
            <a:ext cx="716864" cy="461665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solidFill>
                  <a:prstClr val="black"/>
                </a:solidFill>
                <a:latin typeface="Calibri" panose="020F0502020204030204"/>
                <a:ea typeface="+mn-ea"/>
              </a:rPr>
              <a:t>Unit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F44C3E3D-9BBC-5869-1E35-B8AEB928A703}"/>
              </a:ext>
            </a:extLst>
          </p:cNvPr>
          <p:cNvSpPr txBox="1"/>
          <p:nvPr/>
        </p:nvSpPr>
        <p:spPr>
          <a:xfrm>
            <a:off x="4553003" y="1972873"/>
            <a:ext cx="476250" cy="461665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endParaRPr lang="en-US" sz="2400" dirty="0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pic>
        <p:nvPicPr>
          <p:cNvPr id="62" name="Picture 61">
            <a:extLst>
              <a:ext uri="{FF2B5EF4-FFF2-40B4-BE49-F238E27FC236}">
                <a16:creationId xmlns:a16="http://schemas.microsoft.com/office/drawing/2014/main" id="{EDDA5CC1-DC2D-0BFF-FABC-F0745435EC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72065" y="2072885"/>
            <a:ext cx="238125" cy="257175"/>
          </a:xfrm>
          <a:prstGeom prst="rect">
            <a:avLst/>
          </a:prstGeom>
        </p:spPr>
      </p:pic>
      <p:sp>
        <p:nvSpPr>
          <p:cNvPr id="63" name="Rectangle 62">
            <a:extLst>
              <a:ext uri="{FF2B5EF4-FFF2-40B4-BE49-F238E27FC236}">
                <a16:creationId xmlns:a16="http://schemas.microsoft.com/office/drawing/2014/main" id="{A4C7E33A-5854-12FD-1846-F4761943C055}"/>
              </a:ext>
            </a:extLst>
          </p:cNvPr>
          <p:cNvSpPr/>
          <p:nvPr/>
        </p:nvSpPr>
        <p:spPr>
          <a:xfrm>
            <a:off x="2628951" y="5071962"/>
            <a:ext cx="1924050" cy="457200"/>
          </a:xfrm>
          <a:prstGeom prst="rect">
            <a:avLst/>
          </a:prstGeom>
          <a:solidFill>
            <a:srgbClr val="FF0000"/>
          </a:solidFill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solidFill>
                  <a:prstClr val="white"/>
                </a:solidFill>
                <a:latin typeface="Calibri" panose="020F0502020204030204"/>
                <a:ea typeface="+mn-ea"/>
              </a:rPr>
              <a:t>Value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3C49DECF-D85A-50ED-4E72-BBA64B6C0B18}"/>
              </a:ext>
            </a:extLst>
          </p:cNvPr>
          <p:cNvSpPr txBox="1"/>
          <p:nvPr/>
        </p:nvSpPr>
        <p:spPr>
          <a:xfrm>
            <a:off x="5029252" y="5067496"/>
            <a:ext cx="716864" cy="461665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solidFill>
                  <a:prstClr val="black"/>
                </a:solidFill>
                <a:latin typeface="Calibri" panose="020F0502020204030204"/>
                <a:ea typeface="+mn-ea"/>
              </a:rPr>
              <a:t>Unit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88FC4136-3D5A-2DB8-DD93-BD5F8308F8BA}"/>
              </a:ext>
            </a:extLst>
          </p:cNvPr>
          <p:cNvSpPr txBox="1"/>
          <p:nvPr/>
        </p:nvSpPr>
        <p:spPr>
          <a:xfrm>
            <a:off x="4553002" y="5067497"/>
            <a:ext cx="476250" cy="461665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endParaRPr lang="en-US" sz="2400" dirty="0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pic>
        <p:nvPicPr>
          <p:cNvPr id="67" name="Picture 66">
            <a:extLst>
              <a:ext uri="{FF2B5EF4-FFF2-40B4-BE49-F238E27FC236}">
                <a16:creationId xmlns:a16="http://schemas.microsoft.com/office/drawing/2014/main" id="{39FE7FC8-ACDB-B995-A34B-4447EDA86D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72064" y="5169740"/>
            <a:ext cx="238125" cy="257175"/>
          </a:xfrm>
          <a:prstGeom prst="rect">
            <a:avLst/>
          </a:prstGeom>
        </p:spPr>
      </p:pic>
      <p:sp>
        <p:nvSpPr>
          <p:cNvPr id="68" name="Rectangle 67">
            <a:extLst>
              <a:ext uri="{FF2B5EF4-FFF2-40B4-BE49-F238E27FC236}">
                <a16:creationId xmlns:a16="http://schemas.microsoft.com/office/drawing/2014/main" id="{1AEDD89C-FFF4-51CF-85CF-D489F4F8D2E8}"/>
              </a:ext>
            </a:extLst>
          </p:cNvPr>
          <p:cNvSpPr/>
          <p:nvPr/>
        </p:nvSpPr>
        <p:spPr>
          <a:xfrm>
            <a:off x="2628951" y="5753293"/>
            <a:ext cx="1924050" cy="457200"/>
          </a:xfrm>
          <a:prstGeom prst="rect">
            <a:avLst/>
          </a:prstGeom>
          <a:solidFill>
            <a:sysClr val="windowText" lastClr="000000"/>
          </a:solidFill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Value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48FC8C50-530D-A08F-6366-12D047305FC4}"/>
              </a:ext>
            </a:extLst>
          </p:cNvPr>
          <p:cNvSpPr txBox="1"/>
          <p:nvPr/>
        </p:nvSpPr>
        <p:spPr>
          <a:xfrm>
            <a:off x="5029252" y="5748827"/>
            <a:ext cx="716864" cy="461665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solidFill>
                  <a:prstClr val="black"/>
                </a:solidFill>
                <a:latin typeface="Calibri" panose="020F0502020204030204"/>
                <a:ea typeface="+mn-ea"/>
              </a:rPr>
              <a:t>Unit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50CB120A-BD3D-B66D-4EC4-82C47E3140AB}"/>
              </a:ext>
            </a:extLst>
          </p:cNvPr>
          <p:cNvSpPr txBox="1"/>
          <p:nvPr/>
        </p:nvSpPr>
        <p:spPr>
          <a:xfrm>
            <a:off x="4553002" y="5748828"/>
            <a:ext cx="476250" cy="461665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endParaRPr lang="en-US" sz="2400" dirty="0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0AA6546B-18B4-494D-5F01-C87BD70188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72064" y="5851071"/>
            <a:ext cx="238125" cy="257175"/>
          </a:xfrm>
          <a:prstGeom prst="rect">
            <a:avLst/>
          </a:prstGeom>
        </p:spPr>
      </p:pic>
      <p:sp>
        <p:nvSpPr>
          <p:cNvPr id="73" name="Arrow: Down 72">
            <a:extLst>
              <a:ext uri="{FF2B5EF4-FFF2-40B4-BE49-F238E27FC236}">
                <a16:creationId xmlns:a16="http://schemas.microsoft.com/office/drawing/2014/main" id="{F392FB05-9BCE-7086-E429-687C6694B5C5}"/>
              </a:ext>
            </a:extLst>
          </p:cNvPr>
          <p:cNvSpPr/>
          <p:nvPr/>
        </p:nvSpPr>
        <p:spPr>
          <a:xfrm>
            <a:off x="3842566" y="2514632"/>
            <a:ext cx="676275" cy="457201"/>
          </a:xfrm>
          <a:prstGeom prst="downArrow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4" name="Picture 73">
            <a:extLst>
              <a:ext uri="{FF2B5EF4-FFF2-40B4-BE49-F238E27FC236}">
                <a16:creationId xmlns:a16="http://schemas.microsoft.com/office/drawing/2014/main" id="{3ED71BDE-F8C2-1BED-7FFB-5E21DC1C2E5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-1" b="477"/>
          <a:stretch/>
        </p:blipFill>
        <p:spPr>
          <a:xfrm>
            <a:off x="6093597" y="1971984"/>
            <a:ext cx="4686300" cy="3668585"/>
          </a:xfrm>
          <a:prstGeom prst="rect">
            <a:avLst/>
          </a:prstGeom>
        </p:spPr>
      </p:pic>
      <p:sp>
        <p:nvSpPr>
          <p:cNvPr id="75" name="Arrow: Curved Left 74">
            <a:extLst>
              <a:ext uri="{FF2B5EF4-FFF2-40B4-BE49-F238E27FC236}">
                <a16:creationId xmlns:a16="http://schemas.microsoft.com/office/drawing/2014/main" id="{0041B07F-6455-6D63-4F42-6BCAA70EBC1F}"/>
              </a:ext>
            </a:extLst>
          </p:cNvPr>
          <p:cNvSpPr/>
          <p:nvPr/>
        </p:nvSpPr>
        <p:spPr>
          <a:xfrm rot="16200000">
            <a:off x="5397278" y="926544"/>
            <a:ext cx="461664" cy="1794170"/>
          </a:xfrm>
          <a:prstGeom prst="curvedLeftArrow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8A546145-D31D-DFA5-9A83-90183D245E96}"/>
              </a:ext>
            </a:extLst>
          </p:cNvPr>
          <p:cNvSpPr txBox="1"/>
          <p:nvPr/>
        </p:nvSpPr>
        <p:spPr>
          <a:xfrm>
            <a:off x="122512" y="1119043"/>
            <a:ext cx="11953328" cy="369332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ow View</a:t>
            </a:r>
            <a:r>
              <a:rPr lang="en-US" b="1" dirty="0">
                <a:solidFill>
                  <a:prstClr val="black"/>
                </a:solidFill>
                <a:latin typeface="Calibri" panose="020F0502020204030204"/>
                <a:ea typeface="+mn-ea"/>
              </a:rPr>
              <a:t>: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AEA9897-CE3A-5E96-1D79-9CEC498E228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86707" y="1163812"/>
            <a:ext cx="1241593" cy="288082"/>
          </a:xfrm>
          <a:prstGeom prst="rect">
            <a:avLst/>
          </a:prstGeom>
          <a:ln>
            <a:solidFill>
              <a:srgbClr val="FF0000"/>
            </a:solidFill>
          </a:ln>
        </p:spPr>
      </p:pic>
      <p:sp>
        <p:nvSpPr>
          <p:cNvPr id="79" name="TextBox 78">
            <a:extLst>
              <a:ext uri="{FF2B5EF4-FFF2-40B4-BE49-F238E27FC236}">
                <a16:creationId xmlns:a16="http://schemas.microsoft.com/office/drawing/2014/main" id="{1E6EF61F-B2E4-03E1-2C20-C3E8E509115D}"/>
              </a:ext>
            </a:extLst>
          </p:cNvPr>
          <p:cNvSpPr txBox="1"/>
          <p:nvPr/>
        </p:nvSpPr>
        <p:spPr>
          <a:xfrm>
            <a:off x="1313458" y="3164926"/>
            <a:ext cx="131549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dirty="0" err="1">
                <a:solidFill>
                  <a:prstClr val="black"/>
                </a:solidFill>
                <a:latin typeface="Calibri" panose="020F0502020204030204"/>
                <a:ea typeface="+mn-ea"/>
              </a:rPr>
              <a:t>Tín</a:t>
            </a:r>
            <a:r>
              <a:rPr lang="en-US" dirty="0">
                <a:solidFill>
                  <a:prstClr val="black"/>
                </a:solidFill>
                <a:latin typeface="Calibri" panose="020F0502020204030204"/>
                <a:ea typeface="+mn-ea"/>
              </a:rPr>
              <a:t> </a:t>
            </a:r>
            <a:r>
              <a:rPr lang="en-US" dirty="0" err="1">
                <a:solidFill>
                  <a:prstClr val="black"/>
                </a:solidFill>
                <a:latin typeface="Calibri" panose="020F0502020204030204"/>
                <a:ea typeface="+mn-ea"/>
              </a:rPr>
              <a:t>hiệu</a:t>
            </a:r>
            <a:r>
              <a:rPr lang="en-US" dirty="0">
                <a:solidFill>
                  <a:prstClr val="black"/>
                </a:solidFill>
                <a:latin typeface="Calibri" panose="020F0502020204030204"/>
                <a:ea typeface="+mn-ea"/>
              </a:rPr>
              <a:t> </a:t>
            </a:r>
            <a:r>
              <a:rPr lang="en-US" dirty="0" err="1">
                <a:solidFill>
                  <a:prstClr val="black"/>
                </a:solidFill>
                <a:latin typeface="Calibri" panose="020F0502020204030204"/>
                <a:ea typeface="+mn-ea"/>
              </a:rPr>
              <a:t>lỗi</a:t>
            </a:r>
            <a:r>
              <a:rPr lang="en-US" dirty="0">
                <a:solidFill>
                  <a:prstClr val="black"/>
                </a:solidFill>
                <a:latin typeface="Calibri" panose="020F0502020204030204"/>
                <a:ea typeface="+mn-ea"/>
              </a:rPr>
              <a:t>:</a:t>
            </a:r>
            <a:endParaRPr lang="en-US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0D7B4C1F-2BE1-70F3-B6E6-61F8BEFACCDE}"/>
              </a:ext>
            </a:extLst>
          </p:cNvPr>
          <p:cNvSpPr txBox="1"/>
          <p:nvPr/>
        </p:nvSpPr>
        <p:spPr>
          <a:xfrm>
            <a:off x="302531" y="3829203"/>
            <a:ext cx="232759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dirty="0" err="1">
                <a:solidFill>
                  <a:prstClr val="black"/>
                </a:solidFill>
                <a:latin typeface="Calibri" panose="020F0502020204030204"/>
                <a:ea typeface="+mn-ea"/>
              </a:rPr>
              <a:t>Tín</a:t>
            </a:r>
            <a:r>
              <a:rPr lang="en-US" dirty="0">
                <a:solidFill>
                  <a:prstClr val="black"/>
                </a:solidFill>
                <a:latin typeface="Calibri" panose="020F0502020204030204"/>
                <a:ea typeface="+mn-ea"/>
              </a:rPr>
              <a:t> </a:t>
            </a:r>
            <a:r>
              <a:rPr lang="en-US" dirty="0" err="1">
                <a:solidFill>
                  <a:prstClr val="black"/>
                </a:solidFill>
                <a:latin typeface="Calibri" panose="020F0502020204030204"/>
                <a:ea typeface="+mn-ea"/>
              </a:rPr>
              <a:t>hiệu</a:t>
            </a:r>
            <a:r>
              <a:rPr lang="en-US" dirty="0">
                <a:solidFill>
                  <a:prstClr val="black"/>
                </a:solidFill>
                <a:latin typeface="Calibri" panose="020F0502020204030204"/>
                <a:ea typeface="+mn-ea"/>
              </a:rPr>
              <a:t> </a:t>
            </a:r>
            <a:r>
              <a:rPr lang="en-US" dirty="0" err="1">
                <a:solidFill>
                  <a:prstClr val="black"/>
                </a:solidFill>
                <a:latin typeface="Calibri" panose="020F0502020204030204"/>
                <a:ea typeface="+mn-ea"/>
              </a:rPr>
              <a:t>bình</a:t>
            </a:r>
            <a:r>
              <a:rPr lang="en-US" dirty="0">
                <a:solidFill>
                  <a:prstClr val="black"/>
                </a:solidFill>
                <a:latin typeface="Calibri" panose="020F0502020204030204"/>
                <a:ea typeface="+mn-ea"/>
              </a:rPr>
              <a:t> </a:t>
            </a:r>
            <a:r>
              <a:rPr lang="en-US" dirty="0" err="1">
                <a:solidFill>
                  <a:prstClr val="black"/>
                </a:solidFill>
                <a:latin typeface="Calibri" panose="020F0502020204030204"/>
                <a:ea typeface="+mn-ea"/>
              </a:rPr>
              <a:t>thường</a:t>
            </a:r>
            <a:r>
              <a:rPr lang="en-US" dirty="0">
                <a:solidFill>
                  <a:prstClr val="black"/>
                </a:solidFill>
                <a:latin typeface="Calibri" panose="020F0502020204030204"/>
                <a:ea typeface="+mn-ea"/>
              </a:rPr>
              <a:t>:</a:t>
            </a:r>
            <a:endParaRPr lang="en-US" dirty="0"/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7FC5F79C-C5A9-87F2-4FF6-CFF53B9B059A}"/>
              </a:ext>
            </a:extLst>
          </p:cNvPr>
          <p:cNvSpPr txBox="1"/>
          <p:nvPr/>
        </p:nvSpPr>
        <p:spPr>
          <a:xfrm>
            <a:off x="309379" y="4450582"/>
            <a:ext cx="232759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dirty="0" err="1">
                <a:solidFill>
                  <a:prstClr val="black"/>
                </a:solidFill>
                <a:latin typeface="Calibri" panose="020F0502020204030204"/>
                <a:ea typeface="+mn-ea"/>
              </a:rPr>
              <a:t>Tín</a:t>
            </a:r>
            <a:r>
              <a:rPr lang="en-US" dirty="0">
                <a:solidFill>
                  <a:prstClr val="black"/>
                </a:solidFill>
                <a:latin typeface="Calibri" panose="020F0502020204030204"/>
                <a:ea typeface="+mn-ea"/>
              </a:rPr>
              <a:t> </a:t>
            </a:r>
            <a:r>
              <a:rPr lang="en-US" dirty="0" err="1">
                <a:solidFill>
                  <a:prstClr val="black"/>
                </a:solidFill>
                <a:latin typeface="Calibri" panose="020F0502020204030204"/>
                <a:ea typeface="+mn-ea"/>
              </a:rPr>
              <a:t>hiệu</a:t>
            </a:r>
            <a:r>
              <a:rPr lang="en-US" dirty="0">
                <a:solidFill>
                  <a:prstClr val="black"/>
                </a:solidFill>
                <a:latin typeface="Calibri" panose="020F0502020204030204"/>
                <a:ea typeface="+mn-ea"/>
              </a:rPr>
              <a:t> </a:t>
            </a:r>
            <a:r>
              <a:rPr lang="en-US" dirty="0" err="1">
                <a:solidFill>
                  <a:prstClr val="black"/>
                </a:solidFill>
                <a:latin typeface="Calibri" panose="020F0502020204030204"/>
                <a:ea typeface="+mn-ea"/>
              </a:rPr>
              <a:t>cảnh</a:t>
            </a:r>
            <a:r>
              <a:rPr lang="en-US" dirty="0">
                <a:solidFill>
                  <a:prstClr val="black"/>
                </a:solidFill>
                <a:latin typeface="Calibri" panose="020F0502020204030204"/>
                <a:ea typeface="+mn-ea"/>
              </a:rPr>
              <a:t> </a:t>
            </a:r>
            <a:r>
              <a:rPr lang="en-US" dirty="0" err="1">
                <a:solidFill>
                  <a:prstClr val="black"/>
                </a:solidFill>
                <a:latin typeface="Calibri" panose="020F0502020204030204"/>
                <a:ea typeface="+mn-ea"/>
              </a:rPr>
              <a:t>báo</a:t>
            </a:r>
            <a:r>
              <a:rPr lang="en-US" dirty="0">
                <a:solidFill>
                  <a:prstClr val="black"/>
                </a:solidFill>
                <a:latin typeface="Calibri" panose="020F0502020204030204"/>
                <a:ea typeface="+mn-ea"/>
              </a:rPr>
              <a:t>:</a:t>
            </a:r>
            <a:endParaRPr lang="en-US" dirty="0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A4701CA4-49E5-0A6D-AD81-EE7F3294C7F7}"/>
              </a:ext>
            </a:extLst>
          </p:cNvPr>
          <p:cNvSpPr txBox="1"/>
          <p:nvPr/>
        </p:nvSpPr>
        <p:spPr>
          <a:xfrm>
            <a:off x="309379" y="5139322"/>
            <a:ext cx="232759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dirty="0" err="1">
                <a:solidFill>
                  <a:prstClr val="black"/>
                </a:solidFill>
                <a:latin typeface="Calibri" panose="020F0502020204030204"/>
                <a:ea typeface="+mn-ea"/>
              </a:rPr>
              <a:t>Tín</a:t>
            </a:r>
            <a:r>
              <a:rPr lang="en-US" dirty="0">
                <a:solidFill>
                  <a:prstClr val="black"/>
                </a:solidFill>
                <a:latin typeface="Calibri" panose="020F0502020204030204"/>
                <a:ea typeface="+mn-ea"/>
              </a:rPr>
              <a:t> </a:t>
            </a:r>
            <a:r>
              <a:rPr lang="en-US" dirty="0" err="1">
                <a:solidFill>
                  <a:prstClr val="black"/>
                </a:solidFill>
                <a:latin typeface="Calibri" panose="020F0502020204030204"/>
                <a:ea typeface="+mn-ea"/>
              </a:rPr>
              <a:t>hiệu</a:t>
            </a:r>
            <a:r>
              <a:rPr lang="en-US" dirty="0">
                <a:solidFill>
                  <a:prstClr val="black"/>
                </a:solidFill>
                <a:latin typeface="Calibri" panose="020F0502020204030204"/>
                <a:ea typeface="+mn-ea"/>
              </a:rPr>
              <a:t> </a:t>
            </a:r>
            <a:r>
              <a:rPr lang="en-US" dirty="0" err="1">
                <a:solidFill>
                  <a:prstClr val="black"/>
                </a:solidFill>
                <a:latin typeface="Calibri" panose="020F0502020204030204"/>
                <a:ea typeface="+mn-ea"/>
              </a:rPr>
              <a:t>báo</a:t>
            </a:r>
            <a:r>
              <a:rPr lang="en-US" dirty="0">
                <a:solidFill>
                  <a:prstClr val="black"/>
                </a:solidFill>
                <a:latin typeface="Calibri" panose="020F0502020204030204"/>
                <a:ea typeface="+mn-ea"/>
              </a:rPr>
              <a:t> </a:t>
            </a:r>
            <a:r>
              <a:rPr lang="en-US" dirty="0" err="1">
                <a:solidFill>
                  <a:prstClr val="black"/>
                </a:solidFill>
                <a:latin typeface="Calibri" panose="020F0502020204030204"/>
                <a:ea typeface="+mn-ea"/>
              </a:rPr>
              <a:t>động</a:t>
            </a:r>
            <a:r>
              <a:rPr lang="en-US" dirty="0">
                <a:solidFill>
                  <a:prstClr val="black"/>
                </a:solidFill>
                <a:latin typeface="Calibri" panose="020F0502020204030204"/>
                <a:ea typeface="+mn-ea"/>
              </a:rPr>
              <a:t>:</a:t>
            </a:r>
            <a:endParaRPr lang="en-US" dirty="0"/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DDD47FBF-205C-7E3F-C8D0-4378BEDE14B6}"/>
              </a:ext>
            </a:extLst>
          </p:cNvPr>
          <p:cNvSpPr txBox="1"/>
          <p:nvPr/>
        </p:nvSpPr>
        <p:spPr>
          <a:xfrm>
            <a:off x="297092" y="5813222"/>
            <a:ext cx="232759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dirty="0" err="1">
                <a:solidFill>
                  <a:prstClr val="black"/>
                </a:solidFill>
                <a:latin typeface="Calibri" panose="020F0502020204030204"/>
                <a:ea typeface="+mn-ea"/>
              </a:rPr>
              <a:t>Tín</a:t>
            </a:r>
            <a:r>
              <a:rPr lang="en-US" dirty="0">
                <a:solidFill>
                  <a:prstClr val="black"/>
                </a:solidFill>
                <a:latin typeface="Calibri" panose="020F0502020204030204"/>
                <a:ea typeface="+mn-ea"/>
              </a:rPr>
              <a:t> </a:t>
            </a:r>
            <a:r>
              <a:rPr lang="en-US" dirty="0" err="1">
                <a:solidFill>
                  <a:prstClr val="black"/>
                </a:solidFill>
                <a:latin typeface="Calibri" panose="020F0502020204030204"/>
                <a:ea typeface="+mn-ea"/>
              </a:rPr>
              <a:t>hiệu</a:t>
            </a:r>
            <a:r>
              <a:rPr lang="en-US" dirty="0">
                <a:solidFill>
                  <a:prstClr val="black"/>
                </a:solidFill>
                <a:latin typeface="Calibri" panose="020F0502020204030204"/>
                <a:ea typeface="+mn-ea"/>
              </a:rPr>
              <a:t> </a:t>
            </a:r>
            <a:r>
              <a:rPr lang="en-US" dirty="0" err="1">
                <a:solidFill>
                  <a:prstClr val="black"/>
                </a:solidFill>
                <a:latin typeface="Calibri" panose="020F0502020204030204"/>
                <a:ea typeface="+mn-ea"/>
              </a:rPr>
              <a:t>mất</a:t>
            </a:r>
            <a:r>
              <a:rPr lang="en-US" dirty="0">
                <a:solidFill>
                  <a:prstClr val="black"/>
                </a:solidFill>
                <a:latin typeface="Calibri" panose="020F0502020204030204"/>
                <a:ea typeface="+mn-ea"/>
              </a:rPr>
              <a:t> </a:t>
            </a:r>
            <a:r>
              <a:rPr lang="en-US" dirty="0" err="1">
                <a:solidFill>
                  <a:prstClr val="black"/>
                </a:solidFill>
                <a:latin typeface="Calibri" panose="020F0502020204030204"/>
                <a:ea typeface="+mn-ea"/>
              </a:rPr>
              <a:t>kết</a:t>
            </a:r>
            <a:r>
              <a:rPr lang="en-US" dirty="0">
                <a:solidFill>
                  <a:prstClr val="black"/>
                </a:solidFill>
                <a:latin typeface="Calibri" panose="020F0502020204030204"/>
                <a:ea typeface="+mn-ea"/>
              </a:rPr>
              <a:t> </a:t>
            </a:r>
            <a:r>
              <a:rPr lang="en-US" dirty="0" err="1">
                <a:solidFill>
                  <a:prstClr val="black"/>
                </a:solidFill>
                <a:latin typeface="Calibri" panose="020F0502020204030204"/>
                <a:ea typeface="+mn-ea"/>
              </a:rPr>
              <a:t>nối</a:t>
            </a:r>
            <a:r>
              <a:rPr lang="en-US" dirty="0">
                <a:solidFill>
                  <a:prstClr val="black"/>
                </a:solidFill>
                <a:latin typeface="Calibri" panose="020F0502020204030204"/>
                <a:ea typeface="+mn-ea"/>
              </a:rPr>
              <a:t>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7269713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CAB53-5F05-4488-89EB-F4F85713748E}"/>
              </a:ext>
            </a:extLst>
          </p:cNvPr>
          <p:cNvSpPr txBox="1">
            <a:spLocks/>
          </p:cNvSpPr>
          <p:nvPr/>
        </p:nvSpPr>
        <p:spPr>
          <a:xfrm>
            <a:off x="2336757" y="0"/>
            <a:ext cx="7524836" cy="108874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ết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ế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mplate View</a:t>
            </a:r>
            <a:endParaRPr lang="vi-VN" sz="2800" b="1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68B1462-1FF4-78E7-2C62-38A8BC67FD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0883" y="1376772"/>
            <a:ext cx="9636583" cy="464067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69FB28A-1B0B-B319-185E-94BEE75CEA34}"/>
              </a:ext>
            </a:extLst>
          </p:cNvPr>
          <p:cNvSpPr/>
          <p:nvPr/>
        </p:nvSpPr>
        <p:spPr>
          <a:xfrm>
            <a:off x="6861503" y="1484784"/>
            <a:ext cx="4055963" cy="32403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6037829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CAB53-5F05-4488-89EB-F4F85713748E}"/>
              </a:ext>
            </a:extLst>
          </p:cNvPr>
          <p:cNvSpPr txBox="1">
            <a:spLocks/>
          </p:cNvSpPr>
          <p:nvPr/>
        </p:nvSpPr>
        <p:spPr>
          <a:xfrm>
            <a:off x="2336757" y="0"/>
            <a:ext cx="7524836" cy="108874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ết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ế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mplate View</a:t>
            </a:r>
            <a:endParaRPr lang="vi-VN" sz="2800" b="1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8A546145-D31D-DFA5-9A83-90183D245E96}"/>
              </a:ext>
            </a:extLst>
          </p:cNvPr>
          <p:cNvSpPr txBox="1"/>
          <p:nvPr/>
        </p:nvSpPr>
        <p:spPr>
          <a:xfrm>
            <a:off x="122512" y="1119042"/>
            <a:ext cx="11773307" cy="646331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>
                <a:solidFill>
                  <a:prstClr val="black"/>
                </a:solidFill>
                <a:latin typeface="Calibri" panose="020F0502020204030204"/>
                <a:ea typeface="+mn-ea"/>
              </a:rPr>
              <a:t>Template View: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1" dirty="0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87" name="Rectangle: Rounded Corners 86">
            <a:extLst>
              <a:ext uri="{FF2B5EF4-FFF2-40B4-BE49-F238E27FC236}">
                <a16:creationId xmlns:a16="http://schemas.microsoft.com/office/drawing/2014/main" id="{BB471157-94F2-57DC-72EA-143004BC8B6B}"/>
              </a:ext>
            </a:extLst>
          </p:cNvPr>
          <p:cNvSpPr/>
          <p:nvPr/>
        </p:nvSpPr>
        <p:spPr>
          <a:xfrm>
            <a:off x="384683" y="2136055"/>
            <a:ext cx="4402665" cy="3476765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8" name="Rectangle: Rounded Corners 87">
            <a:extLst>
              <a:ext uri="{FF2B5EF4-FFF2-40B4-BE49-F238E27FC236}">
                <a16:creationId xmlns:a16="http://schemas.microsoft.com/office/drawing/2014/main" id="{3CE730EB-52F2-9C80-68F6-2277FFBDFA7B}"/>
              </a:ext>
            </a:extLst>
          </p:cNvPr>
          <p:cNvSpPr/>
          <p:nvPr/>
        </p:nvSpPr>
        <p:spPr>
          <a:xfrm>
            <a:off x="4891894" y="2136056"/>
            <a:ext cx="4402665" cy="2523060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9" name="Rectangle: Rounded Corners 88">
            <a:extLst>
              <a:ext uri="{FF2B5EF4-FFF2-40B4-BE49-F238E27FC236}">
                <a16:creationId xmlns:a16="http://schemas.microsoft.com/office/drawing/2014/main" id="{18EA1648-2879-6FEE-E5C1-E5D32D2F9EA1}"/>
              </a:ext>
            </a:extLst>
          </p:cNvPr>
          <p:cNvSpPr/>
          <p:nvPr/>
        </p:nvSpPr>
        <p:spPr>
          <a:xfrm>
            <a:off x="7143291" y="3576677"/>
            <a:ext cx="4402665" cy="2523060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4DC8BFA4-EF1D-8C1F-69FE-4B2D283C1FE9}"/>
              </a:ext>
            </a:extLst>
          </p:cNvPr>
          <p:cNvSpPr/>
          <p:nvPr/>
        </p:nvSpPr>
        <p:spPr>
          <a:xfrm>
            <a:off x="789241" y="2749521"/>
            <a:ext cx="1736036" cy="573156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ew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1AFB6F0B-5BBE-67E3-AEA8-309E5A8F799E}"/>
              </a:ext>
            </a:extLst>
          </p:cNvPr>
          <p:cNvSpPr/>
          <p:nvPr/>
        </p:nvSpPr>
        <p:spPr>
          <a:xfrm>
            <a:off x="2876458" y="2749521"/>
            <a:ext cx="1736036" cy="573156"/>
          </a:xfrm>
          <a:prstGeom prst="rect">
            <a:avLst/>
          </a:prstGeom>
          <a:solidFill>
            <a:srgbClr val="44546A">
              <a:lumMod val="60000"/>
              <a:lumOff val="40000"/>
            </a:srgbClr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llection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ABBEB86D-0B1F-B851-4897-07506E360510}"/>
              </a:ext>
            </a:extLst>
          </p:cNvPr>
          <p:cNvSpPr/>
          <p:nvPr/>
        </p:nvSpPr>
        <p:spPr>
          <a:xfrm>
            <a:off x="5082944" y="2749521"/>
            <a:ext cx="1736036" cy="573156"/>
          </a:xfrm>
          <a:prstGeom prst="rect">
            <a:avLst/>
          </a:prstGeom>
          <a:solidFill>
            <a:srgbClr val="ED7D31">
              <a:lumMod val="75000"/>
            </a:srgbClr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_Component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BA74A9D8-28C7-FC28-25E4-F3268155B713}"/>
              </a:ext>
            </a:extLst>
          </p:cNvPr>
          <p:cNvSpPr/>
          <p:nvPr/>
        </p:nvSpPr>
        <p:spPr>
          <a:xfrm>
            <a:off x="5082944" y="3816321"/>
            <a:ext cx="1736036" cy="573156"/>
          </a:xfrm>
          <a:prstGeom prst="rect">
            <a:avLst/>
          </a:prstGeom>
          <a:solidFill>
            <a:srgbClr val="FF0000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ew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D9EA9AE7-5817-9761-B918-E33F15DE8C8C}"/>
              </a:ext>
            </a:extLst>
          </p:cNvPr>
          <p:cNvSpPr/>
          <p:nvPr/>
        </p:nvSpPr>
        <p:spPr>
          <a:xfrm>
            <a:off x="7355692" y="2749521"/>
            <a:ext cx="1736036" cy="573156"/>
          </a:xfrm>
          <a:prstGeom prst="rect">
            <a:avLst/>
          </a:prstGeom>
          <a:solidFill>
            <a:srgbClr val="5B9BD5">
              <a:lumMod val="40000"/>
              <a:lumOff val="60000"/>
            </a:srgbClr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_Component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arameter</a:t>
            </a:r>
          </a:p>
        </p:txBody>
      </p: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E20276DF-61AC-B5A6-2DAB-A52B629D50D5}"/>
              </a:ext>
            </a:extLst>
          </p:cNvPr>
          <p:cNvCxnSpPr>
            <a:stCxn id="90" idx="3"/>
            <a:endCxn id="91" idx="1"/>
          </p:cNvCxnSpPr>
          <p:nvPr/>
        </p:nvCxnSpPr>
        <p:spPr>
          <a:xfrm>
            <a:off x="2525277" y="3036099"/>
            <a:ext cx="351181" cy="0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96" name="Straight Arrow Connector 95">
            <a:extLst>
              <a:ext uri="{FF2B5EF4-FFF2-40B4-BE49-F238E27FC236}">
                <a16:creationId xmlns:a16="http://schemas.microsoft.com/office/drawing/2014/main" id="{BDE3D0CA-6258-AFD2-4813-99E942FFD9E0}"/>
              </a:ext>
            </a:extLst>
          </p:cNvPr>
          <p:cNvCxnSpPr>
            <a:cxnSpLocks/>
            <a:stCxn id="91" idx="3"/>
            <a:endCxn id="92" idx="1"/>
          </p:cNvCxnSpPr>
          <p:nvPr/>
        </p:nvCxnSpPr>
        <p:spPr>
          <a:xfrm>
            <a:off x="4612494" y="3036099"/>
            <a:ext cx="470450" cy="0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97" name="Straight Arrow Connector 96">
            <a:extLst>
              <a:ext uri="{FF2B5EF4-FFF2-40B4-BE49-F238E27FC236}">
                <a16:creationId xmlns:a16="http://schemas.microsoft.com/office/drawing/2014/main" id="{FB6A7154-82BD-B43D-3ECF-FAC8868DB549}"/>
              </a:ext>
            </a:extLst>
          </p:cNvPr>
          <p:cNvCxnSpPr>
            <a:cxnSpLocks/>
            <a:stCxn id="92" idx="3"/>
            <a:endCxn id="94" idx="1"/>
          </p:cNvCxnSpPr>
          <p:nvPr/>
        </p:nvCxnSpPr>
        <p:spPr>
          <a:xfrm>
            <a:off x="6818980" y="3036099"/>
            <a:ext cx="536712" cy="0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98" name="Connector: Elbow 97">
            <a:extLst>
              <a:ext uri="{FF2B5EF4-FFF2-40B4-BE49-F238E27FC236}">
                <a16:creationId xmlns:a16="http://schemas.microsoft.com/office/drawing/2014/main" id="{4D35B62D-F80B-F25C-16A4-B54A02B7E1A0}"/>
              </a:ext>
            </a:extLst>
          </p:cNvPr>
          <p:cNvCxnSpPr>
            <a:stCxn id="90" idx="2"/>
            <a:endCxn id="93" idx="1"/>
          </p:cNvCxnSpPr>
          <p:nvPr/>
        </p:nvCxnSpPr>
        <p:spPr>
          <a:xfrm rot="16200000" flipH="1">
            <a:off x="2979990" y="1999945"/>
            <a:ext cx="780222" cy="3425685"/>
          </a:xfrm>
          <a:prstGeom prst="bentConnector2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234D3DEF-6AD1-1565-B7AC-E025BBA53883}"/>
              </a:ext>
            </a:extLst>
          </p:cNvPr>
          <p:cNvCxnSpPr>
            <a:stCxn id="92" idx="2"/>
            <a:endCxn id="93" idx="0"/>
          </p:cNvCxnSpPr>
          <p:nvPr/>
        </p:nvCxnSpPr>
        <p:spPr>
          <a:xfrm>
            <a:off x="5950962" y="3322677"/>
            <a:ext cx="0" cy="493644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00" name="Rectangle 99">
            <a:extLst>
              <a:ext uri="{FF2B5EF4-FFF2-40B4-BE49-F238E27FC236}">
                <a16:creationId xmlns:a16="http://schemas.microsoft.com/office/drawing/2014/main" id="{32074F30-0E5A-AE67-41EE-74CDDAEF0688}"/>
              </a:ext>
            </a:extLst>
          </p:cNvPr>
          <p:cNvSpPr/>
          <p:nvPr/>
        </p:nvSpPr>
        <p:spPr>
          <a:xfrm>
            <a:off x="7355692" y="3822947"/>
            <a:ext cx="1736036" cy="573156"/>
          </a:xfrm>
          <a:prstGeom prst="rect">
            <a:avLst/>
          </a:prstGeom>
          <a:solidFill>
            <a:srgbClr val="FF0000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mplate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7177FD36-1CFF-7EE6-E923-5096B159C8C9}"/>
              </a:ext>
            </a:extLst>
          </p:cNvPr>
          <p:cNvSpPr/>
          <p:nvPr/>
        </p:nvSpPr>
        <p:spPr>
          <a:xfrm>
            <a:off x="7355692" y="5326244"/>
            <a:ext cx="1736036" cy="573156"/>
          </a:xfrm>
          <a:prstGeom prst="rect">
            <a:avLst/>
          </a:prstGeom>
          <a:solidFill>
            <a:srgbClr val="FF0000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ew</a:t>
            </a:r>
          </a:p>
        </p:txBody>
      </p: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AE71C87B-EC90-9A2D-F13D-6BFA9B35F229}"/>
              </a:ext>
            </a:extLst>
          </p:cNvPr>
          <p:cNvCxnSpPr>
            <a:stCxn id="93" idx="3"/>
            <a:endCxn id="100" idx="1"/>
          </p:cNvCxnSpPr>
          <p:nvPr/>
        </p:nvCxnSpPr>
        <p:spPr>
          <a:xfrm>
            <a:off x="6818980" y="4102899"/>
            <a:ext cx="536712" cy="6626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03" name="Connector: Elbow 102">
            <a:extLst>
              <a:ext uri="{FF2B5EF4-FFF2-40B4-BE49-F238E27FC236}">
                <a16:creationId xmlns:a16="http://schemas.microsoft.com/office/drawing/2014/main" id="{E931B0D6-9786-0F10-3750-8324740024BE}"/>
              </a:ext>
            </a:extLst>
          </p:cNvPr>
          <p:cNvCxnSpPr>
            <a:cxnSpLocks/>
            <a:stCxn id="93" idx="2"/>
          </p:cNvCxnSpPr>
          <p:nvPr/>
        </p:nvCxnSpPr>
        <p:spPr>
          <a:xfrm rot="16200000" flipH="1">
            <a:off x="6137734" y="4202705"/>
            <a:ext cx="1223344" cy="1596888"/>
          </a:xfrm>
          <a:prstGeom prst="bentConnector2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7CCC368A-B26A-E501-129D-A662089DDB41}"/>
              </a:ext>
            </a:extLst>
          </p:cNvPr>
          <p:cNvCxnSpPr>
            <a:stCxn id="100" idx="2"/>
            <a:endCxn id="101" idx="0"/>
          </p:cNvCxnSpPr>
          <p:nvPr/>
        </p:nvCxnSpPr>
        <p:spPr>
          <a:xfrm>
            <a:off x="8223710" y="4396103"/>
            <a:ext cx="0" cy="930141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05" name="Rectangle 104">
            <a:extLst>
              <a:ext uri="{FF2B5EF4-FFF2-40B4-BE49-F238E27FC236}">
                <a16:creationId xmlns:a16="http://schemas.microsoft.com/office/drawing/2014/main" id="{EDFA18EA-0103-5466-7890-38F047CF0F97}"/>
              </a:ext>
            </a:extLst>
          </p:cNvPr>
          <p:cNvSpPr/>
          <p:nvPr/>
        </p:nvSpPr>
        <p:spPr>
          <a:xfrm>
            <a:off x="9628440" y="3816319"/>
            <a:ext cx="1669776" cy="573156"/>
          </a:xfrm>
          <a:prstGeom prst="rect">
            <a:avLst/>
          </a:prstGeom>
          <a:solidFill>
            <a:srgbClr val="FF0000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mplate Parameter</a:t>
            </a:r>
          </a:p>
        </p:txBody>
      </p:sp>
      <p:cxnSp>
        <p:nvCxnSpPr>
          <p:cNvPr id="106" name="Straight Arrow Connector 105">
            <a:extLst>
              <a:ext uri="{FF2B5EF4-FFF2-40B4-BE49-F238E27FC236}">
                <a16:creationId xmlns:a16="http://schemas.microsoft.com/office/drawing/2014/main" id="{812CE452-FE3B-138D-4775-5E3DBE13CB96}"/>
              </a:ext>
            </a:extLst>
          </p:cNvPr>
          <p:cNvCxnSpPr>
            <a:cxnSpLocks/>
            <a:stCxn id="100" idx="3"/>
            <a:endCxn id="105" idx="1"/>
          </p:cNvCxnSpPr>
          <p:nvPr/>
        </p:nvCxnSpPr>
        <p:spPr>
          <a:xfrm flipV="1">
            <a:off x="9091728" y="4102897"/>
            <a:ext cx="536712" cy="6628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07" name="Connector: Elbow 106">
            <a:extLst>
              <a:ext uri="{FF2B5EF4-FFF2-40B4-BE49-F238E27FC236}">
                <a16:creationId xmlns:a16="http://schemas.microsoft.com/office/drawing/2014/main" id="{0ED60397-8ADE-B52B-DE5D-809FBE7CEDE6}"/>
              </a:ext>
            </a:extLst>
          </p:cNvPr>
          <p:cNvCxnSpPr>
            <a:stCxn id="94" idx="3"/>
            <a:endCxn id="105" idx="0"/>
          </p:cNvCxnSpPr>
          <p:nvPr/>
        </p:nvCxnSpPr>
        <p:spPr>
          <a:xfrm>
            <a:off x="9091728" y="3036099"/>
            <a:ext cx="1371600" cy="780220"/>
          </a:xfrm>
          <a:prstGeom prst="bentConnector2">
            <a:avLst/>
          </a:prstGeom>
          <a:noFill/>
          <a:ln w="76200" cap="flat" cmpd="sng" algn="ctr">
            <a:solidFill>
              <a:srgbClr val="4472C4"/>
            </a:solidFill>
            <a:prstDash val="solid"/>
            <a:miter lim="800000"/>
            <a:headEnd type="triangle"/>
            <a:tailEnd type="triangle"/>
          </a:ln>
          <a:effectLst/>
        </p:spPr>
      </p:cxnSp>
      <p:sp>
        <p:nvSpPr>
          <p:cNvPr id="108" name="TextBox 107">
            <a:extLst>
              <a:ext uri="{FF2B5EF4-FFF2-40B4-BE49-F238E27FC236}">
                <a16:creationId xmlns:a16="http://schemas.microsoft.com/office/drawing/2014/main" id="{337847C2-5CD0-FCCD-64BB-9B5B1F8C5D9F}"/>
              </a:ext>
            </a:extLst>
          </p:cNvPr>
          <p:cNvSpPr txBox="1"/>
          <p:nvPr/>
        </p:nvSpPr>
        <p:spPr>
          <a:xfrm>
            <a:off x="9542299" y="2682428"/>
            <a:ext cx="116619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prstClr val="black"/>
                </a:solidFill>
                <a:latin typeface="Calibri" panose="020F0502020204030204"/>
                <a:ea typeface="+mn-ea"/>
              </a:rPr>
              <a:t>Mapping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AB9CE36E-5642-E88C-502A-D77E90FA10C4}"/>
              </a:ext>
            </a:extLst>
          </p:cNvPr>
          <p:cNvSpPr txBox="1"/>
          <p:nvPr/>
        </p:nvSpPr>
        <p:spPr>
          <a:xfrm>
            <a:off x="2132680" y="1766724"/>
            <a:ext cx="113637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>
                <a:solidFill>
                  <a:prstClr val="black"/>
                </a:solidFill>
                <a:latin typeface="Calibri" panose="020F0502020204030204"/>
                <a:ea typeface="+mn-ea"/>
              </a:rPr>
              <a:t>View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49EA4D10-7C52-9961-E4AD-46D351BB0AB6}"/>
              </a:ext>
            </a:extLst>
          </p:cNvPr>
          <p:cNvSpPr txBox="1"/>
          <p:nvPr/>
        </p:nvSpPr>
        <p:spPr>
          <a:xfrm>
            <a:off x="6575104" y="1766393"/>
            <a:ext cx="18805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 err="1">
                <a:solidFill>
                  <a:prstClr val="black"/>
                </a:solidFill>
                <a:latin typeface="Calibri" panose="020F0502020204030204"/>
                <a:ea typeface="+mn-ea"/>
              </a:rPr>
              <a:t>C_Component</a:t>
            </a:r>
            <a:endParaRPr lang="en-US" b="1" dirty="0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C4C44A8B-CF31-963F-D27B-DB77C2B1F862}"/>
              </a:ext>
            </a:extLst>
          </p:cNvPr>
          <p:cNvSpPr txBox="1"/>
          <p:nvPr/>
        </p:nvSpPr>
        <p:spPr>
          <a:xfrm>
            <a:off x="8354299" y="6015240"/>
            <a:ext cx="18805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>
                <a:solidFill>
                  <a:prstClr val="black"/>
                </a:solidFill>
                <a:latin typeface="Calibri" panose="020F0502020204030204"/>
                <a:ea typeface="+mn-ea"/>
              </a:rPr>
              <a:t>Templat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18D4D63-65F7-7A33-35E6-288A155053F1}"/>
              </a:ext>
            </a:extLst>
          </p:cNvPr>
          <p:cNvSpPr/>
          <p:nvPr/>
        </p:nvSpPr>
        <p:spPr>
          <a:xfrm>
            <a:off x="772675" y="4551629"/>
            <a:ext cx="1736036" cy="573156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art</a:t>
            </a: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B1D2E369-F8C1-CA40-8EC8-E8EDAE245CAB}"/>
              </a:ext>
            </a:extLst>
          </p:cNvPr>
          <p:cNvCxnSpPr>
            <a:endCxn id="91" idx="2"/>
          </p:cNvCxnSpPr>
          <p:nvPr/>
        </p:nvCxnSpPr>
        <p:spPr>
          <a:xfrm rot="5400000" flipH="1" flipV="1">
            <a:off x="2377111" y="3470843"/>
            <a:ext cx="1515530" cy="1219199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F76ACC79-EF6D-25D0-EBEB-70C5180A91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63328" y="1186763"/>
            <a:ext cx="1241593" cy="288082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B4658ED-31D6-5929-C6C2-E7320961C4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19963" y="1186763"/>
            <a:ext cx="5595401" cy="384211"/>
          </a:xfrm>
          <a:prstGeom prst="rect">
            <a:avLst/>
          </a:prstGeom>
          <a:ln>
            <a:solidFill>
              <a:srgbClr val="FF0000"/>
            </a:solidFill>
          </a:ln>
        </p:spPr>
      </p:pic>
    </p:spTree>
    <p:extLst>
      <p:ext uri="{BB962C8B-B14F-4D97-AF65-F5344CB8AC3E}">
        <p14:creationId xmlns:p14="http://schemas.microsoft.com/office/powerpoint/2010/main" val="1229683743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CAB53-5F05-4488-89EB-F4F85713748E}"/>
              </a:ext>
            </a:extLst>
          </p:cNvPr>
          <p:cNvSpPr txBox="1">
            <a:spLocks/>
          </p:cNvSpPr>
          <p:nvPr/>
        </p:nvSpPr>
        <p:spPr>
          <a:xfrm>
            <a:off x="2336757" y="0"/>
            <a:ext cx="7524836" cy="108874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ết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ế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mplate View</a:t>
            </a:r>
            <a:endParaRPr lang="vi-VN" sz="2800" b="1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8A546145-D31D-DFA5-9A83-90183D245E96}"/>
              </a:ext>
            </a:extLst>
          </p:cNvPr>
          <p:cNvSpPr txBox="1"/>
          <p:nvPr/>
        </p:nvSpPr>
        <p:spPr>
          <a:xfrm>
            <a:off x="122512" y="1119043"/>
            <a:ext cx="11953328" cy="369332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>
                <a:solidFill>
                  <a:prstClr val="black"/>
                </a:solidFill>
                <a:latin typeface="Calibri" panose="020F0502020204030204"/>
                <a:ea typeface="+mn-ea"/>
              </a:rPr>
              <a:t>Template View: </a:t>
            </a:r>
            <a:r>
              <a:rPr lang="en-US" b="1" dirty="0" err="1">
                <a:solidFill>
                  <a:prstClr val="black"/>
                </a:solidFill>
                <a:latin typeface="Calibri" panose="020F0502020204030204"/>
                <a:ea typeface="+mn-ea"/>
              </a:rPr>
              <a:t>Thiết</a:t>
            </a:r>
            <a:r>
              <a:rPr lang="en-US" b="1" dirty="0">
                <a:solidFill>
                  <a:prstClr val="black"/>
                </a:solidFill>
                <a:latin typeface="Calibri" panose="020F0502020204030204"/>
                <a:ea typeface="+mn-ea"/>
              </a:rPr>
              <a:t> </a:t>
            </a:r>
            <a:r>
              <a:rPr lang="en-US" b="1" dirty="0" err="1">
                <a:solidFill>
                  <a:prstClr val="black"/>
                </a:solidFill>
                <a:latin typeface="Calibri" panose="020F0502020204030204"/>
                <a:ea typeface="+mn-ea"/>
              </a:rPr>
              <a:t>kế</a:t>
            </a:r>
            <a:r>
              <a:rPr lang="en-US" b="1" dirty="0">
                <a:solidFill>
                  <a:prstClr val="black"/>
                </a:solidFill>
                <a:latin typeface="Calibri" panose="020F0502020204030204"/>
                <a:ea typeface="+mn-ea"/>
              </a:rPr>
              <a:t>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AEA9897-CE3A-5E96-1D79-9CEC498E22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19689" y="1163812"/>
            <a:ext cx="1241593" cy="288082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B53F7EF9-80BE-19A5-5C50-C5D4C2766A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7689" y="1941338"/>
            <a:ext cx="3295650" cy="3752850"/>
          </a:xfrm>
          <a:prstGeom prst="rect">
            <a:avLst/>
          </a:prstGeom>
        </p:spPr>
      </p:pic>
      <p:sp>
        <p:nvSpPr>
          <p:cNvPr id="38" name="Rectangle 37">
            <a:extLst>
              <a:ext uri="{FF2B5EF4-FFF2-40B4-BE49-F238E27FC236}">
                <a16:creationId xmlns:a16="http://schemas.microsoft.com/office/drawing/2014/main" id="{800E1711-2837-FDB5-517F-4B548B4FCF4F}"/>
              </a:ext>
            </a:extLst>
          </p:cNvPr>
          <p:cNvSpPr/>
          <p:nvPr/>
        </p:nvSpPr>
        <p:spPr>
          <a:xfrm>
            <a:off x="1075700" y="3258217"/>
            <a:ext cx="1188132" cy="252028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30B845F1-E8C8-08C7-1BDC-FDA6CEF33B31}"/>
              </a:ext>
            </a:extLst>
          </p:cNvPr>
          <p:cNvCxnSpPr>
            <a:cxnSpLocks/>
          </p:cNvCxnSpPr>
          <p:nvPr/>
        </p:nvCxnSpPr>
        <p:spPr>
          <a:xfrm flipV="1">
            <a:off x="2263832" y="2328373"/>
            <a:ext cx="2632556" cy="9384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E4FB5A2F-6E64-D663-BE34-285D9126B5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57003" y="1783618"/>
            <a:ext cx="5862686" cy="3910570"/>
          </a:xfrm>
          <a:prstGeom prst="rect">
            <a:avLst/>
          </a:prstGeom>
        </p:spPr>
      </p:pic>
      <p:sp>
        <p:nvSpPr>
          <p:cNvPr id="44" name="Rectangle 43">
            <a:extLst>
              <a:ext uri="{FF2B5EF4-FFF2-40B4-BE49-F238E27FC236}">
                <a16:creationId xmlns:a16="http://schemas.microsoft.com/office/drawing/2014/main" id="{E0882580-DCCB-0FFF-24D4-252491C63059}"/>
              </a:ext>
            </a:extLst>
          </p:cNvPr>
          <p:cNvSpPr/>
          <p:nvPr/>
        </p:nvSpPr>
        <p:spPr>
          <a:xfrm>
            <a:off x="4896388" y="2173795"/>
            <a:ext cx="1004731" cy="18002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6F7FE26-8441-8A6A-2ED9-62C2D84C4F34}"/>
              </a:ext>
            </a:extLst>
          </p:cNvPr>
          <p:cNvSpPr/>
          <p:nvPr/>
        </p:nvSpPr>
        <p:spPr>
          <a:xfrm>
            <a:off x="8816560" y="4032302"/>
            <a:ext cx="1728192" cy="1661885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8B4DF4E8-838F-DBE2-91DF-633047B5FEA3}"/>
              </a:ext>
            </a:extLst>
          </p:cNvPr>
          <p:cNvSpPr txBox="1"/>
          <p:nvPr/>
        </p:nvSpPr>
        <p:spPr>
          <a:xfrm>
            <a:off x="8479878" y="5760495"/>
            <a:ext cx="240155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late Parameter</a:t>
            </a:r>
            <a:endParaRPr lang="en-US" dirty="0"/>
          </a:p>
        </p:txBody>
      </p:sp>
      <p:sp>
        <p:nvSpPr>
          <p:cNvPr id="6" name="Arrow: Right 5">
            <a:extLst>
              <a:ext uri="{FF2B5EF4-FFF2-40B4-BE49-F238E27FC236}">
                <a16:creationId xmlns:a16="http://schemas.microsoft.com/office/drawing/2014/main" id="{427E43C9-F7E7-6203-CE0C-EF09D7C3BFFF}"/>
              </a:ext>
            </a:extLst>
          </p:cNvPr>
          <p:cNvSpPr/>
          <p:nvPr/>
        </p:nvSpPr>
        <p:spPr>
          <a:xfrm rot="16200000">
            <a:off x="11051144" y="1357702"/>
            <a:ext cx="252028" cy="31253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DB69317A-5E9A-EEA7-8657-6CBCE0DBA51D}"/>
              </a:ext>
            </a:extLst>
          </p:cNvPr>
          <p:cNvSpPr/>
          <p:nvPr/>
        </p:nvSpPr>
        <p:spPr>
          <a:xfrm rot="16200000">
            <a:off x="11769554" y="1355142"/>
            <a:ext cx="252028" cy="31253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F582121-2E99-5BC3-CABE-7AD5B66E901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90645" y="3709303"/>
            <a:ext cx="5595401" cy="384211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195A9E1-D161-A53C-2AEE-262F16A1507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14799" y="1161852"/>
            <a:ext cx="4284476" cy="294195"/>
          </a:xfrm>
          <a:prstGeom prst="rect">
            <a:avLst/>
          </a:prstGeom>
          <a:ln>
            <a:solidFill>
              <a:srgbClr val="FF0000"/>
            </a:solidFill>
          </a:ln>
        </p:spPr>
      </p:pic>
    </p:spTree>
    <p:extLst>
      <p:ext uri="{BB962C8B-B14F-4D97-AF65-F5344CB8AC3E}">
        <p14:creationId xmlns:p14="http://schemas.microsoft.com/office/powerpoint/2010/main" val="3884016588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CAB53-5F05-4488-89EB-F4F85713748E}"/>
              </a:ext>
            </a:extLst>
          </p:cNvPr>
          <p:cNvSpPr txBox="1">
            <a:spLocks/>
          </p:cNvSpPr>
          <p:nvPr/>
        </p:nvSpPr>
        <p:spPr>
          <a:xfrm>
            <a:off x="2336757" y="0"/>
            <a:ext cx="7524836" cy="108874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le</a:t>
            </a:r>
            <a:endParaRPr lang="vi-VN" sz="2800" b="1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8A546145-D31D-DFA5-9A83-90183D245E96}"/>
              </a:ext>
            </a:extLst>
          </p:cNvPr>
          <p:cNvSpPr txBox="1"/>
          <p:nvPr/>
        </p:nvSpPr>
        <p:spPr>
          <a:xfrm>
            <a:off x="122512" y="1119043"/>
            <a:ext cx="11953328" cy="369332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>
                <a:solidFill>
                  <a:prstClr val="black"/>
                </a:solidFill>
                <a:latin typeface="Calibri" panose="020F0502020204030204"/>
                <a:ea typeface="+mn-ea"/>
              </a:rPr>
              <a:t>Table: Runtim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E5AFFB9-5458-3ECF-609D-D2190B007E7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27520"/>
          <a:stretch/>
        </p:blipFill>
        <p:spPr>
          <a:xfrm>
            <a:off x="986607" y="1518678"/>
            <a:ext cx="10038648" cy="4970662"/>
          </a:xfrm>
          <a:prstGeom prst="rect">
            <a:avLst/>
          </a:prstGeom>
          <a:ln>
            <a:solidFill>
              <a:srgbClr val="0070C0"/>
            </a:solidFill>
          </a:ln>
        </p:spPr>
      </p:pic>
    </p:spTree>
    <p:extLst>
      <p:ext uri="{BB962C8B-B14F-4D97-AF65-F5344CB8AC3E}">
        <p14:creationId xmlns:p14="http://schemas.microsoft.com/office/powerpoint/2010/main" val="1105996643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CAB53-5F05-4488-89EB-F4F85713748E}"/>
              </a:ext>
            </a:extLst>
          </p:cNvPr>
          <p:cNvSpPr txBox="1">
            <a:spLocks/>
          </p:cNvSpPr>
          <p:nvPr/>
        </p:nvSpPr>
        <p:spPr>
          <a:xfrm>
            <a:off x="2336757" y="0"/>
            <a:ext cx="7524836" cy="108874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le</a:t>
            </a:r>
            <a:endParaRPr lang="vi-VN" sz="2800" b="1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8A546145-D31D-DFA5-9A83-90183D245E96}"/>
              </a:ext>
            </a:extLst>
          </p:cNvPr>
          <p:cNvSpPr txBox="1"/>
          <p:nvPr/>
        </p:nvSpPr>
        <p:spPr>
          <a:xfrm>
            <a:off x="122512" y="1119043"/>
            <a:ext cx="11953328" cy="369332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>
                <a:solidFill>
                  <a:prstClr val="black"/>
                </a:solidFill>
                <a:latin typeface="Calibri" panose="020F0502020204030204"/>
                <a:ea typeface="+mn-ea"/>
              </a:rPr>
              <a:t>Table: </a:t>
            </a:r>
            <a:r>
              <a:rPr lang="en-US" b="1" dirty="0" err="1">
                <a:solidFill>
                  <a:prstClr val="black"/>
                </a:solidFill>
                <a:latin typeface="Calibri" panose="020F0502020204030204"/>
                <a:ea typeface="+mn-ea"/>
              </a:rPr>
              <a:t>Thiết</a:t>
            </a:r>
            <a:r>
              <a:rPr lang="en-US" b="1" dirty="0">
                <a:solidFill>
                  <a:prstClr val="black"/>
                </a:solidFill>
                <a:latin typeface="Calibri" panose="020F0502020204030204"/>
                <a:ea typeface="+mn-ea"/>
              </a:rPr>
              <a:t> </a:t>
            </a:r>
            <a:r>
              <a:rPr lang="en-US" b="1" dirty="0" err="1">
                <a:solidFill>
                  <a:prstClr val="black"/>
                </a:solidFill>
                <a:latin typeface="Calibri" panose="020F0502020204030204"/>
                <a:ea typeface="+mn-ea"/>
              </a:rPr>
              <a:t>kế</a:t>
            </a:r>
            <a:endParaRPr lang="en-US" b="1" dirty="0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65C0668-2429-78D0-4297-8E9F87D7F0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94971" y="2780928"/>
            <a:ext cx="3380707" cy="250242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EC0FFB2-D436-4A94-5560-44E0AA6624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39972" y="2444699"/>
            <a:ext cx="4534524" cy="3286894"/>
          </a:xfrm>
          <a:prstGeom prst="rect">
            <a:avLst/>
          </a:prstGeom>
        </p:spPr>
      </p:pic>
      <p:sp>
        <p:nvSpPr>
          <p:cNvPr id="10" name="Arrow: Right 9">
            <a:extLst>
              <a:ext uri="{FF2B5EF4-FFF2-40B4-BE49-F238E27FC236}">
                <a16:creationId xmlns:a16="http://schemas.microsoft.com/office/drawing/2014/main" id="{825628AA-9F53-2FA8-4A8F-0DA45F6EA28A}"/>
              </a:ext>
            </a:extLst>
          </p:cNvPr>
          <p:cNvSpPr/>
          <p:nvPr/>
        </p:nvSpPr>
        <p:spPr>
          <a:xfrm>
            <a:off x="7005797" y="3854120"/>
            <a:ext cx="504056" cy="468052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Arrow: Curved Up 10">
            <a:extLst>
              <a:ext uri="{FF2B5EF4-FFF2-40B4-BE49-F238E27FC236}">
                <a16:creationId xmlns:a16="http://schemas.microsoft.com/office/drawing/2014/main" id="{4344E712-7ED7-433B-006B-29D28BE77EDD}"/>
              </a:ext>
            </a:extLst>
          </p:cNvPr>
          <p:cNvSpPr/>
          <p:nvPr/>
        </p:nvSpPr>
        <p:spPr>
          <a:xfrm rot="4195794">
            <a:off x="1099696" y="2404369"/>
            <a:ext cx="878139" cy="540060"/>
          </a:xfrm>
          <a:prstGeom prst="curvedUp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9A8F01B-4EE7-C07C-4FB1-6A3732C9541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2512" y="1986107"/>
            <a:ext cx="3295650" cy="375285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3483CCB4-0262-57D7-0F9C-3185211B5B27}"/>
              </a:ext>
            </a:extLst>
          </p:cNvPr>
          <p:cNvSpPr/>
          <p:nvPr/>
        </p:nvSpPr>
        <p:spPr>
          <a:xfrm>
            <a:off x="1743328" y="4762632"/>
            <a:ext cx="1008112" cy="252028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523CD3FE-91D0-4038-57DC-6EC2D9CCCE1C}"/>
              </a:ext>
            </a:extLst>
          </p:cNvPr>
          <p:cNvCxnSpPr>
            <a:cxnSpLocks/>
            <a:endCxn id="7" idx="1"/>
          </p:cNvCxnSpPr>
          <p:nvPr/>
        </p:nvCxnSpPr>
        <p:spPr>
          <a:xfrm flipV="1">
            <a:off x="2756647" y="4032143"/>
            <a:ext cx="838324" cy="7304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26443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7295" y="14010"/>
            <a:ext cx="7223760" cy="1088740"/>
          </a:xfrm>
        </p:spPr>
        <p:txBody>
          <a:bodyPr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sz="2400" b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HQ integrates Data across your Organization</a:t>
            </a:r>
            <a:br>
              <a:rPr lang="en-US" sz="2400" b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b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forming the Data into Right Decisions</a:t>
            </a:r>
            <a:endParaRPr lang="en-US" sz="2400" b="1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48C5D70-4408-49B6-AE6D-7D2C1EB52014}"/>
              </a:ext>
            </a:extLst>
          </p:cNvPr>
          <p:cNvGrpSpPr/>
          <p:nvPr/>
        </p:nvGrpSpPr>
        <p:grpSpPr>
          <a:xfrm>
            <a:off x="1" y="5755513"/>
            <a:ext cx="12191999" cy="625815"/>
            <a:chOff x="518555" y="5826592"/>
            <a:chExt cx="11557285" cy="626141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0917E9F7-9B3C-41FE-8DF0-9F128372C6F2}"/>
                </a:ext>
              </a:extLst>
            </p:cNvPr>
            <p:cNvSpPr/>
            <p:nvPr/>
          </p:nvSpPr>
          <p:spPr bwMode="auto">
            <a:xfrm>
              <a:off x="518555" y="5826592"/>
              <a:ext cx="11557284" cy="626141"/>
            </a:xfrm>
            <a:prstGeom prst="rect">
              <a:avLst/>
            </a:prstGeom>
            <a:solidFill>
              <a:srgbClr val="005F87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Font typeface="Wingdings" charset="0"/>
                <a:buNone/>
              </a:pPr>
              <a:endParaRPr lang="en-US" sz="1799" dirty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7F7BB9A0-DCFD-4D04-9307-CB348FB909B4}"/>
                </a:ext>
              </a:extLst>
            </p:cNvPr>
            <p:cNvSpPr/>
            <p:nvPr/>
          </p:nvSpPr>
          <p:spPr>
            <a:xfrm>
              <a:off x="518556" y="5970163"/>
              <a:ext cx="11557284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600"/>
                </a:spcAft>
              </a:pPr>
              <a:r>
                <a:rPr lang="en-SG" sz="1599" b="1" dirty="0">
                  <a:solidFill>
                    <a:srgbClr val="FFFFFF"/>
                  </a:solidFill>
                  <a:latin typeface="Arial"/>
                  <a:ea typeface="+mn-ea"/>
                </a:rPr>
                <a:t>With real-time data integration, XHQ translates multiple data into meaningful, actionable, decision making information</a:t>
              </a:r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912C5DFF-7A02-4599-AAE6-A8EFFA1233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2454" y="1298630"/>
            <a:ext cx="11669087" cy="41878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791402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CAB53-5F05-4488-89EB-F4F85713748E}"/>
              </a:ext>
            </a:extLst>
          </p:cNvPr>
          <p:cNvSpPr txBox="1">
            <a:spLocks/>
          </p:cNvSpPr>
          <p:nvPr/>
        </p:nvSpPr>
        <p:spPr>
          <a:xfrm>
            <a:off x="2336757" y="0"/>
            <a:ext cx="7524836" cy="108874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ết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ế</a:t>
            </a: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ntrols/Tab</a:t>
            </a:r>
            <a:endParaRPr lang="vi-VN" sz="2800" b="1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8A546145-D31D-DFA5-9A83-90183D245E96}"/>
              </a:ext>
            </a:extLst>
          </p:cNvPr>
          <p:cNvSpPr txBox="1"/>
          <p:nvPr/>
        </p:nvSpPr>
        <p:spPr>
          <a:xfrm>
            <a:off x="122512" y="1119043"/>
            <a:ext cx="11953328" cy="369332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>
                <a:solidFill>
                  <a:prstClr val="black"/>
                </a:solidFill>
                <a:latin typeface="Calibri" panose="020F0502020204030204"/>
                <a:ea typeface="+mn-ea"/>
              </a:rPr>
              <a:t>TAB: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78FC9BA-755F-EFAA-7AFF-32EF4B5A4B6F}"/>
              </a:ext>
            </a:extLst>
          </p:cNvPr>
          <p:cNvGrpSpPr/>
          <p:nvPr/>
        </p:nvGrpSpPr>
        <p:grpSpPr>
          <a:xfrm>
            <a:off x="122512" y="1664804"/>
            <a:ext cx="3924437" cy="2376264"/>
            <a:chOff x="266527" y="2699628"/>
            <a:chExt cx="3924437" cy="2376264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DF70E5AE-600F-01EF-DDE3-24D1CCA474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1779" r="1277" b="2548"/>
            <a:stretch/>
          </p:blipFill>
          <p:spPr>
            <a:xfrm>
              <a:off x="266527" y="2699628"/>
              <a:ext cx="3924437" cy="2376264"/>
            </a:xfrm>
            <a:prstGeom prst="rect">
              <a:avLst/>
            </a:prstGeom>
            <a:ln>
              <a:solidFill>
                <a:srgbClr val="0070C0"/>
              </a:solidFill>
            </a:ln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DF0933F-D97D-996B-892B-D262229DD07E}"/>
                </a:ext>
              </a:extLst>
            </p:cNvPr>
            <p:cNvSpPr/>
            <p:nvPr/>
          </p:nvSpPr>
          <p:spPr>
            <a:xfrm>
              <a:off x="2012722" y="2699628"/>
              <a:ext cx="2178242" cy="252028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Arrow: Down 9">
            <a:extLst>
              <a:ext uri="{FF2B5EF4-FFF2-40B4-BE49-F238E27FC236}">
                <a16:creationId xmlns:a16="http://schemas.microsoft.com/office/drawing/2014/main" id="{2E4E16A4-9DAC-F58F-5CF9-FCA43E475CC8}"/>
              </a:ext>
            </a:extLst>
          </p:cNvPr>
          <p:cNvSpPr/>
          <p:nvPr/>
        </p:nvSpPr>
        <p:spPr>
          <a:xfrm rot="5400000">
            <a:off x="5236876" y="366866"/>
            <a:ext cx="500465" cy="280831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946891A6-A246-D345-1175-9BA9995A37C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210" t="13363" r="2529" b="1860"/>
          <a:stretch/>
        </p:blipFill>
        <p:spPr>
          <a:xfrm>
            <a:off x="4262971" y="3365114"/>
            <a:ext cx="5045160" cy="3071046"/>
          </a:xfrm>
          <a:prstGeom prst="rect">
            <a:avLst/>
          </a:prstGeom>
          <a:ln>
            <a:solidFill>
              <a:srgbClr val="005F87"/>
            </a:solidFill>
          </a:ln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E8E2C641-288C-C8F6-3B8C-ED46C1022BA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408" t="732" r="1780" b="2285"/>
          <a:stretch/>
        </p:blipFill>
        <p:spPr>
          <a:xfrm>
            <a:off x="9524153" y="4357754"/>
            <a:ext cx="1708607" cy="2125559"/>
          </a:xfrm>
          <a:prstGeom prst="rect">
            <a:avLst/>
          </a:prstGeom>
        </p:spPr>
      </p:pic>
      <p:sp>
        <p:nvSpPr>
          <p:cNvPr id="78" name="Rectangle 77">
            <a:extLst>
              <a:ext uri="{FF2B5EF4-FFF2-40B4-BE49-F238E27FC236}">
                <a16:creationId xmlns:a16="http://schemas.microsoft.com/office/drawing/2014/main" id="{778EF128-77BD-6CC7-F744-80BCB7D1F174}"/>
              </a:ext>
            </a:extLst>
          </p:cNvPr>
          <p:cNvSpPr/>
          <p:nvPr/>
        </p:nvSpPr>
        <p:spPr>
          <a:xfrm>
            <a:off x="6983395" y="3429000"/>
            <a:ext cx="2212124" cy="252028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E5039230-AEB7-98B9-B0D4-AF9EFD58285D}"/>
              </a:ext>
            </a:extLst>
          </p:cNvPr>
          <p:cNvSpPr/>
          <p:nvPr/>
        </p:nvSpPr>
        <p:spPr>
          <a:xfrm>
            <a:off x="8187407" y="4105726"/>
            <a:ext cx="864096" cy="691426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CEC763EA-0E24-AD6D-731D-8944550E052A}"/>
              </a:ext>
            </a:extLst>
          </p:cNvPr>
          <p:cNvSpPr/>
          <p:nvPr/>
        </p:nvSpPr>
        <p:spPr>
          <a:xfrm>
            <a:off x="9514360" y="4357336"/>
            <a:ext cx="1718400" cy="2125559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Curved Right Arrow 9">
            <a:extLst>
              <a:ext uri="{FF2B5EF4-FFF2-40B4-BE49-F238E27FC236}">
                <a16:creationId xmlns:a16="http://schemas.microsoft.com/office/drawing/2014/main" id="{C0D752D4-F744-A1D6-2483-730772F1A654}"/>
              </a:ext>
            </a:extLst>
          </p:cNvPr>
          <p:cNvSpPr/>
          <p:nvPr/>
        </p:nvSpPr>
        <p:spPr bwMode="auto">
          <a:xfrm rot="17507799" flipH="1">
            <a:off x="9237629" y="3569012"/>
            <a:ext cx="571874" cy="1289038"/>
          </a:xfrm>
          <a:prstGeom prst="curvedRightArrow">
            <a:avLst>
              <a:gd name="adj1" fmla="val 29504"/>
              <a:gd name="adj2" fmla="val 50000"/>
              <a:gd name="adj3" fmla="val 20556"/>
            </a:avLst>
          </a:prstGeom>
          <a:solidFill>
            <a:srgbClr val="005F87"/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endParaRPr lang="en-US" sz="1799" dirty="0" err="1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86" name="Arrow: Down 85">
            <a:extLst>
              <a:ext uri="{FF2B5EF4-FFF2-40B4-BE49-F238E27FC236}">
                <a16:creationId xmlns:a16="http://schemas.microsoft.com/office/drawing/2014/main" id="{F5F59D12-C4E5-99FF-6C14-B565CE6D1ED5}"/>
              </a:ext>
            </a:extLst>
          </p:cNvPr>
          <p:cNvSpPr/>
          <p:nvPr/>
        </p:nvSpPr>
        <p:spPr>
          <a:xfrm>
            <a:off x="7847491" y="2084323"/>
            <a:ext cx="500465" cy="122652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887FB514-F8F4-68CB-1911-85878DB1E12B}"/>
              </a:ext>
            </a:extLst>
          </p:cNvPr>
          <p:cNvSpPr txBox="1"/>
          <p:nvPr/>
        </p:nvSpPr>
        <p:spPr>
          <a:xfrm>
            <a:off x="6983395" y="1601683"/>
            <a:ext cx="1672064" cy="369332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>
            <a:spAutoFit/>
          </a:bodyPr>
          <a:lstStyle/>
          <a:p>
            <a:r>
              <a:rPr lang="en-US" sz="1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ols/Tab</a:t>
            </a:r>
            <a:endParaRPr lang="en-US" dirty="0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40D059AD-DB7E-769E-5CC7-BCC774BB9734}"/>
              </a:ext>
            </a:extLst>
          </p:cNvPr>
          <p:cNvSpPr txBox="1"/>
          <p:nvPr/>
        </p:nvSpPr>
        <p:spPr>
          <a:xfrm>
            <a:off x="9861593" y="2745933"/>
            <a:ext cx="1782198" cy="369332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>
            <a:spAutoFit/>
          </a:bodyPr>
          <a:lstStyle/>
          <a:p>
            <a:r>
              <a:rPr lang="en-US" sz="1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late View</a:t>
            </a:r>
            <a:endParaRPr lang="en-US" dirty="0"/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AC96321C-F44A-FABC-D3B4-1017C3967F9F}"/>
              </a:ext>
            </a:extLst>
          </p:cNvPr>
          <p:cNvCxnSpPr>
            <a:stCxn id="84" idx="0"/>
          </p:cNvCxnSpPr>
          <p:nvPr/>
        </p:nvCxnSpPr>
        <p:spPr>
          <a:xfrm flipV="1">
            <a:off x="8619455" y="3149283"/>
            <a:ext cx="1188132" cy="9564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Box 88">
            <a:extLst>
              <a:ext uri="{FF2B5EF4-FFF2-40B4-BE49-F238E27FC236}">
                <a16:creationId xmlns:a16="http://schemas.microsoft.com/office/drawing/2014/main" id="{CB80D2AD-0618-A347-01A3-BDE81BD1BE22}"/>
              </a:ext>
            </a:extLst>
          </p:cNvPr>
          <p:cNvSpPr txBox="1"/>
          <p:nvPr/>
        </p:nvSpPr>
        <p:spPr>
          <a:xfrm>
            <a:off x="9939676" y="3481309"/>
            <a:ext cx="1782198" cy="369332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>
            <a:spAutoFit/>
          </a:bodyPr>
          <a:lstStyle/>
          <a:p>
            <a:r>
              <a:rPr lang="en-US" sz="1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 </a:t>
            </a:r>
            <a:r>
              <a:rPr lang="en-US" sz="1800" i="1" dirty="0">
                <a:solidFill>
                  <a:srgbClr val="212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Popup)</a:t>
            </a:r>
            <a:endParaRPr lang="en-US" i="1" dirty="0">
              <a:solidFill>
                <a:srgbClr val="212272"/>
              </a:solidFill>
            </a:endParaRPr>
          </a:p>
        </p:txBody>
      </p: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776A409B-1508-EC06-5F00-5E991F7D3AB9}"/>
              </a:ext>
            </a:extLst>
          </p:cNvPr>
          <p:cNvCxnSpPr>
            <a:cxnSpLocks/>
          </p:cNvCxnSpPr>
          <p:nvPr/>
        </p:nvCxnSpPr>
        <p:spPr>
          <a:xfrm flipV="1">
            <a:off x="10439132" y="3850641"/>
            <a:ext cx="0" cy="5221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C06C42C4-5BE8-A243-8487-DF2CE867BD81}"/>
              </a:ext>
            </a:extLst>
          </p:cNvPr>
          <p:cNvCxnSpPr>
            <a:cxnSpLocks/>
            <a:endCxn id="88" idx="1"/>
          </p:cNvCxnSpPr>
          <p:nvPr/>
        </p:nvCxnSpPr>
        <p:spPr>
          <a:xfrm flipV="1">
            <a:off x="8119410" y="2930599"/>
            <a:ext cx="1742183" cy="4845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9964016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CAB53-5F05-4488-89EB-F4F85713748E}"/>
              </a:ext>
            </a:extLst>
          </p:cNvPr>
          <p:cNvSpPr txBox="1">
            <a:spLocks/>
          </p:cNvSpPr>
          <p:nvPr/>
        </p:nvSpPr>
        <p:spPr>
          <a:xfrm>
            <a:off x="2336757" y="0"/>
            <a:ext cx="7524836" cy="108874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t</a:t>
            </a:r>
            <a:endParaRPr lang="vi-VN" sz="2800" b="1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8A546145-D31D-DFA5-9A83-90183D245E96}"/>
              </a:ext>
            </a:extLst>
          </p:cNvPr>
          <p:cNvSpPr txBox="1"/>
          <p:nvPr/>
        </p:nvSpPr>
        <p:spPr>
          <a:xfrm>
            <a:off x="122512" y="1119043"/>
            <a:ext cx="11953328" cy="369332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>
                <a:solidFill>
                  <a:prstClr val="black"/>
                </a:solidFill>
                <a:latin typeface="Calibri" panose="020F0502020204030204"/>
                <a:ea typeface="+mn-ea"/>
              </a:rPr>
              <a:t>Chart: Design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318562A-F0EB-F18B-F3CC-698968FC1FAE}"/>
              </a:ext>
            </a:extLst>
          </p:cNvPr>
          <p:cNvGrpSpPr/>
          <p:nvPr/>
        </p:nvGrpSpPr>
        <p:grpSpPr>
          <a:xfrm>
            <a:off x="3650903" y="1713381"/>
            <a:ext cx="8295419" cy="3623831"/>
            <a:chOff x="107939" y="1520547"/>
            <a:chExt cx="11936758" cy="3996444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4EE4C67A-266B-69EE-4E2A-D4882D45702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1379" b="41726"/>
            <a:stretch/>
          </p:blipFill>
          <p:spPr>
            <a:xfrm>
              <a:off x="107939" y="1520547"/>
              <a:ext cx="5991236" cy="3996444"/>
            </a:xfrm>
            <a:prstGeom prst="rect">
              <a:avLst/>
            </a:prstGeom>
            <a:ln>
              <a:solidFill>
                <a:srgbClr val="0070C0"/>
              </a:solidFill>
            </a:ln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7AC66F6B-4CE8-DAD7-6F70-CFB9F7CAF20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58274" r="2724"/>
            <a:stretch/>
          </p:blipFill>
          <p:spPr>
            <a:xfrm>
              <a:off x="6135179" y="1520548"/>
              <a:ext cx="5909518" cy="2741384"/>
            </a:xfrm>
            <a:prstGeom prst="rect">
              <a:avLst/>
            </a:prstGeom>
            <a:ln>
              <a:solidFill>
                <a:srgbClr val="0070C0"/>
              </a:solidFill>
            </a:ln>
          </p:spPr>
        </p:pic>
      </p:grpSp>
      <p:pic>
        <p:nvPicPr>
          <p:cNvPr id="26" name="Picture 25">
            <a:extLst>
              <a:ext uri="{FF2B5EF4-FFF2-40B4-BE49-F238E27FC236}">
                <a16:creationId xmlns:a16="http://schemas.microsoft.com/office/drawing/2014/main" id="{49E4F75D-BEC9-9705-9CED-B3362651657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2512" y="1700808"/>
            <a:ext cx="3295650" cy="375285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F218910-789A-741B-18BA-FF37EB56637C}"/>
              </a:ext>
            </a:extLst>
          </p:cNvPr>
          <p:cNvSpPr/>
          <p:nvPr/>
        </p:nvSpPr>
        <p:spPr>
          <a:xfrm>
            <a:off x="1670683" y="4199169"/>
            <a:ext cx="1008112" cy="252028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5ADAE810-A58A-8D5F-03A9-70CE5DEC9BC0}"/>
              </a:ext>
            </a:extLst>
          </p:cNvPr>
          <p:cNvCxnSpPr>
            <a:cxnSpLocks/>
            <a:endCxn id="4" idx="1"/>
          </p:cNvCxnSpPr>
          <p:nvPr/>
        </p:nvCxnSpPr>
        <p:spPr>
          <a:xfrm flipV="1">
            <a:off x="2678795" y="3525297"/>
            <a:ext cx="972108" cy="6738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2879356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CAB53-5F05-4488-89EB-F4F85713748E}"/>
              </a:ext>
            </a:extLst>
          </p:cNvPr>
          <p:cNvSpPr txBox="1">
            <a:spLocks/>
          </p:cNvSpPr>
          <p:nvPr/>
        </p:nvSpPr>
        <p:spPr>
          <a:xfrm>
            <a:off x="2336757" y="0"/>
            <a:ext cx="7524836" cy="108874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t</a:t>
            </a:r>
            <a:endParaRPr lang="vi-VN" sz="2800" b="1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8A546145-D31D-DFA5-9A83-90183D245E96}"/>
              </a:ext>
            </a:extLst>
          </p:cNvPr>
          <p:cNvSpPr txBox="1"/>
          <p:nvPr/>
        </p:nvSpPr>
        <p:spPr>
          <a:xfrm>
            <a:off x="122512" y="1119043"/>
            <a:ext cx="11953328" cy="369332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>
                <a:solidFill>
                  <a:prstClr val="black"/>
                </a:solidFill>
                <a:latin typeface="Calibri" panose="020F0502020204030204"/>
                <a:ea typeface="+mn-ea"/>
              </a:rPr>
              <a:t>Chart: Runtim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F97E005-3A48-CAD3-B8D6-859AA87393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06787" y="1535531"/>
            <a:ext cx="7128792" cy="490662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6902A578-B57F-6C86-0902-BE36FC73C8EB}"/>
              </a:ext>
            </a:extLst>
          </p:cNvPr>
          <p:cNvSpPr/>
          <p:nvPr/>
        </p:nvSpPr>
        <p:spPr>
          <a:xfrm>
            <a:off x="2606787" y="2564904"/>
            <a:ext cx="1944216" cy="115212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D26B57F-6BED-7476-9E51-827EBC0D5796}"/>
              </a:ext>
            </a:extLst>
          </p:cNvPr>
          <p:cNvSpPr/>
          <p:nvPr/>
        </p:nvSpPr>
        <p:spPr>
          <a:xfrm>
            <a:off x="4551003" y="4322741"/>
            <a:ext cx="3276364" cy="21194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0F4AB1B-E9AF-BA2D-5FB8-850D6B02CA0F}"/>
              </a:ext>
            </a:extLst>
          </p:cNvPr>
          <p:cNvSpPr/>
          <p:nvPr/>
        </p:nvSpPr>
        <p:spPr>
          <a:xfrm>
            <a:off x="7827367" y="2355725"/>
            <a:ext cx="1790582" cy="143331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440FEB9-BA2F-5D58-3215-C6745C009E88}"/>
              </a:ext>
            </a:extLst>
          </p:cNvPr>
          <p:cNvSpPr/>
          <p:nvPr/>
        </p:nvSpPr>
        <p:spPr>
          <a:xfrm>
            <a:off x="5559115" y="2345950"/>
            <a:ext cx="2150622" cy="180313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2E2A131-BD79-E3D1-4E28-5D680252430B}"/>
              </a:ext>
            </a:extLst>
          </p:cNvPr>
          <p:cNvSpPr/>
          <p:nvPr/>
        </p:nvSpPr>
        <p:spPr>
          <a:xfrm>
            <a:off x="2606787" y="3789041"/>
            <a:ext cx="1944216" cy="111612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4970051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CAB53-5F05-4488-89EB-F4F85713748E}"/>
              </a:ext>
            </a:extLst>
          </p:cNvPr>
          <p:cNvSpPr txBox="1">
            <a:spLocks/>
          </p:cNvSpPr>
          <p:nvPr/>
        </p:nvSpPr>
        <p:spPr>
          <a:xfrm>
            <a:off x="2336757" y="0"/>
            <a:ext cx="7524836" cy="108874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end</a:t>
            </a:r>
            <a:endParaRPr lang="vi-VN" sz="2800" b="1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8A546145-D31D-DFA5-9A83-90183D245E96}"/>
              </a:ext>
            </a:extLst>
          </p:cNvPr>
          <p:cNvSpPr txBox="1"/>
          <p:nvPr/>
        </p:nvSpPr>
        <p:spPr>
          <a:xfrm>
            <a:off x="122512" y="1119043"/>
            <a:ext cx="11953328" cy="369332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>
                <a:solidFill>
                  <a:prstClr val="black"/>
                </a:solidFill>
                <a:latin typeface="Calibri" panose="020F0502020204030204"/>
                <a:ea typeface="+mn-ea"/>
              </a:rPr>
              <a:t>Trend: Design</a:t>
            </a:r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C8E5E147-50F7-834A-CDAF-37A6E8C90377}"/>
              </a:ext>
            </a:extLst>
          </p:cNvPr>
          <p:cNvSpPr/>
          <p:nvPr/>
        </p:nvSpPr>
        <p:spPr>
          <a:xfrm>
            <a:off x="9231524" y="1724349"/>
            <a:ext cx="534280" cy="82809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1960441-2B1B-CD3F-DC0F-2F20B6D38A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512" y="1700808"/>
            <a:ext cx="3295650" cy="375285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53F61F4D-4C36-6DE6-F485-290FB789717E}"/>
              </a:ext>
            </a:extLst>
          </p:cNvPr>
          <p:cNvSpPr/>
          <p:nvPr/>
        </p:nvSpPr>
        <p:spPr>
          <a:xfrm>
            <a:off x="230524" y="4199169"/>
            <a:ext cx="1008112" cy="252028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B867F1F6-1777-21B6-0494-2C097D12C6E1}"/>
              </a:ext>
            </a:extLst>
          </p:cNvPr>
          <p:cNvCxnSpPr/>
          <p:nvPr/>
        </p:nvCxnSpPr>
        <p:spPr>
          <a:xfrm flipV="1">
            <a:off x="1238636" y="1858909"/>
            <a:ext cx="2202784" cy="23402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939639EA-D49D-83E1-0CEB-6426127A04E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56846" y="1653472"/>
            <a:ext cx="5275286" cy="3952664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7683D13-B34E-341E-C368-8AAFCC6A711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05739" y="1752638"/>
            <a:ext cx="3170799" cy="2468450"/>
          </a:xfrm>
          <a:prstGeom prst="rect">
            <a:avLst/>
          </a:prstGeom>
        </p:spPr>
      </p:pic>
      <p:sp>
        <p:nvSpPr>
          <p:cNvPr id="17" name="Arrow: Right 16">
            <a:extLst>
              <a:ext uri="{FF2B5EF4-FFF2-40B4-BE49-F238E27FC236}">
                <a16:creationId xmlns:a16="http://schemas.microsoft.com/office/drawing/2014/main" id="{F9AD5D42-7A91-C558-67E2-324E605F975A}"/>
              </a:ext>
            </a:extLst>
          </p:cNvPr>
          <p:cNvSpPr/>
          <p:nvPr/>
        </p:nvSpPr>
        <p:spPr>
          <a:xfrm>
            <a:off x="6459215" y="2780928"/>
            <a:ext cx="360040" cy="3693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0587115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CAB53-5F05-4488-89EB-F4F85713748E}"/>
              </a:ext>
            </a:extLst>
          </p:cNvPr>
          <p:cNvSpPr txBox="1">
            <a:spLocks/>
          </p:cNvSpPr>
          <p:nvPr/>
        </p:nvSpPr>
        <p:spPr>
          <a:xfrm>
            <a:off x="2336757" y="0"/>
            <a:ext cx="7524836" cy="108874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end</a:t>
            </a:r>
            <a:endParaRPr lang="vi-VN" sz="2800" b="1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8A546145-D31D-DFA5-9A83-90183D245E96}"/>
              </a:ext>
            </a:extLst>
          </p:cNvPr>
          <p:cNvSpPr txBox="1"/>
          <p:nvPr/>
        </p:nvSpPr>
        <p:spPr>
          <a:xfrm>
            <a:off x="122512" y="1119043"/>
            <a:ext cx="11953328" cy="369332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>
                <a:solidFill>
                  <a:prstClr val="black"/>
                </a:solidFill>
                <a:latin typeface="Calibri" panose="020F0502020204030204"/>
                <a:ea typeface="+mn-ea"/>
              </a:rPr>
              <a:t>Trend: Runtim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DD6457D-B01A-C782-E5C1-EBA8A7F9CC8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-1" b="477"/>
          <a:stretch/>
        </p:blipFill>
        <p:spPr>
          <a:xfrm>
            <a:off x="266527" y="1844824"/>
            <a:ext cx="4686300" cy="366858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77EC1A9-3EAA-6416-E7E1-9C5B7AF7D33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04804" y="1524612"/>
            <a:ext cx="6371036" cy="4797152"/>
          </a:xfrm>
          <a:prstGeom prst="rect">
            <a:avLst/>
          </a:prstGeom>
        </p:spPr>
      </p:pic>
      <p:sp>
        <p:nvSpPr>
          <p:cNvPr id="7" name="Arrow: Right 6">
            <a:extLst>
              <a:ext uri="{FF2B5EF4-FFF2-40B4-BE49-F238E27FC236}">
                <a16:creationId xmlns:a16="http://schemas.microsoft.com/office/drawing/2014/main" id="{C8E5E147-50F7-834A-CDAF-37A6E8C90377}"/>
              </a:ext>
            </a:extLst>
          </p:cNvPr>
          <p:cNvSpPr/>
          <p:nvPr/>
        </p:nvSpPr>
        <p:spPr>
          <a:xfrm>
            <a:off x="5055059" y="3429000"/>
            <a:ext cx="534280" cy="82809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746337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E5C17B20-A01B-4CE9-9D04-0E2E584E3772}"/>
              </a:ext>
            </a:extLst>
          </p:cNvPr>
          <p:cNvSpPr txBox="1"/>
          <p:nvPr/>
        </p:nvSpPr>
        <p:spPr>
          <a:xfrm>
            <a:off x="1151121" y="2990855"/>
            <a:ext cx="10155763" cy="1754326"/>
          </a:xfrm>
          <a:prstGeom prst="rect">
            <a:avLst/>
          </a:prstGeom>
          <a:gradFill flip="none" rotWithShape="1">
            <a:gsLst>
              <a:gs pos="0">
                <a:srgbClr val="1E1E5C">
                  <a:lumMod val="67000"/>
                </a:srgbClr>
              </a:gs>
              <a:gs pos="48000">
                <a:srgbClr val="2F2F91">
                  <a:lumMod val="97000"/>
                  <a:lumOff val="3000"/>
                </a:srgbClr>
              </a:gs>
              <a:gs pos="100000">
                <a:srgbClr val="6B6BCF">
                  <a:lumMod val="60000"/>
                  <a:lumOff val="40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rtlCol="0" anchor="ctr">
            <a:spAutoFit/>
          </a:bodyPr>
          <a:lstStyle/>
          <a:p>
            <a:pPr marL="514350" indent="-514350" algn="ctr">
              <a:lnSpc>
                <a:spcPct val="150000"/>
              </a:lnSpc>
              <a:spcBef>
                <a:spcPts val="0"/>
              </a:spcBef>
              <a:buAutoNum type="arabicPeriod"/>
            </a:pPr>
            <a:endParaRPr lang="en-US" sz="2400" b="1" dirty="0">
              <a:solidFill>
                <a:schemeClr val="bg1"/>
              </a:solidFill>
            </a:endParaRPr>
          </a:p>
          <a:p>
            <a:pPr algn="ctr">
              <a:lnSpc>
                <a:spcPct val="150000"/>
              </a:lnSpc>
              <a:spcBef>
                <a:spcPts val="0"/>
              </a:spcBef>
            </a:pPr>
            <a:r>
              <a:rPr lang="en-US" sz="2400" b="1" dirty="0">
                <a:solidFill>
                  <a:schemeClr val="bg1"/>
                </a:solidFill>
                <a:cs typeface="Arial" panose="020B0604020202020204" pitchFamily="34" charset="0"/>
              </a:rPr>
              <a:t>4. HỎI ĐÁP VÀ KẾT LUẬN</a:t>
            </a:r>
            <a:endParaRPr lang="en-US" sz="2400" b="1" dirty="0">
              <a:solidFill>
                <a:schemeClr val="bg1"/>
              </a:solidFill>
            </a:endParaRPr>
          </a:p>
          <a:p>
            <a:pPr algn="ctr">
              <a:lnSpc>
                <a:spcPct val="150000"/>
              </a:lnSpc>
              <a:spcBef>
                <a:spcPts val="0"/>
              </a:spcBef>
            </a:pPr>
            <a:endParaRPr lang="en-US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510648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2426767" y="14010"/>
            <a:ext cx="7524836" cy="108874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b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ÂU HỎI VÀ GIẢI ĐÁP</a:t>
            </a:r>
            <a:endParaRPr lang="en-US" sz="2800" b="1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05420CC-C284-4E29-B413-8770863113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42969" y="1376772"/>
            <a:ext cx="7704762" cy="4742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4222127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3555839-CAB5-4125-AB3C-3FDF18C0CDF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1697" t="28068"/>
          <a:stretch/>
        </p:blipFill>
        <p:spPr>
          <a:xfrm>
            <a:off x="0" y="-58994"/>
            <a:ext cx="12192000" cy="6916994"/>
          </a:xfrm>
          <a:prstGeom prst="rect">
            <a:avLst/>
          </a:prstGeom>
        </p:spPr>
      </p:pic>
      <p:sp>
        <p:nvSpPr>
          <p:cNvPr id="7" name="Title 9">
            <a:extLst>
              <a:ext uri="{FF2B5EF4-FFF2-40B4-BE49-F238E27FC236}">
                <a16:creationId xmlns:a16="http://schemas.microsoft.com/office/drawing/2014/main" id="{D68BF5E7-214E-44E8-89DF-6AC7978B8D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6184" y="2496223"/>
            <a:ext cx="10515600" cy="2023466"/>
          </a:xfrm>
        </p:spPr>
        <p:txBody>
          <a:bodyPr anchor="ctr"/>
          <a:lstStyle/>
          <a:p>
            <a:pPr algn="ctr"/>
            <a:r>
              <a:rPr lang="en-US" sz="4500" b="1" dirty="0">
                <a:solidFill>
                  <a:schemeClr val="bg1"/>
                </a:solidFill>
                <a:latin typeface="Alien Encounters" panose="00000400000000000000" pitchFamily="2" charset="0"/>
              </a:rPr>
              <a:t>AUTOMATION </a:t>
            </a:r>
            <a:r>
              <a:rPr lang="en-US" sz="4500" b="1" dirty="0">
                <a:solidFill>
                  <a:schemeClr val="bg1"/>
                </a:solidFill>
                <a:latin typeface="+mn-lt"/>
              </a:rPr>
              <a:t>&amp;</a:t>
            </a:r>
            <a:r>
              <a:rPr lang="en-US" sz="4500" b="1" dirty="0">
                <a:solidFill>
                  <a:schemeClr val="bg1"/>
                </a:solidFill>
                <a:latin typeface="Alien Encounters" panose="00000400000000000000" pitchFamily="2" charset="0"/>
              </a:rPr>
              <a:t> DIGITALIZATION </a:t>
            </a:r>
            <a:br>
              <a:rPr lang="en-US" dirty="0"/>
            </a:br>
            <a:endParaRPr lang="en-US" sz="4000" b="1" spc="300" dirty="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4175E6E-E82E-42B3-A34C-F7685F2186D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5265" y="733939"/>
            <a:ext cx="4953010" cy="2234189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FDB7614-7922-4A86-97C8-C7A2F5A47222}"/>
              </a:ext>
            </a:extLst>
          </p:cNvPr>
          <p:cNvGrpSpPr/>
          <p:nvPr/>
        </p:nvGrpSpPr>
        <p:grpSpPr>
          <a:xfrm>
            <a:off x="7996221" y="5323686"/>
            <a:ext cx="2833014" cy="914401"/>
            <a:chOff x="7996221" y="5323686"/>
            <a:chExt cx="2833014" cy="914401"/>
          </a:xfrm>
        </p:grpSpPr>
        <p:pic>
          <p:nvPicPr>
            <p:cNvPr id="10" name="Picture 3">
              <a:extLst>
                <a:ext uri="{FF2B5EF4-FFF2-40B4-BE49-F238E27FC236}">
                  <a16:creationId xmlns:a16="http://schemas.microsoft.com/office/drawing/2014/main" id="{59D0E576-D753-46C0-8A35-B503B93AE65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22334" y="5323687"/>
              <a:ext cx="706901" cy="9144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29BDA91C-6FD9-47E5-A802-7954BFE2D14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96221" y="5323686"/>
              <a:ext cx="2126113" cy="914400"/>
            </a:xfrm>
            <a:prstGeom prst="rect">
              <a:avLst/>
            </a:prstGeom>
          </p:spPr>
        </p:pic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C68D7261-D045-4C29-9B35-0EED807F2F30}"/>
              </a:ext>
            </a:extLst>
          </p:cNvPr>
          <p:cNvSpPr/>
          <p:nvPr/>
        </p:nvSpPr>
        <p:spPr>
          <a:xfrm>
            <a:off x="465800" y="5286515"/>
            <a:ext cx="791005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Contact us:</a:t>
            </a:r>
          </a:p>
          <a:p>
            <a:pPr algn="ctr"/>
            <a:r>
              <a:rPr lang="en-US" sz="1200" dirty="0">
                <a:solidFill>
                  <a:schemeClr val="bg1"/>
                </a:solidFill>
              </a:rPr>
              <a:t>Head Office: 61 Le </a:t>
            </a:r>
            <a:r>
              <a:rPr lang="en-US" sz="1200" dirty="0" err="1">
                <a:solidFill>
                  <a:schemeClr val="bg1"/>
                </a:solidFill>
              </a:rPr>
              <a:t>Duc</a:t>
            </a:r>
            <a:r>
              <a:rPr lang="en-US" sz="1200" dirty="0">
                <a:solidFill>
                  <a:schemeClr val="bg1"/>
                </a:solidFill>
              </a:rPr>
              <a:t> Tho </a:t>
            </a:r>
            <a:r>
              <a:rPr lang="en-US" sz="1200" i="0" dirty="0">
                <a:solidFill>
                  <a:schemeClr val="bg1"/>
                </a:solidFill>
              </a:rPr>
              <a:t>Street, Ward 7, Go </a:t>
            </a:r>
            <a:r>
              <a:rPr lang="en-US" sz="1200" i="0" dirty="0" err="1">
                <a:solidFill>
                  <a:schemeClr val="bg1"/>
                </a:solidFill>
              </a:rPr>
              <a:t>Vap</a:t>
            </a:r>
            <a:r>
              <a:rPr lang="en-US" sz="1200" i="0" dirty="0">
                <a:solidFill>
                  <a:schemeClr val="bg1"/>
                </a:solidFill>
              </a:rPr>
              <a:t> District, Ho Chi Minh City</a:t>
            </a:r>
          </a:p>
          <a:p>
            <a:pPr algn="ctr"/>
            <a:r>
              <a:rPr lang="en-US" sz="1200" dirty="0">
                <a:solidFill>
                  <a:schemeClr val="bg1"/>
                </a:solidFill>
              </a:rPr>
              <a:t>Factory: Block A14, Road No. 7, Da Nang High-tech Park, </a:t>
            </a:r>
            <a:r>
              <a:rPr lang="en-US" sz="1200" dirty="0" err="1">
                <a:solidFill>
                  <a:schemeClr val="bg1"/>
                </a:solidFill>
              </a:rPr>
              <a:t>Hoa</a:t>
            </a:r>
            <a:r>
              <a:rPr lang="en-US" sz="1200" dirty="0">
                <a:solidFill>
                  <a:schemeClr val="bg1"/>
                </a:solidFill>
              </a:rPr>
              <a:t> Lien, </a:t>
            </a:r>
            <a:r>
              <a:rPr lang="en-US" sz="1200" dirty="0" err="1">
                <a:solidFill>
                  <a:schemeClr val="bg1"/>
                </a:solidFill>
              </a:rPr>
              <a:t>Hoa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Vang</a:t>
            </a:r>
            <a:r>
              <a:rPr lang="en-US" sz="1200" dirty="0">
                <a:solidFill>
                  <a:schemeClr val="bg1"/>
                </a:solidFill>
              </a:rPr>
              <a:t>, Da Nang City </a:t>
            </a:r>
            <a:endParaRPr lang="en-US" sz="1200" i="0" dirty="0">
              <a:solidFill>
                <a:schemeClr val="bg1"/>
              </a:solidFill>
            </a:endParaRPr>
          </a:p>
          <a:p>
            <a:pPr algn="ctr"/>
            <a:r>
              <a:rPr lang="en-US" sz="1200" i="0" dirty="0">
                <a:solidFill>
                  <a:schemeClr val="bg1"/>
                </a:solidFill>
              </a:rPr>
              <a:t>  T (+848) 5446 4649     F (+848) 5446 4648  Website: biendongco.vn; estec.v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FF214EF-50F3-4FBE-88BE-070BCB03EE0B}"/>
              </a:ext>
            </a:extLst>
          </p:cNvPr>
          <p:cNvSpPr/>
          <p:nvPr/>
        </p:nvSpPr>
        <p:spPr>
          <a:xfrm>
            <a:off x="534629" y="3692495"/>
            <a:ext cx="1132518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en-US" sz="4000" b="1" i="1" dirty="0">
              <a:solidFill>
                <a:schemeClr val="bg1"/>
              </a:solidFill>
            </a:endParaRPr>
          </a:p>
          <a:p>
            <a:pPr algn="ctr"/>
            <a:r>
              <a:rPr lang="en-US" sz="4000" b="1" i="1" dirty="0">
                <a:solidFill>
                  <a:schemeClr val="bg1"/>
                </a:solidFill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32137648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7295" y="14010"/>
            <a:ext cx="7223760" cy="1088740"/>
          </a:xfrm>
        </p:spPr>
        <p:txBody>
          <a:bodyPr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sz="2800" b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HQ Visualization (Samples)</a:t>
            </a:r>
            <a:endParaRPr lang="en-US" sz="2800" b="1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B52BE2B-9555-4751-97DD-D444E6DC98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06998" y="1268760"/>
            <a:ext cx="1785057" cy="317343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0B76B3B-47CF-4F31-861A-027331900B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53649" y="1268760"/>
            <a:ext cx="1785057" cy="317343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F594B9F-F8DC-45CD-BE7B-F031D706ED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35287" y="1285390"/>
            <a:ext cx="1785056" cy="317343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17">
            <a:extLst>
              <a:ext uri="{FF2B5EF4-FFF2-40B4-BE49-F238E27FC236}">
                <a16:creationId xmlns:a16="http://schemas.microsoft.com/office/drawing/2014/main" id="{AE384532-BC48-41CE-A1AE-66B44068DF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793" y="1268760"/>
            <a:ext cx="5816876" cy="144989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9651CBED-8931-489B-BB43-64202ECA0E97}"/>
              </a:ext>
            </a:extLst>
          </p:cNvPr>
          <p:cNvGrpSpPr>
            <a:grpSpLocks noChangeAspect="1"/>
          </p:cNvGrpSpPr>
          <p:nvPr/>
        </p:nvGrpSpPr>
        <p:grpSpPr>
          <a:xfrm>
            <a:off x="6788884" y="4781540"/>
            <a:ext cx="1397540" cy="1195264"/>
            <a:chOff x="6315199" y="1584788"/>
            <a:chExt cx="5472608" cy="4680520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F71C6091-B631-4E01-9E2D-C4C57FD8F73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315199" y="1584788"/>
              <a:ext cx="5472608" cy="4680520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DE4C919E-9D03-448D-BC3F-C4670719980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t="7073" b="8069"/>
            <a:stretch/>
          </p:blipFill>
          <p:spPr>
            <a:xfrm>
              <a:off x="6851433" y="1852174"/>
              <a:ext cx="4401284" cy="2621961"/>
            </a:xfrm>
            <a:prstGeom prst="rect">
              <a:avLst/>
            </a:prstGeom>
            <a:ln>
              <a:solidFill>
                <a:srgbClr val="BBE0E3"/>
              </a:solidFill>
            </a:ln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9E5276BE-DC47-471D-9B5F-68A7D4504903}"/>
              </a:ext>
            </a:extLst>
          </p:cNvPr>
          <p:cNvGrpSpPr>
            <a:grpSpLocks noChangeAspect="1"/>
          </p:cNvGrpSpPr>
          <p:nvPr/>
        </p:nvGrpSpPr>
        <p:grpSpPr>
          <a:xfrm>
            <a:off x="8393442" y="4781539"/>
            <a:ext cx="1684435" cy="1182847"/>
            <a:chOff x="6243191" y="2784917"/>
            <a:chExt cx="4896544" cy="3438461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8716CA10-1541-4D8A-B245-904DA631A96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243191" y="2784917"/>
              <a:ext cx="4896544" cy="3438461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F4725ADC-83A2-453D-9D7D-957DCBE20845}"/>
                </a:ext>
              </a:extLst>
            </p:cNvPr>
            <p:cNvPicPr/>
            <p:nvPr/>
          </p:nvPicPr>
          <p:blipFill>
            <a:blip r:embed="rId10"/>
            <a:stretch>
              <a:fillRect/>
            </a:stretch>
          </p:blipFill>
          <p:spPr>
            <a:xfrm>
              <a:off x="6954103" y="2996952"/>
              <a:ext cx="3474720" cy="2088232"/>
            </a:xfrm>
            <a:prstGeom prst="rect">
              <a:avLst/>
            </a:prstGeom>
            <a:ln>
              <a:solidFill>
                <a:srgbClr val="BBE0E3"/>
              </a:solidFill>
            </a:ln>
          </p:spPr>
        </p:pic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D2360B6-5CB8-46B6-83E4-8BA9449B6A66}"/>
              </a:ext>
            </a:extLst>
          </p:cNvPr>
          <p:cNvGrpSpPr>
            <a:grpSpLocks noChangeAspect="1"/>
          </p:cNvGrpSpPr>
          <p:nvPr/>
        </p:nvGrpSpPr>
        <p:grpSpPr>
          <a:xfrm flipH="1">
            <a:off x="10250552" y="4839529"/>
            <a:ext cx="881391" cy="1124857"/>
            <a:chOff x="5595119" y="1916832"/>
            <a:chExt cx="3424233" cy="4536504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B8DCCD8D-5153-4BCB-975F-4C91B42235D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595119" y="1916832"/>
              <a:ext cx="3424233" cy="4536504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3018EF4C-58D7-4F1E-966D-2CA14B98A0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/>
            <a:srcRect t="2547"/>
            <a:stretch/>
          </p:blipFill>
          <p:spPr>
            <a:xfrm>
              <a:off x="6004799" y="2348880"/>
              <a:ext cx="2699351" cy="3448915"/>
            </a:xfrm>
            <a:prstGeom prst="rect">
              <a:avLst/>
            </a:prstGeom>
            <a:ln>
              <a:solidFill>
                <a:srgbClr val="BBE0E3"/>
              </a:solidFill>
            </a:ln>
          </p:spPr>
        </p:pic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4CD4978-C7F2-4E29-93B2-174E3FE55088}"/>
              </a:ext>
            </a:extLst>
          </p:cNvPr>
          <p:cNvGrpSpPr>
            <a:grpSpLocks noChangeAspect="1"/>
          </p:cNvGrpSpPr>
          <p:nvPr/>
        </p:nvGrpSpPr>
        <p:grpSpPr>
          <a:xfrm flipH="1">
            <a:off x="11405255" y="5029656"/>
            <a:ext cx="524549" cy="947148"/>
            <a:chOff x="9411543" y="1916832"/>
            <a:chExt cx="2016224" cy="3657298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04B17D10-7063-4A67-8579-48AC8B14BDF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411543" y="1916832"/>
              <a:ext cx="2016224" cy="3657298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2C1F37A3-A07E-4364-A54B-B6CB883B4F12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9627566" y="2420887"/>
              <a:ext cx="1584177" cy="2651760"/>
            </a:xfrm>
            <a:prstGeom prst="rect">
              <a:avLst/>
            </a:prstGeom>
            <a:ln>
              <a:solidFill>
                <a:srgbClr val="BBE0E3"/>
              </a:solidFill>
            </a:ln>
          </p:spPr>
        </p:pic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599C4B1D-4135-4BE5-BF66-8E1F759DAD41}"/>
              </a:ext>
            </a:extLst>
          </p:cNvPr>
          <p:cNvSpPr txBox="1"/>
          <p:nvPr/>
        </p:nvSpPr>
        <p:spPr>
          <a:xfrm>
            <a:off x="7364221" y="5956914"/>
            <a:ext cx="1817081" cy="30281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99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Mobile and laptop view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16B57F5-1C26-42D0-9E97-B62C5A15B4A7}"/>
              </a:ext>
            </a:extLst>
          </p:cNvPr>
          <p:cNvSpPr txBox="1"/>
          <p:nvPr/>
        </p:nvSpPr>
        <p:spPr>
          <a:xfrm>
            <a:off x="2182160" y="2790467"/>
            <a:ext cx="1817081" cy="30281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99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Command and Control Cente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371605E-A1CE-43BE-8216-9BA988955525}"/>
              </a:ext>
            </a:extLst>
          </p:cNvPr>
          <p:cNvSpPr txBox="1"/>
          <p:nvPr/>
        </p:nvSpPr>
        <p:spPr>
          <a:xfrm>
            <a:off x="2721766" y="5120713"/>
            <a:ext cx="1817081" cy="30281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99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Using Smart Helmet (Augmented Reality based)</a:t>
            </a:r>
          </a:p>
        </p:txBody>
      </p:sp>
      <p:pic>
        <p:nvPicPr>
          <p:cNvPr id="22" name="Picture 2" descr="C:\Users\Z003VCVM\AppData\Local\Microsoft\Windows\Temporary Internet Files\Content.Outlook\36CYBZWV\CP2121_DSC_0112 (2).jpg">
            <a:extLst>
              <a:ext uri="{FF2B5EF4-FFF2-40B4-BE49-F238E27FC236}">
                <a16:creationId xmlns:a16="http://schemas.microsoft.com/office/drawing/2014/main" id="{EF287844-866F-4453-BBDE-4C544C52089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144" t="20086" r="43271" b="8119"/>
          <a:stretch/>
        </p:blipFill>
        <p:spPr bwMode="gray">
          <a:xfrm>
            <a:off x="208491" y="3201478"/>
            <a:ext cx="2145846" cy="231325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5A6FBE76-FF28-433F-B65B-B42967CCE632}"/>
              </a:ext>
            </a:extLst>
          </p:cNvPr>
          <p:cNvSpPr txBox="1"/>
          <p:nvPr/>
        </p:nvSpPr>
        <p:spPr>
          <a:xfrm>
            <a:off x="50503" y="5544113"/>
            <a:ext cx="1817081" cy="30281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99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Interactive Plant Monitoring Screens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FC99B30A-2F2E-488E-BCC2-0FCA5189DE2B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2668711" y="3590930"/>
            <a:ext cx="3382426" cy="152978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043334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7295" y="14010"/>
            <a:ext cx="7223760" cy="1088740"/>
          </a:xfrm>
        </p:spPr>
        <p:txBody>
          <a:bodyPr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sz="2400" b="1">
                <a:solidFill>
                  <a:srgbClr val="1E1E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HQ Solution: Enabling Data Driven Decisions</a:t>
            </a:r>
            <a:endParaRPr lang="en-US" sz="2400" b="1" dirty="0">
              <a:solidFill>
                <a:srgbClr val="1E1E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4845494-7892-4CA1-825B-4AC3A0E48503}"/>
              </a:ext>
            </a:extLst>
          </p:cNvPr>
          <p:cNvGrpSpPr/>
          <p:nvPr/>
        </p:nvGrpSpPr>
        <p:grpSpPr>
          <a:xfrm>
            <a:off x="844375" y="1268760"/>
            <a:ext cx="10295360" cy="5021755"/>
            <a:chOff x="374344" y="1302844"/>
            <a:chExt cx="11340798" cy="5531687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2D57BABF-188D-4294-8395-7295F32BFECE}"/>
                </a:ext>
              </a:extLst>
            </p:cNvPr>
            <p:cNvSpPr txBox="1"/>
            <p:nvPr/>
          </p:nvSpPr>
          <p:spPr>
            <a:xfrm>
              <a:off x="3703319" y="1302844"/>
              <a:ext cx="2032905" cy="236233"/>
            </a:xfrm>
            <a:prstGeom prst="rect">
              <a:avLst/>
            </a:prstGeom>
            <a:noFill/>
          </p:spPr>
          <p:txBody>
            <a:bodyPr wrap="none" lIns="33198" tIns="33198" rIns="33198" bIns="33198" rtlCol="0">
              <a:spAutoFit/>
            </a:bodyPr>
            <a:lstStyle/>
            <a:p>
              <a:pPr marL="0" marR="0" lvl="0" indent="0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99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sym typeface="Avenir Next Medium"/>
                </a:rPr>
                <a:t>HQ / Management Dashboard</a:t>
              </a:r>
            </a:p>
          </p:txBody>
        </p:sp>
        <p:pic>
          <p:nvPicPr>
            <p:cNvPr id="5" name="Picture 4">
              <a:hlinkClick r:id="rId3" action="ppaction://hlinksldjump"/>
              <a:extLst>
                <a:ext uri="{FF2B5EF4-FFF2-40B4-BE49-F238E27FC236}">
                  <a16:creationId xmlns:a16="http://schemas.microsoft.com/office/drawing/2014/main" id="{238A9883-CD89-4991-8BCE-318C5F3AB7F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76555" y="1515305"/>
              <a:ext cx="2160997" cy="825221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5F1AE660-6801-4C25-B327-5283527531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t="11907"/>
            <a:stretch/>
          </p:blipFill>
          <p:spPr>
            <a:xfrm>
              <a:off x="6809298" y="4002763"/>
              <a:ext cx="962365" cy="63974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117ACA0F-DFD5-4FB2-A6CC-30EA7798859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t="11907"/>
            <a:stretch/>
          </p:blipFill>
          <p:spPr>
            <a:xfrm>
              <a:off x="655191" y="3991212"/>
              <a:ext cx="962365" cy="63974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9999D55-47FC-4DCF-AF42-4A7F98F3AC40}"/>
                </a:ext>
              </a:extLst>
            </p:cNvPr>
            <p:cNvSpPr txBox="1"/>
            <p:nvPr/>
          </p:nvSpPr>
          <p:spPr>
            <a:xfrm>
              <a:off x="3082931" y="2876957"/>
              <a:ext cx="1108454" cy="236233"/>
            </a:xfrm>
            <a:prstGeom prst="rect">
              <a:avLst/>
            </a:prstGeom>
            <a:noFill/>
          </p:spPr>
          <p:txBody>
            <a:bodyPr wrap="none" lIns="33198" tIns="33198" rIns="33198" bIns="33198" rtlCol="0">
              <a:spAutoFit/>
            </a:bodyPr>
            <a:lstStyle>
              <a:defPPr>
                <a:defRPr lang="de-DE"/>
              </a:defPPr>
              <a:lvl1pPr defTabSz="914080">
                <a:defRPr sz="1100" b="1">
                  <a:solidFill>
                    <a:srgbClr val="000000"/>
                  </a:solidFill>
                </a:defRPr>
              </a:lvl1pPr>
            </a:lstStyle>
            <a:p>
              <a:pPr marL="0" marR="0" lvl="0" indent="0" defTabSz="91408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99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sym typeface="Avenir Next Medium"/>
                </a:rPr>
                <a:t>Site Production</a:t>
              </a: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CD543668-EA45-4696-9CEC-B3EBF2C2654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t="11907"/>
            <a:stretch/>
          </p:blipFill>
          <p:spPr>
            <a:xfrm>
              <a:off x="1939738" y="4019338"/>
              <a:ext cx="962365" cy="63974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cxnSp>
          <p:nvCxnSpPr>
            <p:cNvPr id="10" name="Elbow Connector 123">
              <a:extLst>
                <a:ext uri="{FF2B5EF4-FFF2-40B4-BE49-F238E27FC236}">
                  <a16:creationId xmlns:a16="http://schemas.microsoft.com/office/drawing/2014/main" id="{CF607BEA-888F-4BBE-9867-C8E35727954E}"/>
                </a:ext>
              </a:extLst>
            </p:cNvPr>
            <p:cNvCxnSpPr>
              <a:endCxn id="7" idx="0"/>
            </p:cNvCxnSpPr>
            <p:nvPr/>
          </p:nvCxnSpPr>
          <p:spPr bwMode="auto">
            <a:xfrm rot="5400000">
              <a:off x="2858654" y="2004031"/>
              <a:ext cx="264902" cy="3709463"/>
            </a:xfrm>
            <a:prstGeom prst="bentConnector3">
              <a:avLst/>
            </a:prstGeom>
            <a:solidFill>
              <a:srgbClr val="000000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Elbow Connector 125">
              <a:extLst>
                <a:ext uri="{FF2B5EF4-FFF2-40B4-BE49-F238E27FC236}">
                  <a16:creationId xmlns:a16="http://schemas.microsoft.com/office/drawing/2014/main" id="{4DF983F8-40D4-4BE7-B585-1D62F69D0238}"/>
                </a:ext>
              </a:extLst>
            </p:cNvPr>
            <p:cNvCxnSpPr/>
            <p:nvPr/>
          </p:nvCxnSpPr>
          <p:spPr bwMode="auto">
            <a:xfrm>
              <a:off x="4845837" y="3726309"/>
              <a:ext cx="1264722" cy="276454"/>
            </a:xfrm>
            <a:prstGeom prst="bentConnector2">
              <a:avLst/>
            </a:prstGeom>
            <a:solidFill>
              <a:srgbClr val="000000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E2E5FA8-8AA0-4B41-AA61-CA45FDFA38F7}"/>
                </a:ext>
              </a:extLst>
            </p:cNvPr>
            <p:cNvSpPr txBox="1"/>
            <p:nvPr/>
          </p:nvSpPr>
          <p:spPr>
            <a:xfrm>
              <a:off x="705569" y="4648884"/>
              <a:ext cx="771998" cy="343899"/>
            </a:xfrm>
            <a:prstGeom prst="rect">
              <a:avLst/>
            </a:prstGeom>
            <a:noFill/>
          </p:spPr>
          <p:txBody>
            <a:bodyPr wrap="none" lIns="33198" tIns="33198" rIns="33198" bIns="33198" rtlCol="0">
              <a:spAutoFit/>
            </a:bodyPr>
            <a:lstStyle/>
            <a:p>
              <a:pPr marL="0" marR="0" lvl="0" indent="0" algn="ctr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sym typeface="Avenir Next Medium"/>
                </a:rPr>
                <a:t>Production</a:t>
              </a:r>
            </a:p>
            <a:p>
              <a:pPr marL="0" marR="0" lvl="0" indent="0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sym typeface="Avenir Next Medium"/>
                </a:rPr>
                <a:t>Performance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0E22CCF4-BACF-4B53-85A4-B0DE8BF7D547}"/>
                </a:ext>
              </a:extLst>
            </p:cNvPr>
            <p:cNvSpPr txBox="1"/>
            <p:nvPr/>
          </p:nvSpPr>
          <p:spPr>
            <a:xfrm>
              <a:off x="1949825" y="4685279"/>
              <a:ext cx="868129" cy="343899"/>
            </a:xfrm>
            <a:prstGeom prst="rect">
              <a:avLst/>
            </a:prstGeom>
            <a:noFill/>
          </p:spPr>
          <p:txBody>
            <a:bodyPr wrap="none" lIns="33198" tIns="33198" rIns="33198" bIns="33198" rtlCol="0">
              <a:spAutoFit/>
            </a:bodyPr>
            <a:lstStyle/>
            <a:p>
              <a:pPr marL="0" marR="0" lvl="0" indent="0" algn="ctr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sym typeface="Avenir Next Medium"/>
                </a:rPr>
                <a:t>Batch Process</a:t>
              </a:r>
            </a:p>
            <a:p>
              <a:pPr marL="0" marR="0" lvl="0" indent="0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sym typeface="Avenir Next Medium"/>
                </a:rPr>
                <a:t>Management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4E75FBA-EF67-49E8-8B03-E473577CEE44}"/>
                </a:ext>
              </a:extLst>
            </p:cNvPr>
            <p:cNvSpPr txBox="1"/>
            <p:nvPr/>
          </p:nvSpPr>
          <p:spPr>
            <a:xfrm>
              <a:off x="6997751" y="4667044"/>
              <a:ext cx="663051" cy="343899"/>
            </a:xfrm>
            <a:prstGeom prst="rect">
              <a:avLst/>
            </a:prstGeom>
            <a:noFill/>
          </p:spPr>
          <p:txBody>
            <a:bodyPr wrap="none" lIns="33198" tIns="33198" rIns="33198" bIns="33198" rtlCol="0">
              <a:spAutoFit/>
            </a:bodyPr>
            <a:lstStyle/>
            <a:p>
              <a:pPr marL="0" marR="0" lvl="0" indent="0" algn="ctr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sym typeface="Avenir Next Medium"/>
                </a:rPr>
                <a:t>Inventory </a:t>
              </a:r>
            </a:p>
            <a:p>
              <a:pPr marL="0" marR="0" lvl="0" indent="0" algn="ctr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sym typeface="Avenir Next Medium"/>
                </a:rPr>
                <a:t>Monitoring</a:t>
              </a:r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09070263-D085-442F-B6A5-6D6323DCA068}"/>
                </a:ext>
              </a:extLst>
            </p:cNvPr>
            <p:cNvGrpSpPr/>
            <p:nvPr/>
          </p:nvGrpSpPr>
          <p:grpSpPr>
            <a:xfrm>
              <a:off x="4273790" y="2428625"/>
              <a:ext cx="713300" cy="454047"/>
              <a:chOff x="3434879" y="1952836"/>
              <a:chExt cx="5587301" cy="3809524"/>
            </a:xfrm>
          </p:grpSpPr>
          <p:pic>
            <p:nvPicPr>
              <p:cNvPr id="108" name="Picture 107">
                <a:extLst>
                  <a:ext uri="{FF2B5EF4-FFF2-40B4-BE49-F238E27FC236}">
                    <a16:creationId xmlns:a16="http://schemas.microsoft.com/office/drawing/2014/main" id="{CD0A83CE-7079-4B67-A4A3-E2BD8226E26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34879" y="1952836"/>
                <a:ext cx="5587301" cy="3809524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109" name="Picture 108">
                <a:extLst>
                  <a:ext uri="{FF2B5EF4-FFF2-40B4-BE49-F238E27FC236}">
                    <a16:creationId xmlns:a16="http://schemas.microsoft.com/office/drawing/2014/main" id="{FF6D9E58-54FC-4826-88E8-67627CA27F0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379095" y="2564904"/>
                <a:ext cx="1724850" cy="2592288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</p:grp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5387DFB1-6877-45F3-86BA-8BD2B6EE0D07}"/>
                </a:ext>
              </a:extLst>
            </p:cNvPr>
            <p:cNvCxnSpPr>
              <a:stCxn id="5" idx="2"/>
            </p:cNvCxnSpPr>
            <p:nvPr/>
          </p:nvCxnSpPr>
          <p:spPr bwMode="auto">
            <a:xfrm flipH="1">
              <a:off x="4845837" y="2340526"/>
              <a:ext cx="11216" cy="614331"/>
            </a:xfrm>
            <a:prstGeom prst="line">
              <a:avLst/>
            </a:prstGeom>
            <a:solidFill>
              <a:srgbClr val="000000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1A6D00C6-0D91-416F-AB12-5D6DC1D7677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t="11907"/>
            <a:stretch/>
          </p:blipFill>
          <p:spPr>
            <a:xfrm>
              <a:off x="3133234" y="4001034"/>
              <a:ext cx="962365" cy="63974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19789840-32AC-45AB-B2F9-29FA4DE7663A}"/>
                </a:ext>
              </a:extLst>
            </p:cNvPr>
            <p:cNvSpPr txBox="1"/>
            <p:nvPr/>
          </p:nvSpPr>
          <p:spPr>
            <a:xfrm>
              <a:off x="3191385" y="4666974"/>
              <a:ext cx="771998" cy="343899"/>
            </a:xfrm>
            <a:prstGeom prst="rect">
              <a:avLst/>
            </a:prstGeom>
            <a:noFill/>
          </p:spPr>
          <p:txBody>
            <a:bodyPr wrap="none" lIns="33198" tIns="33198" rIns="33198" bIns="33198" rtlCol="0">
              <a:spAutoFit/>
            </a:bodyPr>
            <a:lstStyle/>
            <a:p>
              <a:pPr marL="0" marR="0" lvl="0" indent="0" algn="ctr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sym typeface="Avenir Next Medium"/>
                </a:rPr>
                <a:t>Quality</a:t>
              </a:r>
            </a:p>
            <a:p>
              <a:pPr marL="0" marR="0" lvl="0" indent="0" algn="ctr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sym typeface="Avenir Next Medium"/>
                </a:rPr>
                <a:t>Performance</a:t>
              </a: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5CDD2764-F777-4169-B0B9-A2F342FE499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t="11907"/>
            <a:stretch/>
          </p:blipFill>
          <p:spPr>
            <a:xfrm>
              <a:off x="4463858" y="4009655"/>
              <a:ext cx="962365" cy="63974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FD944200-DDA1-4F8A-A2F2-BFDBC7036A12}"/>
                </a:ext>
              </a:extLst>
            </p:cNvPr>
            <p:cNvSpPr txBox="1"/>
            <p:nvPr/>
          </p:nvSpPr>
          <p:spPr>
            <a:xfrm>
              <a:off x="4522010" y="4675596"/>
              <a:ext cx="771998" cy="343899"/>
            </a:xfrm>
            <a:prstGeom prst="rect">
              <a:avLst/>
            </a:prstGeom>
            <a:noFill/>
          </p:spPr>
          <p:txBody>
            <a:bodyPr wrap="none" lIns="33198" tIns="33198" rIns="33198" bIns="33198" rtlCol="0">
              <a:spAutoFit/>
            </a:bodyPr>
            <a:lstStyle/>
            <a:p>
              <a:pPr marL="0" marR="0" lvl="0" indent="0" algn="ctr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sym typeface="Avenir Next Medium"/>
                </a:rPr>
                <a:t>Maintenance</a:t>
              </a:r>
            </a:p>
            <a:p>
              <a:pPr marL="0" marR="0" lvl="0" indent="0" algn="ctr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sym typeface="Avenir Next Medium"/>
                </a:rPr>
                <a:t>Management</a:t>
              </a:r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53FCEAA9-44DB-4CA6-BB91-66FAF5218F4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t="11907"/>
            <a:stretch/>
          </p:blipFill>
          <p:spPr>
            <a:xfrm>
              <a:off x="7922345" y="4003050"/>
              <a:ext cx="962365" cy="63974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1F2CAA00-9A12-41FF-BBA1-A60BA9F9CBDB}"/>
                </a:ext>
              </a:extLst>
            </p:cNvPr>
            <p:cNvSpPr txBox="1"/>
            <p:nvPr/>
          </p:nvSpPr>
          <p:spPr>
            <a:xfrm>
              <a:off x="8056321" y="4667331"/>
              <a:ext cx="771998" cy="343899"/>
            </a:xfrm>
            <a:prstGeom prst="rect">
              <a:avLst/>
            </a:prstGeom>
            <a:noFill/>
          </p:spPr>
          <p:txBody>
            <a:bodyPr wrap="none" lIns="33198" tIns="33198" rIns="33198" bIns="33198" rtlCol="0">
              <a:spAutoFit/>
            </a:bodyPr>
            <a:lstStyle/>
            <a:p>
              <a:pPr marL="0" marR="0" lvl="0" indent="0" algn="ctr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sym typeface="Avenir Next Medium"/>
                </a:rPr>
                <a:t>Energy </a:t>
              </a:r>
            </a:p>
            <a:p>
              <a:pPr marL="0" marR="0" lvl="0" indent="0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sym typeface="Avenir Next Medium"/>
                </a:rPr>
                <a:t>Performance</a:t>
              </a:r>
            </a:p>
          </p:txBody>
        </p:sp>
        <p:pic>
          <p:nvPicPr>
            <p:cNvPr id="23" name="Picture 22">
              <a:hlinkClick r:id="rId8" action="ppaction://hlinksldjump"/>
              <a:extLst>
                <a:ext uri="{FF2B5EF4-FFF2-40B4-BE49-F238E27FC236}">
                  <a16:creationId xmlns:a16="http://schemas.microsoft.com/office/drawing/2014/main" id="{867B9146-4969-4CDD-9BF3-4A97C604907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t="9977"/>
            <a:stretch/>
          </p:blipFill>
          <p:spPr>
            <a:xfrm>
              <a:off x="1835528" y="4006467"/>
              <a:ext cx="991112" cy="61155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24" name="Picture 23">
              <a:hlinkClick r:id="rId10" action="ppaction://hlinksldjump"/>
              <a:extLst>
                <a:ext uri="{FF2B5EF4-FFF2-40B4-BE49-F238E27FC236}">
                  <a16:creationId xmlns:a16="http://schemas.microsoft.com/office/drawing/2014/main" id="{5A2743E4-3342-485F-BD5D-3C246B25641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80456" y="4030492"/>
              <a:ext cx="893162" cy="55035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cxnSp>
          <p:nvCxnSpPr>
            <p:cNvPr id="25" name="Elbow Connector 114701">
              <a:extLst>
                <a:ext uri="{FF2B5EF4-FFF2-40B4-BE49-F238E27FC236}">
                  <a16:creationId xmlns:a16="http://schemas.microsoft.com/office/drawing/2014/main" id="{104FC4AD-E8B5-4850-B003-64220E509C39}"/>
                </a:ext>
              </a:extLst>
            </p:cNvPr>
            <p:cNvCxnSpPr>
              <a:endCxn id="23" idx="0"/>
            </p:cNvCxnSpPr>
            <p:nvPr/>
          </p:nvCxnSpPr>
          <p:spPr bwMode="auto">
            <a:xfrm rot="5400000">
              <a:off x="3448383" y="2609012"/>
              <a:ext cx="280157" cy="2514752"/>
            </a:xfrm>
            <a:prstGeom prst="bentConnector3">
              <a:avLst/>
            </a:prstGeom>
            <a:solidFill>
              <a:srgbClr val="000000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Elbow Connector 114703">
              <a:extLst>
                <a:ext uri="{FF2B5EF4-FFF2-40B4-BE49-F238E27FC236}">
                  <a16:creationId xmlns:a16="http://schemas.microsoft.com/office/drawing/2014/main" id="{F1B060B8-6E7F-4517-806A-651EAD43B89E}"/>
                </a:ext>
              </a:extLst>
            </p:cNvPr>
            <p:cNvCxnSpPr/>
            <p:nvPr/>
          </p:nvCxnSpPr>
          <p:spPr bwMode="auto">
            <a:xfrm rot="5400000">
              <a:off x="4050189" y="3214887"/>
              <a:ext cx="284224" cy="1307072"/>
            </a:xfrm>
            <a:prstGeom prst="bentConnector3">
              <a:avLst/>
            </a:prstGeom>
            <a:solidFill>
              <a:srgbClr val="000000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Elbow Connector 114705">
              <a:extLst>
                <a:ext uri="{FF2B5EF4-FFF2-40B4-BE49-F238E27FC236}">
                  <a16:creationId xmlns:a16="http://schemas.microsoft.com/office/drawing/2014/main" id="{DB539411-AB4A-418F-A5DD-BC901F723648}"/>
                </a:ext>
              </a:extLst>
            </p:cNvPr>
            <p:cNvCxnSpPr/>
            <p:nvPr/>
          </p:nvCxnSpPr>
          <p:spPr bwMode="auto">
            <a:xfrm rot="5400000">
              <a:off x="4699277" y="3863095"/>
              <a:ext cx="283346" cy="9775"/>
            </a:xfrm>
            <a:prstGeom prst="bentConnector3">
              <a:avLst/>
            </a:prstGeom>
            <a:solidFill>
              <a:srgbClr val="000000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Elbow Connector 114707">
              <a:extLst>
                <a:ext uri="{FF2B5EF4-FFF2-40B4-BE49-F238E27FC236}">
                  <a16:creationId xmlns:a16="http://schemas.microsoft.com/office/drawing/2014/main" id="{5D00D4A5-6A14-4DE8-A4FC-F0D302F7E63A}"/>
                </a:ext>
              </a:extLst>
            </p:cNvPr>
            <p:cNvCxnSpPr>
              <a:endCxn id="21" idx="0"/>
            </p:cNvCxnSpPr>
            <p:nvPr/>
          </p:nvCxnSpPr>
          <p:spPr bwMode="auto">
            <a:xfrm rot="16200000" flipH="1">
              <a:off x="6486312" y="2085835"/>
              <a:ext cx="276740" cy="3557691"/>
            </a:xfrm>
            <a:prstGeom prst="bentConnector3">
              <a:avLst/>
            </a:prstGeom>
            <a:solidFill>
              <a:srgbClr val="000000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9" name="Rounded Rectangle 54">
              <a:extLst>
                <a:ext uri="{FF2B5EF4-FFF2-40B4-BE49-F238E27FC236}">
                  <a16:creationId xmlns:a16="http://schemas.microsoft.com/office/drawing/2014/main" id="{1A04E34A-8901-4392-A253-5B2F4F299972}"/>
                </a:ext>
              </a:extLst>
            </p:cNvPr>
            <p:cNvSpPr/>
            <p:nvPr/>
          </p:nvSpPr>
          <p:spPr bwMode="auto">
            <a:xfrm>
              <a:off x="9157466" y="1428440"/>
              <a:ext cx="2557676" cy="4483543"/>
            </a:xfrm>
            <a:prstGeom prst="roundRect">
              <a:avLst/>
            </a:prstGeom>
            <a:noFill/>
            <a:ln w="28575">
              <a:solidFill>
                <a:srgbClr val="808080">
                  <a:lumMod val="50000"/>
                </a:srgbClr>
              </a:solidFill>
              <a:prstDash val="lgDash"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charset="0"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D57AFE4B-AFFC-4647-B418-293C422330B0}"/>
                </a:ext>
              </a:extLst>
            </p:cNvPr>
            <p:cNvSpPr txBox="1"/>
            <p:nvPr/>
          </p:nvSpPr>
          <p:spPr>
            <a:xfrm>
              <a:off x="10182637" y="1428440"/>
              <a:ext cx="741557" cy="236233"/>
            </a:xfrm>
            <a:prstGeom prst="rect">
              <a:avLst/>
            </a:prstGeom>
            <a:noFill/>
          </p:spPr>
          <p:txBody>
            <a:bodyPr wrap="none" lIns="33198" tIns="33198" rIns="33198" bIns="33198" rtlCol="0">
              <a:spAutoFit/>
            </a:bodyPr>
            <a:lstStyle/>
            <a:p>
              <a:pPr marL="0" marR="0" lvl="0" indent="0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99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sym typeface="Avenir Next Medium"/>
                </a:rPr>
                <a:t>Corporate</a:t>
              </a:r>
            </a:p>
          </p:txBody>
        </p:sp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22524932-05FD-46E0-91B8-F29FD2BF9B9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t="11907"/>
            <a:stretch/>
          </p:blipFill>
          <p:spPr>
            <a:xfrm>
              <a:off x="9361649" y="2634209"/>
              <a:ext cx="962365" cy="63974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1679B1CC-673E-4E9F-931C-76998D442D86}"/>
                </a:ext>
              </a:extLst>
            </p:cNvPr>
            <p:cNvSpPr txBox="1"/>
            <p:nvPr/>
          </p:nvSpPr>
          <p:spPr>
            <a:xfrm>
              <a:off x="9406339" y="3309595"/>
              <a:ext cx="771998" cy="343899"/>
            </a:xfrm>
            <a:prstGeom prst="rect">
              <a:avLst/>
            </a:prstGeom>
            <a:noFill/>
          </p:spPr>
          <p:txBody>
            <a:bodyPr wrap="none" lIns="33198" tIns="33198" rIns="33198" bIns="33198" rtlCol="0">
              <a:spAutoFit/>
            </a:bodyPr>
            <a:lstStyle/>
            <a:p>
              <a:pPr marL="0" marR="0" lvl="0" indent="0" algn="ctr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sym typeface="Avenir Next Medium"/>
                </a:rPr>
                <a:t>Finance </a:t>
              </a:r>
            </a:p>
            <a:p>
              <a:pPr marL="0" marR="0" lvl="0" indent="0" algn="ctr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sym typeface="Avenir Next Medium"/>
                </a:rPr>
                <a:t>Performance</a:t>
              </a:r>
            </a:p>
          </p:txBody>
        </p:sp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E2740879-4CC6-4D0E-9203-3212ED32C34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t="11907"/>
            <a:stretch/>
          </p:blipFill>
          <p:spPr>
            <a:xfrm>
              <a:off x="9362227" y="3713039"/>
              <a:ext cx="962365" cy="63974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34" name="Picture 33">
              <a:hlinkClick r:id="rId12" action="ppaction://hlinksldjump"/>
              <a:extLst>
                <a:ext uri="{FF2B5EF4-FFF2-40B4-BE49-F238E27FC236}">
                  <a16:creationId xmlns:a16="http://schemas.microsoft.com/office/drawing/2014/main" id="{7517EB4D-4D17-46D1-9C09-F832837EC00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12889" y="3713039"/>
              <a:ext cx="948391" cy="548354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13964DA1-96C1-4E39-9DC8-589A6F10B626}"/>
                </a:ext>
              </a:extLst>
            </p:cNvPr>
            <p:cNvSpPr txBox="1"/>
            <p:nvPr/>
          </p:nvSpPr>
          <p:spPr>
            <a:xfrm>
              <a:off x="9492716" y="4370710"/>
              <a:ext cx="611781" cy="343899"/>
            </a:xfrm>
            <a:prstGeom prst="rect">
              <a:avLst/>
            </a:prstGeom>
            <a:noFill/>
          </p:spPr>
          <p:txBody>
            <a:bodyPr wrap="none" lIns="33198" tIns="33198" rIns="33198" bIns="33198" rtlCol="0">
              <a:spAutoFit/>
            </a:bodyPr>
            <a:lstStyle/>
            <a:p>
              <a:pPr marL="0" marR="0" lvl="0" indent="0" algn="ctr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sym typeface="Avenir Next Medium"/>
                </a:rPr>
                <a:t>Sales &amp; </a:t>
              </a:r>
            </a:p>
            <a:p>
              <a:pPr marL="0" marR="0" lvl="0" indent="0" algn="ctr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sym typeface="Avenir Next Medium"/>
                </a:rPr>
                <a:t>Marketing</a:t>
              </a:r>
            </a:p>
          </p:txBody>
        </p:sp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D84CD568-0498-4756-8822-47BE926103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t="11907"/>
            <a:stretch/>
          </p:blipFill>
          <p:spPr>
            <a:xfrm>
              <a:off x="9328613" y="4760585"/>
              <a:ext cx="962365" cy="63974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77395198-102C-4C60-AE47-4A75034C038A}"/>
                </a:ext>
              </a:extLst>
            </p:cNvPr>
            <p:cNvSpPr txBox="1"/>
            <p:nvPr/>
          </p:nvSpPr>
          <p:spPr>
            <a:xfrm>
              <a:off x="9159651" y="5446308"/>
              <a:ext cx="1162928" cy="205471"/>
            </a:xfrm>
            <a:prstGeom prst="rect">
              <a:avLst/>
            </a:prstGeom>
            <a:noFill/>
          </p:spPr>
          <p:txBody>
            <a:bodyPr wrap="none" lIns="33198" tIns="33198" rIns="33198" bIns="33198" rtlCol="0">
              <a:spAutoFit/>
            </a:bodyPr>
            <a:lstStyle/>
            <a:p>
              <a:pPr marL="0" marR="0" lvl="0" indent="0" algn="ctr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sym typeface="Avenir Next Medium"/>
                </a:rPr>
                <a:t>Customer/Suppliers</a:t>
              </a:r>
            </a:p>
          </p:txBody>
        </p:sp>
        <p:cxnSp>
          <p:nvCxnSpPr>
            <p:cNvPr id="38" name="Elbow Connector 63">
              <a:extLst>
                <a:ext uri="{FF2B5EF4-FFF2-40B4-BE49-F238E27FC236}">
                  <a16:creationId xmlns:a16="http://schemas.microsoft.com/office/drawing/2014/main" id="{D8BB8C7C-38C0-49C5-AC5C-1C0E500C7832}"/>
                </a:ext>
              </a:extLst>
            </p:cNvPr>
            <p:cNvCxnSpPr>
              <a:endCxn id="31" idx="3"/>
            </p:cNvCxnSpPr>
            <p:nvPr/>
          </p:nvCxnSpPr>
          <p:spPr bwMode="auto">
            <a:xfrm rot="5400000">
              <a:off x="10153792" y="2639125"/>
              <a:ext cx="485181" cy="144736"/>
            </a:xfrm>
            <a:prstGeom prst="bentConnector2">
              <a:avLst/>
            </a:prstGeom>
            <a:solidFill>
              <a:srgbClr val="000000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Elbow Connector 64">
              <a:extLst>
                <a:ext uri="{FF2B5EF4-FFF2-40B4-BE49-F238E27FC236}">
                  <a16:creationId xmlns:a16="http://schemas.microsoft.com/office/drawing/2014/main" id="{D12EDEAF-5C85-4AFA-BFD8-BE3FE8460308}"/>
                </a:ext>
              </a:extLst>
            </p:cNvPr>
            <p:cNvCxnSpPr>
              <a:endCxn id="33" idx="3"/>
            </p:cNvCxnSpPr>
            <p:nvPr/>
          </p:nvCxnSpPr>
          <p:spPr bwMode="auto">
            <a:xfrm rot="5400000">
              <a:off x="9620677" y="3190532"/>
              <a:ext cx="1546297" cy="138467"/>
            </a:xfrm>
            <a:prstGeom prst="bentConnector2">
              <a:avLst/>
            </a:prstGeom>
            <a:solidFill>
              <a:srgbClr val="000000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Elbow Connector 65">
              <a:extLst>
                <a:ext uri="{FF2B5EF4-FFF2-40B4-BE49-F238E27FC236}">
                  <a16:creationId xmlns:a16="http://schemas.microsoft.com/office/drawing/2014/main" id="{5DE1FE0A-822D-4017-84EC-6FB7B3001E5C}"/>
                </a:ext>
              </a:extLst>
            </p:cNvPr>
            <p:cNvCxnSpPr>
              <a:endCxn id="36" idx="3"/>
            </p:cNvCxnSpPr>
            <p:nvPr/>
          </p:nvCxnSpPr>
          <p:spPr bwMode="auto">
            <a:xfrm rot="5400000">
              <a:off x="9080097" y="3697497"/>
              <a:ext cx="2593843" cy="172080"/>
            </a:xfrm>
            <a:prstGeom prst="bentConnector2">
              <a:avLst/>
            </a:prstGeom>
            <a:solidFill>
              <a:srgbClr val="000000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D2CA8B43-816C-4312-988B-D7862739B25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t="11907"/>
            <a:stretch/>
          </p:blipFill>
          <p:spPr>
            <a:xfrm>
              <a:off x="10693104" y="4806282"/>
              <a:ext cx="962365" cy="63974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cxnSp>
          <p:nvCxnSpPr>
            <p:cNvPr id="42" name="Elbow Connector 68">
              <a:extLst>
                <a:ext uri="{FF2B5EF4-FFF2-40B4-BE49-F238E27FC236}">
                  <a16:creationId xmlns:a16="http://schemas.microsoft.com/office/drawing/2014/main" id="{C5BF2928-5EBD-4E53-A9D3-B7B37ABA91C0}"/>
                </a:ext>
              </a:extLst>
            </p:cNvPr>
            <p:cNvCxnSpPr/>
            <p:nvPr/>
          </p:nvCxnSpPr>
          <p:spPr bwMode="auto">
            <a:xfrm rot="16200000" flipH="1">
              <a:off x="9240313" y="3709360"/>
              <a:ext cx="2593843" cy="148354"/>
            </a:xfrm>
            <a:prstGeom prst="bentConnector2">
              <a:avLst/>
            </a:prstGeom>
            <a:solidFill>
              <a:srgbClr val="000000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21B12FF4-49A6-4C5D-91C9-D337220AADF1}"/>
                </a:ext>
              </a:extLst>
            </p:cNvPr>
            <p:cNvSpPr txBox="1"/>
            <p:nvPr/>
          </p:nvSpPr>
          <p:spPr>
            <a:xfrm>
              <a:off x="10787677" y="5475725"/>
              <a:ext cx="656642" cy="343899"/>
            </a:xfrm>
            <a:prstGeom prst="rect">
              <a:avLst/>
            </a:prstGeom>
            <a:noFill/>
          </p:spPr>
          <p:txBody>
            <a:bodyPr wrap="none" lIns="33198" tIns="33198" rIns="33198" bIns="33198" rtlCol="0">
              <a:spAutoFit/>
            </a:bodyPr>
            <a:lstStyle/>
            <a:p>
              <a:pPr marL="0" marR="0" lvl="0" indent="0" algn="ctr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sym typeface="Avenir Next Medium"/>
                </a:rPr>
                <a:t>Human </a:t>
              </a:r>
            </a:p>
            <a:p>
              <a:pPr marL="0" marR="0" lvl="0" indent="0" algn="ctr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sym typeface="Avenir Next Medium"/>
                </a:rPr>
                <a:t>Resources</a:t>
              </a:r>
            </a:p>
          </p:txBody>
        </p:sp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F4B37F9D-3E88-42D2-A047-F86FF3811CD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/>
            <a:srcRect t="15923"/>
            <a:stretch/>
          </p:blipFill>
          <p:spPr>
            <a:xfrm>
              <a:off x="9818796" y="1729481"/>
              <a:ext cx="1274012" cy="767696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45" name="Picture 44">
              <a:extLst>
                <a:ext uri="{FF2B5EF4-FFF2-40B4-BE49-F238E27FC236}">
                  <a16:creationId xmlns:a16="http://schemas.microsoft.com/office/drawing/2014/main" id="{DD4B9CB9-EDC4-4BBD-A9DB-76CE9A1A936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/>
            <a:srcRect t="18547"/>
            <a:stretch/>
          </p:blipFill>
          <p:spPr>
            <a:xfrm>
              <a:off x="9211661" y="2655709"/>
              <a:ext cx="1049620" cy="548354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54FDC37D-6DC0-4687-A2EC-D75F690C2A7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6"/>
            <a:srcRect t="16880"/>
            <a:stretch/>
          </p:blipFill>
          <p:spPr>
            <a:xfrm>
              <a:off x="9288489" y="4765839"/>
              <a:ext cx="936806" cy="548354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id="{26AF36B6-8F40-4FCB-91D0-D435C65E310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/>
            <a:srcRect t="21449" r="34814" b="31527"/>
            <a:stretch/>
          </p:blipFill>
          <p:spPr>
            <a:xfrm>
              <a:off x="10625450" y="4803589"/>
              <a:ext cx="969004" cy="548354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48" name="Picture 47">
              <a:extLst>
                <a:ext uri="{FF2B5EF4-FFF2-40B4-BE49-F238E27FC236}">
                  <a16:creationId xmlns:a16="http://schemas.microsoft.com/office/drawing/2014/main" id="{7B9E86A1-5FF5-4DAD-94A7-0FA746DC3A6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t="11907"/>
            <a:stretch/>
          </p:blipFill>
          <p:spPr>
            <a:xfrm>
              <a:off x="10639323" y="2656565"/>
              <a:ext cx="962365" cy="63974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8C8AFE9C-DAD9-42F9-A876-04B9B8B81532}"/>
                </a:ext>
              </a:extLst>
            </p:cNvPr>
            <p:cNvSpPr txBox="1"/>
            <p:nvPr/>
          </p:nvSpPr>
          <p:spPr>
            <a:xfrm>
              <a:off x="10668404" y="3335140"/>
              <a:ext cx="804041" cy="205471"/>
            </a:xfrm>
            <a:prstGeom prst="rect">
              <a:avLst/>
            </a:prstGeom>
            <a:noFill/>
          </p:spPr>
          <p:txBody>
            <a:bodyPr wrap="none" lIns="33198" tIns="33198" rIns="33198" bIns="33198" rtlCol="0">
              <a:spAutoFit/>
            </a:bodyPr>
            <a:lstStyle/>
            <a:p>
              <a:pPr marL="0" marR="0" lvl="0" indent="0" algn="ctr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sym typeface="Avenir Next Medium"/>
                </a:rPr>
                <a:t>Supply Chain</a:t>
              </a:r>
            </a:p>
          </p:txBody>
        </p:sp>
        <p:pic>
          <p:nvPicPr>
            <p:cNvPr id="50" name="Picture 49">
              <a:extLst>
                <a:ext uri="{FF2B5EF4-FFF2-40B4-BE49-F238E27FC236}">
                  <a16:creationId xmlns:a16="http://schemas.microsoft.com/office/drawing/2014/main" id="{4E35B3FF-3F12-45CF-A653-513A0325F06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t="11907"/>
            <a:stretch/>
          </p:blipFill>
          <p:spPr>
            <a:xfrm>
              <a:off x="10667617" y="3759201"/>
              <a:ext cx="962365" cy="63974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517C4201-F9D1-4538-A207-B045E647885F}"/>
                </a:ext>
              </a:extLst>
            </p:cNvPr>
            <p:cNvSpPr txBox="1"/>
            <p:nvPr/>
          </p:nvSpPr>
          <p:spPr>
            <a:xfrm>
              <a:off x="10915999" y="4428644"/>
              <a:ext cx="349026" cy="205471"/>
            </a:xfrm>
            <a:prstGeom prst="rect">
              <a:avLst/>
            </a:prstGeom>
            <a:noFill/>
          </p:spPr>
          <p:txBody>
            <a:bodyPr wrap="none" lIns="33198" tIns="33198" rIns="33198" bIns="33198" rtlCol="0">
              <a:spAutoFit/>
            </a:bodyPr>
            <a:lstStyle/>
            <a:p>
              <a:pPr marL="0" marR="0" lvl="0" indent="0" algn="ctr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sym typeface="Avenir Next Medium"/>
                </a:rPr>
                <a:t>R &amp;D</a:t>
              </a:r>
            </a:p>
          </p:txBody>
        </p:sp>
        <p:cxnSp>
          <p:nvCxnSpPr>
            <p:cNvPr id="52" name="Elbow Connector 87">
              <a:extLst>
                <a:ext uri="{FF2B5EF4-FFF2-40B4-BE49-F238E27FC236}">
                  <a16:creationId xmlns:a16="http://schemas.microsoft.com/office/drawing/2014/main" id="{5C823468-2FEF-4AFA-8595-82B8934161D9}"/>
                </a:ext>
              </a:extLst>
            </p:cNvPr>
            <p:cNvCxnSpPr/>
            <p:nvPr/>
          </p:nvCxnSpPr>
          <p:spPr bwMode="auto">
            <a:xfrm rot="10800000" flipV="1">
              <a:off x="10468571" y="4030686"/>
              <a:ext cx="131393" cy="199646"/>
            </a:xfrm>
            <a:prstGeom prst="bentConnector2">
              <a:avLst/>
            </a:prstGeom>
            <a:solidFill>
              <a:srgbClr val="000000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Elbow Connector 89">
              <a:extLst>
                <a:ext uri="{FF2B5EF4-FFF2-40B4-BE49-F238E27FC236}">
                  <a16:creationId xmlns:a16="http://schemas.microsoft.com/office/drawing/2014/main" id="{CD998CA5-BEF3-4D47-AAF5-8701739B3EB6}"/>
                </a:ext>
              </a:extLst>
            </p:cNvPr>
            <p:cNvCxnSpPr/>
            <p:nvPr/>
          </p:nvCxnSpPr>
          <p:spPr bwMode="auto">
            <a:xfrm rot="10800000" flipV="1">
              <a:off x="10468130" y="2954715"/>
              <a:ext cx="103538" cy="142557"/>
            </a:xfrm>
            <a:prstGeom prst="bentConnector2">
              <a:avLst/>
            </a:prstGeom>
            <a:solidFill>
              <a:srgbClr val="000000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FB4891F8-A487-4568-BD11-EDB25180C24B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10617008" y="2651866"/>
              <a:ext cx="894984" cy="55219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006DBF5D-E17B-4040-887D-E1FC0C30216A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10659993" y="3765807"/>
              <a:ext cx="892140" cy="568752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cxnSp>
          <p:nvCxnSpPr>
            <p:cNvPr id="56" name="Elbow Connector 17">
              <a:extLst>
                <a:ext uri="{FF2B5EF4-FFF2-40B4-BE49-F238E27FC236}">
                  <a16:creationId xmlns:a16="http://schemas.microsoft.com/office/drawing/2014/main" id="{76B6E432-5868-4450-BF7A-E651D5E0D3E7}"/>
                </a:ext>
              </a:extLst>
            </p:cNvPr>
            <p:cNvCxnSpPr>
              <a:stCxn id="5" idx="2"/>
              <a:endCxn id="44" idx="1"/>
            </p:cNvCxnSpPr>
            <p:nvPr/>
          </p:nvCxnSpPr>
          <p:spPr bwMode="auto">
            <a:xfrm rot="5400000" flipH="1" flipV="1">
              <a:off x="7224326" y="-253943"/>
              <a:ext cx="227197" cy="4961743"/>
            </a:xfrm>
            <a:prstGeom prst="bentConnector4">
              <a:avLst>
                <a:gd name="adj1" fmla="val -100565"/>
                <a:gd name="adj2" fmla="val 60888"/>
              </a:avLst>
            </a:prstGeom>
            <a:solidFill>
              <a:srgbClr val="000000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7093CBCE-86B2-4C38-961C-E779E9DC269B}"/>
                </a:ext>
              </a:extLst>
            </p:cNvPr>
            <p:cNvGrpSpPr/>
            <p:nvPr/>
          </p:nvGrpSpPr>
          <p:grpSpPr>
            <a:xfrm>
              <a:off x="3119655" y="2014855"/>
              <a:ext cx="713300" cy="454047"/>
              <a:chOff x="3434879" y="1952836"/>
              <a:chExt cx="5587301" cy="3809524"/>
            </a:xfrm>
          </p:grpSpPr>
          <p:pic>
            <p:nvPicPr>
              <p:cNvPr id="106" name="Picture 105">
                <a:extLst>
                  <a:ext uri="{FF2B5EF4-FFF2-40B4-BE49-F238E27FC236}">
                    <a16:creationId xmlns:a16="http://schemas.microsoft.com/office/drawing/2014/main" id="{B7E39FF5-1036-4B8B-A264-8D32EEF96E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34879" y="1952836"/>
                <a:ext cx="5587301" cy="3809524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107" name="Picture 106">
                <a:extLst>
                  <a:ext uri="{FF2B5EF4-FFF2-40B4-BE49-F238E27FC236}">
                    <a16:creationId xmlns:a16="http://schemas.microsoft.com/office/drawing/2014/main" id="{65D6540A-A83F-4BB3-B956-F4F876DBC8A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379095" y="2564904"/>
                <a:ext cx="1724850" cy="2592288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7BF4A08B-9148-463A-AB19-23FF925A6395}"/>
                </a:ext>
              </a:extLst>
            </p:cNvPr>
            <p:cNvGrpSpPr/>
            <p:nvPr/>
          </p:nvGrpSpPr>
          <p:grpSpPr>
            <a:xfrm>
              <a:off x="10968277" y="2113503"/>
              <a:ext cx="713300" cy="454047"/>
              <a:chOff x="3434879" y="1952836"/>
              <a:chExt cx="5587301" cy="3809524"/>
            </a:xfrm>
          </p:grpSpPr>
          <p:pic>
            <p:nvPicPr>
              <p:cNvPr id="104" name="Picture 103">
                <a:extLst>
                  <a:ext uri="{FF2B5EF4-FFF2-40B4-BE49-F238E27FC236}">
                    <a16:creationId xmlns:a16="http://schemas.microsoft.com/office/drawing/2014/main" id="{1A50536C-1E8B-49FF-9F95-CF4B3B3DDF5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34879" y="1952836"/>
                <a:ext cx="5587301" cy="3809524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105" name="Picture 104">
                <a:extLst>
                  <a:ext uri="{FF2B5EF4-FFF2-40B4-BE49-F238E27FC236}">
                    <a16:creationId xmlns:a16="http://schemas.microsoft.com/office/drawing/2014/main" id="{CBE7BAC4-5C62-4F8C-96D4-4020C694857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379095" y="2564904"/>
                <a:ext cx="1724850" cy="2592288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</p:grpSp>
        <p:sp>
          <p:nvSpPr>
            <p:cNvPr id="59" name="Flowchart: Multidocument 58">
              <a:extLst>
                <a:ext uri="{FF2B5EF4-FFF2-40B4-BE49-F238E27FC236}">
                  <a16:creationId xmlns:a16="http://schemas.microsoft.com/office/drawing/2014/main" id="{607E779E-E933-4542-B2B2-9F18F67D32E2}"/>
                </a:ext>
              </a:extLst>
            </p:cNvPr>
            <p:cNvSpPr/>
            <p:nvPr/>
          </p:nvSpPr>
          <p:spPr bwMode="auto">
            <a:xfrm>
              <a:off x="5266049" y="2815290"/>
              <a:ext cx="1043572" cy="701443"/>
            </a:xfrm>
            <a:prstGeom prst="flowChartMultidocument">
              <a:avLst/>
            </a:prstGeom>
            <a:solidFill>
              <a:srgbClr val="FFFFFF"/>
            </a:solidFill>
            <a:ln w="25400" cap="flat" cmpd="sng" algn="ctr">
              <a:solidFill>
                <a:srgbClr val="DAEDEF"/>
              </a:solidFill>
              <a:prstDash val="solid"/>
            </a:ln>
            <a:effectLst/>
          </p:spPr>
          <p:txBody>
            <a:bodyPr wrap="square" lIns="107890" tIns="53945" rIns="107890" bIns="53945" numCol="1" spcCol="143928" rtlCol="0" anchor="ctr">
              <a:noAutofit/>
            </a:bodyPr>
            <a:lstStyle/>
            <a:p>
              <a:pPr marL="0" marR="0" lvl="0" indent="0" algn="ctr" defTabSz="913623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99" b="1" i="0" u="none" strike="noStrike" kern="0" cap="none" spc="0" normalizeH="0" baseline="0" noProof="0" dirty="0">
                  <a:ln>
                    <a:noFill/>
                  </a:ln>
                  <a:solidFill>
                    <a:srgbClr val="ADBECB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lant </a:t>
              </a:r>
            </a:p>
            <a:p>
              <a:pPr marL="0" marR="0" lvl="0" indent="0" algn="ctr" defTabSz="913623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99" b="1" i="0" u="none" strike="noStrike" kern="0" cap="none" spc="0" normalizeH="0" baseline="0" noProof="0" dirty="0">
                  <a:ln>
                    <a:noFill/>
                  </a:ln>
                  <a:solidFill>
                    <a:srgbClr val="ADBECB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, 3, 4</a:t>
              </a:r>
            </a:p>
          </p:txBody>
        </p:sp>
        <p:pic>
          <p:nvPicPr>
            <p:cNvPr id="60" name="Picture 59">
              <a:extLst>
                <a:ext uri="{FF2B5EF4-FFF2-40B4-BE49-F238E27FC236}">
                  <a16:creationId xmlns:a16="http://schemas.microsoft.com/office/drawing/2014/main" id="{1F815C3D-AEEF-4F90-8F05-FE452CDCAF02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98011" y="2930960"/>
              <a:ext cx="1287067" cy="795351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133A53B6-69B4-4D70-BB2A-5490323B8062}"/>
                </a:ext>
              </a:extLst>
            </p:cNvPr>
            <p:cNvSpPr txBox="1"/>
            <p:nvPr/>
          </p:nvSpPr>
          <p:spPr>
            <a:xfrm>
              <a:off x="1535776" y="2712555"/>
              <a:ext cx="1434513" cy="205471"/>
            </a:xfrm>
            <a:prstGeom prst="rect">
              <a:avLst/>
            </a:prstGeom>
            <a:noFill/>
          </p:spPr>
          <p:txBody>
            <a:bodyPr wrap="square" lIns="33198" tIns="33198" rIns="33198" bIns="33198" rtlCol="0">
              <a:spAutoFit/>
            </a:bodyPr>
            <a:lstStyle/>
            <a:p>
              <a:pPr marL="0" marR="0" lvl="0" indent="0" algn="ctr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sym typeface="Avenir Next Medium"/>
                </a:rPr>
                <a:t>Safety &amp; Environment</a:t>
              </a:r>
            </a:p>
          </p:txBody>
        </p:sp>
        <p:pic>
          <p:nvPicPr>
            <p:cNvPr id="62" name="Picture 61">
              <a:hlinkClick r:id="rId21" action="ppaction://hlinksldjump"/>
              <a:extLst>
                <a:ext uri="{FF2B5EF4-FFF2-40B4-BE49-F238E27FC236}">
                  <a16:creationId xmlns:a16="http://schemas.microsoft.com/office/drawing/2014/main" id="{8CFD5EF7-17CD-4F43-8985-87BB8CF4FCB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2"/>
            <a:srcRect t="9127"/>
            <a:stretch/>
          </p:blipFill>
          <p:spPr>
            <a:xfrm>
              <a:off x="1691531" y="1993537"/>
              <a:ext cx="1167214" cy="73837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cxnSp>
          <p:nvCxnSpPr>
            <p:cNvPr id="63" name="Elbow Connector 2">
              <a:extLst>
                <a:ext uri="{FF2B5EF4-FFF2-40B4-BE49-F238E27FC236}">
                  <a16:creationId xmlns:a16="http://schemas.microsoft.com/office/drawing/2014/main" id="{4FE77623-A381-4C84-8C7D-70024CDFBEC2}"/>
                </a:ext>
              </a:extLst>
            </p:cNvPr>
            <p:cNvCxnSpPr>
              <a:stCxn id="5" idx="1"/>
              <a:endCxn id="62" idx="0"/>
            </p:cNvCxnSpPr>
            <p:nvPr/>
          </p:nvCxnSpPr>
          <p:spPr bwMode="auto">
            <a:xfrm rot="10800000" flipV="1">
              <a:off x="2275138" y="1927915"/>
              <a:ext cx="1501416" cy="65621"/>
            </a:xfrm>
            <a:prstGeom prst="bentConnector2">
              <a:avLst/>
            </a:prstGeom>
            <a:solidFill>
              <a:srgbClr val="000000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64" name="Picture 63">
              <a:hlinkClick r:id="rId21" action="ppaction://hlinksldjump"/>
              <a:extLst>
                <a:ext uri="{FF2B5EF4-FFF2-40B4-BE49-F238E27FC236}">
                  <a16:creationId xmlns:a16="http://schemas.microsoft.com/office/drawing/2014/main" id="{1D445502-83E7-4997-BDF0-D8B9862C691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3"/>
            <a:srcRect t="13562"/>
            <a:stretch/>
          </p:blipFill>
          <p:spPr>
            <a:xfrm>
              <a:off x="7860099" y="4008613"/>
              <a:ext cx="968221" cy="56599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9A54CC96-FBB5-49E8-8CE8-47417BDD7F11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545003" y="4005539"/>
              <a:ext cx="1008847" cy="557512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66" name="Picture 65">
              <a:extLst>
                <a:ext uri="{FF2B5EF4-FFF2-40B4-BE49-F238E27FC236}">
                  <a16:creationId xmlns:a16="http://schemas.microsoft.com/office/drawing/2014/main" id="{3609466E-5284-40EF-9380-14CA080515F5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66993" y="4011506"/>
              <a:ext cx="935141" cy="580679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67" name="Picture 66">
              <a:extLst>
                <a:ext uri="{FF2B5EF4-FFF2-40B4-BE49-F238E27FC236}">
                  <a16:creationId xmlns:a16="http://schemas.microsoft.com/office/drawing/2014/main" id="{756B4B18-7ED0-4032-9483-A97E01507653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00389" y="4002763"/>
              <a:ext cx="1025444" cy="57289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68" name="Rounded Rectangle 148">
              <a:extLst>
                <a:ext uri="{FF2B5EF4-FFF2-40B4-BE49-F238E27FC236}">
                  <a16:creationId xmlns:a16="http://schemas.microsoft.com/office/drawing/2014/main" id="{5A7BFA0A-B3C4-4120-B70D-5B4FEE5FC489}"/>
                </a:ext>
              </a:extLst>
            </p:cNvPr>
            <p:cNvSpPr/>
            <p:nvPr/>
          </p:nvSpPr>
          <p:spPr bwMode="auto">
            <a:xfrm>
              <a:off x="415144" y="6564642"/>
              <a:ext cx="1331455" cy="269889"/>
            </a:xfrm>
            <a:prstGeom prst="roundRect">
              <a:avLst/>
            </a:prstGeom>
            <a:solidFill>
              <a:srgbClr val="879BAA"/>
            </a:solidFill>
            <a:ln>
              <a:noFill/>
            </a:ln>
            <a:effectLst/>
          </p:spPr>
          <p:txBody>
            <a:bodyPr wrap="square" lIns="107890" tIns="53945" rIns="107890" bIns="53945" numCol="1" spcCol="143928" rtlCol="0" anchor="ctr">
              <a:noAutofit/>
            </a:bodyPr>
            <a:lstStyle/>
            <a:p>
              <a:pPr marL="0" marR="0" lvl="0" indent="0" algn="ctr" defTabSz="913623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rPr>
                <a:t>OPC</a:t>
              </a:r>
            </a:p>
          </p:txBody>
        </p:sp>
        <p:sp>
          <p:nvSpPr>
            <p:cNvPr id="69" name="Rounded Rectangle 149">
              <a:extLst>
                <a:ext uri="{FF2B5EF4-FFF2-40B4-BE49-F238E27FC236}">
                  <a16:creationId xmlns:a16="http://schemas.microsoft.com/office/drawing/2014/main" id="{5FBB5285-5AA3-4394-A547-F3824BA72042}"/>
                </a:ext>
              </a:extLst>
            </p:cNvPr>
            <p:cNvSpPr/>
            <p:nvPr/>
          </p:nvSpPr>
          <p:spPr bwMode="auto">
            <a:xfrm>
              <a:off x="1838258" y="6564642"/>
              <a:ext cx="1331455" cy="269889"/>
            </a:xfrm>
            <a:prstGeom prst="roundRect">
              <a:avLst/>
            </a:prstGeom>
            <a:solidFill>
              <a:srgbClr val="879BAA"/>
            </a:solidFill>
            <a:ln>
              <a:noFill/>
            </a:ln>
            <a:effectLst/>
          </p:spPr>
          <p:txBody>
            <a:bodyPr wrap="square" lIns="107890" tIns="53945" rIns="107890" bIns="53945" numCol="1" spcCol="143928" rtlCol="0" anchor="ctr">
              <a:noAutofit/>
            </a:bodyPr>
            <a:lstStyle/>
            <a:p>
              <a:pPr marL="0" marR="0" lvl="0" indent="0" algn="ctr" defTabSz="913623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rPr>
                <a:t>Historians</a:t>
              </a:r>
            </a:p>
          </p:txBody>
        </p:sp>
        <p:sp>
          <p:nvSpPr>
            <p:cNvPr id="70" name="Rounded Rectangle 150">
              <a:extLst>
                <a:ext uri="{FF2B5EF4-FFF2-40B4-BE49-F238E27FC236}">
                  <a16:creationId xmlns:a16="http://schemas.microsoft.com/office/drawing/2014/main" id="{B6355CFE-1D32-4176-8815-B11E32864327}"/>
                </a:ext>
              </a:extLst>
            </p:cNvPr>
            <p:cNvSpPr/>
            <p:nvPr/>
          </p:nvSpPr>
          <p:spPr bwMode="auto">
            <a:xfrm>
              <a:off x="3261373" y="6564642"/>
              <a:ext cx="1331455" cy="269889"/>
            </a:xfrm>
            <a:prstGeom prst="roundRect">
              <a:avLst/>
            </a:prstGeom>
            <a:solidFill>
              <a:srgbClr val="879BAA"/>
            </a:solidFill>
            <a:ln>
              <a:noFill/>
            </a:ln>
            <a:effectLst/>
          </p:spPr>
          <p:txBody>
            <a:bodyPr wrap="square" lIns="107890" tIns="53945" rIns="107890" bIns="53945" numCol="1" spcCol="143928" rtlCol="0" anchor="ctr">
              <a:noAutofit/>
            </a:bodyPr>
            <a:lstStyle/>
            <a:p>
              <a:pPr marL="0" marR="0" lvl="0" indent="0" algn="ctr" defTabSz="913623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rPr>
                <a:t>Documents</a:t>
              </a:r>
            </a:p>
          </p:txBody>
        </p:sp>
        <p:sp>
          <p:nvSpPr>
            <p:cNvPr id="71" name="Rounded Rectangle 151">
              <a:extLst>
                <a:ext uri="{FF2B5EF4-FFF2-40B4-BE49-F238E27FC236}">
                  <a16:creationId xmlns:a16="http://schemas.microsoft.com/office/drawing/2014/main" id="{15E52C2B-8773-4C54-80A9-6B316989F41D}"/>
                </a:ext>
              </a:extLst>
            </p:cNvPr>
            <p:cNvSpPr/>
            <p:nvPr/>
          </p:nvSpPr>
          <p:spPr bwMode="auto">
            <a:xfrm>
              <a:off x="6107603" y="6564642"/>
              <a:ext cx="1331455" cy="269889"/>
            </a:xfrm>
            <a:prstGeom prst="roundRect">
              <a:avLst/>
            </a:prstGeom>
            <a:solidFill>
              <a:srgbClr val="879BAA"/>
            </a:solidFill>
            <a:ln>
              <a:noFill/>
            </a:ln>
            <a:effectLst/>
          </p:spPr>
          <p:txBody>
            <a:bodyPr wrap="square" lIns="107890" tIns="53945" rIns="107890" bIns="53945" numCol="1" spcCol="143928" rtlCol="0" anchor="ctr">
              <a:noAutofit/>
            </a:bodyPr>
            <a:lstStyle/>
            <a:p>
              <a:pPr marL="0" marR="0" lvl="0" indent="0" algn="ctr" defTabSz="913623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rPr>
                <a:t>MES</a:t>
              </a:r>
            </a:p>
          </p:txBody>
        </p:sp>
        <p:sp>
          <p:nvSpPr>
            <p:cNvPr id="72" name="Rounded Rectangle 152">
              <a:extLst>
                <a:ext uri="{FF2B5EF4-FFF2-40B4-BE49-F238E27FC236}">
                  <a16:creationId xmlns:a16="http://schemas.microsoft.com/office/drawing/2014/main" id="{63B4CFA0-3E6B-4664-AAAF-4FEA56C265C7}"/>
                </a:ext>
              </a:extLst>
            </p:cNvPr>
            <p:cNvSpPr/>
            <p:nvPr/>
          </p:nvSpPr>
          <p:spPr bwMode="auto">
            <a:xfrm>
              <a:off x="7530718" y="6564642"/>
              <a:ext cx="1331455" cy="269889"/>
            </a:xfrm>
            <a:prstGeom prst="roundRect">
              <a:avLst/>
            </a:prstGeom>
            <a:solidFill>
              <a:srgbClr val="879BAA"/>
            </a:solidFill>
            <a:ln>
              <a:noFill/>
            </a:ln>
            <a:effectLst/>
          </p:spPr>
          <p:txBody>
            <a:bodyPr wrap="square" lIns="107890" tIns="53945" rIns="107890" bIns="53945" numCol="1" spcCol="143928" rtlCol="0" anchor="ctr">
              <a:noAutofit/>
            </a:bodyPr>
            <a:lstStyle/>
            <a:p>
              <a:pPr marL="0" marR="0" lvl="0" indent="0" algn="ctr" defTabSz="913623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rPr>
                <a:t>SAP</a:t>
              </a:r>
            </a:p>
          </p:txBody>
        </p:sp>
        <p:sp>
          <p:nvSpPr>
            <p:cNvPr id="73" name="Rounded Rectangle 153">
              <a:extLst>
                <a:ext uri="{FF2B5EF4-FFF2-40B4-BE49-F238E27FC236}">
                  <a16:creationId xmlns:a16="http://schemas.microsoft.com/office/drawing/2014/main" id="{08455B6D-F44C-4E9F-8110-3F2D28DDF5AA}"/>
                </a:ext>
              </a:extLst>
            </p:cNvPr>
            <p:cNvSpPr/>
            <p:nvPr/>
          </p:nvSpPr>
          <p:spPr bwMode="auto">
            <a:xfrm>
              <a:off x="4684488" y="6564642"/>
              <a:ext cx="1331455" cy="269889"/>
            </a:xfrm>
            <a:prstGeom prst="roundRect">
              <a:avLst/>
            </a:prstGeom>
            <a:solidFill>
              <a:srgbClr val="879BAA"/>
            </a:solidFill>
            <a:ln>
              <a:noFill/>
            </a:ln>
            <a:effectLst/>
          </p:spPr>
          <p:txBody>
            <a:bodyPr wrap="square" lIns="107890" tIns="53945" rIns="107890" bIns="53945" numCol="1" spcCol="143928" rtlCol="0" anchor="ctr">
              <a:noAutofit/>
            </a:bodyPr>
            <a:lstStyle/>
            <a:p>
              <a:pPr marL="0" marR="0" lvl="0" indent="0" algn="ctr" defTabSz="913623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rPr>
                <a:t>QMS/ LIMS</a:t>
              </a:r>
            </a:p>
          </p:txBody>
        </p:sp>
        <p:sp>
          <p:nvSpPr>
            <p:cNvPr id="74" name="Up Arrow 154">
              <a:extLst>
                <a:ext uri="{FF2B5EF4-FFF2-40B4-BE49-F238E27FC236}">
                  <a16:creationId xmlns:a16="http://schemas.microsoft.com/office/drawing/2014/main" id="{A172394B-0C73-462F-A8E5-9D99B722CAAD}"/>
                </a:ext>
              </a:extLst>
            </p:cNvPr>
            <p:cNvSpPr/>
            <p:nvPr/>
          </p:nvSpPr>
          <p:spPr bwMode="auto">
            <a:xfrm>
              <a:off x="426736" y="5917280"/>
              <a:ext cx="11116633" cy="619922"/>
            </a:xfrm>
            <a:prstGeom prst="upArrow">
              <a:avLst/>
            </a:prstGeom>
            <a:solidFill>
              <a:srgbClr val="879BAA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charset="0"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5" name="Rectangle 7">
              <a:extLst>
                <a:ext uri="{FF2B5EF4-FFF2-40B4-BE49-F238E27FC236}">
                  <a16:creationId xmlns:a16="http://schemas.microsoft.com/office/drawing/2014/main" id="{E22426AB-7C0F-40FD-A3D9-C8C3601E91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23931" y="6469076"/>
              <a:ext cx="18231" cy="153808"/>
            </a:xfrm>
            <a:prstGeom prst="rect">
              <a:avLst/>
            </a:prstGeom>
            <a:solidFill>
              <a:srgbClr val="879BAA"/>
            </a:solidFill>
            <a:ln>
              <a:noFill/>
            </a:ln>
          </p:spPr>
          <p:txBody>
            <a:bodyPr vert="horz" wrap="none" lIns="17991" tIns="0" rIns="0" bIns="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999" b="1" i="0" u="none" strike="noStrike" kern="0" cap="none" spc="0" normalizeH="0" baseline="0" noProof="0" dirty="0">
                <a:ln>
                  <a:noFill/>
                </a:ln>
                <a:solidFill>
                  <a:srgbClr val="3C464B"/>
                </a:solidFill>
                <a:effectLst/>
                <a:uLnTx/>
                <a:uFillTx/>
                <a:latin typeface="Siemens Sans" panose="02020500000000000000" pitchFamily="18" charset="0"/>
                <a:ea typeface="+mn-ea"/>
                <a:sym typeface="Avenir Next Medium"/>
              </a:endParaRPr>
            </a:p>
          </p:txBody>
        </p:sp>
        <p:sp>
          <p:nvSpPr>
            <p:cNvPr id="76" name="Freihandform: Form 155">
              <a:extLst>
                <a:ext uri="{FF2B5EF4-FFF2-40B4-BE49-F238E27FC236}">
                  <a16:creationId xmlns:a16="http://schemas.microsoft.com/office/drawing/2014/main" id="{C2E64102-4D94-4993-9492-CBC7E9C573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27137" y="6025567"/>
              <a:ext cx="321145" cy="390138"/>
            </a:xfrm>
            <a:custGeom>
              <a:avLst/>
              <a:gdLst>
                <a:gd name="connsiteX0" fmla="*/ 0 w 3200400"/>
                <a:gd name="connsiteY0" fmla="*/ 2746376 h 3870326"/>
                <a:gd name="connsiteX1" fmla="*/ 1609140 w 3200400"/>
                <a:gd name="connsiteY1" fmla="*/ 3121026 h 3870326"/>
                <a:gd name="connsiteX2" fmla="*/ 3200400 w 3200400"/>
                <a:gd name="connsiteY2" fmla="*/ 2746376 h 3870326"/>
                <a:gd name="connsiteX3" fmla="*/ 3200400 w 3200400"/>
                <a:gd name="connsiteY3" fmla="*/ 3495676 h 3870326"/>
                <a:gd name="connsiteX4" fmla="*/ 1609140 w 3200400"/>
                <a:gd name="connsiteY4" fmla="*/ 3870326 h 3870326"/>
                <a:gd name="connsiteX5" fmla="*/ 0 w 3200400"/>
                <a:gd name="connsiteY5" fmla="*/ 3495676 h 3870326"/>
                <a:gd name="connsiteX6" fmla="*/ 0 w 3200400"/>
                <a:gd name="connsiteY6" fmla="*/ 2746376 h 3870326"/>
                <a:gd name="connsiteX7" fmla="*/ 0 w 3200400"/>
                <a:gd name="connsiteY7" fmla="*/ 1717675 h 3870326"/>
                <a:gd name="connsiteX8" fmla="*/ 1609140 w 3200400"/>
                <a:gd name="connsiteY8" fmla="*/ 2092325 h 3870326"/>
                <a:gd name="connsiteX9" fmla="*/ 3200400 w 3200400"/>
                <a:gd name="connsiteY9" fmla="*/ 1717675 h 3870326"/>
                <a:gd name="connsiteX10" fmla="*/ 3200400 w 3200400"/>
                <a:gd name="connsiteY10" fmla="*/ 2466975 h 3870326"/>
                <a:gd name="connsiteX11" fmla="*/ 1609140 w 3200400"/>
                <a:gd name="connsiteY11" fmla="*/ 2841625 h 3870326"/>
                <a:gd name="connsiteX12" fmla="*/ 0 w 3200400"/>
                <a:gd name="connsiteY12" fmla="*/ 2466975 h 3870326"/>
                <a:gd name="connsiteX13" fmla="*/ 0 w 3200400"/>
                <a:gd name="connsiteY13" fmla="*/ 1717675 h 3870326"/>
                <a:gd name="connsiteX14" fmla="*/ 0 w 3200400"/>
                <a:gd name="connsiteY14" fmla="*/ 688975 h 3870326"/>
                <a:gd name="connsiteX15" fmla="*/ 1609140 w 3200400"/>
                <a:gd name="connsiteY15" fmla="*/ 1063625 h 3870326"/>
                <a:gd name="connsiteX16" fmla="*/ 3200400 w 3200400"/>
                <a:gd name="connsiteY16" fmla="*/ 688975 h 3870326"/>
                <a:gd name="connsiteX17" fmla="*/ 3200400 w 3200400"/>
                <a:gd name="connsiteY17" fmla="*/ 1438275 h 3870326"/>
                <a:gd name="connsiteX18" fmla="*/ 1609140 w 3200400"/>
                <a:gd name="connsiteY18" fmla="*/ 1812925 h 3870326"/>
                <a:gd name="connsiteX19" fmla="*/ 0 w 3200400"/>
                <a:gd name="connsiteY19" fmla="*/ 1438275 h 3870326"/>
                <a:gd name="connsiteX20" fmla="*/ 0 w 3200400"/>
                <a:gd name="connsiteY20" fmla="*/ 688975 h 3870326"/>
                <a:gd name="connsiteX21" fmla="*/ 1600200 w 3200400"/>
                <a:gd name="connsiteY21" fmla="*/ 0 h 3870326"/>
                <a:gd name="connsiteX22" fmla="*/ 3200400 w 3200400"/>
                <a:gd name="connsiteY22" fmla="*/ 392113 h 3870326"/>
                <a:gd name="connsiteX23" fmla="*/ 1600200 w 3200400"/>
                <a:gd name="connsiteY23" fmla="*/ 784226 h 3870326"/>
                <a:gd name="connsiteX24" fmla="*/ 0 w 3200400"/>
                <a:gd name="connsiteY24" fmla="*/ 392113 h 3870326"/>
                <a:gd name="connsiteX25" fmla="*/ 1600200 w 3200400"/>
                <a:gd name="connsiteY25" fmla="*/ 0 h 3870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200400" h="3870326">
                  <a:moveTo>
                    <a:pt x="0" y="2746376"/>
                  </a:moveTo>
                  <a:cubicBezTo>
                    <a:pt x="0" y="2960462"/>
                    <a:pt x="715173" y="3121026"/>
                    <a:pt x="1609140" y="3121026"/>
                  </a:cubicBezTo>
                  <a:cubicBezTo>
                    <a:pt x="2485227" y="3121026"/>
                    <a:pt x="3200400" y="2960462"/>
                    <a:pt x="3200400" y="2746376"/>
                  </a:cubicBezTo>
                  <a:cubicBezTo>
                    <a:pt x="3200400" y="2746376"/>
                    <a:pt x="3200400" y="2746376"/>
                    <a:pt x="3200400" y="3495676"/>
                  </a:cubicBezTo>
                  <a:cubicBezTo>
                    <a:pt x="3200400" y="3691921"/>
                    <a:pt x="2485227" y="3870326"/>
                    <a:pt x="1609140" y="3870326"/>
                  </a:cubicBezTo>
                  <a:cubicBezTo>
                    <a:pt x="715173" y="3870326"/>
                    <a:pt x="0" y="3691921"/>
                    <a:pt x="0" y="3495676"/>
                  </a:cubicBezTo>
                  <a:cubicBezTo>
                    <a:pt x="0" y="3495676"/>
                    <a:pt x="0" y="3495676"/>
                    <a:pt x="0" y="2746376"/>
                  </a:cubicBezTo>
                  <a:close/>
                  <a:moveTo>
                    <a:pt x="0" y="1717675"/>
                  </a:moveTo>
                  <a:cubicBezTo>
                    <a:pt x="0" y="1931761"/>
                    <a:pt x="715173" y="2092325"/>
                    <a:pt x="1609140" y="2092325"/>
                  </a:cubicBezTo>
                  <a:cubicBezTo>
                    <a:pt x="2485227" y="2092325"/>
                    <a:pt x="3200400" y="1931761"/>
                    <a:pt x="3200400" y="1717675"/>
                  </a:cubicBezTo>
                  <a:cubicBezTo>
                    <a:pt x="3200400" y="1717675"/>
                    <a:pt x="3200400" y="1717675"/>
                    <a:pt x="3200400" y="2466975"/>
                  </a:cubicBezTo>
                  <a:cubicBezTo>
                    <a:pt x="3200400" y="2663220"/>
                    <a:pt x="2485227" y="2841625"/>
                    <a:pt x="1609140" y="2841625"/>
                  </a:cubicBezTo>
                  <a:cubicBezTo>
                    <a:pt x="715173" y="2841625"/>
                    <a:pt x="0" y="2663220"/>
                    <a:pt x="0" y="2466975"/>
                  </a:cubicBezTo>
                  <a:cubicBezTo>
                    <a:pt x="0" y="2466975"/>
                    <a:pt x="0" y="2466975"/>
                    <a:pt x="0" y="1717675"/>
                  </a:cubicBezTo>
                  <a:close/>
                  <a:moveTo>
                    <a:pt x="0" y="688975"/>
                  </a:moveTo>
                  <a:cubicBezTo>
                    <a:pt x="0" y="903061"/>
                    <a:pt x="715173" y="1063625"/>
                    <a:pt x="1609140" y="1063625"/>
                  </a:cubicBezTo>
                  <a:cubicBezTo>
                    <a:pt x="2485227" y="1063625"/>
                    <a:pt x="3200400" y="903061"/>
                    <a:pt x="3200400" y="688975"/>
                  </a:cubicBezTo>
                  <a:cubicBezTo>
                    <a:pt x="3200400" y="688975"/>
                    <a:pt x="3200400" y="688975"/>
                    <a:pt x="3200400" y="1438275"/>
                  </a:cubicBezTo>
                  <a:cubicBezTo>
                    <a:pt x="3200400" y="1652361"/>
                    <a:pt x="2485227" y="1812925"/>
                    <a:pt x="1609140" y="1812925"/>
                  </a:cubicBezTo>
                  <a:cubicBezTo>
                    <a:pt x="715173" y="1812925"/>
                    <a:pt x="0" y="1652361"/>
                    <a:pt x="0" y="1438275"/>
                  </a:cubicBezTo>
                  <a:cubicBezTo>
                    <a:pt x="0" y="1438275"/>
                    <a:pt x="0" y="1438275"/>
                    <a:pt x="0" y="688975"/>
                  </a:cubicBezTo>
                  <a:close/>
                  <a:moveTo>
                    <a:pt x="1600200" y="0"/>
                  </a:moveTo>
                  <a:cubicBezTo>
                    <a:pt x="2483966" y="0"/>
                    <a:pt x="3200400" y="175555"/>
                    <a:pt x="3200400" y="392113"/>
                  </a:cubicBezTo>
                  <a:cubicBezTo>
                    <a:pt x="3200400" y="608671"/>
                    <a:pt x="2483966" y="784226"/>
                    <a:pt x="1600200" y="784226"/>
                  </a:cubicBezTo>
                  <a:cubicBezTo>
                    <a:pt x="716434" y="784226"/>
                    <a:pt x="0" y="608671"/>
                    <a:pt x="0" y="392113"/>
                  </a:cubicBezTo>
                  <a:cubicBezTo>
                    <a:pt x="0" y="175555"/>
                    <a:pt x="716434" y="0"/>
                    <a:pt x="1600200" y="0"/>
                  </a:cubicBezTo>
                  <a:close/>
                </a:path>
              </a:pathLst>
            </a:custGeom>
            <a:solidFill>
              <a:srgbClr val="005F87"/>
            </a:solidFill>
            <a:ln>
              <a:noFill/>
            </a:ln>
          </p:spPr>
          <p:txBody>
            <a:bodyPr vert="horz" wrap="square" lIns="45696" tIns="22848" rIns="45696" bIns="22848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999" b="0" i="0" u="none" strike="noStrike" kern="0" cap="none" spc="0" normalizeH="0" baseline="0" noProof="0">
                <a:ln>
                  <a:noFill/>
                </a:ln>
                <a:solidFill>
                  <a:srgbClr val="ADBECB"/>
                </a:solidFill>
                <a:effectLst/>
                <a:uLnTx/>
                <a:uFillTx/>
                <a:latin typeface="Arial"/>
                <a:ea typeface="+mn-ea"/>
                <a:sym typeface="Avenir Next Medium"/>
              </a:endParaRPr>
            </a:p>
          </p:txBody>
        </p:sp>
        <p:sp>
          <p:nvSpPr>
            <p:cNvPr id="77" name="Freihandform: Form 155">
              <a:extLst>
                <a:ext uri="{FF2B5EF4-FFF2-40B4-BE49-F238E27FC236}">
                  <a16:creationId xmlns:a16="http://schemas.microsoft.com/office/drawing/2014/main" id="{090299C1-064F-48EF-90D5-A3DB3CA07F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2940" y="6037907"/>
              <a:ext cx="321145" cy="390138"/>
            </a:xfrm>
            <a:custGeom>
              <a:avLst/>
              <a:gdLst>
                <a:gd name="connsiteX0" fmla="*/ 0 w 3200400"/>
                <a:gd name="connsiteY0" fmla="*/ 2746376 h 3870326"/>
                <a:gd name="connsiteX1" fmla="*/ 1609140 w 3200400"/>
                <a:gd name="connsiteY1" fmla="*/ 3121026 h 3870326"/>
                <a:gd name="connsiteX2" fmla="*/ 3200400 w 3200400"/>
                <a:gd name="connsiteY2" fmla="*/ 2746376 h 3870326"/>
                <a:gd name="connsiteX3" fmla="*/ 3200400 w 3200400"/>
                <a:gd name="connsiteY3" fmla="*/ 3495676 h 3870326"/>
                <a:gd name="connsiteX4" fmla="*/ 1609140 w 3200400"/>
                <a:gd name="connsiteY4" fmla="*/ 3870326 h 3870326"/>
                <a:gd name="connsiteX5" fmla="*/ 0 w 3200400"/>
                <a:gd name="connsiteY5" fmla="*/ 3495676 h 3870326"/>
                <a:gd name="connsiteX6" fmla="*/ 0 w 3200400"/>
                <a:gd name="connsiteY6" fmla="*/ 2746376 h 3870326"/>
                <a:gd name="connsiteX7" fmla="*/ 0 w 3200400"/>
                <a:gd name="connsiteY7" fmla="*/ 1717675 h 3870326"/>
                <a:gd name="connsiteX8" fmla="*/ 1609140 w 3200400"/>
                <a:gd name="connsiteY8" fmla="*/ 2092325 h 3870326"/>
                <a:gd name="connsiteX9" fmla="*/ 3200400 w 3200400"/>
                <a:gd name="connsiteY9" fmla="*/ 1717675 h 3870326"/>
                <a:gd name="connsiteX10" fmla="*/ 3200400 w 3200400"/>
                <a:gd name="connsiteY10" fmla="*/ 2466975 h 3870326"/>
                <a:gd name="connsiteX11" fmla="*/ 1609140 w 3200400"/>
                <a:gd name="connsiteY11" fmla="*/ 2841625 h 3870326"/>
                <a:gd name="connsiteX12" fmla="*/ 0 w 3200400"/>
                <a:gd name="connsiteY12" fmla="*/ 2466975 h 3870326"/>
                <a:gd name="connsiteX13" fmla="*/ 0 w 3200400"/>
                <a:gd name="connsiteY13" fmla="*/ 1717675 h 3870326"/>
                <a:gd name="connsiteX14" fmla="*/ 0 w 3200400"/>
                <a:gd name="connsiteY14" fmla="*/ 688975 h 3870326"/>
                <a:gd name="connsiteX15" fmla="*/ 1609140 w 3200400"/>
                <a:gd name="connsiteY15" fmla="*/ 1063625 h 3870326"/>
                <a:gd name="connsiteX16" fmla="*/ 3200400 w 3200400"/>
                <a:gd name="connsiteY16" fmla="*/ 688975 h 3870326"/>
                <a:gd name="connsiteX17" fmla="*/ 3200400 w 3200400"/>
                <a:gd name="connsiteY17" fmla="*/ 1438275 h 3870326"/>
                <a:gd name="connsiteX18" fmla="*/ 1609140 w 3200400"/>
                <a:gd name="connsiteY18" fmla="*/ 1812925 h 3870326"/>
                <a:gd name="connsiteX19" fmla="*/ 0 w 3200400"/>
                <a:gd name="connsiteY19" fmla="*/ 1438275 h 3870326"/>
                <a:gd name="connsiteX20" fmla="*/ 0 w 3200400"/>
                <a:gd name="connsiteY20" fmla="*/ 688975 h 3870326"/>
                <a:gd name="connsiteX21" fmla="*/ 1600200 w 3200400"/>
                <a:gd name="connsiteY21" fmla="*/ 0 h 3870326"/>
                <a:gd name="connsiteX22" fmla="*/ 3200400 w 3200400"/>
                <a:gd name="connsiteY22" fmla="*/ 392113 h 3870326"/>
                <a:gd name="connsiteX23" fmla="*/ 1600200 w 3200400"/>
                <a:gd name="connsiteY23" fmla="*/ 784226 h 3870326"/>
                <a:gd name="connsiteX24" fmla="*/ 0 w 3200400"/>
                <a:gd name="connsiteY24" fmla="*/ 392113 h 3870326"/>
                <a:gd name="connsiteX25" fmla="*/ 1600200 w 3200400"/>
                <a:gd name="connsiteY25" fmla="*/ 0 h 3870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200400" h="3870326">
                  <a:moveTo>
                    <a:pt x="0" y="2746376"/>
                  </a:moveTo>
                  <a:cubicBezTo>
                    <a:pt x="0" y="2960462"/>
                    <a:pt x="715173" y="3121026"/>
                    <a:pt x="1609140" y="3121026"/>
                  </a:cubicBezTo>
                  <a:cubicBezTo>
                    <a:pt x="2485227" y="3121026"/>
                    <a:pt x="3200400" y="2960462"/>
                    <a:pt x="3200400" y="2746376"/>
                  </a:cubicBezTo>
                  <a:cubicBezTo>
                    <a:pt x="3200400" y="2746376"/>
                    <a:pt x="3200400" y="2746376"/>
                    <a:pt x="3200400" y="3495676"/>
                  </a:cubicBezTo>
                  <a:cubicBezTo>
                    <a:pt x="3200400" y="3691921"/>
                    <a:pt x="2485227" y="3870326"/>
                    <a:pt x="1609140" y="3870326"/>
                  </a:cubicBezTo>
                  <a:cubicBezTo>
                    <a:pt x="715173" y="3870326"/>
                    <a:pt x="0" y="3691921"/>
                    <a:pt x="0" y="3495676"/>
                  </a:cubicBezTo>
                  <a:cubicBezTo>
                    <a:pt x="0" y="3495676"/>
                    <a:pt x="0" y="3495676"/>
                    <a:pt x="0" y="2746376"/>
                  </a:cubicBezTo>
                  <a:close/>
                  <a:moveTo>
                    <a:pt x="0" y="1717675"/>
                  </a:moveTo>
                  <a:cubicBezTo>
                    <a:pt x="0" y="1931761"/>
                    <a:pt x="715173" y="2092325"/>
                    <a:pt x="1609140" y="2092325"/>
                  </a:cubicBezTo>
                  <a:cubicBezTo>
                    <a:pt x="2485227" y="2092325"/>
                    <a:pt x="3200400" y="1931761"/>
                    <a:pt x="3200400" y="1717675"/>
                  </a:cubicBezTo>
                  <a:cubicBezTo>
                    <a:pt x="3200400" y="1717675"/>
                    <a:pt x="3200400" y="1717675"/>
                    <a:pt x="3200400" y="2466975"/>
                  </a:cubicBezTo>
                  <a:cubicBezTo>
                    <a:pt x="3200400" y="2663220"/>
                    <a:pt x="2485227" y="2841625"/>
                    <a:pt x="1609140" y="2841625"/>
                  </a:cubicBezTo>
                  <a:cubicBezTo>
                    <a:pt x="715173" y="2841625"/>
                    <a:pt x="0" y="2663220"/>
                    <a:pt x="0" y="2466975"/>
                  </a:cubicBezTo>
                  <a:cubicBezTo>
                    <a:pt x="0" y="2466975"/>
                    <a:pt x="0" y="2466975"/>
                    <a:pt x="0" y="1717675"/>
                  </a:cubicBezTo>
                  <a:close/>
                  <a:moveTo>
                    <a:pt x="0" y="688975"/>
                  </a:moveTo>
                  <a:cubicBezTo>
                    <a:pt x="0" y="903061"/>
                    <a:pt x="715173" y="1063625"/>
                    <a:pt x="1609140" y="1063625"/>
                  </a:cubicBezTo>
                  <a:cubicBezTo>
                    <a:pt x="2485227" y="1063625"/>
                    <a:pt x="3200400" y="903061"/>
                    <a:pt x="3200400" y="688975"/>
                  </a:cubicBezTo>
                  <a:cubicBezTo>
                    <a:pt x="3200400" y="688975"/>
                    <a:pt x="3200400" y="688975"/>
                    <a:pt x="3200400" y="1438275"/>
                  </a:cubicBezTo>
                  <a:cubicBezTo>
                    <a:pt x="3200400" y="1652361"/>
                    <a:pt x="2485227" y="1812925"/>
                    <a:pt x="1609140" y="1812925"/>
                  </a:cubicBezTo>
                  <a:cubicBezTo>
                    <a:pt x="715173" y="1812925"/>
                    <a:pt x="0" y="1652361"/>
                    <a:pt x="0" y="1438275"/>
                  </a:cubicBezTo>
                  <a:cubicBezTo>
                    <a:pt x="0" y="1438275"/>
                    <a:pt x="0" y="1438275"/>
                    <a:pt x="0" y="688975"/>
                  </a:cubicBezTo>
                  <a:close/>
                  <a:moveTo>
                    <a:pt x="1600200" y="0"/>
                  </a:moveTo>
                  <a:cubicBezTo>
                    <a:pt x="2483966" y="0"/>
                    <a:pt x="3200400" y="175555"/>
                    <a:pt x="3200400" y="392113"/>
                  </a:cubicBezTo>
                  <a:cubicBezTo>
                    <a:pt x="3200400" y="608671"/>
                    <a:pt x="2483966" y="784226"/>
                    <a:pt x="1600200" y="784226"/>
                  </a:cubicBezTo>
                  <a:cubicBezTo>
                    <a:pt x="716434" y="784226"/>
                    <a:pt x="0" y="608671"/>
                    <a:pt x="0" y="392113"/>
                  </a:cubicBezTo>
                  <a:cubicBezTo>
                    <a:pt x="0" y="175555"/>
                    <a:pt x="716434" y="0"/>
                    <a:pt x="160020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45696" tIns="22848" rIns="45696" bIns="22848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999" b="0" i="0" u="none" strike="noStrike" kern="0" cap="none" spc="0" normalizeH="0" baseline="0" noProof="0">
                <a:ln>
                  <a:noFill/>
                </a:ln>
                <a:solidFill>
                  <a:srgbClr val="ADBECB"/>
                </a:solidFill>
                <a:effectLst/>
                <a:uLnTx/>
                <a:uFillTx/>
                <a:latin typeface="Arial"/>
                <a:ea typeface="+mn-ea"/>
                <a:sym typeface="Avenir Next Medium"/>
              </a:endParaRPr>
            </a:p>
          </p:txBody>
        </p:sp>
        <p:sp>
          <p:nvSpPr>
            <p:cNvPr id="78" name="Freihandform: Form 155">
              <a:extLst>
                <a:ext uri="{FF2B5EF4-FFF2-40B4-BE49-F238E27FC236}">
                  <a16:creationId xmlns:a16="http://schemas.microsoft.com/office/drawing/2014/main" id="{117883DE-25AC-481E-88D3-6D052C4365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07142" y="5982653"/>
              <a:ext cx="321145" cy="390138"/>
            </a:xfrm>
            <a:custGeom>
              <a:avLst/>
              <a:gdLst>
                <a:gd name="connsiteX0" fmla="*/ 0 w 3200400"/>
                <a:gd name="connsiteY0" fmla="*/ 2746376 h 3870326"/>
                <a:gd name="connsiteX1" fmla="*/ 1609140 w 3200400"/>
                <a:gd name="connsiteY1" fmla="*/ 3121026 h 3870326"/>
                <a:gd name="connsiteX2" fmla="*/ 3200400 w 3200400"/>
                <a:gd name="connsiteY2" fmla="*/ 2746376 h 3870326"/>
                <a:gd name="connsiteX3" fmla="*/ 3200400 w 3200400"/>
                <a:gd name="connsiteY3" fmla="*/ 3495676 h 3870326"/>
                <a:gd name="connsiteX4" fmla="*/ 1609140 w 3200400"/>
                <a:gd name="connsiteY4" fmla="*/ 3870326 h 3870326"/>
                <a:gd name="connsiteX5" fmla="*/ 0 w 3200400"/>
                <a:gd name="connsiteY5" fmla="*/ 3495676 h 3870326"/>
                <a:gd name="connsiteX6" fmla="*/ 0 w 3200400"/>
                <a:gd name="connsiteY6" fmla="*/ 2746376 h 3870326"/>
                <a:gd name="connsiteX7" fmla="*/ 0 w 3200400"/>
                <a:gd name="connsiteY7" fmla="*/ 1717675 h 3870326"/>
                <a:gd name="connsiteX8" fmla="*/ 1609140 w 3200400"/>
                <a:gd name="connsiteY8" fmla="*/ 2092325 h 3870326"/>
                <a:gd name="connsiteX9" fmla="*/ 3200400 w 3200400"/>
                <a:gd name="connsiteY9" fmla="*/ 1717675 h 3870326"/>
                <a:gd name="connsiteX10" fmla="*/ 3200400 w 3200400"/>
                <a:gd name="connsiteY10" fmla="*/ 2466975 h 3870326"/>
                <a:gd name="connsiteX11" fmla="*/ 1609140 w 3200400"/>
                <a:gd name="connsiteY11" fmla="*/ 2841625 h 3870326"/>
                <a:gd name="connsiteX12" fmla="*/ 0 w 3200400"/>
                <a:gd name="connsiteY12" fmla="*/ 2466975 h 3870326"/>
                <a:gd name="connsiteX13" fmla="*/ 0 w 3200400"/>
                <a:gd name="connsiteY13" fmla="*/ 1717675 h 3870326"/>
                <a:gd name="connsiteX14" fmla="*/ 0 w 3200400"/>
                <a:gd name="connsiteY14" fmla="*/ 688975 h 3870326"/>
                <a:gd name="connsiteX15" fmla="*/ 1609140 w 3200400"/>
                <a:gd name="connsiteY15" fmla="*/ 1063625 h 3870326"/>
                <a:gd name="connsiteX16" fmla="*/ 3200400 w 3200400"/>
                <a:gd name="connsiteY16" fmla="*/ 688975 h 3870326"/>
                <a:gd name="connsiteX17" fmla="*/ 3200400 w 3200400"/>
                <a:gd name="connsiteY17" fmla="*/ 1438275 h 3870326"/>
                <a:gd name="connsiteX18" fmla="*/ 1609140 w 3200400"/>
                <a:gd name="connsiteY18" fmla="*/ 1812925 h 3870326"/>
                <a:gd name="connsiteX19" fmla="*/ 0 w 3200400"/>
                <a:gd name="connsiteY19" fmla="*/ 1438275 h 3870326"/>
                <a:gd name="connsiteX20" fmla="*/ 0 w 3200400"/>
                <a:gd name="connsiteY20" fmla="*/ 688975 h 3870326"/>
                <a:gd name="connsiteX21" fmla="*/ 1600200 w 3200400"/>
                <a:gd name="connsiteY21" fmla="*/ 0 h 3870326"/>
                <a:gd name="connsiteX22" fmla="*/ 3200400 w 3200400"/>
                <a:gd name="connsiteY22" fmla="*/ 392113 h 3870326"/>
                <a:gd name="connsiteX23" fmla="*/ 1600200 w 3200400"/>
                <a:gd name="connsiteY23" fmla="*/ 784226 h 3870326"/>
                <a:gd name="connsiteX24" fmla="*/ 0 w 3200400"/>
                <a:gd name="connsiteY24" fmla="*/ 392113 h 3870326"/>
                <a:gd name="connsiteX25" fmla="*/ 1600200 w 3200400"/>
                <a:gd name="connsiteY25" fmla="*/ 0 h 3870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200400" h="3870326">
                  <a:moveTo>
                    <a:pt x="0" y="2746376"/>
                  </a:moveTo>
                  <a:cubicBezTo>
                    <a:pt x="0" y="2960462"/>
                    <a:pt x="715173" y="3121026"/>
                    <a:pt x="1609140" y="3121026"/>
                  </a:cubicBezTo>
                  <a:cubicBezTo>
                    <a:pt x="2485227" y="3121026"/>
                    <a:pt x="3200400" y="2960462"/>
                    <a:pt x="3200400" y="2746376"/>
                  </a:cubicBezTo>
                  <a:cubicBezTo>
                    <a:pt x="3200400" y="2746376"/>
                    <a:pt x="3200400" y="2746376"/>
                    <a:pt x="3200400" y="3495676"/>
                  </a:cubicBezTo>
                  <a:cubicBezTo>
                    <a:pt x="3200400" y="3691921"/>
                    <a:pt x="2485227" y="3870326"/>
                    <a:pt x="1609140" y="3870326"/>
                  </a:cubicBezTo>
                  <a:cubicBezTo>
                    <a:pt x="715173" y="3870326"/>
                    <a:pt x="0" y="3691921"/>
                    <a:pt x="0" y="3495676"/>
                  </a:cubicBezTo>
                  <a:cubicBezTo>
                    <a:pt x="0" y="3495676"/>
                    <a:pt x="0" y="3495676"/>
                    <a:pt x="0" y="2746376"/>
                  </a:cubicBezTo>
                  <a:close/>
                  <a:moveTo>
                    <a:pt x="0" y="1717675"/>
                  </a:moveTo>
                  <a:cubicBezTo>
                    <a:pt x="0" y="1931761"/>
                    <a:pt x="715173" y="2092325"/>
                    <a:pt x="1609140" y="2092325"/>
                  </a:cubicBezTo>
                  <a:cubicBezTo>
                    <a:pt x="2485227" y="2092325"/>
                    <a:pt x="3200400" y="1931761"/>
                    <a:pt x="3200400" y="1717675"/>
                  </a:cubicBezTo>
                  <a:cubicBezTo>
                    <a:pt x="3200400" y="1717675"/>
                    <a:pt x="3200400" y="1717675"/>
                    <a:pt x="3200400" y="2466975"/>
                  </a:cubicBezTo>
                  <a:cubicBezTo>
                    <a:pt x="3200400" y="2663220"/>
                    <a:pt x="2485227" y="2841625"/>
                    <a:pt x="1609140" y="2841625"/>
                  </a:cubicBezTo>
                  <a:cubicBezTo>
                    <a:pt x="715173" y="2841625"/>
                    <a:pt x="0" y="2663220"/>
                    <a:pt x="0" y="2466975"/>
                  </a:cubicBezTo>
                  <a:cubicBezTo>
                    <a:pt x="0" y="2466975"/>
                    <a:pt x="0" y="2466975"/>
                    <a:pt x="0" y="1717675"/>
                  </a:cubicBezTo>
                  <a:close/>
                  <a:moveTo>
                    <a:pt x="0" y="688975"/>
                  </a:moveTo>
                  <a:cubicBezTo>
                    <a:pt x="0" y="903061"/>
                    <a:pt x="715173" y="1063625"/>
                    <a:pt x="1609140" y="1063625"/>
                  </a:cubicBezTo>
                  <a:cubicBezTo>
                    <a:pt x="2485227" y="1063625"/>
                    <a:pt x="3200400" y="903061"/>
                    <a:pt x="3200400" y="688975"/>
                  </a:cubicBezTo>
                  <a:cubicBezTo>
                    <a:pt x="3200400" y="688975"/>
                    <a:pt x="3200400" y="688975"/>
                    <a:pt x="3200400" y="1438275"/>
                  </a:cubicBezTo>
                  <a:cubicBezTo>
                    <a:pt x="3200400" y="1652361"/>
                    <a:pt x="2485227" y="1812925"/>
                    <a:pt x="1609140" y="1812925"/>
                  </a:cubicBezTo>
                  <a:cubicBezTo>
                    <a:pt x="715173" y="1812925"/>
                    <a:pt x="0" y="1652361"/>
                    <a:pt x="0" y="1438275"/>
                  </a:cubicBezTo>
                  <a:cubicBezTo>
                    <a:pt x="0" y="1438275"/>
                    <a:pt x="0" y="1438275"/>
                    <a:pt x="0" y="688975"/>
                  </a:cubicBezTo>
                  <a:close/>
                  <a:moveTo>
                    <a:pt x="1600200" y="0"/>
                  </a:moveTo>
                  <a:cubicBezTo>
                    <a:pt x="2483966" y="0"/>
                    <a:pt x="3200400" y="175555"/>
                    <a:pt x="3200400" y="392113"/>
                  </a:cubicBezTo>
                  <a:cubicBezTo>
                    <a:pt x="3200400" y="608671"/>
                    <a:pt x="2483966" y="784226"/>
                    <a:pt x="1600200" y="784226"/>
                  </a:cubicBezTo>
                  <a:cubicBezTo>
                    <a:pt x="716434" y="784226"/>
                    <a:pt x="0" y="608671"/>
                    <a:pt x="0" y="392113"/>
                  </a:cubicBezTo>
                  <a:cubicBezTo>
                    <a:pt x="0" y="175555"/>
                    <a:pt x="716434" y="0"/>
                    <a:pt x="1600200" y="0"/>
                  </a:cubicBezTo>
                  <a:close/>
                </a:path>
              </a:pathLst>
            </a:custGeom>
            <a:solidFill>
              <a:srgbClr val="000000">
                <a:lumMod val="50000"/>
              </a:srgbClr>
            </a:solidFill>
            <a:ln>
              <a:noFill/>
            </a:ln>
          </p:spPr>
          <p:txBody>
            <a:bodyPr vert="horz" wrap="square" lIns="45696" tIns="22848" rIns="45696" bIns="22848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999" b="0" i="0" u="none" strike="noStrike" kern="0" cap="none" spc="0" normalizeH="0" baseline="0" noProof="0">
                <a:ln>
                  <a:noFill/>
                </a:ln>
                <a:solidFill>
                  <a:srgbClr val="ADBECB"/>
                </a:solidFill>
                <a:effectLst/>
                <a:uLnTx/>
                <a:uFillTx/>
                <a:latin typeface="Arial"/>
                <a:ea typeface="+mn-ea"/>
                <a:sym typeface="Avenir Next Medium"/>
              </a:endParaRPr>
            </a:p>
          </p:txBody>
        </p:sp>
        <p:sp>
          <p:nvSpPr>
            <p:cNvPr id="79" name="Freihandform: Form 155">
              <a:extLst>
                <a:ext uri="{FF2B5EF4-FFF2-40B4-BE49-F238E27FC236}">
                  <a16:creationId xmlns:a16="http://schemas.microsoft.com/office/drawing/2014/main" id="{BBE01DCD-8423-47A1-B91A-D64C7B4049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70145" y="6037908"/>
              <a:ext cx="321145" cy="390138"/>
            </a:xfrm>
            <a:custGeom>
              <a:avLst/>
              <a:gdLst>
                <a:gd name="connsiteX0" fmla="*/ 0 w 3200400"/>
                <a:gd name="connsiteY0" fmla="*/ 2746376 h 3870326"/>
                <a:gd name="connsiteX1" fmla="*/ 1609140 w 3200400"/>
                <a:gd name="connsiteY1" fmla="*/ 3121026 h 3870326"/>
                <a:gd name="connsiteX2" fmla="*/ 3200400 w 3200400"/>
                <a:gd name="connsiteY2" fmla="*/ 2746376 h 3870326"/>
                <a:gd name="connsiteX3" fmla="*/ 3200400 w 3200400"/>
                <a:gd name="connsiteY3" fmla="*/ 3495676 h 3870326"/>
                <a:gd name="connsiteX4" fmla="*/ 1609140 w 3200400"/>
                <a:gd name="connsiteY4" fmla="*/ 3870326 h 3870326"/>
                <a:gd name="connsiteX5" fmla="*/ 0 w 3200400"/>
                <a:gd name="connsiteY5" fmla="*/ 3495676 h 3870326"/>
                <a:gd name="connsiteX6" fmla="*/ 0 w 3200400"/>
                <a:gd name="connsiteY6" fmla="*/ 2746376 h 3870326"/>
                <a:gd name="connsiteX7" fmla="*/ 0 w 3200400"/>
                <a:gd name="connsiteY7" fmla="*/ 1717675 h 3870326"/>
                <a:gd name="connsiteX8" fmla="*/ 1609140 w 3200400"/>
                <a:gd name="connsiteY8" fmla="*/ 2092325 h 3870326"/>
                <a:gd name="connsiteX9" fmla="*/ 3200400 w 3200400"/>
                <a:gd name="connsiteY9" fmla="*/ 1717675 h 3870326"/>
                <a:gd name="connsiteX10" fmla="*/ 3200400 w 3200400"/>
                <a:gd name="connsiteY10" fmla="*/ 2466975 h 3870326"/>
                <a:gd name="connsiteX11" fmla="*/ 1609140 w 3200400"/>
                <a:gd name="connsiteY11" fmla="*/ 2841625 h 3870326"/>
                <a:gd name="connsiteX12" fmla="*/ 0 w 3200400"/>
                <a:gd name="connsiteY12" fmla="*/ 2466975 h 3870326"/>
                <a:gd name="connsiteX13" fmla="*/ 0 w 3200400"/>
                <a:gd name="connsiteY13" fmla="*/ 1717675 h 3870326"/>
                <a:gd name="connsiteX14" fmla="*/ 0 w 3200400"/>
                <a:gd name="connsiteY14" fmla="*/ 688975 h 3870326"/>
                <a:gd name="connsiteX15" fmla="*/ 1609140 w 3200400"/>
                <a:gd name="connsiteY15" fmla="*/ 1063625 h 3870326"/>
                <a:gd name="connsiteX16" fmla="*/ 3200400 w 3200400"/>
                <a:gd name="connsiteY16" fmla="*/ 688975 h 3870326"/>
                <a:gd name="connsiteX17" fmla="*/ 3200400 w 3200400"/>
                <a:gd name="connsiteY17" fmla="*/ 1438275 h 3870326"/>
                <a:gd name="connsiteX18" fmla="*/ 1609140 w 3200400"/>
                <a:gd name="connsiteY18" fmla="*/ 1812925 h 3870326"/>
                <a:gd name="connsiteX19" fmla="*/ 0 w 3200400"/>
                <a:gd name="connsiteY19" fmla="*/ 1438275 h 3870326"/>
                <a:gd name="connsiteX20" fmla="*/ 0 w 3200400"/>
                <a:gd name="connsiteY20" fmla="*/ 688975 h 3870326"/>
                <a:gd name="connsiteX21" fmla="*/ 1600200 w 3200400"/>
                <a:gd name="connsiteY21" fmla="*/ 0 h 3870326"/>
                <a:gd name="connsiteX22" fmla="*/ 3200400 w 3200400"/>
                <a:gd name="connsiteY22" fmla="*/ 392113 h 3870326"/>
                <a:gd name="connsiteX23" fmla="*/ 1600200 w 3200400"/>
                <a:gd name="connsiteY23" fmla="*/ 784226 h 3870326"/>
                <a:gd name="connsiteX24" fmla="*/ 0 w 3200400"/>
                <a:gd name="connsiteY24" fmla="*/ 392113 h 3870326"/>
                <a:gd name="connsiteX25" fmla="*/ 1600200 w 3200400"/>
                <a:gd name="connsiteY25" fmla="*/ 0 h 3870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200400" h="3870326">
                  <a:moveTo>
                    <a:pt x="0" y="2746376"/>
                  </a:moveTo>
                  <a:cubicBezTo>
                    <a:pt x="0" y="2960462"/>
                    <a:pt x="715173" y="3121026"/>
                    <a:pt x="1609140" y="3121026"/>
                  </a:cubicBezTo>
                  <a:cubicBezTo>
                    <a:pt x="2485227" y="3121026"/>
                    <a:pt x="3200400" y="2960462"/>
                    <a:pt x="3200400" y="2746376"/>
                  </a:cubicBezTo>
                  <a:cubicBezTo>
                    <a:pt x="3200400" y="2746376"/>
                    <a:pt x="3200400" y="2746376"/>
                    <a:pt x="3200400" y="3495676"/>
                  </a:cubicBezTo>
                  <a:cubicBezTo>
                    <a:pt x="3200400" y="3691921"/>
                    <a:pt x="2485227" y="3870326"/>
                    <a:pt x="1609140" y="3870326"/>
                  </a:cubicBezTo>
                  <a:cubicBezTo>
                    <a:pt x="715173" y="3870326"/>
                    <a:pt x="0" y="3691921"/>
                    <a:pt x="0" y="3495676"/>
                  </a:cubicBezTo>
                  <a:cubicBezTo>
                    <a:pt x="0" y="3495676"/>
                    <a:pt x="0" y="3495676"/>
                    <a:pt x="0" y="2746376"/>
                  </a:cubicBezTo>
                  <a:close/>
                  <a:moveTo>
                    <a:pt x="0" y="1717675"/>
                  </a:moveTo>
                  <a:cubicBezTo>
                    <a:pt x="0" y="1931761"/>
                    <a:pt x="715173" y="2092325"/>
                    <a:pt x="1609140" y="2092325"/>
                  </a:cubicBezTo>
                  <a:cubicBezTo>
                    <a:pt x="2485227" y="2092325"/>
                    <a:pt x="3200400" y="1931761"/>
                    <a:pt x="3200400" y="1717675"/>
                  </a:cubicBezTo>
                  <a:cubicBezTo>
                    <a:pt x="3200400" y="1717675"/>
                    <a:pt x="3200400" y="1717675"/>
                    <a:pt x="3200400" y="2466975"/>
                  </a:cubicBezTo>
                  <a:cubicBezTo>
                    <a:pt x="3200400" y="2663220"/>
                    <a:pt x="2485227" y="2841625"/>
                    <a:pt x="1609140" y="2841625"/>
                  </a:cubicBezTo>
                  <a:cubicBezTo>
                    <a:pt x="715173" y="2841625"/>
                    <a:pt x="0" y="2663220"/>
                    <a:pt x="0" y="2466975"/>
                  </a:cubicBezTo>
                  <a:cubicBezTo>
                    <a:pt x="0" y="2466975"/>
                    <a:pt x="0" y="2466975"/>
                    <a:pt x="0" y="1717675"/>
                  </a:cubicBezTo>
                  <a:close/>
                  <a:moveTo>
                    <a:pt x="0" y="688975"/>
                  </a:moveTo>
                  <a:cubicBezTo>
                    <a:pt x="0" y="903061"/>
                    <a:pt x="715173" y="1063625"/>
                    <a:pt x="1609140" y="1063625"/>
                  </a:cubicBezTo>
                  <a:cubicBezTo>
                    <a:pt x="2485227" y="1063625"/>
                    <a:pt x="3200400" y="903061"/>
                    <a:pt x="3200400" y="688975"/>
                  </a:cubicBezTo>
                  <a:cubicBezTo>
                    <a:pt x="3200400" y="688975"/>
                    <a:pt x="3200400" y="688975"/>
                    <a:pt x="3200400" y="1438275"/>
                  </a:cubicBezTo>
                  <a:cubicBezTo>
                    <a:pt x="3200400" y="1652361"/>
                    <a:pt x="2485227" y="1812925"/>
                    <a:pt x="1609140" y="1812925"/>
                  </a:cubicBezTo>
                  <a:cubicBezTo>
                    <a:pt x="715173" y="1812925"/>
                    <a:pt x="0" y="1652361"/>
                    <a:pt x="0" y="1438275"/>
                  </a:cubicBezTo>
                  <a:cubicBezTo>
                    <a:pt x="0" y="1438275"/>
                    <a:pt x="0" y="1438275"/>
                    <a:pt x="0" y="688975"/>
                  </a:cubicBezTo>
                  <a:close/>
                  <a:moveTo>
                    <a:pt x="1600200" y="0"/>
                  </a:moveTo>
                  <a:cubicBezTo>
                    <a:pt x="2483966" y="0"/>
                    <a:pt x="3200400" y="175555"/>
                    <a:pt x="3200400" y="392113"/>
                  </a:cubicBezTo>
                  <a:cubicBezTo>
                    <a:pt x="3200400" y="608671"/>
                    <a:pt x="2483966" y="784226"/>
                    <a:pt x="1600200" y="784226"/>
                  </a:cubicBezTo>
                  <a:cubicBezTo>
                    <a:pt x="716434" y="784226"/>
                    <a:pt x="0" y="608671"/>
                    <a:pt x="0" y="392113"/>
                  </a:cubicBezTo>
                  <a:cubicBezTo>
                    <a:pt x="0" y="175555"/>
                    <a:pt x="716434" y="0"/>
                    <a:pt x="1600200" y="0"/>
                  </a:cubicBezTo>
                  <a:close/>
                </a:path>
              </a:pathLst>
            </a:custGeom>
            <a:solidFill>
              <a:srgbClr val="647D2D"/>
            </a:solidFill>
            <a:ln>
              <a:noFill/>
            </a:ln>
          </p:spPr>
          <p:txBody>
            <a:bodyPr vert="horz" wrap="square" lIns="45696" tIns="22848" rIns="45696" bIns="22848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999" b="0" i="0" u="none" strike="noStrike" kern="0" cap="none" spc="0" normalizeH="0" baseline="0" noProof="0">
                <a:ln>
                  <a:noFill/>
                </a:ln>
                <a:solidFill>
                  <a:srgbClr val="ADBECB"/>
                </a:solidFill>
                <a:effectLst/>
                <a:uLnTx/>
                <a:uFillTx/>
                <a:latin typeface="Arial"/>
                <a:ea typeface="+mn-ea"/>
                <a:sym typeface="Avenir Next Medium"/>
              </a:endParaRPr>
            </a:p>
          </p:txBody>
        </p:sp>
        <p:pic>
          <p:nvPicPr>
            <p:cNvPr id="80" name="Picture 6" descr="Image result for manual entry icon">
              <a:extLst>
                <a:ext uri="{FF2B5EF4-FFF2-40B4-BE49-F238E27FC236}">
                  <a16:creationId xmlns:a16="http://schemas.microsoft.com/office/drawing/2014/main" id="{7821A339-14F2-48DC-8A82-5E50F4A163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7" cstate="print">
              <a:duotone>
                <a:prstClr val="black"/>
                <a:srgbClr val="FFFFFF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62370" y="6032866"/>
              <a:ext cx="381330" cy="3813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1" name="Picture 4" descr="Image result for excel logo">
              <a:extLst>
                <a:ext uri="{FF2B5EF4-FFF2-40B4-BE49-F238E27FC236}">
                  <a16:creationId xmlns:a16="http://schemas.microsoft.com/office/drawing/2014/main" id="{C075C37F-F92C-4BF4-8ED2-DA38D9F5F7D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7901634" y="6037907"/>
              <a:ext cx="477256" cy="4586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2" name="Freihandform: Form 155">
              <a:extLst>
                <a:ext uri="{FF2B5EF4-FFF2-40B4-BE49-F238E27FC236}">
                  <a16:creationId xmlns:a16="http://schemas.microsoft.com/office/drawing/2014/main" id="{17D05CDA-3D00-43CE-8B20-214AB27104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21628" y="5991927"/>
              <a:ext cx="321145" cy="390138"/>
            </a:xfrm>
            <a:custGeom>
              <a:avLst/>
              <a:gdLst>
                <a:gd name="connsiteX0" fmla="*/ 0 w 3200400"/>
                <a:gd name="connsiteY0" fmla="*/ 2746376 h 3870326"/>
                <a:gd name="connsiteX1" fmla="*/ 1609140 w 3200400"/>
                <a:gd name="connsiteY1" fmla="*/ 3121026 h 3870326"/>
                <a:gd name="connsiteX2" fmla="*/ 3200400 w 3200400"/>
                <a:gd name="connsiteY2" fmla="*/ 2746376 h 3870326"/>
                <a:gd name="connsiteX3" fmla="*/ 3200400 w 3200400"/>
                <a:gd name="connsiteY3" fmla="*/ 3495676 h 3870326"/>
                <a:gd name="connsiteX4" fmla="*/ 1609140 w 3200400"/>
                <a:gd name="connsiteY4" fmla="*/ 3870326 h 3870326"/>
                <a:gd name="connsiteX5" fmla="*/ 0 w 3200400"/>
                <a:gd name="connsiteY5" fmla="*/ 3495676 h 3870326"/>
                <a:gd name="connsiteX6" fmla="*/ 0 w 3200400"/>
                <a:gd name="connsiteY6" fmla="*/ 2746376 h 3870326"/>
                <a:gd name="connsiteX7" fmla="*/ 0 w 3200400"/>
                <a:gd name="connsiteY7" fmla="*/ 1717675 h 3870326"/>
                <a:gd name="connsiteX8" fmla="*/ 1609140 w 3200400"/>
                <a:gd name="connsiteY8" fmla="*/ 2092325 h 3870326"/>
                <a:gd name="connsiteX9" fmla="*/ 3200400 w 3200400"/>
                <a:gd name="connsiteY9" fmla="*/ 1717675 h 3870326"/>
                <a:gd name="connsiteX10" fmla="*/ 3200400 w 3200400"/>
                <a:gd name="connsiteY10" fmla="*/ 2466975 h 3870326"/>
                <a:gd name="connsiteX11" fmla="*/ 1609140 w 3200400"/>
                <a:gd name="connsiteY11" fmla="*/ 2841625 h 3870326"/>
                <a:gd name="connsiteX12" fmla="*/ 0 w 3200400"/>
                <a:gd name="connsiteY12" fmla="*/ 2466975 h 3870326"/>
                <a:gd name="connsiteX13" fmla="*/ 0 w 3200400"/>
                <a:gd name="connsiteY13" fmla="*/ 1717675 h 3870326"/>
                <a:gd name="connsiteX14" fmla="*/ 0 w 3200400"/>
                <a:gd name="connsiteY14" fmla="*/ 688975 h 3870326"/>
                <a:gd name="connsiteX15" fmla="*/ 1609140 w 3200400"/>
                <a:gd name="connsiteY15" fmla="*/ 1063625 h 3870326"/>
                <a:gd name="connsiteX16" fmla="*/ 3200400 w 3200400"/>
                <a:gd name="connsiteY16" fmla="*/ 688975 h 3870326"/>
                <a:gd name="connsiteX17" fmla="*/ 3200400 w 3200400"/>
                <a:gd name="connsiteY17" fmla="*/ 1438275 h 3870326"/>
                <a:gd name="connsiteX18" fmla="*/ 1609140 w 3200400"/>
                <a:gd name="connsiteY18" fmla="*/ 1812925 h 3870326"/>
                <a:gd name="connsiteX19" fmla="*/ 0 w 3200400"/>
                <a:gd name="connsiteY19" fmla="*/ 1438275 h 3870326"/>
                <a:gd name="connsiteX20" fmla="*/ 0 w 3200400"/>
                <a:gd name="connsiteY20" fmla="*/ 688975 h 3870326"/>
                <a:gd name="connsiteX21" fmla="*/ 1600200 w 3200400"/>
                <a:gd name="connsiteY21" fmla="*/ 0 h 3870326"/>
                <a:gd name="connsiteX22" fmla="*/ 3200400 w 3200400"/>
                <a:gd name="connsiteY22" fmla="*/ 392113 h 3870326"/>
                <a:gd name="connsiteX23" fmla="*/ 1600200 w 3200400"/>
                <a:gd name="connsiteY23" fmla="*/ 784226 h 3870326"/>
                <a:gd name="connsiteX24" fmla="*/ 0 w 3200400"/>
                <a:gd name="connsiteY24" fmla="*/ 392113 h 3870326"/>
                <a:gd name="connsiteX25" fmla="*/ 1600200 w 3200400"/>
                <a:gd name="connsiteY25" fmla="*/ 0 h 3870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200400" h="3870326">
                  <a:moveTo>
                    <a:pt x="0" y="2746376"/>
                  </a:moveTo>
                  <a:cubicBezTo>
                    <a:pt x="0" y="2960462"/>
                    <a:pt x="715173" y="3121026"/>
                    <a:pt x="1609140" y="3121026"/>
                  </a:cubicBezTo>
                  <a:cubicBezTo>
                    <a:pt x="2485227" y="3121026"/>
                    <a:pt x="3200400" y="2960462"/>
                    <a:pt x="3200400" y="2746376"/>
                  </a:cubicBezTo>
                  <a:cubicBezTo>
                    <a:pt x="3200400" y="2746376"/>
                    <a:pt x="3200400" y="2746376"/>
                    <a:pt x="3200400" y="3495676"/>
                  </a:cubicBezTo>
                  <a:cubicBezTo>
                    <a:pt x="3200400" y="3691921"/>
                    <a:pt x="2485227" y="3870326"/>
                    <a:pt x="1609140" y="3870326"/>
                  </a:cubicBezTo>
                  <a:cubicBezTo>
                    <a:pt x="715173" y="3870326"/>
                    <a:pt x="0" y="3691921"/>
                    <a:pt x="0" y="3495676"/>
                  </a:cubicBezTo>
                  <a:cubicBezTo>
                    <a:pt x="0" y="3495676"/>
                    <a:pt x="0" y="3495676"/>
                    <a:pt x="0" y="2746376"/>
                  </a:cubicBezTo>
                  <a:close/>
                  <a:moveTo>
                    <a:pt x="0" y="1717675"/>
                  </a:moveTo>
                  <a:cubicBezTo>
                    <a:pt x="0" y="1931761"/>
                    <a:pt x="715173" y="2092325"/>
                    <a:pt x="1609140" y="2092325"/>
                  </a:cubicBezTo>
                  <a:cubicBezTo>
                    <a:pt x="2485227" y="2092325"/>
                    <a:pt x="3200400" y="1931761"/>
                    <a:pt x="3200400" y="1717675"/>
                  </a:cubicBezTo>
                  <a:cubicBezTo>
                    <a:pt x="3200400" y="1717675"/>
                    <a:pt x="3200400" y="1717675"/>
                    <a:pt x="3200400" y="2466975"/>
                  </a:cubicBezTo>
                  <a:cubicBezTo>
                    <a:pt x="3200400" y="2663220"/>
                    <a:pt x="2485227" y="2841625"/>
                    <a:pt x="1609140" y="2841625"/>
                  </a:cubicBezTo>
                  <a:cubicBezTo>
                    <a:pt x="715173" y="2841625"/>
                    <a:pt x="0" y="2663220"/>
                    <a:pt x="0" y="2466975"/>
                  </a:cubicBezTo>
                  <a:cubicBezTo>
                    <a:pt x="0" y="2466975"/>
                    <a:pt x="0" y="2466975"/>
                    <a:pt x="0" y="1717675"/>
                  </a:cubicBezTo>
                  <a:close/>
                  <a:moveTo>
                    <a:pt x="0" y="688975"/>
                  </a:moveTo>
                  <a:cubicBezTo>
                    <a:pt x="0" y="903061"/>
                    <a:pt x="715173" y="1063625"/>
                    <a:pt x="1609140" y="1063625"/>
                  </a:cubicBezTo>
                  <a:cubicBezTo>
                    <a:pt x="2485227" y="1063625"/>
                    <a:pt x="3200400" y="903061"/>
                    <a:pt x="3200400" y="688975"/>
                  </a:cubicBezTo>
                  <a:cubicBezTo>
                    <a:pt x="3200400" y="688975"/>
                    <a:pt x="3200400" y="688975"/>
                    <a:pt x="3200400" y="1438275"/>
                  </a:cubicBezTo>
                  <a:cubicBezTo>
                    <a:pt x="3200400" y="1652361"/>
                    <a:pt x="2485227" y="1812925"/>
                    <a:pt x="1609140" y="1812925"/>
                  </a:cubicBezTo>
                  <a:cubicBezTo>
                    <a:pt x="715173" y="1812925"/>
                    <a:pt x="0" y="1652361"/>
                    <a:pt x="0" y="1438275"/>
                  </a:cubicBezTo>
                  <a:cubicBezTo>
                    <a:pt x="0" y="1438275"/>
                    <a:pt x="0" y="1438275"/>
                    <a:pt x="0" y="688975"/>
                  </a:cubicBezTo>
                  <a:close/>
                  <a:moveTo>
                    <a:pt x="1600200" y="0"/>
                  </a:moveTo>
                  <a:cubicBezTo>
                    <a:pt x="2483966" y="0"/>
                    <a:pt x="3200400" y="175555"/>
                    <a:pt x="3200400" y="392113"/>
                  </a:cubicBezTo>
                  <a:cubicBezTo>
                    <a:pt x="3200400" y="608671"/>
                    <a:pt x="2483966" y="784226"/>
                    <a:pt x="1600200" y="784226"/>
                  </a:cubicBezTo>
                  <a:cubicBezTo>
                    <a:pt x="716434" y="784226"/>
                    <a:pt x="0" y="608671"/>
                    <a:pt x="0" y="392113"/>
                  </a:cubicBezTo>
                  <a:cubicBezTo>
                    <a:pt x="0" y="175555"/>
                    <a:pt x="716434" y="0"/>
                    <a:pt x="1600200" y="0"/>
                  </a:cubicBezTo>
                  <a:close/>
                </a:path>
              </a:pathLst>
            </a:custGeom>
            <a:solidFill>
              <a:srgbClr val="005F87"/>
            </a:solidFill>
            <a:ln>
              <a:noFill/>
            </a:ln>
          </p:spPr>
          <p:txBody>
            <a:bodyPr vert="horz" wrap="square" lIns="45696" tIns="22848" rIns="45696" bIns="22848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999" b="0" i="0" u="none" strike="noStrike" kern="0" cap="none" spc="0" normalizeH="0" baseline="0" noProof="0">
                <a:ln>
                  <a:noFill/>
                </a:ln>
                <a:solidFill>
                  <a:srgbClr val="ADBECB"/>
                </a:solidFill>
                <a:effectLst/>
                <a:uLnTx/>
                <a:uFillTx/>
                <a:latin typeface="Arial"/>
                <a:ea typeface="+mn-ea"/>
                <a:sym typeface="Avenir Next Medium"/>
              </a:endParaRPr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90833448-2EED-432C-ADA0-7F70A7DE28B4}"/>
                </a:ext>
              </a:extLst>
            </p:cNvPr>
            <p:cNvSpPr/>
            <p:nvPr/>
          </p:nvSpPr>
          <p:spPr bwMode="auto">
            <a:xfrm>
              <a:off x="415144" y="6414195"/>
              <a:ext cx="11293255" cy="114378"/>
            </a:xfrm>
            <a:prstGeom prst="rect">
              <a:avLst/>
            </a:prstGeom>
            <a:solidFill>
              <a:srgbClr val="879BAA"/>
            </a:solidFill>
            <a:ln>
              <a:noFill/>
            </a:ln>
            <a:effectLst/>
          </p:spPr>
          <p:txBody>
            <a:bodyPr wrap="square" lIns="107890" tIns="53945" rIns="107890" bIns="53945" numCol="1" spcCol="143928" rtlCol="0" anchor="ctr">
              <a:noAutofit/>
            </a:bodyPr>
            <a:lstStyle/>
            <a:p>
              <a:pPr marL="0" marR="0" lvl="0" indent="0" algn="ctr" defTabSz="913623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9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</a:endParaRPr>
            </a:p>
          </p:txBody>
        </p:sp>
        <p:sp>
          <p:nvSpPr>
            <p:cNvPr id="84" name="Rounded Rectangle 165">
              <a:extLst>
                <a:ext uri="{FF2B5EF4-FFF2-40B4-BE49-F238E27FC236}">
                  <a16:creationId xmlns:a16="http://schemas.microsoft.com/office/drawing/2014/main" id="{B162993E-1468-492E-9152-EC76F3667156}"/>
                </a:ext>
              </a:extLst>
            </p:cNvPr>
            <p:cNvSpPr/>
            <p:nvPr/>
          </p:nvSpPr>
          <p:spPr bwMode="auto">
            <a:xfrm>
              <a:off x="8953832" y="6564642"/>
              <a:ext cx="1331455" cy="269889"/>
            </a:xfrm>
            <a:prstGeom prst="roundRect">
              <a:avLst/>
            </a:prstGeom>
            <a:solidFill>
              <a:srgbClr val="879BAA"/>
            </a:solidFill>
            <a:ln>
              <a:noFill/>
            </a:ln>
            <a:effectLst/>
          </p:spPr>
          <p:txBody>
            <a:bodyPr wrap="square" lIns="107890" tIns="53945" rIns="107890" bIns="53945" numCol="1" spcCol="143928" rtlCol="0" anchor="ctr">
              <a:noAutofit/>
            </a:bodyPr>
            <a:lstStyle/>
            <a:p>
              <a:pPr marL="0" marR="0" lvl="0" indent="0" algn="ctr" defTabSz="913623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rPr>
                <a:t>CRM</a:t>
              </a:r>
            </a:p>
          </p:txBody>
        </p:sp>
        <p:sp>
          <p:nvSpPr>
            <p:cNvPr id="85" name="Freihandform: Form 155">
              <a:extLst>
                <a:ext uri="{FF2B5EF4-FFF2-40B4-BE49-F238E27FC236}">
                  <a16:creationId xmlns:a16="http://schemas.microsoft.com/office/drawing/2014/main" id="{5EC03299-7A42-491E-9C97-E093E02608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32197" y="6082802"/>
              <a:ext cx="321145" cy="390138"/>
            </a:xfrm>
            <a:custGeom>
              <a:avLst/>
              <a:gdLst>
                <a:gd name="connsiteX0" fmla="*/ 0 w 3200400"/>
                <a:gd name="connsiteY0" fmla="*/ 2746376 h 3870326"/>
                <a:gd name="connsiteX1" fmla="*/ 1609140 w 3200400"/>
                <a:gd name="connsiteY1" fmla="*/ 3121026 h 3870326"/>
                <a:gd name="connsiteX2" fmla="*/ 3200400 w 3200400"/>
                <a:gd name="connsiteY2" fmla="*/ 2746376 h 3870326"/>
                <a:gd name="connsiteX3" fmla="*/ 3200400 w 3200400"/>
                <a:gd name="connsiteY3" fmla="*/ 3495676 h 3870326"/>
                <a:gd name="connsiteX4" fmla="*/ 1609140 w 3200400"/>
                <a:gd name="connsiteY4" fmla="*/ 3870326 h 3870326"/>
                <a:gd name="connsiteX5" fmla="*/ 0 w 3200400"/>
                <a:gd name="connsiteY5" fmla="*/ 3495676 h 3870326"/>
                <a:gd name="connsiteX6" fmla="*/ 0 w 3200400"/>
                <a:gd name="connsiteY6" fmla="*/ 2746376 h 3870326"/>
                <a:gd name="connsiteX7" fmla="*/ 0 w 3200400"/>
                <a:gd name="connsiteY7" fmla="*/ 1717675 h 3870326"/>
                <a:gd name="connsiteX8" fmla="*/ 1609140 w 3200400"/>
                <a:gd name="connsiteY8" fmla="*/ 2092325 h 3870326"/>
                <a:gd name="connsiteX9" fmla="*/ 3200400 w 3200400"/>
                <a:gd name="connsiteY9" fmla="*/ 1717675 h 3870326"/>
                <a:gd name="connsiteX10" fmla="*/ 3200400 w 3200400"/>
                <a:gd name="connsiteY10" fmla="*/ 2466975 h 3870326"/>
                <a:gd name="connsiteX11" fmla="*/ 1609140 w 3200400"/>
                <a:gd name="connsiteY11" fmla="*/ 2841625 h 3870326"/>
                <a:gd name="connsiteX12" fmla="*/ 0 w 3200400"/>
                <a:gd name="connsiteY12" fmla="*/ 2466975 h 3870326"/>
                <a:gd name="connsiteX13" fmla="*/ 0 w 3200400"/>
                <a:gd name="connsiteY13" fmla="*/ 1717675 h 3870326"/>
                <a:gd name="connsiteX14" fmla="*/ 0 w 3200400"/>
                <a:gd name="connsiteY14" fmla="*/ 688975 h 3870326"/>
                <a:gd name="connsiteX15" fmla="*/ 1609140 w 3200400"/>
                <a:gd name="connsiteY15" fmla="*/ 1063625 h 3870326"/>
                <a:gd name="connsiteX16" fmla="*/ 3200400 w 3200400"/>
                <a:gd name="connsiteY16" fmla="*/ 688975 h 3870326"/>
                <a:gd name="connsiteX17" fmla="*/ 3200400 w 3200400"/>
                <a:gd name="connsiteY17" fmla="*/ 1438275 h 3870326"/>
                <a:gd name="connsiteX18" fmla="*/ 1609140 w 3200400"/>
                <a:gd name="connsiteY18" fmla="*/ 1812925 h 3870326"/>
                <a:gd name="connsiteX19" fmla="*/ 0 w 3200400"/>
                <a:gd name="connsiteY19" fmla="*/ 1438275 h 3870326"/>
                <a:gd name="connsiteX20" fmla="*/ 0 w 3200400"/>
                <a:gd name="connsiteY20" fmla="*/ 688975 h 3870326"/>
                <a:gd name="connsiteX21" fmla="*/ 1600200 w 3200400"/>
                <a:gd name="connsiteY21" fmla="*/ 0 h 3870326"/>
                <a:gd name="connsiteX22" fmla="*/ 3200400 w 3200400"/>
                <a:gd name="connsiteY22" fmla="*/ 392113 h 3870326"/>
                <a:gd name="connsiteX23" fmla="*/ 1600200 w 3200400"/>
                <a:gd name="connsiteY23" fmla="*/ 784226 h 3870326"/>
                <a:gd name="connsiteX24" fmla="*/ 0 w 3200400"/>
                <a:gd name="connsiteY24" fmla="*/ 392113 h 3870326"/>
                <a:gd name="connsiteX25" fmla="*/ 1600200 w 3200400"/>
                <a:gd name="connsiteY25" fmla="*/ 0 h 3870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200400" h="3870326">
                  <a:moveTo>
                    <a:pt x="0" y="2746376"/>
                  </a:moveTo>
                  <a:cubicBezTo>
                    <a:pt x="0" y="2960462"/>
                    <a:pt x="715173" y="3121026"/>
                    <a:pt x="1609140" y="3121026"/>
                  </a:cubicBezTo>
                  <a:cubicBezTo>
                    <a:pt x="2485227" y="3121026"/>
                    <a:pt x="3200400" y="2960462"/>
                    <a:pt x="3200400" y="2746376"/>
                  </a:cubicBezTo>
                  <a:cubicBezTo>
                    <a:pt x="3200400" y="2746376"/>
                    <a:pt x="3200400" y="2746376"/>
                    <a:pt x="3200400" y="3495676"/>
                  </a:cubicBezTo>
                  <a:cubicBezTo>
                    <a:pt x="3200400" y="3691921"/>
                    <a:pt x="2485227" y="3870326"/>
                    <a:pt x="1609140" y="3870326"/>
                  </a:cubicBezTo>
                  <a:cubicBezTo>
                    <a:pt x="715173" y="3870326"/>
                    <a:pt x="0" y="3691921"/>
                    <a:pt x="0" y="3495676"/>
                  </a:cubicBezTo>
                  <a:cubicBezTo>
                    <a:pt x="0" y="3495676"/>
                    <a:pt x="0" y="3495676"/>
                    <a:pt x="0" y="2746376"/>
                  </a:cubicBezTo>
                  <a:close/>
                  <a:moveTo>
                    <a:pt x="0" y="1717675"/>
                  </a:moveTo>
                  <a:cubicBezTo>
                    <a:pt x="0" y="1931761"/>
                    <a:pt x="715173" y="2092325"/>
                    <a:pt x="1609140" y="2092325"/>
                  </a:cubicBezTo>
                  <a:cubicBezTo>
                    <a:pt x="2485227" y="2092325"/>
                    <a:pt x="3200400" y="1931761"/>
                    <a:pt x="3200400" y="1717675"/>
                  </a:cubicBezTo>
                  <a:cubicBezTo>
                    <a:pt x="3200400" y="1717675"/>
                    <a:pt x="3200400" y="1717675"/>
                    <a:pt x="3200400" y="2466975"/>
                  </a:cubicBezTo>
                  <a:cubicBezTo>
                    <a:pt x="3200400" y="2663220"/>
                    <a:pt x="2485227" y="2841625"/>
                    <a:pt x="1609140" y="2841625"/>
                  </a:cubicBezTo>
                  <a:cubicBezTo>
                    <a:pt x="715173" y="2841625"/>
                    <a:pt x="0" y="2663220"/>
                    <a:pt x="0" y="2466975"/>
                  </a:cubicBezTo>
                  <a:cubicBezTo>
                    <a:pt x="0" y="2466975"/>
                    <a:pt x="0" y="2466975"/>
                    <a:pt x="0" y="1717675"/>
                  </a:cubicBezTo>
                  <a:close/>
                  <a:moveTo>
                    <a:pt x="0" y="688975"/>
                  </a:moveTo>
                  <a:cubicBezTo>
                    <a:pt x="0" y="903061"/>
                    <a:pt x="715173" y="1063625"/>
                    <a:pt x="1609140" y="1063625"/>
                  </a:cubicBezTo>
                  <a:cubicBezTo>
                    <a:pt x="2485227" y="1063625"/>
                    <a:pt x="3200400" y="903061"/>
                    <a:pt x="3200400" y="688975"/>
                  </a:cubicBezTo>
                  <a:cubicBezTo>
                    <a:pt x="3200400" y="688975"/>
                    <a:pt x="3200400" y="688975"/>
                    <a:pt x="3200400" y="1438275"/>
                  </a:cubicBezTo>
                  <a:cubicBezTo>
                    <a:pt x="3200400" y="1652361"/>
                    <a:pt x="2485227" y="1812925"/>
                    <a:pt x="1609140" y="1812925"/>
                  </a:cubicBezTo>
                  <a:cubicBezTo>
                    <a:pt x="715173" y="1812925"/>
                    <a:pt x="0" y="1652361"/>
                    <a:pt x="0" y="1438275"/>
                  </a:cubicBezTo>
                  <a:cubicBezTo>
                    <a:pt x="0" y="1438275"/>
                    <a:pt x="0" y="1438275"/>
                    <a:pt x="0" y="688975"/>
                  </a:cubicBezTo>
                  <a:close/>
                  <a:moveTo>
                    <a:pt x="1600200" y="0"/>
                  </a:moveTo>
                  <a:cubicBezTo>
                    <a:pt x="2483966" y="0"/>
                    <a:pt x="3200400" y="175555"/>
                    <a:pt x="3200400" y="392113"/>
                  </a:cubicBezTo>
                  <a:cubicBezTo>
                    <a:pt x="3200400" y="608671"/>
                    <a:pt x="2483966" y="784226"/>
                    <a:pt x="1600200" y="784226"/>
                  </a:cubicBezTo>
                  <a:cubicBezTo>
                    <a:pt x="716434" y="784226"/>
                    <a:pt x="0" y="608671"/>
                    <a:pt x="0" y="392113"/>
                  </a:cubicBezTo>
                  <a:cubicBezTo>
                    <a:pt x="0" y="175555"/>
                    <a:pt x="716434" y="0"/>
                    <a:pt x="1600200" y="0"/>
                  </a:cubicBezTo>
                  <a:close/>
                </a:path>
              </a:pathLst>
            </a:custGeom>
            <a:solidFill>
              <a:srgbClr val="647D2D"/>
            </a:solidFill>
            <a:ln>
              <a:noFill/>
            </a:ln>
          </p:spPr>
          <p:txBody>
            <a:bodyPr vert="horz" wrap="square" lIns="45696" tIns="22848" rIns="45696" bIns="22848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999" b="0" i="0" u="none" strike="noStrike" kern="0" cap="none" spc="0" normalizeH="0" baseline="0" noProof="0">
                <a:ln>
                  <a:noFill/>
                </a:ln>
                <a:solidFill>
                  <a:srgbClr val="ADBECB"/>
                </a:solidFill>
                <a:effectLst/>
                <a:uLnTx/>
                <a:uFillTx/>
                <a:latin typeface="Arial"/>
                <a:ea typeface="+mn-ea"/>
                <a:sym typeface="Avenir Next Medium"/>
              </a:endParaRPr>
            </a:p>
          </p:txBody>
        </p:sp>
        <p:sp>
          <p:nvSpPr>
            <p:cNvPr id="86" name="Rounded Rectangle 169">
              <a:extLst>
                <a:ext uri="{FF2B5EF4-FFF2-40B4-BE49-F238E27FC236}">
                  <a16:creationId xmlns:a16="http://schemas.microsoft.com/office/drawing/2014/main" id="{6FB4929A-5C50-43C2-949F-935C3C7BCBEA}"/>
                </a:ext>
              </a:extLst>
            </p:cNvPr>
            <p:cNvSpPr/>
            <p:nvPr/>
          </p:nvSpPr>
          <p:spPr bwMode="auto">
            <a:xfrm>
              <a:off x="10376944" y="6564642"/>
              <a:ext cx="1331455" cy="269889"/>
            </a:xfrm>
            <a:prstGeom prst="roundRect">
              <a:avLst/>
            </a:prstGeom>
            <a:solidFill>
              <a:srgbClr val="879BAA"/>
            </a:solidFill>
            <a:ln>
              <a:noFill/>
            </a:ln>
            <a:effectLst/>
          </p:spPr>
          <p:txBody>
            <a:bodyPr wrap="square" lIns="107890" tIns="53945" rIns="107890" bIns="53945" numCol="1" spcCol="143928" rtlCol="0" anchor="ctr">
              <a:noAutofit/>
            </a:bodyPr>
            <a:lstStyle/>
            <a:p>
              <a:pPr marL="0" marR="0" lvl="0" indent="0" algn="ctr" defTabSz="913623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</a:rPr>
                <a:t>Oracle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58ECF3FE-E608-425F-AD1D-D9E2E1C5267C}"/>
                </a:ext>
              </a:extLst>
            </p:cNvPr>
            <p:cNvSpPr txBox="1"/>
            <p:nvPr/>
          </p:nvSpPr>
          <p:spPr>
            <a:xfrm>
              <a:off x="6045526" y="1559194"/>
              <a:ext cx="1876819" cy="7586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171364" marR="0" lvl="0" indent="-171364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49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Utilization &amp; Efficiency</a:t>
              </a:r>
            </a:p>
            <a:p>
              <a:pPr marL="171364" marR="0" lvl="0" indent="-171364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49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Net Revenue</a:t>
              </a:r>
            </a:p>
            <a:p>
              <a:pPr marL="171364" marR="0" lvl="0" indent="-171364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49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afety &amp; Energy Indicators</a:t>
              </a:r>
            </a:p>
            <a:p>
              <a:pPr marL="171364" marR="0" lvl="0" indent="-171364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49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Quality Loss &amp; Waste</a:t>
              </a:r>
            </a:p>
            <a:p>
              <a:pPr marL="171364" marR="0" lvl="0" indent="-171364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49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Market position</a:t>
              </a:r>
            </a:p>
            <a:p>
              <a:pPr marL="171364" marR="0" lvl="0" indent="-171364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04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82C73F58-DF69-48AA-AEFD-9BA78A91D480}"/>
                </a:ext>
              </a:extLst>
            </p:cNvPr>
            <p:cNvSpPr txBox="1"/>
            <p:nvPr/>
          </p:nvSpPr>
          <p:spPr>
            <a:xfrm>
              <a:off x="2589081" y="3096064"/>
              <a:ext cx="1864485" cy="54278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171364" marR="0" lvl="0" indent="-171364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Production Yield</a:t>
              </a:r>
            </a:p>
            <a:p>
              <a:pPr marL="171364" marR="0" lvl="0" indent="-171364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Raw material vs production</a:t>
              </a:r>
            </a:p>
            <a:p>
              <a:pPr marL="171364" marR="0" lvl="0" indent="-171364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OEE (Overall Equipment Effectiveness)</a:t>
              </a:r>
            </a:p>
            <a:p>
              <a:pPr marL="171364" marR="0" lvl="0" indent="-171364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Production Cost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05D33F75-314A-4688-9FB8-602AE082BBA5}"/>
                </a:ext>
              </a:extLst>
            </p:cNvPr>
            <p:cNvSpPr txBox="1"/>
            <p:nvPr/>
          </p:nvSpPr>
          <p:spPr>
            <a:xfrm>
              <a:off x="374344" y="5071777"/>
              <a:ext cx="1436272" cy="54278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171364" marR="0" lvl="0" indent="-171364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Production Yield</a:t>
              </a:r>
            </a:p>
            <a:p>
              <a:pPr marL="171364" marR="0" lvl="0" indent="-171364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apacity Utilization</a:t>
              </a:r>
            </a:p>
            <a:p>
              <a:pPr marL="171364" marR="0" lvl="0" indent="-171364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Production Cycle</a:t>
              </a:r>
            </a:p>
            <a:p>
              <a:pPr marL="171364" marR="0" lvl="0" indent="-171364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Production Cost</a:t>
              </a:r>
            </a:p>
            <a:p>
              <a:pPr marL="171364" marR="0" lvl="0" indent="-171364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Plan vs Actual</a:t>
              </a:r>
            </a:p>
            <a:p>
              <a:pPr marL="0" marR="0" lvl="0" indent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928FD52A-B46C-4228-983D-8E4F5F251D1C}"/>
                </a:ext>
              </a:extLst>
            </p:cNvPr>
            <p:cNvSpPr txBox="1"/>
            <p:nvPr/>
          </p:nvSpPr>
          <p:spPr>
            <a:xfrm>
              <a:off x="2892427" y="5071777"/>
              <a:ext cx="1173043" cy="54278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171364" marR="0" lvl="0" indent="-171364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Process &amp; Product Quality</a:t>
              </a:r>
            </a:p>
            <a:p>
              <a:pPr marL="171364" marR="0" lvl="0" indent="-171364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Rejects Analysis</a:t>
              </a:r>
            </a:p>
            <a:p>
              <a:pPr marL="171364" marR="0" lvl="0" indent="-171364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QC Reject Rate</a:t>
              </a:r>
            </a:p>
            <a:p>
              <a:pPr marL="171364" marR="0" lvl="0" indent="-171364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Quality Loss</a:t>
              </a:r>
            </a:p>
            <a:p>
              <a:pPr marL="0" marR="0" lvl="0" indent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2721F37B-9A68-43EB-9BA4-5A9623D81666}"/>
                </a:ext>
              </a:extLst>
            </p:cNvPr>
            <p:cNvSpPr txBox="1"/>
            <p:nvPr/>
          </p:nvSpPr>
          <p:spPr>
            <a:xfrm>
              <a:off x="6815705" y="5071777"/>
              <a:ext cx="1436272" cy="54278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171364" marR="0" lvl="0" indent="-171364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Inventory cost </a:t>
              </a:r>
            </a:p>
            <a:p>
              <a:pPr marL="0" marR="0" lvl="0" indent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         Plan vs Actual</a:t>
              </a:r>
            </a:p>
            <a:p>
              <a:pPr marL="171364" marR="0" lvl="0" indent="-171364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tock levels</a:t>
              </a:r>
            </a:p>
            <a:p>
              <a:pPr marL="171364" marR="0" lvl="0" indent="-171364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Inventory aging</a:t>
              </a:r>
            </a:p>
            <a:p>
              <a:pPr marL="0" marR="0" lvl="0" indent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FBF7CC0E-B837-4F25-810C-B1A450C842CA}"/>
                </a:ext>
              </a:extLst>
            </p:cNvPr>
            <p:cNvSpPr txBox="1"/>
            <p:nvPr/>
          </p:nvSpPr>
          <p:spPr>
            <a:xfrm>
              <a:off x="680904" y="2279770"/>
              <a:ext cx="1076587" cy="36346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171364" marR="0" lvl="0" indent="-171364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Incidents</a:t>
              </a:r>
            </a:p>
            <a:p>
              <a:pPr marL="171364" marR="0" lvl="0" indent="-171364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O2 Emissions</a:t>
              </a:r>
            </a:p>
            <a:p>
              <a:pPr marL="0" marR="0" lvl="0" indent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1412DE5E-CCB1-4B3F-A1C9-0631F35AA9DB}"/>
                </a:ext>
              </a:extLst>
            </p:cNvPr>
            <p:cNvSpPr txBox="1"/>
            <p:nvPr/>
          </p:nvSpPr>
          <p:spPr>
            <a:xfrm>
              <a:off x="7953285" y="5071777"/>
              <a:ext cx="1436272" cy="54278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171364" marR="0" lvl="0" indent="-171364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Facility Utilization</a:t>
              </a:r>
            </a:p>
            <a:p>
              <a:pPr marL="171364" marR="0" lvl="0" indent="-171364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Energy Cost </a:t>
              </a:r>
            </a:p>
            <a:p>
              <a:pPr marL="0" marR="0" lvl="0" indent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          by Product</a:t>
              </a:r>
            </a:p>
            <a:p>
              <a:pPr marL="171364" marR="0" lvl="0" indent="-171364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Flaring</a:t>
              </a:r>
            </a:p>
            <a:p>
              <a:pPr marL="0" marR="0" lvl="0" indent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       </a:t>
              </a:r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B1EF151C-B307-4D7E-B9DC-66993EE49F37}"/>
                </a:ext>
              </a:extLst>
            </p:cNvPr>
            <p:cNvSpPr txBox="1"/>
            <p:nvPr/>
          </p:nvSpPr>
          <p:spPr>
            <a:xfrm>
              <a:off x="4188782" y="5071777"/>
              <a:ext cx="1261252" cy="54278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171364" marR="0" lvl="0" indent="-171364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Equipment Utilization</a:t>
              </a:r>
            </a:p>
            <a:p>
              <a:pPr marL="171364" marR="0" lvl="0" indent="-171364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PM order status</a:t>
              </a:r>
            </a:p>
            <a:p>
              <a:pPr marL="171364" marR="0" lvl="0" indent="-171364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PM order cost tracking</a:t>
              </a:r>
            </a:p>
            <a:p>
              <a:pPr marL="171364" marR="0" lvl="0" indent="-171364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Breakdown cost</a:t>
              </a:r>
            </a:p>
            <a:p>
              <a:pPr marL="0" marR="0" lvl="0" indent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69A0D376-41F4-468A-9F4E-012D53F1DD17}"/>
                </a:ext>
              </a:extLst>
            </p:cNvPr>
            <p:cNvSpPr txBox="1"/>
            <p:nvPr/>
          </p:nvSpPr>
          <p:spPr>
            <a:xfrm>
              <a:off x="1741784" y="5071777"/>
              <a:ext cx="1052607" cy="39884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171364" marR="0" lvl="0" indent="-171364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Batch analyzer</a:t>
              </a:r>
            </a:p>
            <a:p>
              <a:pPr marL="171364" marR="0" lvl="0" indent="-171364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ompare with Golden batch</a:t>
              </a:r>
            </a:p>
            <a:p>
              <a:pPr marL="171364" marR="0" lvl="0" indent="-171364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Track the deviations</a:t>
              </a:r>
            </a:p>
            <a:p>
              <a:pPr marL="0" marR="0" lvl="0" indent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  <a:p>
              <a:pPr marL="0" marR="0" lvl="0" indent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pic>
          <p:nvPicPr>
            <p:cNvPr id="96" name="Picture 95">
              <a:extLst>
                <a:ext uri="{FF2B5EF4-FFF2-40B4-BE49-F238E27FC236}">
                  <a16:creationId xmlns:a16="http://schemas.microsoft.com/office/drawing/2014/main" id="{D01E7D24-2EE6-483E-A2D3-22A12E01C72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t="11907"/>
            <a:stretch/>
          </p:blipFill>
          <p:spPr>
            <a:xfrm>
              <a:off x="5636578" y="4010534"/>
              <a:ext cx="962365" cy="63974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D40D4BBA-E00B-4860-AFE7-7EC7AFE2CE8C}"/>
                </a:ext>
              </a:extLst>
            </p:cNvPr>
            <p:cNvSpPr txBox="1"/>
            <p:nvPr/>
          </p:nvSpPr>
          <p:spPr>
            <a:xfrm>
              <a:off x="5660140" y="4655967"/>
              <a:ext cx="868128" cy="205471"/>
            </a:xfrm>
            <a:prstGeom prst="rect">
              <a:avLst/>
            </a:prstGeom>
            <a:noFill/>
          </p:spPr>
          <p:txBody>
            <a:bodyPr wrap="none" lIns="33198" tIns="33198" rIns="33198" bIns="33198" rtlCol="0">
              <a:spAutoFit/>
            </a:bodyPr>
            <a:lstStyle/>
            <a:p>
              <a:pPr marL="0" marR="0" lvl="0" indent="0" algn="ctr" defTabSz="9136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sym typeface="Avenir Next Medium"/>
                </a:rPr>
                <a:t>Critical Assets</a:t>
              </a:r>
            </a:p>
          </p:txBody>
        </p:sp>
        <p:cxnSp>
          <p:nvCxnSpPr>
            <p:cNvPr id="98" name="Elbow Connector 4">
              <a:extLst>
                <a:ext uri="{FF2B5EF4-FFF2-40B4-BE49-F238E27FC236}">
                  <a16:creationId xmlns:a16="http://schemas.microsoft.com/office/drawing/2014/main" id="{3EEB9594-6694-42E3-B922-2ABA6399BD43}"/>
                </a:ext>
              </a:extLst>
            </p:cNvPr>
            <p:cNvCxnSpPr>
              <a:stCxn id="60" idx="2"/>
              <a:endCxn id="24" idx="0"/>
            </p:cNvCxnSpPr>
            <p:nvPr/>
          </p:nvCxnSpPr>
          <p:spPr bwMode="auto">
            <a:xfrm rot="16200000" flipH="1">
              <a:off x="5882199" y="2685654"/>
              <a:ext cx="304182" cy="2385493"/>
            </a:xfrm>
            <a:prstGeom prst="bentConnector3">
              <a:avLst/>
            </a:prstGeom>
            <a:solidFill>
              <a:srgbClr val="000000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99" name="Picture 98">
              <a:extLst>
                <a:ext uri="{FF2B5EF4-FFF2-40B4-BE49-F238E27FC236}">
                  <a16:creationId xmlns:a16="http://schemas.microsoft.com/office/drawing/2014/main" id="{1B1A9BCB-C3B2-4587-8D2F-B04C3FE828E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9"/>
            <a:srcRect l="571" t="10909" r="1131" b="876"/>
            <a:stretch/>
          </p:blipFill>
          <p:spPr>
            <a:xfrm>
              <a:off x="5564689" y="4005743"/>
              <a:ext cx="975812" cy="580181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F0430549-7670-4CA9-9354-0F259929BFCC}"/>
                </a:ext>
              </a:extLst>
            </p:cNvPr>
            <p:cNvSpPr txBox="1"/>
            <p:nvPr/>
          </p:nvSpPr>
          <p:spPr>
            <a:xfrm>
              <a:off x="5607143" y="5495454"/>
              <a:ext cx="934278" cy="27881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171364" marR="0" lvl="0" indent="-171364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Pump Efficiency</a:t>
              </a:r>
            </a:p>
            <a:p>
              <a:pPr marL="171364" marR="0" lvl="0" indent="-171364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Pump Curve</a:t>
              </a:r>
            </a:p>
            <a:p>
              <a:pPr marL="0" marR="0" lvl="0" indent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pic>
          <p:nvPicPr>
            <p:cNvPr id="101" name="Picture 100">
              <a:extLst>
                <a:ext uri="{FF2B5EF4-FFF2-40B4-BE49-F238E27FC236}">
                  <a16:creationId xmlns:a16="http://schemas.microsoft.com/office/drawing/2014/main" id="{3AD67333-F37B-4EAC-86CD-4F724100F071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5642063" y="4949559"/>
              <a:ext cx="816494" cy="53476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02217710-5D60-46C7-960F-06D376A5040D}"/>
                </a:ext>
              </a:extLst>
            </p:cNvPr>
            <p:cNvCxnSpPr>
              <a:stCxn id="99" idx="2"/>
              <a:endCxn id="101" idx="0"/>
            </p:cNvCxnSpPr>
            <p:nvPr/>
          </p:nvCxnSpPr>
          <p:spPr bwMode="auto">
            <a:xfrm flipH="1">
              <a:off x="6050310" y="4585924"/>
              <a:ext cx="2285" cy="363636"/>
            </a:xfrm>
            <a:prstGeom prst="line">
              <a:avLst/>
            </a:prstGeom>
            <a:solidFill>
              <a:srgbClr val="000000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103" name="Picture 4" descr="Image result for excel logo">
              <a:extLst>
                <a:ext uri="{FF2B5EF4-FFF2-40B4-BE49-F238E27FC236}">
                  <a16:creationId xmlns:a16="http://schemas.microsoft.com/office/drawing/2014/main" id="{CEEB7450-414F-4763-89EE-B0AE7917321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4997309" y="6032017"/>
              <a:ext cx="477256" cy="4586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9658430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720"/>
  <p:tag name="CDT_PROT_HEIGHT" val="99,8750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720"/>
  <p:tag name="CDT_PROT_HEIGHT" val="99,8750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906"/>
  <p:tag name="CDT_PROT_LEFT" val="0"/>
  <p:tag name="CDT_PROT_WIDTH" val="200,7495"/>
  <p:tag name="CDT_PROT_HEIGHT" val="20,4094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720"/>
  <p:tag name="CDT_PROT_HEIGHT" val="3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906"/>
  <p:tag name="CDT_PROT_LEFT" val="0"/>
  <p:tag name="CDT_PROT_WIDTH" val="98,37409"/>
  <p:tag name="CDT_PROT_HEIGHT" val="20,40945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906"/>
  <p:tag name="CDT_PROT_LEFT" val="212,1243"/>
  <p:tag name="CDT_PROT_WIDTH" val="507,8756"/>
  <p:tag name="CDT_PROT_HEIGHT" val="20,4094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cd71f9-1773-42f1-9b9f-cf34aefa5cc2"/>
  <p:tag name="MIO_EK" val="653930"/>
  <p:tag name="MIO_EKGUID" val="71b8ca9e-48a7-4a07-974c-713722db8575"/>
  <p:tag name="MIO_UPDATE" val="True"/>
  <p:tag name="MIO_VERSION" val="11.04.2017 15:02:13"/>
  <p:tag name="MIO_DBID" val="598A5C07-C27D-430B-A8FC-FA667BE665A4"/>
  <p:tag name="MIO_LASTDOWNLOADED" val="18.04.2017 14:52:05"/>
  <p:tag name="MIO_OBJECTNAME" val="SIMATIC_PCS 7_V9_FS"/>
  <p:tag name="MIO_LASTEDITORNAME" val="Maximilian Berg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906"/>
  <p:tag name="CDT_PROT_LEFT" val="0"/>
  <p:tag name="CDT_PROT_WIDTH" val="200,7495"/>
  <p:tag name="CDT_PROT_HEIGHT" val="20,4094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ZTHwQbYEu1BRuZ2578g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906"/>
  <p:tag name="CDT_PROT_LEFT" val="0"/>
  <p:tag name="CDT_PROT_WIDTH" val="98,37409"/>
  <p:tag name="CDT_PROT_HEIGHT" val="20,4094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906"/>
  <p:tag name="CDT_PROT_LEFT" val="212,1243"/>
  <p:tag name="CDT_PROT_WIDTH" val="507,8756"/>
  <p:tag name="CDT_PROT_HEIGHT" val="20,4094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cd71f9-1773-42f1-9b9f-cf34aefa5cc2"/>
  <p:tag name="MIO_EK" val="653930"/>
  <p:tag name="MIO_EKGUID" val="71b8ca9e-48a7-4a07-974c-713722db8575"/>
  <p:tag name="MIO_UPDATE" val="True"/>
  <p:tag name="MIO_VERSION" val="11.04.2017 15:02:13"/>
  <p:tag name="MIO_DBID" val="598A5C07-C27D-430B-A8FC-FA667BE665A4"/>
  <p:tag name="MIO_LASTDOWNLOADED" val="18.04.2017 14:52:05"/>
  <p:tag name="MIO_OBJECTNAME" val="SIMATIC_PCS 7_V9_FS"/>
  <p:tag name="MIO_LASTEDITORNAME" val="Maximilian Berger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4_Custom Design">
  <a:themeElements>
    <a:clrScheme name="4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3399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3399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4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4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659308C5C0EB347897318842F3E9278" ma:contentTypeVersion="12" ma:contentTypeDescription="Create a new document." ma:contentTypeScope="" ma:versionID="eabc0d5a9bc4ddd54cd6921f89c39ee7">
  <xsd:schema xmlns:xsd="http://www.w3.org/2001/XMLSchema" xmlns:xs="http://www.w3.org/2001/XMLSchema" xmlns:p="http://schemas.microsoft.com/office/2006/metadata/properties" xmlns:ns2="fc9bf819-f7f6-462c-82c6-8b9622ae6ed2" xmlns:ns3="d88b61df-25a6-4316-b4dd-496ee9c4ec32" targetNamespace="http://schemas.microsoft.com/office/2006/metadata/properties" ma:root="true" ma:fieldsID="fddb73d8620be32552e74d142b16493f" ns2:_="" ns3:_="">
    <xsd:import namespace="fc9bf819-f7f6-462c-82c6-8b9622ae6ed2"/>
    <xsd:import namespace="d88b61df-25a6-4316-b4dd-496ee9c4ec3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9bf819-f7f6-462c-82c6-8b9622ae6ed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a2e7850e-dcac-46a0-b304-d0721f753bb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88b61df-25a6-4316-b4dd-496ee9c4ec32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531cb789-5221-458b-940e-73123fc673fb}" ma:internalName="TaxCatchAll" ma:showField="CatchAllData" ma:web="d88b61df-25a6-4316-b4dd-496ee9c4ec3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4ppTags>
  <Name>Free Content</Name>
  <PpLayout>11</PpLayout>
  <Index>9</Index>
</p4ppTag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4ppTags>
  <Name>Free Content</Name>
  <PpLayout>11</PpLayout>
  <Index>9</Index>
</p4ppTags>
</file>

<file path=customXml/item5.xml><?xml version="1.0" encoding="utf-8"?>
<p4ppTags/>
</file>

<file path=customXml/itemProps1.xml><?xml version="1.0" encoding="utf-8"?>
<ds:datastoreItem xmlns:ds="http://schemas.openxmlformats.org/officeDocument/2006/customXml" ds:itemID="{147AE694-D16B-49DC-8E98-55688258F71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c9bf819-f7f6-462c-82c6-8b9622ae6ed2"/>
    <ds:schemaRef ds:uri="d88b61df-25a6-4316-b4dd-496ee9c4ec3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0C90A27-0C56-497C-95D4-B2FB2C045026}">
  <ds:schemaRefs/>
</ds:datastoreItem>
</file>

<file path=customXml/itemProps3.xml><?xml version="1.0" encoding="utf-8"?>
<ds:datastoreItem xmlns:ds="http://schemas.openxmlformats.org/officeDocument/2006/customXml" ds:itemID="{7A03D0FE-30E4-43AD-8A5F-ED353888236D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5C1AED5F-B40F-45DE-A637-38EFA6E93278}">
  <ds:schemaRefs/>
</ds:datastoreItem>
</file>

<file path=customXml/itemProps5.xml><?xml version="1.0" encoding="utf-8"?>
<ds:datastoreItem xmlns:ds="http://schemas.openxmlformats.org/officeDocument/2006/customXml" ds:itemID="{572FBA73-6DBF-45DA-8282-9342320CFAB0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928</TotalTime>
  <Words>2447</Words>
  <Application>Microsoft Office PowerPoint</Application>
  <PresentationFormat>Custom</PresentationFormat>
  <Paragraphs>764</Paragraphs>
  <Slides>77</Slides>
  <Notes>23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77</vt:i4>
      </vt:variant>
    </vt:vector>
  </HeadingPairs>
  <TitlesOfParts>
    <vt:vector size="79" baseType="lpstr">
      <vt:lpstr>Custom Design</vt:lpstr>
      <vt:lpstr>4_Custom Design</vt:lpstr>
      <vt:lpstr>PowerPoint Presentation</vt:lpstr>
      <vt:lpstr>PowerPoint Presentation</vt:lpstr>
      <vt:lpstr>PowerPoint Presentation</vt:lpstr>
      <vt:lpstr>It is all about Data!</vt:lpstr>
      <vt:lpstr>XHQ OVERVIEW</vt:lpstr>
      <vt:lpstr>XHQ Solution Example</vt:lpstr>
      <vt:lpstr>XHQ integrates Data across your Organization Transforming the Data into Right Decisions</vt:lpstr>
      <vt:lpstr>XHQ Visualization (Samples)</vt:lpstr>
      <vt:lpstr>XHQ Solution: Enabling Data Driven Decisions</vt:lpstr>
      <vt:lpstr>PowerPoint Presentation</vt:lpstr>
      <vt:lpstr>Technical Architecture On-Premise or in Private Cloud</vt:lpstr>
      <vt:lpstr>PowerPoint Presentation</vt:lpstr>
      <vt:lpstr>PowerPoint Presentation</vt:lpstr>
      <vt:lpstr>PowerPoint Presentation</vt:lpstr>
      <vt:lpstr>Functional Architecture Turn data into actionable information</vt:lpstr>
      <vt:lpstr>XHQ Information Model</vt:lpstr>
      <vt:lpstr>XHQ Connection</vt:lpstr>
      <vt:lpstr>Connectivity and Integration:  XHQ in-built connectors</vt:lpstr>
      <vt:lpstr>XHQ Collections</vt:lpstr>
      <vt:lpstr>XHQ View/ Dashboard</vt:lpstr>
      <vt:lpstr>XHQ View/ Dashboard</vt:lpstr>
      <vt:lpstr>KIẾN TRÚC HỆ THỐNG</vt:lpstr>
      <vt:lpstr>KIẾN TRÚC TỔNG QUAN TRANG  MÀN HÌNH</vt:lpstr>
      <vt:lpstr>TRUY CẬP VÀ ĐĂNG XUẤT HỆ THỐNG</vt:lpstr>
      <vt:lpstr>PowerPoint Presentation</vt:lpstr>
      <vt:lpstr>XHQ Basic Development Workflow</vt:lpstr>
      <vt:lpstr>XHQ Basic Development Workflow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UTOMATION &amp; DIGITALIZATION  </vt:lpstr>
    </vt:vector>
  </TitlesOfParts>
  <Company>SIEMENS A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 On-stage PowerPoint-Template</dc:title>
  <dc:creator>Mattmiller, Jessica (CC PD VA)</dc:creator>
  <cp:lastModifiedBy>Phan Huu Hau</cp:lastModifiedBy>
  <cp:revision>1037</cp:revision>
  <cp:lastPrinted>2012-10-29T09:59:01Z</cp:lastPrinted>
  <dcterms:created xsi:type="dcterms:W3CDTF">2006-04-07T10:01:45Z</dcterms:created>
  <dcterms:modified xsi:type="dcterms:W3CDTF">2022-10-03T06:28:25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English</vt:lpwstr>
  </property>
  <property fmtid="{D5CDD505-2E9C-101B-9397-08002B2CF9AE}" pid="3" name="Release date">
    <vt:lpwstr>February 2017</vt:lpwstr>
  </property>
  <property fmtid="{D5CDD505-2E9C-101B-9397-08002B2CF9AE}" pid="4" name="Office version">
    <vt:lpwstr>2007 and higher</vt:lpwstr>
  </property>
  <property fmtid="{D5CDD505-2E9C-101B-9397-08002B2CF9AE}" pid="5" name="Release version">
    <vt:lpwstr>1.1</vt:lpwstr>
  </property>
  <property fmtid="{D5CDD505-2E9C-101B-9397-08002B2CF9AE}" pid="6" name="_NewReviewCycle">
    <vt:lpwstr/>
  </property>
</Properties>
</file>